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4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5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90" r:id="rId3"/>
    <p:sldMasterId id="2147483739" r:id="rId4"/>
    <p:sldMasterId id="2147483770" r:id="rId5"/>
    <p:sldMasterId id="2147483781" r:id="rId6"/>
  </p:sldMasterIdLst>
  <p:notesMasterIdLst>
    <p:notesMasterId r:id="rId19"/>
  </p:notesMasterIdLst>
  <p:sldIdLst>
    <p:sldId id="3832" r:id="rId7"/>
    <p:sldId id="3834" r:id="rId8"/>
    <p:sldId id="3835" r:id="rId9"/>
    <p:sldId id="259" r:id="rId10"/>
    <p:sldId id="3837" r:id="rId11"/>
    <p:sldId id="3838" r:id="rId12"/>
    <p:sldId id="3839" r:id="rId13"/>
    <p:sldId id="10541" r:id="rId14"/>
    <p:sldId id="305" r:id="rId15"/>
    <p:sldId id="477" r:id="rId16"/>
    <p:sldId id="478" r:id="rId17"/>
    <p:sldId id="10540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4694"/>
  </p:normalViewPr>
  <p:slideViewPr>
    <p:cSldViewPr snapToGrid="0" snapToObjects="1">
      <p:cViewPr varScale="1">
        <p:scale>
          <a:sx n="119" d="100"/>
          <a:sy n="119" d="100"/>
        </p:scale>
        <p:origin x="31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1856BA-A76F-A449-8B1B-23C86B9EECFE}" type="datetimeFigureOut">
              <a:rPr lang="en-US" smtClean="0"/>
              <a:t>1/16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DDDD14-3149-F941-8BDC-D33FD9638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007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924BEC-476C-B441-9371-F48EC9633E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4571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36469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4068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7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EF0A8F-0020-1145-84F3-E8287A9B4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EC1E61-E925-6646-857B-9B034B769E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C898DA-304A-0A47-9194-79C84CD309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D8110-A292-5241-B630-D6774E40F8D8}" type="datetimeFigureOut">
              <a:rPr lang="en-US" smtClean="0"/>
              <a:t>1/1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F9876E-64B6-8048-B138-0CA06322A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BC171-1641-4545-97F3-9DD833C46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55991-60D6-4E43-B72D-641256C7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9965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AFB2E3-9EE3-9243-9C3D-B52707149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3AD735-07BF-2A4F-9A97-345CC0E912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53B6EB-6DA2-0F4A-B4C6-193FA60DF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D8110-A292-5241-B630-D6774E40F8D8}" type="datetimeFigureOut">
              <a:rPr lang="en-US" smtClean="0"/>
              <a:t>1/1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EBBEA6-FE3A-CA47-9917-942AE774B4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40D747-5C9F-BA41-A660-EE8030AC5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55991-60D6-4E43-B72D-641256C7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00495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52" tIns="60576" rIns="121152" bIns="60576" rtlCol="0" anchor="ctr"/>
          <a:lstStyle/>
          <a:p>
            <a:pPr algn="ctr" defTabSz="605118"/>
            <a:endParaRPr lang="en-US" sz="1500" dirty="0">
              <a:solidFill>
                <a:srgbClr val="004F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220243"/>
            <a:ext cx="4882699" cy="4224280"/>
          </a:xfrm>
          <a:prstGeom prst="rect">
            <a:avLst/>
          </a:prstGeom>
        </p:spPr>
        <p:txBody>
          <a:bodyPr lIns="121125" tIns="60562" rIns="121125" bIns="60562">
            <a:noAutofit/>
          </a:bodyPr>
          <a:lstStyle>
            <a:lvl1pPr marL="231292" indent="-15547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50000"/>
              <a:buFont typeface="Arial"/>
              <a:buChar char="•"/>
              <a:defRPr sz="27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2536" indent="-151244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50000"/>
              <a:buFont typeface="Arial"/>
              <a:buChar char="•"/>
              <a:defRPr sz="24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533780" indent="-151244">
              <a:buClr>
                <a:schemeClr val="tx2"/>
              </a:buClr>
              <a:buSzPct val="50000"/>
              <a:buFont typeface="Arial"/>
              <a:buChar char="•"/>
              <a:defRPr sz="21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685146" indent="-151244">
              <a:buClr>
                <a:schemeClr val="tx2"/>
              </a:buClr>
              <a:buSzPct val="50000"/>
              <a:buFont typeface="Arial"/>
              <a:buChar char="•"/>
              <a:defRPr sz="19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836650" indent="-151244">
              <a:buClr>
                <a:schemeClr val="tx2"/>
              </a:buClr>
              <a:buSzPct val="5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1" y="455094"/>
            <a:ext cx="4915412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30" tIns="60565" rIns="121130" bIns="60565" numCol="1" anchor="ctr" anchorCtr="0" compatLnSpc="1">
            <a:prstTxWarp prst="textNoShape">
              <a:avLst/>
            </a:prstTxWarp>
          </a:bodyPr>
          <a:lstStyle>
            <a:lvl1pPr>
              <a:defRPr sz="43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07"/>
            <a:ext cx="4757856" cy="20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539" tIns="41055" rIns="81539" bIns="41055" anchor="b">
            <a:spAutoFit/>
          </a:bodyPr>
          <a:lstStyle/>
          <a:p>
            <a:pPr defTabSz="808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dirty="0">
                <a:solidFill>
                  <a:srgbClr val="004F73">
                    <a:alpha val="60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31705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_Page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52" tIns="60576" rIns="121152" bIns="60576" rtlCol="0" anchor="ctr"/>
          <a:lstStyle/>
          <a:p>
            <a:pPr algn="ctr" defTabSz="605118"/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3" y="2209800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30" tIns="60565" rIns="121130" bIns="60565" numCol="1" anchor="ctr" anchorCtr="0" compatLnSpc="1">
            <a:prstTxWarp prst="textNoShape">
              <a:avLst/>
            </a:prstTxWarp>
          </a:bodyPr>
          <a:lstStyle>
            <a:lvl1pPr algn="l" defTabSz="90573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3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25" y="709083"/>
            <a:ext cx="4734983" cy="5412316"/>
          </a:xfrm>
          <a:prstGeom prst="rect">
            <a:avLst/>
          </a:prstGeom>
        </p:spPr>
        <p:txBody>
          <a:bodyPr lIns="0" tIns="60576" rIns="0" bIns="60576" anchor="ctr" anchorCtr="0"/>
          <a:lstStyle>
            <a:lvl1pPr marL="231292" indent="-231292">
              <a:lnSpc>
                <a:spcPct val="100000"/>
              </a:lnSpc>
              <a:buClr>
                <a:schemeClr val="tx1"/>
              </a:buClr>
              <a:buSzPct val="80000"/>
              <a:buFont typeface="CiscoSans Thin" panose="020B0203020201020303" pitchFamily="34" charset="0"/>
              <a:buChar char="•"/>
              <a:defRPr sz="3200"/>
            </a:lvl1pPr>
            <a:lvl2pPr marL="451619" indent="-220709">
              <a:lnSpc>
                <a:spcPct val="100000"/>
              </a:lnSpc>
              <a:buClr>
                <a:schemeClr val="tx1"/>
              </a:buClr>
              <a:buSzPct val="80000"/>
              <a:buFont typeface="CiscoSans Thin" panose="020B0203020201020303" pitchFamily="34" charset="0"/>
              <a:buChar char="•"/>
              <a:defRPr sz="3200"/>
            </a:lvl2pPr>
            <a:lvl3pPr marL="605118" indent="-153361">
              <a:lnSpc>
                <a:spcPct val="100000"/>
              </a:lnSpc>
              <a:buClr>
                <a:schemeClr val="tx1"/>
              </a:buClr>
              <a:buSzPct val="80000"/>
              <a:buFont typeface="CiscoSans Thin" panose="020B0203020201020303" pitchFamily="34" charset="0"/>
              <a:buChar char="•"/>
              <a:defRPr sz="2700"/>
            </a:lvl3pPr>
            <a:lvl4pPr marL="836650" indent="-231292">
              <a:lnSpc>
                <a:spcPct val="100000"/>
              </a:lnSpc>
              <a:buClr>
                <a:schemeClr val="tx1"/>
              </a:buClr>
              <a:buSzPct val="80000"/>
              <a:buFont typeface="CiscoSans Thin" panose="020B0203020201020303" pitchFamily="34" charset="0"/>
              <a:buChar char="•"/>
              <a:tabLst/>
              <a:defRPr sz="2400"/>
            </a:lvl4pPr>
            <a:lvl5pPr marL="1057052" indent="-220709">
              <a:lnSpc>
                <a:spcPct val="100000"/>
              </a:lnSpc>
              <a:buClr>
                <a:schemeClr val="tx1"/>
              </a:buClr>
              <a:buSzPct val="80000"/>
              <a:buFont typeface="CiscoSans Thin" panose="020B0203020201020303" pitchFamily="34" charset="0"/>
              <a:buChar char="•"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636908" y="6322207"/>
            <a:ext cx="4622389" cy="20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539" tIns="41055" rIns="81539" bIns="41055" anchor="b">
            <a:spAutoFit/>
          </a:bodyPr>
          <a:lstStyle/>
          <a:p>
            <a:pPr defTabSz="808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dirty="0">
                <a:solidFill>
                  <a:srgbClr val="004F73">
                    <a:alpha val="60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407772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_Page_Blu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52" tIns="60576" rIns="121152" bIns="60576" rtlCol="0" anchor="ctr"/>
          <a:lstStyle/>
          <a:p>
            <a:pPr algn="ctr" defTabSz="605118"/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1" y="680720"/>
            <a:ext cx="5078396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30" tIns="60565" rIns="121130" bIns="60565" numCol="1" anchor="t" anchorCtr="0" compatLnSpc="1">
            <a:prstTxWarp prst="textNoShape">
              <a:avLst/>
            </a:prstTxWarp>
          </a:bodyPr>
          <a:lstStyle>
            <a:lvl1pPr algn="l" defTabSz="90573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3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25" y="680720"/>
            <a:ext cx="4734983" cy="5440680"/>
          </a:xfrm>
          <a:prstGeom prst="rect">
            <a:avLst/>
          </a:prstGeom>
        </p:spPr>
        <p:txBody>
          <a:bodyPr lIns="0" tIns="60576" rIns="0" bIns="60576"/>
          <a:lstStyle>
            <a:lvl1pPr marL="151244" indent="-151244">
              <a:lnSpc>
                <a:spcPct val="100000"/>
              </a:lnSpc>
              <a:buClr>
                <a:schemeClr val="tx1"/>
              </a:buClr>
              <a:buSzPct val="50000"/>
              <a:defRPr sz="2700"/>
            </a:lvl1pPr>
            <a:lvl2pPr marL="302488" indent="-151244">
              <a:lnSpc>
                <a:spcPct val="100000"/>
              </a:lnSpc>
              <a:buClr>
                <a:schemeClr val="tx1"/>
              </a:buClr>
              <a:buSzPct val="50000"/>
              <a:defRPr sz="2700"/>
            </a:lvl2pPr>
            <a:lvl3pPr marL="453735" indent="-151244">
              <a:lnSpc>
                <a:spcPct val="100000"/>
              </a:lnSpc>
              <a:buClr>
                <a:schemeClr val="tx1"/>
              </a:buClr>
              <a:buSzPct val="50000"/>
              <a:defRPr sz="2400"/>
            </a:lvl3pPr>
            <a:lvl4pPr marL="605118" indent="-163944">
              <a:lnSpc>
                <a:spcPct val="100000"/>
              </a:lnSpc>
              <a:buClr>
                <a:schemeClr val="tx1"/>
              </a:buClr>
              <a:buSzPct val="50000"/>
              <a:defRPr sz="2100"/>
            </a:lvl4pPr>
            <a:lvl5pPr marL="760838" indent="-155477">
              <a:lnSpc>
                <a:spcPct val="100000"/>
              </a:lnSpc>
              <a:buClr>
                <a:schemeClr val="tx1"/>
              </a:buClr>
              <a:buSzPct val="50000"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691" y="2213145"/>
            <a:ext cx="5078396" cy="3697817"/>
          </a:xfrm>
          <a:prstGeom prst="rect">
            <a:avLst/>
          </a:prstGeom>
        </p:spPr>
        <p:txBody>
          <a:bodyPr lIns="121152" tIns="60576" rIns="121152" bIns="60576"/>
          <a:lstStyle>
            <a:lvl1pPr marL="151244" indent="-151244">
              <a:buClr>
                <a:schemeClr val="tx2"/>
              </a:buClr>
              <a:buSzPct val="50000"/>
              <a:defRPr lang="en-US" sz="2700" kern="1200" dirty="0" smtClean="0">
                <a:solidFill>
                  <a:schemeClr val="tx2"/>
                </a:solidFill>
                <a:latin typeface="+mn-lt"/>
                <a:ea typeface="ＭＳ Ｐゴシック" charset="0"/>
                <a:cs typeface="CiscoSans"/>
              </a:defRPr>
            </a:lvl1pPr>
            <a:lvl2pPr marL="302488" indent="-151244">
              <a:buClr>
                <a:schemeClr val="tx2"/>
              </a:buClr>
              <a:buSzPct val="50000"/>
              <a:defRPr sz="2700">
                <a:solidFill>
                  <a:schemeClr val="tx2"/>
                </a:solidFill>
              </a:defRPr>
            </a:lvl2pPr>
            <a:lvl3pPr marL="453735" indent="-151244">
              <a:buClr>
                <a:schemeClr val="tx2"/>
              </a:buClr>
              <a:buSzPct val="50000"/>
              <a:defRPr sz="2400">
                <a:solidFill>
                  <a:schemeClr val="tx2"/>
                </a:solidFill>
              </a:defRPr>
            </a:lvl3pPr>
            <a:lvl4pPr marL="605118" indent="-163944">
              <a:buClr>
                <a:schemeClr val="tx2"/>
              </a:buClr>
              <a:buSzPct val="50000"/>
              <a:defRPr sz="2100">
                <a:solidFill>
                  <a:schemeClr val="tx2"/>
                </a:solidFill>
              </a:defRPr>
            </a:lvl4pPr>
            <a:lvl5pPr marL="760838" indent="-155477">
              <a:buClr>
                <a:schemeClr val="tx2"/>
              </a:buClr>
              <a:buSzPct val="50000"/>
              <a:defRPr sz="21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9" y="6322207"/>
            <a:ext cx="4478953" cy="20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539" tIns="41055" rIns="81539" bIns="41055" anchor="b">
            <a:spAutoFit/>
          </a:bodyPr>
          <a:lstStyle/>
          <a:p>
            <a:pPr defTabSz="808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dirty="0">
                <a:solidFill>
                  <a:srgbClr val="004F73">
                    <a:alpha val="60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056549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_Page_Blu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52" tIns="60576" rIns="121152" bIns="60576" rtlCol="0" anchor="ctr"/>
          <a:lstStyle/>
          <a:p>
            <a:pPr algn="ctr" defTabSz="605118"/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1" y="2212977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30" tIns="60565" rIns="121130" bIns="60565" numCol="1" anchor="ctr" anchorCtr="0" compatLnSpc="1">
            <a:prstTxWarp prst="textNoShape">
              <a:avLst/>
            </a:prstTxWarp>
          </a:bodyPr>
          <a:lstStyle>
            <a:lvl1pPr algn="l" defTabSz="90573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3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85" y="709084"/>
            <a:ext cx="4745567" cy="4486461"/>
          </a:xfrm>
          <a:prstGeom prst="rect">
            <a:avLst/>
          </a:prstGeom>
        </p:spPr>
        <p:txBody>
          <a:bodyPr lIns="121152" tIns="60576" rIns="121152" bIns="60576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6085" y="5416852"/>
            <a:ext cx="4745567" cy="7001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636906" y="6322207"/>
            <a:ext cx="3817557" cy="20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539" tIns="41055" rIns="81539" bIns="41055" anchor="b">
            <a:spAutoFit/>
          </a:bodyPr>
          <a:lstStyle/>
          <a:p>
            <a:pPr defTabSz="808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dirty="0">
                <a:solidFill>
                  <a:srgbClr val="004F73">
                    <a:alpha val="60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599523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_Page_Blu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52" tIns="60576" rIns="121152" bIns="60576" rtlCol="0" anchor="ctr"/>
          <a:lstStyle/>
          <a:p>
            <a:pPr algn="ctr" defTabSz="605118"/>
            <a:endParaRPr lang="en-US" sz="1500" dirty="0">
              <a:solidFill>
                <a:srgbClr val="004F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1" y="2212977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30" tIns="60565" rIns="121130" bIns="60565" numCol="1" anchor="ctr" anchorCtr="0" compatLnSpc="1">
            <a:prstTxWarp prst="textNoShape">
              <a:avLst/>
            </a:prstTxWarp>
          </a:bodyPr>
          <a:lstStyle>
            <a:lvl1pPr algn="l" defTabSz="90573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3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85" y="709085"/>
            <a:ext cx="4745567" cy="5412315"/>
          </a:xfrm>
          <a:prstGeom prst="rect">
            <a:avLst/>
          </a:prstGeom>
        </p:spPr>
        <p:txBody>
          <a:bodyPr lIns="121152" tIns="60576" rIns="121152" bIns="60576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07"/>
            <a:ext cx="4351456" cy="20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539" tIns="41055" rIns="81539" bIns="41055" anchor="b">
            <a:spAutoFit/>
          </a:bodyPr>
          <a:lstStyle/>
          <a:p>
            <a:pPr defTabSz="808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dirty="0">
                <a:solidFill>
                  <a:srgbClr val="004F73">
                    <a:alpha val="60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845082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52" tIns="60576" rIns="121152" bIns="60576" rtlCol="0" anchor="ctr"/>
          <a:lstStyle/>
          <a:p>
            <a:pPr algn="ctr" defTabSz="605118"/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1" y="2212977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30" tIns="60565" rIns="121130" bIns="60565" numCol="1" anchor="ctr" anchorCtr="0" compatLnSpc="1">
            <a:prstTxWarp prst="textNoShape">
              <a:avLst/>
            </a:prstTxWarp>
          </a:bodyPr>
          <a:lstStyle>
            <a:lvl1pPr algn="l" defTabSz="90573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3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22" y="6322207"/>
            <a:ext cx="3929119" cy="20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539" tIns="41055" rIns="81539" bIns="41055" anchor="b">
            <a:spAutoFit/>
          </a:bodyPr>
          <a:lstStyle/>
          <a:p>
            <a:pPr defTabSz="808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dirty="0">
                <a:solidFill>
                  <a:srgbClr val="004F73">
                    <a:alpha val="60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641483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_Page_Blu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52" tIns="60576" rIns="121152" bIns="60576" rtlCol="0" anchor="ctr"/>
          <a:lstStyle/>
          <a:p>
            <a:pPr algn="ctr" defTabSz="605118"/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1" y="2212977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30" tIns="60565" rIns="121130" bIns="60565" numCol="1" anchor="ctr" anchorCtr="0" compatLnSpc="1">
            <a:prstTxWarp prst="textNoShape">
              <a:avLst/>
            </a:prstTxWarp>
          </a:bodyPr>
          <a:lstStyle>
            <a:lvl1pPr algn="l" defTabSz="90573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3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106888" y="0"/>
            <a:ext cx="6085209" cy="6858000"/>
          </a:xfrm>
          <a:prstGeom prst="rect">
            <a:avLst/>
          </a:prstGeom>
        </p:spPr>
        <p:txBody>
          <a:bodyPr lIns="121152" tIns="60576" rIns="121152" bIns="60576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07"/>
            <a:ext cx="4399267" cy="20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539" tIns="41055" rIns="81539" bIns="41055" anchor="b">
            <a:spAutoFit/>
          </a:bodyPr>
          <a:lstStyle/>
          <a:p>
            <a:pPr defTabSz="808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dirty="0">
                <a:solidFill>
                  <a:srgbClr val="004F73">
                    <a:alpha val="60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195970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_Page_Blu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52" tIns="60576" rIns="121152" bIns="60576" rtlCol="0" anchor="ctr"/>
          <a:lstStyle/>
          <a:p>
            <a:pPr algn="ctr" defTabSz="605118"/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1" y="2212977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30" tIns="60565" rIns="121130" bIns="60565" numCol="1" anchor="ctr" anchorCtr="0" compatLnSpc="1">
            <a:prstTxWarp prst="textNoShape">
              <a:avLst/>
            </a:prstTxWarp>
          </a:bodyPr>
          <a:lstStyle>
            <a:lvl1pPr algn="l" defTabSz="90573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3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6085" y="670984"/>
            <a:ext cx="4745567" cy="5450416"/>
          </a:xfrm>
          <a:prstGeom prst="rect">
            <a:avLst/>
          </a:prstGeom>
        </p:spPr>
        <p:txBody>
          <a:bodyPr lIns="121152" tIns="60576" rIns="121152" bIns="60576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14" y="6322207"/>
            <a:ext cx="4239895" cy="20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539" tIns="41055" rIns="81539" bIns="41055" anchor="b">
            <a:spAutoFit/>
          </a:bodyPr>
          <a:lstStyle/>
          <a:p>
            <a:pPr defTabSz="808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dirty="0">
                <a:solidFill>
                  <a:srgbClr val="004F73">
                    <a:alpha val="60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802117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_Page_Blu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52" tIns="60576" rIns="121152" bIns="60576" rtlCol="0" anchor="ctr"/>
          <a:lstStyle/>
          <a:p>
            <a:pPr algn="ctr" defTabSz="605118"/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1" y="2212977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30" tIns="60565" rIns="121130" bIns="60565" numCol="1" anchor="ctr" anchorCtr="0" compatLnSpc="1">
            <a:prstTxWarp prst="textNoShape">
              <a:avLst/>
            </a:prstTxWarp>
          </a:bodyPr>
          <a:lstStyle>
            <a:lvl1pPr algn="l" defTabSz="90573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3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786085" y="670984"/>
            <a:ext cx="4745567" cy="5450416"/>
          </a:xfrm>
          <a:prstGeom prst="rect">
            <a:avLst/>
          </a:prstGeom>
        </p:spPr>
        <p:txBody>
          <a:bodyPr lIns="121152" tIns="60576" rIns="121152" bIns="60576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6" y="6322207"/>
            <a:ext cx="4542703" cy="20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539" tIns="41055" rIns="81539" bIns="41055" anchor="b">
            <a:spAutoFit/>
          </a:bodyPr>
          <a:lstStyle/>
          <a:p>
            <a:pPr defTabSz="808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dirty="0">
                <a:solidFill>
                  <a:srgbClr val="004F73">
                    <a:alpha val="60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548368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048"/>
            <a:ext cx="12192000" cy="6864096"/>
          </a:xfrm>
          <a:prstGeom prst="rect">
            <a:avLst/>
          </a:prstGeom>
        </p:spPr>
      </p:pic>
      <p:sp>
        <p:nvSpPr>
          <p:cNvPr id="5" name="Freeform 6"/>
          <p:cNvSpPr>
            <a:spLocks noChangeAspect="1" noEditPoints="1"/>
          </p:cNvSpPr>
          <p:nvPr/>
        </p:nvSpPr>
        <p:spPr bwMode="auto">
          <a:xfrm>
            <a:off x="5017328" y="2839153"/>
            <a:ext cx="2157349" cy="114609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152" tIns="60576" rIns="121152" bIns="60576" numCol="1" anchor="t" anchorCtr="0" compatLnSpc="1">
            <a:prstTxWarp prst="textNoShape">
              <a:avLst/>
            </a:prstTxWarp>
          </a:bodyPr>
          <a:lstStyle/>
          <a:p>
            <a:pPr defTabSz="605118"/>
            <a:endParaRPr lang="en-US" sz="1900">
              <a:solidFill>
                <a:srgbClr val="282828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31146389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98CA17A-9E31-774F-A34A-FF41C2323E5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B78614-1EC4-CC42-B883-2401CE0CA1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51F742-2752-454A-A216-AF41C0E160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D8110-A292-5241-B630-D6774E40F8D8}" type="datetimeFigureOut">
              <a:rPr lang="en-US" smtClean="0"/>
              <a:t>1/1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8F22D6-EA40-3546-9CF2-ADCD4D1A7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8420FB-CAE5-BE4E-B785-7DF760D1B4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55991-60D6-4E43-B72D-641256C7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88366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120" tIns="60560" rIns="121120" bIns="60560">
            <a:noAutofit/>
          </a:bodyPr>
          <a:lstStyle>
            <a:lvl1pPr marL="371855" indent="-2960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2534" indent="-28567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89758" indent="-227001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05983" indent="-227001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32791" indent="-22276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4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25" tIns="60562" rIns="121125" bIns="60562" numCol="1" anchor="ctr" anchorCtr="0" compatLnSpc="1">
            <a:prstTxWarp prst="textNoShape">
              <a:avLst/>
            </a:prstTxWarp>
          </a:bodyPr>
          <a:lstStyle>
            <a:lvl1pPr>
              <a:defRPr sz="430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8470717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14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355833" y="6323896"/>
            <a:ext cx="289664" cy="2060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519" tIns="41055" rIns="81519" bIns="41055" anchor="b">
            <a:spAutoFit/>
          </a:bodyPr>
          <a:lstStyle/>
          <a:p>
            <a:pPr algn="r" defTabSz="808305">
              <a:defRPr/>
            </a:pPr>
            <a:fld id="{6A1E46DC-7EF6-4EA2-B285-14272867D133}" type="slidenum">
              <a:rPr lang="en-US" sz="800">
                <a:solidFill>
                  <a:srgbClr val="000000">
                    <a:alpha val="25000"/>
                  </a:srgbClr>
                </a:solidFill>
                <a:ea typeface="ＭＳ Ｐゴシック" pitchFamily="34" charset="-128"/>
                <a:cs typeface="CiscoSans Thin"/>
              </a:rPr>
              <a:pPr algn="r" defTabSz="808305"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ea typeface="ＭＳ Ｐゴシック" pitchFamily="34" charset="-128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084261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883" y="1797053"/>
            <a:ext cx="11040076" cy="4098595"/>
          </a:xfrm>
          <a:prstGeom prst="rect">
            <a:avLst/>
          </a:prstGeom>
        </p:spPr>
        <p:txBody>
          <a:bodyPr lIns="121125" tIns="60562" rIns="121125" bIns="60562">
            <a:noAutofit/>
          </a:bodyPr>
          <a:lstStyle>
            <a:lvl1pPr marL="378223" marR="0" indent="-378223" algn="ctr" defTabSz="60500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4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9140019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733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47286"/>
            <a:ext cx="10972800" cy="45254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133">
                <a:latin typeface="Arial"/>
                <a:cs typeface="Arial"/>
              </a:defRPr>
            </a:lvl3pPr>
            <a:lvl4pPr>
              <a:defRPr sz="1867">
                <a:latin typeface="Arial"/>
                <a:cs typeface="Arial"/>
              </a:defRPr>
            </a:lvl4pPr>
            <a:lvl5pPr>
              <a:defRPr sz="1867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605684" y="6477689"/>
            <a:ext cx="609600" cy="3810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1023" fontAlgn="auto">
              <a:spcBef>
                <a:spcPts val="0"/>
              </a:spcBef>
              <a:spcAft>
                <a:spcPts val="0"/>
              </a:spcAft>
              <a:defRPr/>
            </a:pPr>
            <a:fld id="{D9AF51D2-184A-4F42-8E3C-451A34BE2557}" type="slidenum">
              <a:rPr lang="en-US" sz="1900" smtClean="0">
                <a:solidFill>
                  <a:srgbClr val="282828"/>
                </a:solidFill>
                <a:latin typeface="CiscoSansTT ExtraLight"/>
                <a:ea typeface=""/>
                <a:cs typeface=""/>
              </a:rPr>
              <a:pPr defTabSz="91102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900" dirty="0">
              <a:solidFill>
                <a:srgbClr val="282828"/>
              </a:solidFill>
              <a:latin typeface="CiscoSansTT ExtraLight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24270745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5" y="1"/>
            <a:ext cx="12191999" cy="87683"/>
            <a:chOff x="1" y="0"/>
            <a:chExt cx="12191998" cy="87682"/>
          </a:xfrm>
        </p:grpSpPr>
        <p:sp>
          <p:nvSpPr>
            <p:cNvPr id="7" name="Rectangle 6"/>
            <p:cNvSpPr/>
            <p:nvPr userDrawn="1"/>
          </p:nvSpPr>
          <p:spPr>
            <a:xfrm>
              <a:off x="1" y="1"/>
              <a:ext cx="2041743" cy="876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1023" fontAlgn="auto">
                <a:spcBef>
                  <a:spcPts val="0"/>
                </a:spcBef>
                <a:spcAft>
                  <a:spcPts val="0"/>
                </a:spcAft>
              </a:pPr>
              <a:endParaRPr lang="en-US" sz="1351">
                <a:solidFill>
                  <a:srgbClr val="FFFFFF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2041743" y="1"/>
              <a:ext cx="2041743" cy="8768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1023" fontAlgn="auto">
                <a:spcBef>
                  <a:spcPts val="0"/>
                </a:spcBef>
                <a:spcAft>
                  <a:spcPts val="0"/>
                </a:spcAft>
              </a:pPr>
              <a:endParaRPr lang="en-US" sz="1351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4083485" y="1"/>
              <a:ext cx="2041743" cy="8768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1023" fontAlgn="auto">
                <a:spcBef>
                  <a:spcPts val="0"/>
                </a:spcBef>
                <a:spcAft>
                  <a:spcPts val="0"/>
                </a:spcAft>
              </a:pPr>
              <a:endParaRPr lang="en-US" sz="1351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6125227" y="1"/>
              <a:ext cx="2041743" cy="8768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1023" fontAlgn="auto">
                <a:spcBef>
                  <a:spcPts val="0"/>
                </a:spcBef>
                <a:spcAft>
                  <a:spcPts val="0"/>
                </a:spcAft>
              </a:pPr>
              <a:endParaRPr lang="en-US" sz="1351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8166969" y="1"/>
              <a:ext cx="2041743" cy="8768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1023" fontAlgn="auto">
                <a:spcBef>
                  <a:spcPts val="0"/>
                </a:spcBef>
                <a:spcAft>
                  <a:spcPts val="0"/>
                </a:spcAft>
              </a:pPr>
              <a:endParaRPr lang="en-US" sz="1351">
                <a:solidFill>
                  <a:srgbClr val="FFFFFF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0208710" y="0"/>
              <a:ext cx="1983289" cy="8768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1023" fontAlgn="auto">
                <a:spcBef>
                  <a:spcPts val="0"/>
                </a:spcBef>
                <a:spcAft>
                  <a:spcPts val="0"/>
                </a:spcAft>
              </a:pPr>
              <a:endParaRPr lang="en-US" sz="1351">
                <a:solidFill>
                  <a:srgbClr val="FFFFFF"/>
                </a:solidFill>
              </a:endParaRPr>
            </a:p>
          </p:txBody>
        </p:sp>
      </p:grpSp>
      <p:sp>
        <p:nvSpPr>
          <p:cNvPr id="25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09600" y="1836763"/>
            <a:ext cx="10972800" cy="3657600"/>
          </a:xfrm>
          <a:prstGeom prst="rect">
            <a:avLst/>
          </a:prstGeom>
        </p:spPr>
        <p:txBody>
          <a:bodyPr wrap="square" tIns="0" bIns="0" numCol="1" spcCol="36000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8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1" y="344497"/>
            <a:ext cx="148579" cy="782849"/>
            <a:chOff x="1" y="2550693"/>
            <a:chExt cx="288756" cy="1010653"/>
          </a:xfrm>
        </p:grpSpPr>
        <p:sp>
          <p:nvSpPr>
            <p:cNvPr id="32" name="Rectangle 31"/>
            <p:cNvSpPr/>
            <p:nvPr userDrawn="1"/>
          </p:nvSpPr>
          <p:spPr>
            <a:xfrm>
              <a:off x="1" y="2550693"/>
              <a:ext cx="144378" cy="101065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1023" fontAlgn="auto">
                <a:spcBef>
                  <a:spcPts val="0"/>
                </a:spcBef>
                <a:spcAft>
                  <a:spcPts val="0"/>
                </a:spcAft>
              </a:pPr>
              <a:endParaRPr lang="en-US" sz="1351">
                <a:solidFill>
                  <a:srgbClr val="FFFFFF"/>
                </a:solidFill>
              </a:endParaRPr>
            </a:p>
          </p:txBody>
        </p:sp>
        <p:sp>
          <p:nvSpPr>
            <p:cNvPr id="33" name="Rectangle 32"/>
            <p:cNvSpPr/>
            <p:nvPr userDrawn="1"/>
          </p:nvSpPr>
          <p:spPr>
            <a:xfrm>
              <a:off x="144379" y="2550693"/>
              <a:ext cx="144378" cy="101065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1023" fontAlgn="auto">
                <a:spcBef>
                  <a:spcPts val="0"/>
                </a:spcBef>
                <a:spcAft>
                  <a:spcPts val="0"/>
                </a:spcAft>
              </a:pPr>
              <a:endParaRPr lang="en-US" sz="1351">
                <a:solidFill>
                  <a:srgbClr val="FFFFFF"/>
                </a:solidFill>
              </a:endParaRPr>
            </a:p>
          </p:txBody>
        </p:sp>
      </p:grpSp>
      <p:sp>
        <p:nvSpPr>
          <p:cNvPr id="34" name="Title Placeholder 1"/>
          <p:cNvSpPr>
            <a:spLocks noGrp="1"/>
          </p:cNvSpPr>
          <p:nvPr>
            <p:ph type="title"/>
          </p:nvPr>
        </p:nvSpPr>
        <p:spPr>
          <a:xfrm>
            <a:off x="173632" y="337004"/>
            <a:ext cx="4563469" cy="4121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5" name="Subtitle 2"/>
          <p:cNvSpPr>
            <a:spLocks noGrp="1"/>
          </p:cNvSpPr>
          <p:nvPr>
            <p:ph type="subTitle" idx="1"/>
          </p:nvPr>
        </p:nvSpPr>
        <p:spPr>
          <a:xfrm>
            <a:off x="173634" y="777875"/>
            <a:ext cx="4563468" cy="3494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4828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/>
      <p:bldP spid="3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688209062"/>
      </p:ext>
    </p:extLst>
  </p:cSld>
  <p:clrMapOvr>
    <a:masterClrMapping/>
  </p:clrMapOvr>
  <p:transition>
    <p:wipe dir="r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9649938" y="6323877"/>
            <a:ext cx="290868" cy="206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56" rIns="82115" bIns="41056" anchor="b">
            <a:spAutoFit/>
          </a:bodyPr>
          <a:lstStyle/>
          <a:p>
            <a:pPr algn="r" defTabSz="814285" fontAlgn="auto">
              <a:spcBef>
                <a:spcPts val="0"/>
              </a:spcBef>
              <a:spcAft>
                <a:spcPts val="0"/>
              </a:spcAft>
              <a:defRPr/>
            </a:pPr>
            <a:fld id="{9D0E4CDE-323C-4F44-9B2F-000ABB332CCC}" type="slidenum">
              <a:rPr lang="en-US" sz="800">
                <a:solidFill>
                  <a:srgbClr val="FFFFFF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pPr algn="r" defTabSz="81428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CiscoSansTT ExtraLight"/>
              <a:ea typeface="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6118655" y="6322207"/>
            <a:ext cx="354402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15" tIns="41056" rIns="82115" bIns="41056" anchor="b">
            <a:spAutoFit/>
          </a:bodyPr>
          <a:lstStyle/>
          <a:p>
            <a:pPr defTabSz="81428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FFFFFF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117" y="6167967"/>
            <a:ext cx="565149" cy="353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5882219"/>
            <a:ext cx="12192000" cy="122767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5" tIns="60959" rIns="121915" bIns="60959" anchor="ctr"/>
          <a:lstStyle/>
          <a:p>
            <a:pPr algn="ctr" defTabSz="91102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533">
              <a:solidFill>
                <a:srgbClr val="FFFFFF"/>
              </a:solidFill>
            </a:endParaRPr>
          </a:p>
        </p:txBody>
      </p:sp>
      <p:pic>
        <p:nvPicPr>
          <p:cNvPr id="8" name="Picture 1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6635" y="6165851"/>
            <a:ext cx="1875367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442887"/>
      </p:ext>
    </p:extLst>
  </p:cSld>
  <p:clrMapOvr>
    <a:masterClrMapping/>
  </p:clrMapOvr>
  <p:transition spd="slow">
    <p:wip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68089" y="427569"/>
            <a:ext cx="1264175" cy="78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7" y="5057613"/>
            <a:ext cx="11061895" cy="384175"/>
          </a:xfrm>
          <a:prstGeom prst="rect">
            <a:avLst/>
          </a:prstGeom>
        </p:spPr>
        <p:txBody>
          <a:bodyPr lIns="91404" tIns="45702" rIns="91404" bIns="45702" anchor="b" anchorCtr="0">
            <a:noAutofit/>
          </a:bodyPr>
          <a:lstStyle>
            <a:lvl1pPr marL="0" indent="0" algn="l">
              <a:buNone/>
              <a:defRPr sz="1867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457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7" y="5438079"/>
            <a:ext cx="11061895" cy="384175"/>
          </a:xfrm>
          <a:prstGeom prst="rect">
            <a:avLst/>
          </a:prstGeom>
        </p:spPr>
        <p:txBody>
          <a:bodyPr lIns="91404" tIns="45702" rIns="91404" bIns="45702"/>
          <a:lstStyle>
            <a:lvl1pPr marL="0" indent="0" algn="l">
              <a:buFontTx/>
              <a:buNone/>
              <a:defRPr lang="en-US" sz="1867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7" y="5818550"/>
            <a:ext cx="11061895" cy="384175"/>
          </a:xfrm>
          <a:prstGeom prst="rect">
            <a:avLst/>
          </a:prstGeom>
        </p:spPr>
        <p:txBody>
          <a:bodyPr lIns="91404" tIns="45702" rIns="91404" bIns="45702"/>
          <a:lstStyle>
            <a:lvl1pPr marL="0" indent="0" algn="l">
              <a:buFontTx/>
              <a:buNone/>
              <a:defRPr lang="en-US" sz="1867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33" y="4281951"/>
            <a:ext cx="11070167" cy="398668"/>
          </a:xfrm>
          <a:prstGeom prst="rect">
            <a:avLst/>
          </a:prstGeom>
        </p:spPr>
        <p:txBody>
          <a:bodyPr lIns="91404" tIns="45702" rIns="91404" bIns="45702"/>
          <a:lstStyle>
            <a:lvl1pPr marL="0" indent="0">
              <a:buFont typeface="Arial" panose="020B0604020202020204" pitchFamily="34" charset="0"/>
              <a:buNone/>
              <a:defRPr sz="2933" baseline="0">
                <a:solidFill>
                  <a:srgbClr val="4D4D4D"/>
                </a:solidFill>
                <a:latin typeface="+mj-lt"/>
              </a:defRPr>
            </a:lvl1pPr>
            <a:lvl2pPr marL="406291" indent="0">
              <a:buNone/>
              <a:defRPr/>
            </a:lvl2pPr>
            <a:lvl3pPr marL="569744" indent="0">
              <a:buNone/>
              <a:defRPr/>
            </a:lvl3pPr>
            <a:lvl4pPr marL="688779" indent="0">
              <a:buNone/>
              <a:defRPr/>
            </a:lvl4pPr>
            <a:lvl5pPr marL="801455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75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33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339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91404" tIns="45702" rIns="91404" bIns="45702">
            <a:noAutofit/>
          </a:bodyPr>
          <a:lstStyle>
            <a:lvl1pPr marL="374488" indent="-29832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33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047" indent="-2877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530" indent="-228505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450" indent="-228505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955" indent="-22427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08" tIns="45704" rIns="91408" bIns="4570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171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583688" y="455117"/>
            <a:ext cx="11127317" cy="975783"/>
          </a:xfrm>
          <a:prstGeom prst="rect">
            <a:avLst/>
          </a:prstGeom>
        </p:spPr>
        <p:txBody>
          <a:bodyPr lIns="68589" tIns="34295" rIns="68589" bIns="34295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615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25995" y="5057598"/>
            <a:ext cx="11061895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867" b="0" i="0">
                <a:solidFill>
                  <a:schemeClr val="tx2"/>
                </a:solidFill>
                <a:latin typeface="+mn-lt"/>
                <a:cs typeface="CiscoSans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625995" y="5377594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867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625995" y="5697590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867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17723" y="4281951"/>
            <a:ext cx="11070167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aseline="0">
                <a:solidFill>
                  <a:schemeClr val="tx2"/>
                </a:solidFill>
                <a:latin typeface="+mj-l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567687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33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Freeform 6"/>
          <p:cNvSpPr>
            <a:spLocks noChangeAspect="1" noEditPoints="1"/>
          </p:cNvSpPr>
          <p:nvPr/>
        </p:nvSpPr>
        <p:spPr bwMode="auto">
          <a:xfrm>
            <a:off x="625995" y="521745"/>
            <a:ext cx="1060704" cy="563500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498492"/>
      </p:ext>
    </p:extLst>
  </p:cSld>
  <p:clrMapOvr>
    <a:masterClrMapping/>
  </p:clrMapOvr>
  <p:transition spd="slow">
    <p:wip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89" y="241252"/>
            <a:ext cx="11441231" cy="838200"/>
          </a:xfrm>
          <a:prstGeom prst="rect">
            <a:avLst/>
          </a:prstGeom>
        </p:spPr>
        <p:txBody>
          <a:bodyPr anchor="b"/>
          <a:lstStyle>
            <a:lvl1pPr algn="l" defTabSz="91432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676767"/>
                </a:solidFill>
                <a:latin typeface="+mj-lt"/>
                <a:ea typeface="ＭＳ Ｐゴシック" charset="0"/>
                <a:cs typeface="CiscoSans"/>
              </a:defRPr>
            </a:lvl1pPr>
          </a:lstStyle>
          <a:p>
            <a:pPr lvl="0" algn="l" defTabSz="912124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97" y="1335032"/>
            <a:ext cx="11405771" cy="4965192"/>
          </a:xfrm>
          <a:prstGeom prst="rect">
            <a:avLst/>
          </a:prstGeom>
        </p:spPr>
        <p:txBody>
          <a:bodyPr lIns="68580" tIns="34291" rIns="68580" bIns="34291">
            <a:noAutofit/>
          </a:bodyPr>
          <a:lstStyle>
            <a:lvl1pPr marL="228582" indent="-228582">
              <a:lnSpc>
                <a:spcPct val="95000"/>
              </a:lnSpc>
              <a:spcBef>
                <a:spcPts val="1200"/>
              </a:spcBef>
              <a:buFont typeface="Wingdings" charset="2"/>
              <a:buChar char="§"/>
              <a:defRPr sz="1867">
                <a:solidFill>
                  <a:srgbClr val="000000"/>
                </a:solidFill>
                <a:latin typeface="+mj-lt"/>
              </a:defRPr>
            </a:lvl1pPr>
            <a:lvl2pPr marL="583176" indent="-212389">
              <a:lnSpc>
                <a:spcPct val="95000"/>
              </a:lnSpc>
              <a:spcBef>
                <a:spcPts val="667"/>
              </a:spcBef>
              <a:buClrTx/>
              <a:buSzPct val="90000"/>
              <a:buFont typeface="Arial"/>
              <a:buChar char="•"/>
              <a:defRPr lang="en-US" sz="16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2pPr>
            <a:lvl3pPr marL="856764" indent="-248390">
              <a:spcBef>
                <a:spcPts val="667"/>
              </a:spcBef>
              <a:buFont typeface="Lucida Grande"/>
              <a:buChar char="–"/>
              <a:defRPr sz="1467">
                <a:solidFill>
                  <a:schemeClr val="tx1"/>
                </a:solidFill>
                <a:latin typeface="+mj-lt"/>
              </a:defRPr>
            </a:lvl3pPr>
            <a:lvl4pPr marL="1119553" indent="-212389">
              <a:spcBef>
                <a:spcPts val="667"/>
              </a:spcBef>
              <a:buFont typeface="Lucida Grande"/>
              <a:buChar char="–"/>
              <a:defRPr sz="1200">
                <a:solidFill>
                  <a:schemeClr val="tx1"/>
                </a:solidFill>
                <a:latin typeface="+mj-lt"/>
              </a:defRPr>
            </a:lvl4pPr>
            <a:lvl5pPr marL="1339144" indent="-176392">
              <a:spcBef>
                <a:spcPts val="667"/>
              </a:spcBef>
              <a:buFont typeface="Lucida Grande"/>
              <a:buChar char="–"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279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5" y="5142315"/>
            <a:ext cx="11061895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>
                    <a:lumMod val="75000"/>
                  </a:schemeClr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5" y="5430226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798350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3" y="4058205"/>
            <a:ext cx="11070167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>
                    <a:lumMod val="75000"/>
                  </a:schemeClr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7" y="3296223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>
                    <a:lumMod val="75000"/>
                  </a:schemeClr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625995" y="521745"/>
            <a:ext cx="1060704" cy="563500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10"/>
          <a:stretch/>
        </p:blipFill>
        <p:spPr>
          <a:xfrm>
            <a:off x="7761828" y="312637"/>
            <a:ext cx="4191536" cy="68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84319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D7E7B7-78BA-4AFE-9AA9-2A507909B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ED4662-8F42-4EA5-B158-8B2F322E0E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A3968E-EF02-45DD-943C-A252125CD6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02E83-3271-493E-A6C4-CDC3A523EB02}" type="datetimeFigureOut">
              <a:rPr lang="en-US" smtClean="0"/>
              <a:t>1/1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480C9-6656-4A87-B241-B722BBB7DA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97E2E7-CA7D-496D-9991-6F08B9A27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D0EB9-2D23-4467-9F87-26FE6F5B04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67350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567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70567" y="1437219"/>
            <a:ext cx="11350752" cy="45317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212945" y="6513321"/>
            <a:ext cx="47955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63379" y="6616602"/>
            <a:ext cx="955817" cy="185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8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814102"/>
            <a:r>
              <a:rPr lang="en-IN"/>
              <a:t>PSOCCT-0001</a:t>
            </a:r>
          </a:p>
        </p:txBody>
      </p:sp>
    </p:spTree>
    <p:extLst>
      <p:ext uri="{BB962C8B-B14F-4D97-AF65-F5344CB8AC3E}">
        <p14:creationId xmlns:p14="http://schemas.microsoft.com/office/powerpoint/2010/main" val="1125380280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680720"/>
            <a:ext cx="5078396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680720"/>
            <a:ext cx="4734983" cy="5440680"/>
          </a:xfrm>
          <a:prstGeom prst="rect">
            <a:avLst/>
          </a:prstGeom>
        </p:spPr>
        <p:txBody>
          <a:bodyPr lIns="0" rIns="0"/>
          <a:lstStyle>
            <a:lvl1pPr marL="152396" indent="-152396">
              <a:lnSpc>
                <a:spcPct val="100000"/>
              </a:lnSpc>
              <a:buClr>
                <a:schemeClr val="tx1"/>
              </a:buClr>
              <a:buSzPct val="60000"/>
              <a:defRPr sz="2667"/>
            </a:lvl1pPr>
            <a:lvl2pPr marL="304792" indent="-152396">
              <a:lnSpc>
                <a:spcPct val="100000"/>
              </a:lnSpc>
              <a:buClr>
                <a:schemeClr val="tx1"/>
              </a:buClr>
              <a:buSzPct val="60000"/>
              <a:defRPr sz="2667"/>
            </a:lvl2pPr>
            <a:lvl3pPr marL="457189" indent="-152396">
              <a:lnSpc>
                <a:spcPct val="100000"/>
              </a:lnSpc>
              <a:buClr>
                <a:schemeClr val="tx1"/>
              </a:buClr>
              <a:buSzPct val="60000"/>
              <a:defRPr sz="2400"/>
            </a:lvl3pPr>
            <a:lvl4pPr marL="609585" indent="-165096">
              <a:lnSpc>
                <a:spcPct val="100000"/>
              </a:lnSpc>
              <a:buClr>
                <a:schemeClr val="tx1"/>
              </a:buClr>
              <a:buSzPct val="60000"/>
              <a:defRPr sz="2133"/>
            </a:lvl4pPr>
            <a:lvl5pPr marL="766214" indent="-156629">
              <a:lnSpc>
                <a:spcPct val="100000"/>
              </a:lnSpc>
              <a:buClr>
                <a:schemeClr val="tx1"/>
              </a:buClr>
              <a:buSzPct val="60000"/>
              <a:defRPr sz="21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689" y="2213123"/>
            <a:ext cx="5078396" cy="3908277"/>
          </a:xfrm>
          <a:prstGeom prst="rect">
            <a:avLst/>
          </a:prstGeom>
        </p:spPr>
        <p:txBody>
          <a:bodyPr/>
          <a:lstStyle>
            <a:lvl1pPr marL="152396" indent="-152396">
              <a:buClr>
                <a:schemeClr val="tx2"/>
              </a:buClr>
              <a:buSzPct val="60000"/>
              <a:defRPr lang="en-US" sz="2667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1pPr>
            <a:lvl2pPr marL="304792" indent="-152396">
              <a:buClr>
                <a:schemeClr val="tx2"/>
              </a:buClr>
              <a:buSzPct val="60000"/>
              <a:defRPr sz="2667">
                <a:solidFill>
                  <a:schemeClr val="bg1">
                    <a:lumMod val="75000"/>
                  </a:schemeClr>
                </a:solidFill>
              </a:defRPr>
            </a:lvl2pPr>
            <a:lvl3pPr marL="457189" indent="-152396">
              <a:buClr>
                <a:schemeClr val="tx2"/>
              </a:buClr>
              <a:buSzPct val="60000"/>
              <a:defRPr sz="2400">
                <a:solidFill>
                  <a:schemeClr val="bg1">
                    <a:lumMod val="75000"/>
                  </a:schemeClr>
                </a:solidFill>
              </a:defRPr>
            </a:lvl3pPr>
            <a:lvl4pPr marL="609585" indent="-165096">
              <a:buClr>
                <a:schemeClr val="tx2"/>
              </a:buClr>
              <a:buSzPct val="60000"/>
              <a:defRPr sz="2133">
                <a:solidFill>
                  <a:schemeClr val="bg1">
                    <a:lumMod val="75000"/>
                  </a:schemeClr>
                </a:solidFill>
              </a:defRPr>
            </a:lvl4pPr>
            <a:lvl5pPr marL="766214" indent="-156629">
              <a:buClr>
                <a:schemeClr val="tx2"/>
              </a:buClr>
              <a:buSzPct val="60000"/>
              <a:defRPr sz="2133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5" y="6322205"/>
            <a:ext cx="447895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53809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217645-E425-453E-BEDA-4FD5FE689B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217645-E425-453E-BEDA-4FD5FE689B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267" y="431800"/>
            <a:ext cx="1255184" cy="78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25995" y="5057598"/>
            <a:ext cx="11061895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867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625995" y="5377594"/>
            <a:ext cx="11061895" cy="365273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867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625995" y="5697590"/>
            <a:ext cx="11061895" cy="365273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867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17723" y="4281951"/>
            <a:ext cx="11070167" cy="52108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aseline="0">
                <a:solidFill>
                  <a:srgbClr val="FFFFFE"/>
                </a:solidFill>
                <a:latin typeface="+mj-l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567687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33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047979"/>
      </p:ext>
    </p:extLst>
  </p:cSld>
  <p:clrMapOvr>
    <a:masterClrMapping/>
  </p:clrMapOvr>
  <p:transition spd="slow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6554" y="4279401"/>
            <a:ext cx="6246489" cy="384175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2701" y="3282703"/>
            <a:ext cx="6283409" cy="1022351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91430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33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75" y="3169976"/>
            <a:ext cx="3568700" cy="384701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31111322"/>
      </p:ext>
    </p:extLst>
  </p:cSld>
  <p:clrMapOvr>
    <a:masterClrMapping/>
  </p:clrMapOvr>
  <p:transition spd="slow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9EC59BC-2350-4EB9-8DE2-68C6F3D58C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9EC59BC-2350-4EB9-8DE2-68C6F3D58C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4627" y="6561497"/>
            <a:ext cx="290868" cy="206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56" rIns="82115" bIns="41056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6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405319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/>
        </p:nvSpPr>
        <p:spPr bwMode="ltGray">
          <a:xfrm>
            <a:off x="7048501" y="6556986"/>
            <a:ext cx="4223620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r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6 Cisco and/or its affiliates. All rights reserved.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82396958"/>
      </p:ext>
    </p:extLst>
  </p:cSld>
  <p:clrMapOvr>
    <a:masterClrMapping/>
  </p:clrMapOvr>
  <p:transition spd="slow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9EC59BC-2350-4EB9-8DE2-68C6F3D58C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9EC59BC-2350-4EB9-8DE2-68C6F3D58C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555233" y="213013"/>
            <a:ext cx="10130723" cy="9977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267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4627" y="6561497"/>
            <a:ext cx="290868" cy="206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56" rIns="82115" bIns="41056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6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405319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/>
        </p:nvSpPr>
        <p:spPr bwMode="ltGray">
          <a:xfrm>
            <a:off x="7048501" y="6556986"/>
            <a:ext cx="4223620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r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6 Cisco and/or its affiliates. All rights reserved.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82771923"/>
      </p:ext>
    </p:extLst>
  </p:cSld>
  <p:clrMapOvr>
    <a:masterClrMapping/>
  </p:clrMapOvr>
  <p:transition spd="slow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3DB9D6-542D-4B0B-8799-3EA9BA9860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3DB9D6-542D-4B0B-8799-3EA9BA986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ltGray">
          <a:xfrm>
            <a:off x="11354627" y="6561497"/>
            <a:ext cx="290868" cy="206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56" rIns="82115" bIns="41056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pic>
        <p:nvPicPr>
          <p:cNvPr id="11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6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405319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4"/>
          <p:cNvSpPr>
            <a:spLocks noChangeArrowheads="1"/>
          </p:cNvSpPr>
          <p:nvPr/>
        </p:nvSpPr>
        <p:spPr bwMode="ltGray">
          <a:xfrm>
            <a:off x="7048501" y="6556986"/>
            <a:ext cx="4223620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r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6 Cisco and/or its affiliates. All rights reserved.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04319041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-animated gradi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25995" y="5057598"/>
            <a:ext cx="11061895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867" b="0" i="0">
                <a:solidFill>
                  <a:schemeClr val="tx2"/>
                </a:solidFill>
                <a:latin typeface="+mn-lt"/>
                <a:cs typeface="CiscoSans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625995" y="5377594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867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625995" y="5697590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867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17723" y="4281951"/>
            <a:ext cx="11070167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aseline="0">
                <a:solidFill>
                  <a:schemeClr val="tx2"/>
                </a:solidFill>
                <a:latin typeface="+mj-l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10"/>
          <a:stretch/>
        </p:blipFill>
        <p:spPr>
          <a:xfrm>
            <a:off x="629263" y="2519034"/>
            <a:ext cx="10931516" cy="1799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95705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36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768444"/>
      </p:ext>
    </p:extLst>
  </p:cSld>
  <p:clrMapOvr>
    <a:masterClrMapping/>
  </p:clrMapOvr>
  <p:transition spd="slow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883" y="1797051"/>
            <a:ext cx="11040076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910" marR="0" indent="-380910" algn="ctr" defTabSz="60945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213637"/>
      </p:ext>
    </p:extLst>
  </p:cSld>
  <p:clrMapOvr>
    <a:masterClrMapping/>
  </p:clrMapOvr>
  <p:transition spd="slow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74561" indent="-298382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4933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176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719" indent="-228548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453469"/>
      </p:ext>
    </p:extLst>
  </p:cSld>
  <p:clrMapOvr>
    <a:masterClrMapping/>
  </p:clrMapOvr>
  <p:transition spd="slow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7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33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389377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171" indent="0"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6135" indent="0">
              <a:buClr>
                <a:schemeClr val="tx1"/>
              </a:buClr>
              <a:buSzPct val="80000"/>
              <a:buFont typeface="Arial"/>
              <a:buNone/>
              <a:defRPr sz="1867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91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2797903"/>
      </p:ext>
    </p:extLst>
  </p:cSld>
  <p:clrMapOvr>
    <a:masterClrMapping/>
  </p:clrMapOvr>
  <p:transition spd="slow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9547" y="1194135"/>
            <a:ext cx="11198319" cy="42242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7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33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389377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171" indent="0"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6135" indent="0">
              <a:buClr>
                <a:schemeClr val="tx1"/>
              </a:buClr>
              <a:buSzPct val="80000"/>
              <a:buFont typeface="Arial"/>
              <a:buNone/>
              <a:defRPr sz="1867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91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4968901"/>
      </p:ext>
    </p:extLst>
  </p:cSld>
  <p:clrMapOvr>
    <a:masterClrMapping/>
  </p:clrMapOvr>
  <p:transition spd="slow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3193" indent="-523187">
              <a:lnSpc>
                <a:spcPts val="592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4933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176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719" indent="-228548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077009"/>
      </p:ext>
    </p:extLst>
  </p:cSld>
  <p:clrMapOvr>
    <a:masterClrMapping/>
  </p:clrMapOvr>
  <p:transition spd="slow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16401" y="1797051"/>
            <a:ext cx="11036459" cy="42242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74561" indent="-298382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2667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176" indent="-287799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719" indent="-228548">
              <a:buClr>
                <a:schemeClr val="tx2"/>
              </a:buClr>
              <a:buSzPct val="80000"/>
              <a:buFont typeface="Arial"/>
              <a:buChar char="•"/>
              <a:defRPr sz="2133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683" indent="-228548">
              <a:buClr>
                <a:schemeClr val="tx2"/>
              </a:buClr>
              <a:buSzPct val="80000"/>
              <a:buFont typeface="Arial"/>
              <a:buChar char="•"/>
              <a:defRPr sz="1867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231" indent="-224314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8061649"/>
      </p:ext>
    </p:extLst>
  </p:cSld>
  <p:clrMapOvr>
    <a:masterClrMapping/>
  </p:clrMapOvr>
  <p:transition spd="slow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3689" y="1797051"/>
            <a:ext cx="5201497" cy="411079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2667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2"/>
              </a:buClr>
              <a:buSzPct val="80000"/>
              <a:buFont typeface="Arial"/>
              <a:buChar char="•"/>
              <a:defRPr sz="2133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2"/>
              </a:buClr>
              <a:buSzPct val="80000"/>
              <a:buFont typeface="Arial"/>
              <a:buChar char="•"/>
              <a:defRPr sz="1867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086392" y="1797051"/>
            <a:ext cx="5624613" cy="411079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2"/>
              </a:buClr>
              <a:buSzPct val="80000"/>
              <a:buFont typeface="Arial"/>
              <a:buChar char="•"/>
              <a:defRPr sz="2133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2"/>
              </a:buClr>
              <a:buSzPct val="80000"/>
              <a:buFont typeface="Arial"/>
              <a:buChar char="•"/>
              <a:defRPr sz="1867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219356"/>
      </p:ext>
    </p:extLst>
  </p:cSld>
  <p:clrMapOvr>
    <a:masterClrMapping/>
  </p:clrMapOvr>
  <p:transition spd="slow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533" y="812801"/>
            <a:ext cx="0" cy="5312833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905" y="403341"/>
            <a:ext cx="4954660" cy="1101929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9142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000" b="0" i="0" kern="1200" spc="-100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6541286" y="403341"/>
            <a:ext cx="4954660" cy="1101928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9142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b="0" i="0" kern="1200" spc="-100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3905" y="1797051"/>
            <a:ext cx="4954660" cy="411079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2667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2"/>
              </a:buClr>
              <a:buSzPct val="80000"/>
              <a:buFont typeface="Arial"/>
              <a:buChar char="•"/>
              <a:defRPr sz="2133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2"/>
              </a:buClr>
              <a:buSzPct val="80000"/>
              <a:buFont typeface="Arial"/>
              <a:buChar char="•"/>
              <a:defRPr sz="1867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541286" y="1797051"/>
            <a:ext cx="4954660" cy="411079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2667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2"/>
              </a:buClr>
              <a:buSzPct val="80000"/>
              <a:buFont typeface="Arial"/>
              <a:buChar char="•"/>
              <a:defRPr sz="2133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2"/>
              </a:buClr>
              <a:buSzPct val="80000"/>
              <a:buFont typeface="Arial"/>
              <a:buChar char="•"/>
              <a:defRPr sz="1867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426224"/>
      </p:ext>
    </p:extLst>
  </p:cSld>
  <p:clrMapOvr>
    <a:masterClrMapping/>
  </p:clrMapOvr>
  <p:transition spd="slow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01"/>
            <a:ext cx="0" cy="5312833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01"/>
            <a:ext cx="0" cy="5312833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15952" y="304425"/>
            <a:ext cx="3116145" cy="102728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9142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33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4503638" y="303785"/>
            <a:ext cx="3116145" cy="102728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9142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33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8473085" y="293972"/>
            <a:ext cx="3116145" cy="102728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9142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33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5951" y="1601459"/>
            <a:ext cx="3116147" cy="441987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11080" indent="-22854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2133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575866" indent="-228548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4503637" y="1600428"/>
            <a:ext cx="3116147" cy="441987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11080" indent="-22854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2133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575866" indent="-228548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8473083" y="1600428"/>
            <a:ext cx="3116147" cy="441987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11080" indent="-22854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2133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575866" indent="-228548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849858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11361039" y="6323876"/>
            <a:ext cx="284456" cy="206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56" rIns="82115" bIns="41056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800">
                <a:solidFill>
                  <a:schemeClr val="accent4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accent4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7823344" y="6322205"/>
            <a:ext cx="354402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15" tIns="41056" rIns="82115" bIns="41056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accent4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alphaModFix amt="60000"/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6905" y="6167967"/>
            <a:ext cx="565573" cy="35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10"/>
          <a:stretch/>
        </p:blipFill>
        <p:spPr>
          <a:xfrm>
            <a:off x="629264" y="5109925"/>
            <a:ext cx="5211099" cy="857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62060"/>
      </p:ext>
    </p:extLst>
  </p:cSld>
  <p:clrMapOvr>
    <a:masterClrMapping/>
  </p:clrMapOvr>
  <p:transition spd="slow">
    <p:wip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34" y="1773767"/>
            <a:ext cx="4950884" cy="41359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3" tIns="60947" rIns="121893" bIns="6094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14288" indent="-114288" algn="l" defTabSz="91427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88" indent="-114288" algn="l" defTabSz="91427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88" indent="-114288" algn="l" defTabSz="91427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88" indent="-114288" algn="l" defTabSz="91427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88" indent="-114288" algn="l" defTabSz="91427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6864942" y="4736592"/>
            <a:ext cx="4674993" cy="3383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3689" y="1797051"/>
            <a:ext cx="5201497" cy="411079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2667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2"/>
              </a:buClr>
              <a:buSzPct val="80000"/>
              <a:buFont typeface="Arial"/>
              <a:buChar char="•"/>
              <a:defRPr sz="2133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2"/>
              </a:buClr>
              <a:buSzPct val="80000"/>
              <a:buFont typeface="Arial"/>
              <a:buChar char="•"/>
              <a:defRPr sz="1867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4679953"/>
      </p:ext>
    </p:extLst>
  </p:cSld>
  <p:clrMapOvr>
    <a:masterClrMapping/>
  </p:clrMapOvr>
  <p:transition spd="slow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4" imgW="476" imgH="357" progId="TCLayout.ActiveDocument.1">
                  <p:embed/>
                </p:oleObj>
              </mc:Choice>
              <mc:Fallback>
                <p:oleObj name="think-cell Slide" r:id="rId4" imgW="476" imgH="357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7610068"/>
      </p:ext>
    </p:extLst>
  </p:cSld>
  <p:clrMapOvr>
    <a:masterClrMapping/>
  </p:clrMapOvr>
  <p:transition spd="slow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69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94" indent="-533277" algn="l">
              <a:lnSpc>
                <a:spcPct val="90000"/>
              </a:lnSpc>
              <a:defRPr sz="6133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572123"/>
      </p:ext>
    </p:extLst>
  </p:cSld>
  <p:clrMapOvr>
    <a:masterClrMapping/>
  </p:clrMapOvr>
  <p:transition spd="slow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800" y="812801"/>
            <a:ext cx="0" cy="5312833"/>
          </a:xfrm>
          <a:prstGeom prst="line">
            <a:avLst/>
          </a:prstGeom>
          <a:ln w="38100" cap="flat" cmpd="sng">
            <a:solidFill>
              <a:srgbClr val="004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18351" y="1918747"/>
            <a:ext cx="5093797" cy="302051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91430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55555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63360" y="872691"/>
            <a:ext cx="5154507" cy="512064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2133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641458"/>
      </p:ext>
    </p:extLst>
  </p:cSld>
  <p:clrMapOvr>
    <a:masterClrMapping/>
  </p:clrMapOvr>
  <p:transition spd="slow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1"/>
            <a:ext cx="11127317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0" y="5530961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2133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5151055"/>
      </p:ext>
    </p:extLst>
  </p:cSld>
  <p:clrMapOvr>
    <a:masterClrMapping/>
  </p:clrMapOvr>
  <p:transition spd="slow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7"/>
            <a:ext cx="11127317" cy="354753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0" y="5530961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2133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8504430"/>
      </p:ext>
    </p:extLst>
  </p:cSld>
  <p:clrMapOvr>
    <a:masterClrMapping/>
  </p:clrMapOvr>
  <p:transition spd="slow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583689" y="1799275"/>
            <a:ext cx="5342668" cy="4054364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66"/>
            <a:ext cx="5431128" cy="4052529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6660816"/>
      </p:ext>
    </p:extLst>
  </p:cSld>
  <p:clrMapOvr>
    <a:masterClrMapping/>
  </p:clrMapOvr>
  <p:transition spd="slow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583689" y="1799139"/>
            <a:ext cx="5338660" cy="405450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70235"/>
      </p:ext>
    </p:extLst>
  </p:cSld>
  <p:clrMapOvr>
    <a:masterClrMapping/>
  </p:clrMapOvr>
  <p:transition spd="slow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8113185" y="2163234"/>
            <a:ext cx="3092449" cy="3090333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 dirty="0">
              <a:cs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4563533" y="2163234"/>
            <a:ext cx="3092451" cy="309033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 dirty="0">
              <a:cs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1018118" y="2163234"/>
            <a:ext cx="3092449" cy="309033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 dirty="0"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1036647" y="3733524"/>
            <a:ext cx="3056181" cy="8048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4581926" y="3730928"/>
            <a:ext cx="3056181" cy="8048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8131107" y="3730928"/>
            <a:ext cx="3056181" cy="8048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027767" y="2857372"/>
            <a:ext cx="1051984" cy="79406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5603827" y="2870412"/>
            <a:ext cx="1051984" cy="79406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9122480" y="2857372"/>
            <a:ext cx="1051984" cy="79406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92098721"/>
      </p:ext>
    </p:extLst>
  </p:cSld>
  <p:clrMapOvr>
    <a:masterClrMapping/>
  </p:clrMapOvr>
  <p:transition spd="slow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/>
        </p:nvSpPr>
        <p:spPr bwMode="auto">
          <a:xfrm>
            <a:off x="1032934" y="2163234"/>
            <a:ext cx="3075517" cy="3075517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9" rIns="91436" bIns="4571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1219170" eaLnBrk="1" hangingPunct="1"/>
            <a:endParaRPr lang="en-US" altLang="en-US" sz="2400" dirty="0">
              <a:solidFill>
                <a:srgbClr val="FFFFFF"/>
              </a:solidFill>
            </a:endParaRP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4563534" y="2163234"/>
            <a:ext cx="3075517" cy="3075517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9" rIns="91436" bIns="4571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1219170" eaLnBrk="1" hangingPunct="1"/>
            <a:endParaRPr lang="en-US" altLang="en-US" sz="2400" dirty="0">
              <a:solidFill>
                <a:srgbClr val="FFFFFF"/>
              </a:solidFill>
            </a:endParaRPr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8117417" y="2163234"/>
            <a:ext cx="3073400" cy="3075517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9" rIns="91436" bIns="4571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1219170" eaLnBrk="1" hangingPunct="1"/>
            <a:endParaRPr lang="en-US" altLang="en-US" sz="24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033287" y="3279355"/>
            <a:ext cx="3074624" cy="842299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733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563981" y="3279355"/>
            <a:ext cx="3074624" cy="842299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733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8116671" y="3279355"/>
            <a:ext cx="3074624" cy="842299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733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051730" y="5164185"/>
            <a:ext cx="3056181" cy="8048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4582424" y="5161589"/>
            <a:ext cx="3056181" cy="8048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8135114" y="5161589"/>
            <a:ext cx="3056181" cy="8048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1013144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g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11361039" y="6323876"/>
            <a:ext cx="284456" cy="206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56" rIns="82115" bIns="41056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800">
                <a:solidFill>
                  <a:schemeClr val="accent4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accent4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7823344" y="6322205"/>
            <a:ext cx="354402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15" tIns="41056" rIns="82115" bIns="41056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accent4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alphaModFix amt="60000"/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6905" y="6167967"/>
            <a:ext cx="565573" cy="35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3303100"/>
      </p:ext>
    </p:extLst>
  </p:cSld>
  <p:clrMapOvr>
    <a:masterClrMapping/>
  </p:clrMapOvr>
  <p:transition spd="slow">
    <p:wip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767480" y="3403400"/>
            <a:ext cx="931499" cy="931499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767480" y="1902143"/>
            <a:ext cx="931499" cy="931499"/>
          </a:xfrm>
          <a:prstGeom prst="ellipse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ln>
                <a:solidFill>
                  <a:schemeClr val="bg2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767480" y="4870791"/>
            <a:ext cx="931499" cy="931499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820333" y="1910030"/>
            <a:ext cx="7298267" cy="924508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820333" y="3410391"/>
            <a:ext cx="7298267" cy="924508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820333" y="4870791"/>
            <a:ext cx="7298267" cy="924508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767481" y="1900269"/>
            <a:ext cx="931499" cy="924508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5333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767480" y="3388917"/>
            <a:ext cx="931499" cy="924508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5333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767481" y="4877782"/>
            <a:ext cx="931499" cy="924508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5333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00870365"/>
      </p:ext>
    </p:extLst>
  </p:cSld>
  <p:clrMapOvr>
    <a:masterClrMapping/>
  </p:clrMapOvr>
  <p:transition spd="slow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767480" y="3403400"/>
            <a:ext cx="931499" cy="931499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767480" y="1902143"/>
            <a:ext cx="931499" cy="931499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ln>
                <a:solidFill>
                  <a:schemeClr val="bg2"/>
                </a:solidFill>
              </a:ln>
              <a:solidFill>
                <a:schemeClr val="bg1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767480" y="4870791"/>
            <a:ext cx="931499" cy="931499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820333" y="1910030"/>
            <a:ext cx="7298267" cy="924508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820333" y="3410391"/>
            <a:ext cx="7298267" cy="924508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820333" y="4870791"/>
            <a:ext cx="7298267" cy="924508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767480" y="3403401"/>
            <a:ext cx="931499" cy="924508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5333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767481" y="4868187"/>
            <a:ext cx="931499" cy="924508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5333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767480" y="1902998"/>
            <a:ext cx="931499" cy="924508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5333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805069570"/>
      </p:ext>
    </p:extLst>
  </p:cSld>
  <p:clrMapOvr>
    <a:masterClrMapping/>
  </p:clrMapOvr>
  <p:transition spd="slow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767482" y="2639092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767481" y="1771904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767482" y="3503262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563179" y="1779790"/>
            <a:ext cx="7571664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563180" y="2646082"/>
            <a:ext cx="7571664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563180" y="3503262"/>
            <a:ext cx="7571664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767482" y="1770029"/>
            <a:ext cx="619753" cy="615103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767482" y="2639091"/>
            <a:ext cx="619753" cy="615103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767484" y="3500658"/>
            <a:ext cx="619753" cy="615103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Oval 12"/>
          <p:cNvSpPr/>
          <p:nvPr/>
        </p:nvSpPr>
        <p:spPr>
          <a:xfrm>
            <a:off x="767484" y="4366109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563181" y="4366109"/>
            <a:ext cx="7571664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767485" y="4363505"/>
            <a:ext cx="619753" cy="615103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7" name="Oval 16"/>
          <p:cNvSpPr/>
          <p:nvPr/>
        </p:nvSpPr>
        <p:spPr>
          <a:xfrm>
            <a:off x="767485" y="5228956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563183" y="5228955"/>
            <a:ext cx="7571664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767486" y="5226351"/>
            <a:ext cx="619753" cy="615103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903252850"/>
      </p:ext>
    </p:extLst>
  </p:cSld>
  <p:clrMapOvr>
    <a:masterClrMapping/>
  </p:clrMapOvr>
  <p:transition spd="slow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767482" y="2639092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767481" y="1771904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767482" y="3503262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563179" y="1779790"/>
            <a:ext cx="7571664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563180" y="2646082"/>
            <a:ext cx="7571664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563180" y="3503262"/>
            <a:ext cx="7571664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767482" y="1770029"/>
            <a:ext cx="619753" cy="615103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767482" y="2639091"/>
            <a:ext cx="619753" cy="615103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767484" y="3500658"/>
            <a:ext cx="619753" cy="615103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Oval 12"/>
          <p:cNvSpPr/>
          <p:nvPr/>
        </p:nvSpPr>
        <p:spPr>
          <a:xfrm>
            <a:off x="767484" y="4366109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563181" y="4366109"/>
            <a:ext cx="7571664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767485" y="4363505"/>
            <a:ext cx="619753" cy="615103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7" name="Oval 16"/>
          <p:cNvSpPr/>
          <p:nvPr/>
        </p:nvSpPr>
        <p:spPr>
          <a:xfrm>
            <a:off x="767485" y="5228956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5333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563183" y="5228955"/>
            <a:ext cx="7571664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667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767486" y="5226351"/>
            <a:ext cx="619753" cy="615103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866952858"/>
      </p:ext>
    </p:extLst>
  </p:cSld>
  <p:clrMapOvr>
    <a:masterClrMapping/>
  </p:clrMapOvr>
  <p:transition spd="slow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767482" y="2639092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767481" y="1771904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767482" y="3503262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563179" y="1779790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563180" y="2646082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563180" y="3503262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767482" y="1770029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767482" y="2639091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767484" y="3500658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Oval 12"/>
          <p:cNvSpPr/>
          <p:nvPr/>
        </p:nvSpPr>
        <p:spPr>
          <a:xfrm>
            <a:off x="767484" y="4366109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563182" y="4366109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767485" y="4363505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7" name="Oval 16"/>
          <p:cNvSpPr/>
          <p:nvPr/>
        </p:nvSpPr>
        <p:spPr>
          <a:xfrm>
            <a:off x="767485" y="5228956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563183" y="5228955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767486" y="5226351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Oval 19"/>
          <p:cNvSpPr/>
          <p:nvPr/>
        </p:nvSpPr>
        <p:spPr>
          <a:xfrm>
            <a:off x="5886102" y="2644113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5886101" y="1776925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5886102" y="3508284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6681799" y="1784811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681800" y="2651103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6681800" y="3508283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5886102" y="1775050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5886102" y="2644113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35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5886104" y="3505679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36" name="Oval 35"/>
          <p:cNvSpPr/>
          <p:nvPr/>
        </p:nvSpPr>
        <p:spPr>
          <a:xfrm>
            <a:off x="5886104" y="4371130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37" name="Text Placeholder 17"/>
          <p:cNvSpPr>
            <a:spLocks noGrp="1"/>
          </p:cNvSpPr>
          <p:nvPr>
            <p:ph type="body" sz="quarter" idx="29"/>
          </p:nvPr>
        </p:nvSpPr>
        <p:spPr>
          <a:xfrm>
            <a:off x="6681801" y="4371130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5886105" y="4368526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9</a:t>
            </a:r>
          </a:p>
        </p:txBody>
      </p:sp>
      <p:sp>
        <p:nvSpPr>
          <p:cNvPr id="39" name="Oval 38"/>
          <p:cNvSpPr/>
          <p:nvPr/>
        </p:nvSpPr>
        <p:spPr>
          <a:xfrm>
            <a:off x="5886105" y="5233977"/>
            <a:ext cx="619753" cy="619753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40" name="Text Placeholder 17"/>
          <p:cNvSpPr>
            <a:spLocks noGrp="1"/>
          </p:cNvSpPr>
          <p:nvPr>
            <p:ph type="body" sz="quarter" idx="31"/>
          </p:nvPr>
        </p:nvSpPr>
        <p:spPr>
          <a:xfrm>
            <a:off x="6681803" y="5233977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5886106" y="5231373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735844619"/>
      </p:ext>
    </p:extLst>
  </p:cSld>
  <p:clrMapOvr>
    <a:masterClrMapping/>
  </p:clrMapOvr>
  <p:transition spd="slow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2" name="Oval 41"/>
          <p:cNvSpPr/>
          <p:nvPr/>
        </p:nvSpPr>
        <p:spPr>
          <a:xfrm>
            <a:off x="767482" y="2639092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767481" y="1771904"/>
            <a:ext cx="619753" cy="619753"/>
          </a:xfrm>
          <a:prstGeom prst="ellipse">
            <a:avLst/>
          </a:prstGeom>
          <a:solidFill>
            <a:schemeClr val="bg2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767482" y="3503262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45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563179" y="1779790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563180" y="2646082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563180" y="3503262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767482" y="1770029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9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767482" y="2639091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0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767484" y="3500658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51" name="Oval 50"/>
          <p:cNvSpPr/>
          <p:nvPr/>
        </p:nvSpPr>
        <p:spPr>
          <a:xfrm>
            <a:off x="767484" y="4366109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5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563182" y="4366109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767485" y="4363505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54" name="Oval 53"/>
          <p:cNvSpPr/>
          <p:nvPr/>
        </p:nvSpPr>
        <p:spPr>
          <a:xfrm>
            <a:off x="767485" y="5228956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55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563183" y="5228955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767486" y="5226351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57" name="Oval 56"/>
          <p:cNvSpPr/>
          <p:nvPr/>
        </p:nvSpPr>
        <p:spPr>
          <a:xfrm>
            <a:off x="5886102" y="2644113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5886101" y="1776925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59" name="Oval 58"/>
          <p:cNvSpPr/>
          <p:nvPr/>
        </p:nvSpPr>
        <p:spPr>
          <a:xfrm>
            <a:off x="5886102" y="3508284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60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6681799" y="1784811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681800" y="2651103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6681800" y="3508283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5886102" y="1775050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64" name="Text Placehold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5886102" y="2644113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65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5886104" y="3505679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66" name="Oval 65"/>
          <p:cNvSpPr/>
          <p:nvPr/>
        </p:nvSpPr>
        <p:spPr>
          <a:xfrm>
            <a:off x="5886104" y="4371130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ph type="body" sz="quarter" idx="29"/>
          </p:nvPr>
        </p:nvSpPr>
        <p:spPr>
          <a:xfrm>
            <a:off x="6681801" y="4371130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5886105" y="4368526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9</a:t>
            </a:r>
          </a:p>
        </p:txBody>
      </p:sp>
      <p:sp>
        <p:nvSpPr>
          <p:cNvPr id="69" name="Oval 68"/>
          <p:cNvSpPr/>
          <p:nvPr/>
        </p:nvSpPr>
        <p:spPr>
          <a:xfrm>
            <a:off x="5886105" y="5233977"/>
            <a:ext cx="619753" cy="619753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1920" rtlCol="0" anchor="ctr" anchorCtr="0"/>
          <a:lstStyle/>
          <a:p>
            <a:pPr algn="ctr"/>
            <a:endParaRPr lang="en-US" sz="2667" dirty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70" name="Text Placeholder 17"/>
          <p:cNvSpPr>
            <a:spLocks noGrp="1"/>
          </p:cNvSpPr>
          <p:nvPr>
            <p:ph type="body" sz="quarter" idx="31"/>
          </p:nvPr>
        </p:nvSpPr>
        <p:spPr>
          <a:xfrm>
            <a:off x="6681803" y="5233977"/>
            <a:ext cx="2901181" cy="61510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5886106" y="5231373"/>
            <a:ext cx="619753" cy="615103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667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88107375"/>
      </p:ext>
    </p:extLst>
  </p:cSld>
  <p:clrMapOvr>
    <a:masterClrMapping/>
  </p:clrMapOvr>
  <p:transition spd="slow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85" y="617220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2108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751" y="4677197"/>
            <a:ext cx="10852149" cy="610873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230394" indent="0">
              <a:lnSpc>
                <a:spcPts val="4907"/>
              </a:lnSpc>
              <a:spcBef>
                <a:spcPts val="0"/>
              </a:spcBef>
              <a:buNone/>
              <a:defRPr sz="32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0299558"/>
      </p:ext>
    </p:extLst>
  </p:cSld>
  <p:clrMapOvr>
    <a:masterClrMapping/>
  </p:clrMapOvr>
  <p:transition spd="slow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4" y="401383"/>
            <a:ext cx="11417563" cy="52108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8380" y="4072691"/>
            <a:ext cx="11152315" cy="716158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4267" baseline="0">
                <a:solidFill>
                  <a:srgbClr val="58585B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7633427"/>
      </p:ext>
    </p:extLst>
  </p:cSld>
  <p:clrMapOvr>
    <a:masterClrMapping/>
  </p:clrMapOvr>
  <p:transition spd="slow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85" y="617220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52108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69793802"/>
      </p:ext>
    </p:extLst>
  </p:cSld>
  <p:clrMapOvr>
    <a:masterClrMapping/>
  </p:clrMapOvr>
  <p:transition spd="slow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623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2"/>
          </p:nvPr>
        </p:nvSpPr>
        <p:spPr bwMode="auto">
          <a:xfrm>
            <a:off x="666751" y="4622131"/>
            <a:ext cx="10852149" cy="69534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lIns="108000" tIns="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230394" indent="-239994">
              <a:lnSpc>
                <a:spcPts val="4907"/>
              </a:lnSpc>
              <a:spcBef>
                <a:spcPts val="0"/>
              </a:spcBef>
              <a:buNone/>
              <a:defRPr sz="42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4627" y="6561497"/>
            <a:ext cx="290868" cy="206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56" rIns="82115" bIns="41056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405319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/>
        </p:nvSpPr>
        <p:spPr bwMode="ltGray">
          <a:xfrm>
            <a:off x="7048501" y="6556986"/>
            <a:ext cx="4223620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r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6 Cisco and/or its affiliates. All rights reserved.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12199982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g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11361039" y="6323876"/>
            <a:ext cx="284456" cy="206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56" rIns="82115" bIns="41056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800">
                <a:solidFill>
                  <a:schemeClr val="bg1">
                    <a:lumMod val="75000"/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lumMod val="75000"/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7823344" y="6322205"/>
            <a:ext cx="354402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15" tIns="41056" rIns="82115" bIns="41056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bg1">
                    <a:lumMod val="75000"/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alphaModFix amt="60000"/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6905" y="6167967"/>
            <a:ext cx="565573" cy="35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3624262"/>
      </p:ext>
    </p:extLst>
  </p:cSld>
  <p:clrMapOvr>
    <a:masterClrMapping/>
  </p:clrMapOvr>
  <p:transition spd="slow">
    <p:wip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2"/>
            <a:ext cx="11307184" cy="384705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95578403"/>
      </p:ext>
    </p:extLst>
  </p:cSld>
  <p:clrMapOvr>
    <a:masterClrMapping/>
  </p:clrMapOvr>
  <p:transition spd="slow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7" y="795867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7" y="4794251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1" y="2605711"/>
            <a:ext cx="7105651" cy="38470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4495" y="4873439"/>
            <a:ext cx="6765427" cy="838200"/>
          </a:xfrm>
        </p:spPr>
        <p:txBody>
          <a:bodyPr/>
          <a:lstStyle>
            <a:lvl1pPr>
              <a:defRPr sz="2667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7824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2367" y="311151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1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914346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74581" y="3307591"/>
            <a:ext cx="8973153" cy="2152559"/>
          </a:xfrm>
        </p:spPr>
        <p:txBody>
          <a:bodyPr>
            <a:noAutofit/>
          </a:bodyPr>
          <a:lstStyle>
            <a:lvl1pPr marL="0" marR="0" indent="0" algn="l" defTabSz="91434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4746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134"/>
            <a:ext cx="4840816" cy="51604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3116505"/>
            <a:ext cx="4840224" cy="38470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83559" y="728980"/>
            <a:ext cx="5799891" cy="1085313"/>
          </a:xfrm>
        </p:spPr>
        <p:txBody>
          <a:bodyPr wrap="none" anchor="t">
            <a:noAutofit/>
          </a:bodyPr>
          <a:lstStyle>
            <a:lvl1pPr>
              <a:lnSpc>
                <a:spcPct val="90000"/>
              </a:lnSpc>
              <a:defRPr sz="3333">
                <a:solidFill>
                  <a:srgbClr val="555558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683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52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52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85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18" y="3028952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7" y="3028952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85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85" y="5183717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1994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1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58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79" y="3028958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1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4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22715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56417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51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67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309126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67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689709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68851" y="2194985"/>
            <a:ext cx="2654300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9770808"/>
      </p:ext>
    </p:extLst>
  </p:cSld>
  <p:clrMapOvr>
    <a:masterClrMapping/>
  </p:clrMapOvr>
  <p:transition spd="slow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17"/>
          <a:stretch/>
        </p:blipFill>
        <p:spPr bwMode="gray">
          <a:xfrm>
            <a:off x="2" y="7"/>
            <a:ext cx="12125413" cy="6861239"/>
          </a:xfrm>
          <a:prstGeom prst="rect">
            <a:avLst/>
          </a:prstGeom>
        </p:spPr>
      </p:pic>
      <p:sp>
        <p:nvSpPr>
          <p:cNvPr id="14" name="Freeform 13"/>
          <p:cNvSpPr/>
          <p:nvPr/>
        </p:nvSpPr>
        <p:spPr bwMode="gray">
          <a:xfrm>
            <a:off x="0" y="-8612"/>
            <a:ext cx="8214120" cy="6866616"/>
          </a:xfrm>
          <a:custGeom>
            <a:avLst/>
            <a:gdLst>
              <a:gd name="connsiteX0" fmla="*/ 0 w 6037592"/>
              <a:gd name="connsiteY0" fmla="*/ 0 h 6729919"/>
              <a:gd name="connsiteX1" fmla="*/ 6037592 w 6037592"/>
              <a:gd name="connsiteY1" fmla="*/ 0 h 6729919"/>
              <a:gd name="connsiteX2" fmla="*/ 2134066 w 6037592"/>
              <a:gd name="connsiteY2" fmla="*/ 6729919 h 6729919"/>
              <a:gd name="connsiteX3" fmla="*/ 0 w 6037592"/>
              <a:gd name="connsiteY3" fmla="*/ 6729919 h 672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7592" h="6729919">
                <a:moveTo>
                  <a:pt x="0" y="0"/>
                </a:moveTo>
                <a:lnTo>
                  <a:pt x="6037592" y="0"/>
                </a:lnTo>
                <a:lnTo>
                  <a:pt x="2134066" y="6729919"/>
                </a:lnTo>
                <a:lnTo>
                  <a:pt x="0" y="672991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64" dirty="0"/>
          </a:p>
        </p:txBody>
      </p:sp>
      <p:cxnSp>
        <p:nvCxnSpPr>
          <p:cNvPr id="15" name="Straight Connector 14"/>
          <p:cNvCxnSpPr/>
          <p:nvPr/>
        </p:nvCxnSpPr>
        <p:spPr bwMode="gray">
          <a:xfrm flipH="1">
            <a:off x="3826733" y="-8612"/>
            <a:ext cx="4110932" cy="5334333"/>
          </a:xfrm>
          <a:prstGeom prst="line">
            <a:avLst/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doc id"/>
          <p:cNvSpPr txBox="1">
            <a:spLocks noChangeArrowheads="1"/>
          </p:cNvSpPr>
          <p:nvPr/>
        </p:nvSpPr>
        <p:spPr bwMode="gray">
          <a:xfrm>
            <a:off x="11487913" y="37259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85154" y="251904"/>
            <a:ext cx="5572781" cy="101745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673" b="0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85155" y="3386695"/>
            <a:ext cx="3705189" cy="25648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29"/>
              </a:spcAft>
              <a:defRPr lang="x-none" sz="1123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26" name="Disclaimer-English (United States)"/>
          <p:cNvSpPr>
            <a:spLocks noChangeArrowheads="1"/>
          </p:cNvSpPr>
          <p:nvPr/>
        </p:nvSpPr>
        <p:spPr bwMode="gray">
          <a:xfrm>
            <a:off x="485153" y="6185613"/>
            <a:ext cx="24880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r>
              <a:rPr lang="en-US" sz="612" dirty="0">
                <a:solidFill>
                  <a:schemeClr val="bg1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1" name="Picture 10"/>
          <p:cNvPicPr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5154" y="5651313"/>
            <a:ext cx="2514709" cy="23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46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528040"/>
      </p:ext>
    </p:extLst>
  </p:cSld>
  <p:clrMapOvr>
    <a:masterClrMapping/>
  </p:clrMapOvr>
  <p:transition spd="slow">
    <p:wip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18361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9034" y="4717227"/>
            <a:ext cx="3233959" cy="1584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90307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2182368" y="263091"/>
            <a:ext cx="10009632" cy="1450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274320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6492844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74561" indent="-298382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4933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176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719" indent="-228548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8205370"/>
      </p:ext>
    </p:extLst>
  </p:cSld>
  <p:clrMapOvr>
    <a:masterClrMapping/>
  </p:clrMapOvr>
  <p:transition spd="slow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16401" y="1797051"/>
            <a:ext cx="11036459" cy="42242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74561" indent="-298382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77176" indent="-287799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996719" indent="-228548">
              <a:buClr>
                <a:schemeClr val="tx2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214683" indent="-228548">
              <a:buClr>
                <a:schemeClr val="tx2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443231" indent="-224314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1640318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F98EF-B110-1541-B5A7-94DDFC01A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5E569F-8992-A646-A7B9-4B1366951E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759341-F2B9-0D4D-A1EB-AA058C413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D8110-A292-5241-B630-D6774E40F8D8}" type="datetimeFigureOut">
              <a:rPr lang="en-US" smtClean="0"/>
              <a:t>1/1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1EE102-497A-3448-92DA-295604DB4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938EB-B60F-A140-8426-C8BA530B44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55991-60D6-4E43-B72D-641256C7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50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6601689"/>
      </p:ext>
    </p:extLst>
  </p:cSld>
  <p:clrMapOvr>
    <a:masterClrMapping/>
  </p:clrMapOvr>
  <p:transition spd="slow"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78549" y="1430867"/>
            <a:ext cx="10273272" cy="5313069"/>
            <a:chOff x="1198563" y="1308755"/>
            <a:chExt cx="10545763" cy="5453995"/>
          </a:xfrm>
          <a:solidFill>
            <a:srgbClr val="CCF2FB">
              <a:alpha val="36863"/>
            </a:srgbClr>
          </a:solidFill>
        </p:grpSpPr>
        <p:sp>
          <p:nvSpPr>
            <p:cNvPr id="5" name="Freeform 6"/>
            <p:cNvSpPr>
              <a:spLocks noEditPoints="1"/>
            </p:cNvSpPr>
            <p:nvPr/>
          </p:nvSpPr>
          <p:spPr bwMode="auto">
            <a:xfrm>
              <a:off x="1885951" y="3518555"/>
              <a:ext cx="147638" cy="103187"/>
            </a:xfrm>
            <a:custGeom>
              <a:avLst/>
              <a:gdLst>
                <a:gd name="T0" fmla="*/ 4 w 93"/>
                <a:gd name="T1" fmla="*/ 10 h 65"/>
                <a:gd name="T2" fmla="*/ 4 w 93"/>
                <a:gd name="T3" fmla="*/ 7 h 65"/>
                <a:gd name="T4" fmla="*/ 4 w 93"/>
                <a:gd name="T5" fmla="*/ 4 h 65"/>
                <a:gd name="T6" fmla="*/ 0 w 93"/>
                <a:gd name="T7" fmla="*/ 7 h 65"/>
                <a:gd name="T8" fmla="*/ 4 w 93"/>
                <a:gd name="T9" fmla="*/ 10 h 65"/>
                <a:gd name="T10" fmla="*/ 4 w 93"/>
                <a:gd name="T11" fmla="*/ 10 h 65"/>
                <a:gd name="T12" fmla="*/ 18 w 93"/>
                <a:gd name="T13" fmla="*/ 7 h 65"/>
                <a:gd name="T14" fmla="*/ 21 w 93"/>
                <a:gd name="T15" fmla="*/ 4 h 65"/>
                <a:gd name="T16" fmla="*/ 21 w 93"/>
                <a:gd name="T17" fmla="*/ 0 h 65"/>
                <a:gd name="T18" fmla="*/ 14 w 93"/>
                <a:gd name="T19" fmla="*/ 0 h 65"/>
                <a:gd name="T20" fmla="*/ 14 w 93"/>
                <a:gd name="T21" fmla="*/ 4 h 65"/>
                <a:gd name="T22" fmla="*/ 18 w 93"/>
                <a:gd name="T23" fmla="*/ 7 h 65"/>
                <a:gd name="T24" fmla="*/ 18 w 93"/>
                <a:gd name="T25" fmla="*/ 7 h 65"/>
                <a:gd name="T26" fmla="*/ 18 w 93"/>
                <a:gd name="T27" fmla="*/ 7 h 65"/>
                <a:gd name="T28" fmla="*/ 49 w 93"/>
                <a:gd name="T29" fmla="*/ 16 h 65"/>
                <a:gd name="T30" fmla="*/ 45 w 93"/>
                <a:gd name="T31" fmla="*/ 16 h 65"/>
                <a:gd name="T32" fmla="*/ 42 w 93"/>
                <a:gd name="T33" fmla="*/ 10 h 65"/>
                <a:gd name="T34" fmla="*/ 38 w 93"/>
                <a:gd name="T35" fmla="*/ 13 h 65"/>
                <a:gd name="T36" fmla="*/ 38 w 93"/>
                <a:gd name="T37" fmla="*/ 13 h 65"/>
                <a:gd name="T38" fmla="*/ 42 w 93"/>
                <a:gd name="T39" fmla="*/ 20 h 65"/>
                <a:gd name="T40" fmla="*/ 45 w 93"/>
                <a:gd name="T41" fmla="*/ 20 h 65"/>
                <a:gd name="T42" fmla="*/ 49 w 93"/>
                <a:gd name="T43" fmla="*/ 16 h 65"/>
                <a:gd name="T44" fmla="*/ 49 w 93"/>
                <a:gd name="T45" fmla="*/ 16 h 65"/>
                <a:gd name="T46" fmla="*/ 62 w 93"/>
                <a:gd name="T47" fmla="*/ 23 h 65"/>
                <a:gd name="T48" fmla="*/ 59 w 93"/>
                <a:gd name="T49" fmla="*/ 23 h 65"/>
                <a:gd name="T50" fmla="*/ 59 w 93"/>
                <a:gd name="T51" fmla="*/ 23 h 65"/>
                <a:gd name="T52" fmla="*/ 55 w 93"/>
                <a:gd name="T53" fmla="*/ 23 h 65"/>
                <a:gd name="T54" fmla="*/ 59 w 93"/>
                <a:gd name="T55" fmla="*/ 20 h 65"/>
                <a:gd name="T56" fmla="*/ 62 w 93"/>
                <a:gd name="T57" fmla="*/ 20 h 65"/>
                <a:gd name="T58" fmla="*/ 62 w 93"/>
                <a:gd name="T59" fmla="*/ 23 h 65"/>
                <a:gd name="T60" fmla="*/ 62 w 93"/>
                <a:gd name="T61" fmla="*/ 23 h 65"/>
                <a:gd name="T62" fmla="*/ 69 w 93"/>
                <a:gd name="T63" fmla="*/ 33 h 65"/>
                <a:gd name="T64" fmla="*/ 66 w 93"/>
                <a:gd name="T65" fmla="*/ 29 h 65"/>
                <a:gd name="T66" fmla="*/ 62 w 93"/>
                <a:gd name="T67" fmla="*/ 26 h 65"/>
                <a:gd name="T68" fmla="*/ 62 w 93"/>
                <a:gd name="T69" fmla="*/ 23 h 65"/>
                <a:gd name="T70" fmla="*/ 66 w 93"/>
                <a:gd name="T71" fmla="*/ 23 h 65"/>
                <a:gd name="T72" fmla="*/ 69 w 93"/>
                <a:gd name="T73" fmla="*/ 26 h 65"/>
                <a:gd name="T74" fmla="*/ 73 w 93"/>
                <a:gd name="T75" fmla="*/ 26 h 65"/>
                <a:gd name="T76" fmla="*/ 76 w 93"/>
                <a:gd name="T77" fmla="*/ 29 h 65"/>
                <a:gd name="T78" fmla="*/ 73 w 93"/>
                <a:gd name="T79" fmla="*/ 33 h 65"/>
                <a:gd name="T80" fmla="*/ 69 w 93"/>
                <a:gd name="T81" fmla="*/ 33 h 65"/>
                <a:gd name="T82" fmla="*/ 69 w 93"/>
                <a:gd name="T83" fmla="*/ 33 h 65"/>
                <a:gd name="T84" fmla="*/ 73 w 93"/>
                <a:gd name="T85" fmla="*/ 52 h 65"/>
                <a:gd name="T86" fmla="*/ 76 w 93"/>
                <a:gd name="T87" fmla="*/ 55 h 65"/>
                <a:gd name="T88" fmla="*/ 76 w 93"/>
                <a:gd name="T89" fmla="*/ 62 h 65"/>
                <a:gd name="T90" fmla="*/ 80 w 93"/>
                <a:gd name="T91" fmla="*/ 65 h 65"/>
                <a:gd name="T92" fmla="*/ 86 w 93"/>
                <a:gd name="T93" fmla="*/ 58 h 65"/>
                <a:gd name="T94" fmla="*/ 93 w 93"/>
                <a:gd name="T95" fmla="*/ 55 h 65"/>
                <a:gd name="T96" fmla="*/ 93 w 93"/>
                <a:gd name="T97" fmla="*/ 52 h 65"/>
                <a:gd name="T98" fmla="*/ 90 w 93"/>
                <a:gd name="T99" fmla="*/ 52 h 65"/>
                <a:gd name="T100" fmla="*/ 90 w 93"/>
                <a:gd name="T101" fmla="*/ 52 h 65"/>
                <a:gd name="T102" fmla="*/ 90 w 93"/>
                <a:gd name="T103" fmla="*/ 49 h 65"/>
                <a:gd name="T104" fmla="*/ 86 w 93"/>
                <a:gd name="T105" fmla="*/ 46 h 65"/>
                <a:gd name="T106" fmla="*/ 83 w 93"/>
                <a:gd name="T107" fmla="*/ 46 h 65"/>
                <a:gd name="T108" fmla="*/ 83 w 93"/>
                <a:gd name="T109" fmla="*/ 42 h 65"/>
                <a:gd name="T110" fmla="*/ 76 w 93"/>
                <a:gd name="T111" fmla="*/ 39 h 65"/>
                <a:gd name="T112" fmla="*/ 76 w 93"/>
                <a:gd name="T113" fmla="*/ 39 h 65"/>
                <a:gd name="T114" fmla="*/ 76 w 93"/>
                <a:gd name="T115" fmla="*/ 42 h 65"/>
                <a:gd name="T116" fmla="*/ 76 w 93"/>
                <a:gd name="T117" fmla="*/ 46 h 65"/>
                <a:gd name="T118" fmla="*/ 73 w 93"/>
                <a:gd name="T119" fmla="*/ 49 h 65"/>
                <a:gd name="T120" fmla="*/ 73 w 93"/>
                <a:gd name="T121" fmla="*/ 5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3" h="65">
                  <a:moveTo>
                    <a:pt x="4" y="10"/>
                  </a:moveTo>
                  <a:lnTo>
                    <a:pt x="4" y="7"/>
                  </a:lnTo>
                  <a:lnTo>
                    <a:pt x="4" y="4"/>
                  </a:lnTo>
                  <a:lnTo>
                    <a:pt x="0" y="7"/>
                  </a:lnTo>
                  <a:lnTo>
                    <a:pt x="4" y="10"/>
                  </a:lnTo>
                  <a:lnTo>
                    <a:pt x="4" y="10"/>
                  </a:lnTo>
                  <a:close/>
                  <a:moveTo>
                    <a:pt x="18" y="7"/>
                  </a:moveTo>
                  <a:lnTo>
                    <a:pt x="21" y="4"/>
                  </a:lnTo>
                  <a:lnTo>
                    <a:pt x="21" y="0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close/>
                  <a:moveTo>
                    <a:pt x="49" y="16"/>
                  </a:moveTo>
                  <a:lnTo>
                    <a:pt x="45" y="16"/>
                  </a:lnTo>
                  <a:lnTo>
                    <a:pt x="42" y="10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42" y="20"/>
                  </a:lnTo>
                  <a:lnTo>
                    <a:pt x="45" y="20"/>
                  </a:lnTo>
                  <a:lnTo>
                    <a:pt x="49" y="16"/>
                  </a:lnTo>
                  <a:lnTo>
                    <a:pt x="49" y="16"/>
                  </a:lnTo>
                  <a:close/>
                  <a:moveTo>
                    <a:pt x="62" y="23"/>
                  </a:moveTo>
                  <a:lnTo>
                    <a:pt x="59" y="23"/>
                  </a:lnTo>
                  <a:lnTo>
                    <a:pt x="59" y="23"/>
                  </a:lnTo>
                  <a:lnTo>
                    <a:pt x="55" y="23"/>
                  </a:lnTo>
                  <a:lnTo>
                    <a:pt x="59" y="20"/>
                  </a:lnTo>
                  <a:lnTo>
                    <a:pt x="62" y="20"/>
                  </a:lnTo>
                  <a:lnTo>
                    <a:pt x="62" y="23"/>
                  </a:lnTo>
                  <a:lnTo>
                    <a:pt x="62" y="23"/>
                  </a:lnTo>
                  <a:close/>
                  <a:moveTo>
                    <a:pt x="69" y="33"/>
                  </a:moveTo>
                  <a:lnTo>
                    <a:pt x="66" y="29"/>
                  </a:lnTo>
                  <a:lnTo>
                    <a:pt x="62" y="26"/>
                  </a:lnTo>
                  <a:lnTo>
                    <a:pt x="62" y="23"/>
                  </a:lnTo>
                  <a:lnTo>
                    <a:pt x="66" y="23"/>
                  </a:lnTo>
                  <a:lnTo>
                    <a:pt x="69" y="26"/>
                  </a:lnTo>
                  <a:lnTo>
                    <a:pt x="73" y="26"/>
                  </a:lnTo>
                  <a:lnTo>
                    <a:pt x="76" y="29"/>
                  </a:lnTo>
                  <a:lnTo>
                    <a:pt x="73" y="33"/>
                  </a:lnTo>
                  <a:lnTo>
                    <a:pt x="69" y="33"/>
                  </a:lnTo>
                  <a:lnTo>
                    <a:pt x="69" y="33"/>
                  </a:lnTo>
                  <a:close/>
                  <a:moveTo>
                    <a:pt x="73" y="52"/>
                  </a:moveTo>
                  <a:lnTo>
                    <a:pt x="76" y="55"/>
                  </a:lnTo>
                  <a:lnTo>
                    <a:pt x="76" y="62"/>
                  </a:lnTo>
                  <a:lnTo>
                    <a:pt x="80" y="65"/>
                  </a:lnTo>
                  <a:lnTo>
                    <a:pt x="86" y="58"/>
                  </a:lnTo>
                  <a:lnTo>
                    <a:pt x="93" y="55"/>
                  </a:lnTo>
                  <a:lnTo>
                    <a:pt x="93" y="52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49"/>
                  </a:lnTo>
                  <a:lnTo>
                    <a:pt x="86" y="46"/>
                  </a:lnTo>
                  <a:lnTo>
                    <a:pt x="83" y="46"/>
                  </a:lnTo>
                  <a:lnTo>
                    <a:pt x="83" y="42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42"/>
                  </a:lnTo>
                  <a:lnTo>
                    <a:pt x="76" y="46"/>
                  </a:lnTo>
                  <a:lnTo>
                    <a:pt x="73" y="49"/>
                  </a:lnTo>
                  <a:lnTo>
                    <a:pt x="73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7642226" y="4964767"/>
              <a:ext cx="11113" cy="11112"/>
            </a:xfrm>
            <a:custGeom>
              <a:avLst/>
              <a:gdLst>
                <a:gd name="T0" fmla="*/ 0 w 7"/>
                <a:gd name="T1" fmla="*/ 3 h 7"/>
                <a:gd name="T2" fmla="*/ 0 w 7"/>
                <a:gd name="T3" fmla="*/ 3 h 7"/>
                <a:gd name="T4" fmla="*/ 0 w 7"/>
                <a:gd name="T5" fmla="*/ 0 h 7"/>
                <a:gd name="T6" fmla="*/ 4 w 7"/>
                <a:gd name="T7" fmla="*/ 0 h 7"/>
                <a:gd name="T8" fmla="*/ 7 w 7"/>
                <a:gd name="T9" fmla="*/ 0 h 7"/>
                <a:gd name="T10" fmla="*/ 4 w 7"/>
                <a:gd name="T11" fmla="*/ 7 h 7"/>
                <a:gd name="T12" fmla="*/ 0 w 7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7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4" y="0"/>
                  </a:lnTo>
                  <a:lnTo>
                    <a:pt x="7" y="0"/>
                  </a:lnTo>
                  <a:lnTo>
                    <a:pt x="4" y="7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7581901" y="4923492"/>
              <a:ext cx="49213" cy="31750"/>
            </a:xfrm>
            <a:custGeom>
              <a:avLst/>
              <a:gdLst>
                <a:gd name="T0" fmla="*/ 7 w 31"/>
                <a:gd name="T1" fmla="*/ 13 h 20"/>
                <a:gd name="T2" fmla="*/ 7 w 31"/>
                <a:gd name="T3" fmla="*/ 10 h 20"/>
                <a:gd name="T4" fmla="*/ 7 w 31"/>
                <a:gd name="T5" fmla="*/ 7 h 20"/>
                <a:gd name="T6" fmla="*/ 7 w 31"/>
                <a:gd name="T7" fmla="*/ 4 h 20"/>
                <a:gd name="T8" fmla="*/ 7 w 31"/>
                <a:gd name="T9" fmla="*/ 0 h 20"/>
                <a:gd name="T10" fmla="*/ 4 w 31"/>
                <a:gd name="T11" fmla="*/ 0 h 20"/>
                <a:gd name="T12" fmla="*/ 0 w 31"/>
                <a:gd name="T13" fmla="*/ 7 h 20"/>
                <a:gd name="T14" fmla="*/ 4 w 31"/>
                <a:gd name="T15" fmla="*/ 7 h 20"/>
                <a:gd name="T16" fmla="*/ 4 w 31"/>
                <a:gd name="T17" fmla="*/ 10 h 20"/>
                <a:gd name="T18" fmla="*/ 4 w 31"/>
                <a:gd name="T19" fmla="*/ 13 h 20"/>
                <a:gd name="T20" fmla="*/ 7 w 31"/>
                <a:gd name="T21" fmla="*/ 13 h 20"/>
                <a:gd name="T22" fmla="*/ 7 w 31"/>
                <a:gd name="T23" fmla="*/ 13 h 20"/>
                <a:gd name="T24" fmla="*/ 7 w 31"/>
                <a:gd name="T25" fmla="*/ 20 h 20"/>
                <a:gd name="T26" fmla="*/ 11 w 31"/>
                <a:gd name="T27" fmla="*/ 20 h 20"/>
                <a:gd name="T28" fmla="*/ 14 w 31"/>
                <a:gd name="T29" fmla="*/ 20 h 20"/>
                <a:gd name="T30" fmla="*/ 11 w 31"/>
                <a:gd name="T31" fmla="*/ 20 h 20"/>
                <a:gd name="T32" fmla="*/ 7 w 31"/>
                <a:gd name="T33" fmla="*/ 20 h 20"/>
                <a:gd name="T34" fmla="*/ 7 w 31"/>
                <a:gd name="T35" fmla="*/ 20 h 20"/>
                <a:gd name="T36" fmla="*/ 7 w 31"/>
                <a:gd name="T37" fmla="*/ 20 h 20"/>
                <a:gd name="T38" fmla="*/ 28 w 31"/>
                <a:gd name="T39" fmla="*/ 20 h 20"/>
                <a:gd name="T40" fmla="*/ 31 w 31"/>
                <a:gd name="T41" fmla="*/ 20 h 20"/>
                <a:gd name="T42" fmla="*/ 28 w 31"/>
                <a:gd name="T43" fmla="*/ 17 h 20"/>
                <a:gd name="T44" fmla="*/ 28 w 31"/>
                <a:gd name="T45" fmla="*/ 17 h 20"/>
                <a:gd name="T46" fmla="*/ 24 w 31"/>
                <a:gd name="T47" fmla="*/ 17 h 20"/>
                <a:gd name="T48" fmla="*/ 28 w 31"/>
                <a:gd name="T49" fmla="*/ 20 h 20"/>
                <a:gd name="T50" fmla="*/ 28 w 31"/>
                <a:gd name="T5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" h="20">
                  <a:moveTo>
                    <a:pt x="7" y="13"/>
                  </a:move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10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13"/>
                  </a:lnTo>
                  <a:close/>
                  <a:moveTo>
                    <a:pt x="7" y="20"/>
                  </a:moveTo>
                  <a:lnTo>
                    <a:pt x="11" y="20"/>
                  </a:lnTo>
                  <a:lnTo>
                    <a:pt x="14" y="20"/>
                  </a:lnTo>
                  <a:lnTo>
                    <a:pt x="11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close/>
                  <a:moveTo>
                    <a:pt x="28" y="20"/>
                  </a:moveTo>
                  <a:lnTo>
                    <a:pt x="31" y="20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4" y="17"/>
                  </a:lnTo>
                  <a:lnTo>
                    <a:pt x="28" y="20"/>
                  </a:lnTo>
                  <a:lnTo>
                    <a:pt x="2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7686676" y="4750455"/>
              <a:ext cx="288925" cy="138112"/>
            </a:xfrm>
            <a:custGeom>
              <a:avLst/>
              <a:gdLst>
                <a:gd name="T0" fmla="*/ 179 w 182"/>
                <a:gd name="T1" fmla="*/ 6 h 87"/>
                <a:gd name="T2" fmla="*/ 182 w 182"/>
                <a:gd name="T3" fmla="*/ 3 h 87"/>
                <a:gd name="T4" fmla="*/ 182 w 182"/>
                <a:gd name="T5" fmla="*/ 3 h 87"/>
                <a:gd name="T6" fmla="*/ 179 w 182"/>
                <a:gd name="T7" fmla="*/ 0 h 87"/>
                <a:gd name="T8" fmla="*/ 179 w 182"/>
                <a:gd name="T9" fmla="*/ 3 h 87"/>
                <a:gd name="T10" fmla="*/ 179 w 182"/>
                <a:gd name="T11" fmla="*/ 6 h 87"/>
                <a:gd name="T12" fmla="*/ 179 w 182"/>
                <a:gd name="T13" fmla="*/ 6 h 87"/>
                <a:gd name="T14" fmla="*/ 3 w 182"/>
                <a:gd name="T15" fmla="*/ 84 h 87"/>
                <a:gd name="T16" fmla="*/ 7 w 182"/>
                <a:gd name="T17" fmla="*/ 84 h 87"/>
                <a:gd name="T18" fmla="*/ 3 w 182"/>
                <a:gd name="T19" fmla="*/ 87 h 87"/>
                <a:gd name="T20" fmla="*/ 3 w 182"/>
                <a:gd name="T21" fmla="*/ 84 h 87"/>
                <a:gd name="T22" fmla="*/ 3 w 182"/>
                <a:gd name="T23" fmla="*/ 84 h 87"/>
                <a:gd name="T24" fmla="*/ 0 w 182"/>
                <a:gd name="T25" fmla="*/ 80 h 87"/>
                <a:gd name="T26" fmla="*/ 0 w 182"/>
                <a:gd name="T27" fmla="*/ 77 h 87"/>
                <a:gd name="T28" fmla="*/ 3 w 182"/>
                <a:gd name="T29" fmla="*/ 77 h 87"/>
                <a:gd name="T30" fmla="*/ 7 w 182"/>
                <a:gd name="T31" fmla="*/ 77 h 87"/>
                <a:gd name="T32" fmla="*/ 3 w 182"/>
                <a:gd name="T33" fmla="*/ 80 h 87"/>
                <a:gd name="T34" fmla="*/ 0 w 182"/>
                <a:gd name="T35" fmla="*/ 80 h 87"/>
                <a:gd name="T36" fmla="*/ 0 w 182"/>
                <a:gd name="T37" fmla="*/ 8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2" h="87">
                  <a:moveTo>
                    <a:pt x="179" y="6"/>
                  </a:moveTo>
                  <a:lnTo>
                    <a:pt x="182" y="3"/>
                  </a:lnTo>
                  <a:lnTo>
                    <a:pt x="182" y="3"/>
                  </a:lnTo>
                  <a:lnTo>
                    <a:pt x="179" y="0"/>
                  </a:lnTo>
                  <a:lnTo>
                    <a:pt x="179" y="3"/>
                  </a:lnTo>
                  <a:lnTo>
                    <a:pt x="179" y="6"/>
                  </a:lnTo>
                  <a:lnTo>
                    <a:pt x="179" y="6"/>
                  </a:lnTo>
                  <a:close/>
                  <a:moveTo>
                    <a:pt x="3" y="84"/>
                  </a:moveTo>
                  <a:lnTo>
                    <a:pt x="7" y="84"/>
                  </a:lnTo>
                  <a:lnTo>
                    <a:pt x="3" y="87"/>
                  </a:lnTo>
                  <a:lnTo>
                    <a:pt x="3" y="84"/>
                  </a:lnTo>
                  <a:lnTo>
                    <a:pt x="3" y="84"/>
                  </a:lnTo>
                  <a:close/>
                  <a:moveTo>
                    <a:pt x="0" y="80"/>
                  </a:moveTo>
                  <a:lnTo>
                    <a:pt x="0" y="77"/>
                  </a:lnTo>
                  <a:lnTo>
                    <a:pt x="3" y="77"/>
                  </a:lnTo>
                  <a:lnTo>
                    <a:pt x="7" y="77"/>
                  </a:lnTo>
                  <a:lnTo>
                    <a:pt x="3" y="80"/>
                  </a:lnTo>
                  <a:lnTo>
                    <a:pt x="0" y="80"/>
                  </a:lnTo>
                  <a:lnTo>
                    <a:pt x="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9" name="Freeform 10"/>
            <p:cNvSpPr>
              <a:spLocks noEditPoints="1"/>
            </p:cNvSpPr>
            <p:nvPr/>
          </p:nvSpPr>
          <p:spPr bwMode="auto">
            <a:xfrm>
              <a:off x="9101138" y="4263092"/>
              <a:ext cx="65088" cy="188912"/>
            </a:xfrm>
            <a:custGeom>
              <a:avLst/>
              <a:gdLst>
                <a:gd name="T0" fmla="*/ 17 w 41"/>
                <a:gd name="T1" fmla="*/ 19 h 119"/>
                <a:gd name="T2" fmla="*/ 14 w 41"/>
                <a:gd name="T3" fmla="*/ 13 h 119"/>
                <a:gd name="T4" fmla="*/ 17 w 41"/>
                <a:gd name="T5" fmla="*/ 6 h 119"/>
                <a:gd name="T6" fmla="*/ 17 w 41"/>
                <a:gd name="T7" fmla="*/ 0 h 119"/>
                <a:gd name="T8" fmla="*/ 14 w 41"/>
                <a:gd name="T9" fmla="*/ 3 h 119"/>
                <a:gd name="T10" fmla="*/ 10 w 41"/>
                <a:gd name="T11" fmla="*/ 9 h 119"/>
                <a:gd name="T12" fmla="*/ 10 w 41"/>
                <a:gd name="T13" fmla="*/ 19 h 119"/>
                <a:gd name="T14" fmla="*/ 14 w 41"/>
                <a:gd name="T15" fmla="*/ 22 h 119"/>
                <a:gd name="T16" fmla="*/ 14 w 41"/>
                <a:gd name="T17" fmla="*/ 35 h 119"/>
                <a:gd name="T18" fmla="*/ 10 w 41"/>
                <a:gd name="T19" fmla="*/ 29 h 119"/>
                <a:gd name="T20" fmla="*/ 14 w 41"/>
                <a:gd name="T21" fmla="*/ 26 h 119"/>
                <a:gd name="T22" fmla="*/ 10 w 41"/>
                <a:gd name="T23" fmla="*/ 26 h 119"/>
                <a:gd name="T24" fmla="*/ 7 w 41"/>
                <a:gd name="T25" fmla="*/ 32 h 119"/>
                <a:gd name="T26" fmla="*/ 10 w 41"/>
                <a:gd name="T27" fmla="*/ 38 h 119"/>
                <a:gd name="T28" fmla="*/ 10 w 41"/>
                <a:gd name="T29" fmla="*/ 42 h 119"/>
                <a:gd name="T30" fmla="*/ 3 w 41"/>
                <a:gd name="T31" fmla="*/ 38 h 119"/>
                <a:gd name="T32" fmla="*/ 0 w 41"/>
                <a:gd name="T33" fmla="*/ 38 h 119"/>
                <a:gd name="T34" fmla="*/ 7 w 41"/>
                <a:gd name="T35" fmla="*/ 55 h 119"/>
                <a:gd name="T36" fmla="*/ 14 w 41"/>
                <a:gd name="T37" fmla="*/ 51 h 119"/>
                <a:gd name="T38" fmla="*/ 7 w 41"/>
                <a:gd name="T39" fmla="*/ 48 h 119"/>
                <a:gd name="T40" fmla="*/ 7 w 41"/>
                <a:gd name="T41" fmla="*/ 51 h 119"/>
                <a:gd name="T42" fmla="*/ 7 w 41"/>
                <a:gd name="T43" fmla="*/ 55 h 119"/>
                <a:gd name="T44" fmla="*/ 14 w 41"/>
                <a:gd name="T45" fmla="*/ 77 h 119"/>
                <a:gd name="T46" fmla="*/ 17 w 41"/>
                <a:gd name="T47" fmla="*/ 74 h 119"/>
                <a:gd name="T48" fmla="*/ 24 w 41"/>
                <a:gd name="T49" fmla="*/ 90 h 119"/>
                <a:gd name="T50" fmla="*/ 27 w 41"/>
                <a:gd name="T51" fmla="*/ 93 h 119"/>
                <a:gd name="T52" fmla="*/ 24 w 41"/>
                <a:gd name="T53" fmla="*/ 90 h 119"/>
                <a:gd name="T54" fmla="*/ 24 w 41"/>
                <a:gd name="T55" fmla="*/ 90 h 119"/>
                <a:gd name="T56" fmla="*/ 31 w 41"/>
                <a:gd name="T57" fmla="*/ 93 h 119"/>
                <a:gd name="T58" fmla="*/ 34 w 41"/>
                <a:gd name="T59" fmla="*/ 93 h 119"/>
                <a:gd name="T60" fmla="*/ 34 w 41"/>
                <a:gd name="T61" fmla="*/ 90 h 119"/>
                <a:gd name="T62" fmla="*/ 27 w 41"/>
                <a:gd name="T63" fmla="*/ 100 h 119"/>
                <a:gd name="T64" fmla="*/ 31 w 41"/>
                <a:gd name="T65" fmla="*/ 100 h 119"/>
                <a:gd name="T66" fmla="*/ 27 w 41"/>
                <a:gd name="T67" fmla="*/ 97 h 119"/>
                <a:gd name="T68" fmla="*/ 27 w 41"/>
                <a:gd name="T69" fmla="*/ 100 h 119"/>
                <a:gd name="T70" fmla="*/ 38 w 41"/>
                <a:gd name="T71" fmla="*/ 106 h 119"/>
                <a:gd name="T72" fmla="*/ 34 w 41"/>
                <a:gd name="T73" fmla="*/ 106 h 119"/>
                <a:gd name="T74" fmla="*/ 34 w 41"/>
                <a:gd name="T75" fmla="*/ 106 h 119"/>
                <a:gd name="T76" fmla="*/ 34 w 41"/>
                <a:gd name="T77" fmla="*/ 110 h 119"/>
                <a:gd name="T78" fmla="*/ 34 w 41"/>
                <a:gd name="T79" fmla="*/ 113 h 119"/>
                <a:gd name="T80" fmla="*/ 38 w 41"/>
                <a:gd name="T81" fmla="*/ 116 h 119"/>
                <a:gd name="T82" fmla="*/ 41 w 41"/>
                <a:gd name="T83" fmla="*/ 116 h 119"/>
                <a:gd name="T84" fmla="*/ 41 w 41"/>
                <a:gd name="T85" fmla="*/ 11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" h="119">
                  <a:moveTo>
                    <a:pt x="14" y="22"/>
                  </a:moveTo>
                  <a:lnTo>
                    <a:pt x="17" y="19"/>
                  </a:lnTo>
                  <a:lnTo>
                    <a:pt x="17" y="13"/>
                  </a:lnTo>
                  <a:lnTo>
                    <a:pt x="14" y="13"/>
                  </a:lnTo>
                  <a:lnTo>
                    <a:pt x="17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4" y="3"/>
                  </a:lnTo>
                  <a:lnTo>
                    <a:pt x="14" y="9"/>
                  </a:lnTo>
                  <a:lnTo>
                    <a:pt x="10" y="9"/>
                  </a:lnTo>
                  <a:lnTo>
                    <a:pt x="14" y="13"/>
                  </a:lnTo>
                  <a:lnTo>
                    <a:pt x="10" y="19"/>
                  </a:lnTo>
                  <a:lnTo>
                    <a:pt x="14" y="22"/>
                  </a:lnTo>
                  <a:lnTo>
                    <a:pt x="14" y="22"/>
                  </a:lnTo>
                  <a:close/>
                  <a:moveTo>
                    <a:pt x="10" y="42"/>
                  </a:moveTo>
                  <a:lnTo>
                    <a:pt x="14" y="35"/>
                  </a:lnTo>
                  <a:lnTo>
                    <a:pt x="14" y="32"/>
                  </a:lnTo>
                  <a:lnTo>
                    <a:pt x="10" y="29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2"/>
                  </a:lnTo>
                  <a:lnTo>
                    <a:pt x="10" y="26"/>
                  </a:lnTo>
                  <a:lnTo>
                    <a:pt x="10" y="29"/>
                  </a:lnTo>
                  <a:lnTo>
                    <a:pt x="7" y="32"/>
                  </a:lnTo>
                  <a:lnTo>
                    <a:pt x="10" y="35"/>
                  </a:lnTo>
                  <a:lnTo>
                    <a:pt x="10" y="38"/>
                  </a:lnTo>
                  <a:lnTo>
                    <a:pt x="10" y="42"/>
                  </a:lnTo>
                  <a:lnTo>
                    <a:pt x="10" y="42"/>
                  </a:lnTo>
                  <a:close/>
                  <a:moveTo>
                    <a:pt x="0" y="38"/>
                  </a:moveTo>
                  <a:lnTo>
                    <a:pt x="3" y="38"/>
                  </a:lnTo>
                  <a:lnTo>
                    <a:pt x="3" y="35"/>
                  </a:lnTo>
                  <a:lnTo>
                    <a:pt x="0" y="38"/>
                  </a:lnTo>
                  <a:lnTo>
                    <a:pt x="0" y="38"/>
                  </a:lnTo>
                  <a:close/>
                  <a:moveTo>
                    <a:pt x="7" y="55"/>
                  </a:moveTo>
                  <a:lnTo>
                    <a:pt x="10" y="55"/>
                  </a:lnTo>
                  <a:lnTo>
                    <a:pt x="14" y="51"/>
                  </a:lnTo>
                  <a:lnTo>
                    <a:pt x="10" y="48"/>
                  </a:lnTo>
                  <a:lnTo>
                    <a:pt x="7" y="48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5"/>
                  </a:lnTo>
                  <a:lnTo>
                    <a:pt x="7" y="55"/>
                  </a:lnTo>
                  <a:close/>
                  <a:moveTo>
                    <a:pt x="17" y="74"/>
                  </a:moveTo>
                  <a:lnTo>
                    <a:pt x="14" y="77"/>
                  </a:lnTo>
                  <a:lnTo>
                    <a:pt x="17" y="77"/>
                  </a:lnTo>
                  <a:lnTo>
                    <a:pt x="17" y="74"/>
                  </a:lnTo>
                  <a:lnTo>
                    <a:pt x="17" y="74"/>
                  </a:lnTo>
                  <a:close/>
                  <a:moveTo>
                    <a:pt x="24" y="90"/>
                  </a:moveTo>
                  <a:lnTo>
                    <a:pt x="24" y="90"/>
                  </a:lnTo>
                  <a:lnTo>
                    <a:pt x="27" y="93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close/>
                  <a:moveTo>
                    <a:pt x="34" y="90"/>
                  </a:moveTo>
                  <a:lnTo>
                    <a:pt x="31" y="93"/>
                  </a:lnTo>
                  <a:lnTo>
                    <a:pt x="34" y="97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0"/>
                  </a:lnTo>
                  <a:lnTo>
                    <a:pt x="34" y="90"/>
                  </a:lnTo>
                  <a:close/>
                  <a:moveTo>
                    <a:pt x="27" y="100"/>
                  </a:moveTo>
                  <a:lnTo>
                    <a:pt x="31" y="100"/>
                  </a:lnTo>
                  <a:lnTo>
                    <a:pt x="31" y="100"/>
                  </a:lnTo>
                  <a:lnTo>
                    <a:pt x="31" y="97"/>
                  </a:lnTo>
                  <a:lnTo>
                    <a:pt x="27" y="97"/>
                  </a:lnTo>
                  <a:lnTo>
                    <a:pt x="27" y="100"/>
                  </a:lnTo>
                  <a:lnTo>
                    <a:pt x="27" y="100"/>
                  </a:lnTo>
                  <a:close/>
                  <a:moveTo>
                    <a:pt x="34" y="106"/>
                  </a:moveTo>
                  <a:lnTo>
                    <a:pt x="38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close/>
                  <a:moveTo>
                    <a:pt x="38" y="110"/>
                  </a:moveTo>
                  <a:lnTo>
                    <a:pt x="34" y="110"/>
                  </a:lnTo>
                  <a:lnTo>
                    <a:pt x="34" y="113"/>
                  </a:lnTo>
                  <a:lnTo>
                    <a:pt x="34" y="113"/>
                  </a:lnTo>
                  <a:lnTo>
                    <a:pt x="38" y="116"/>
                  </a:lnTo>
                  <a:lnTo>
                    <a:pt x="38" y="116"/>
                  </a:lnTo>
                  <a:lnTo>
                    <a:pt x="38" y="119"/>
                  </a:lnTo>
                  <a:lnTo>
                    <a:pt x="41" y="116"/>
                  </a:lnTo>
                  <a:lnTo>
                    <a:pt x="41" y="113"/>
                  </a:lnTo>
                  <a:lnTo>
                    <a:pt x="41" y="110"/>
                  </a:lnTo>
                  <a:lnTo>
                    <a:pt x="38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6937376" y="1400830"/>
              <a:ext cx="4052888" cy="2071687"/>
            </a:xfrm>
            <a:custGeom>
              <a:avLst/>
              <a:gdLst>
                <a:gd name="T0" fmla="*/ 1948 w 2553"/>
                <a:gd name="T1" fmla="*/ 1066 h 1305"/>
                <a:gd name="T2" fmla="*/ 1772 w 2553"/>
                <a:gd name="T3" fmla="*/ 934 h 1305"/>
                <a:gd name="T4" fmla="*/ 1555 w 2553"/>
                <a:gd name="T5" fmla="*/ 1063 h 1305"/>
                <a:gd name="T6" fmla="*/ 1208 w 2553"/>
                <a:gd name="T7" fmla="*/ 1053 h 1305"/>
                <a:gd name="T8" fmla="*/ 840 w 2553"/>
                <a:gd name="T9" fmla="*/ 995 h 1305"/>
                <a:gd name="T10" fmla="*/ 630 w 2553"/>
                <a:gd name="T11" fmla="*/ 1063 h 1305"/>
                <a:gd name="T12" fmla="*/ 448 w 2553"/>
                <a:gd name="T13" fmla="*/ 1179 h 1305"/>
                <a:gd name="T14" fmla="*/ 317 w 2553"/>
                <a:gd name="T15" fmla="*/ 1266 h 1305"/>
                <a:gd name="T16" fmla="*/ 121 w 2553"/>
                <a:gd name="T17" fmla="*/ 1063 h 1305"/>
                <a:gd name="T18" fmla="*/ 42 w 2553"/>
                <a:gd name="T19" fmla="*/ 746 h 1305"/>
                <a:gd name="T20" fmla="*/ 162 w 2553"/>
                <a:gd name="T21" fmla="*/ 649 h 1305"/>
                <a:gd name="T22" fmla="*/ 135 w 2553"/>
                <a:gd name="T23" fmla="*/ 772 h 1305"/>
                <a:gd name="T24" fmla="*/ 276 w 2553"/>
                <a:gd name="T25" fmla="*/ 659 h 1305"/>
                <a:gd name="T26" fmla="*/ 472 w 2553"/>
                <a:gd name="T27" fmla="*/ 604 h 1305"/>
                <a:gd name="T28" fmla="*/ 572 w 2553"/>
                <a:gd name="T29" fmla="*/ 491 h 1305"/>
                <a:gd name="T30" fmla="*/ 682 w 2553"/>
                <a:gd name="T31" fmla="*/ 666 h 1305"/>
                <a:gd name="T32" fmla="*/ 668 w 2553"/>
                <a:gd name="T33" fmla="*/ 456 h 1305"/>
                <a:gd name="T34" fmla="*/ 878 w 2553"/>
                <a:gd name="T35" fmla="*/ 533 h 1305"/>
                <a:gd name="T36" fmla="*/ 774 w 2553"/>
                <a:gd name="T37" fmla="*/ 330 h 1305"/>
                <a:gd name="T38" fmla="*/ 933 w 2553"/>
                <a:gd name="T39" fmla="*/ 220 h 1305"/>
                <a:gd name="T40" fmla="*/ 1098 w 2553"/>
                <a:gd name="T41" fmla="*/ 188 h 1305"/>
                <a:gd name="T42" fmla="*/ 1125 w 2553"/>
                <a:gd name="T43" fmla="*/ 313 h 1305"/>
                <a:gd name="T44" fmla="*/ 1373 w 2553"/>
                <a:gd name="T45" fmla="*/ 252 h 1305"/>
                <a:gd name="T46" fmla="*/ 1559 w 2553"/>
                <a:gd name="T47" fmla="*/ 297 h 1305"/>
                <a:gd name="T48" fmla="*/ 1703 w 2553"/>
                <a:gd name="T49" fmla="*/ 246 h 1305"/>
                <a:gd name="T50" fmla="*/ 2054 w 2553"/>
                <a:gd name="T51" fmla="*/ 242 h 1305"/>
                <a:gd name="T52" fmla="*/ 2329 w 2553"/>
                <a:gd name="T53" fmla="*/ 191 h 1305"/>
                <a:gd name="T54" fmla="*/ 2515 w 2553"/>
                <a:gd name="T55" fmla="*/ 200 h 1305"/>
                <a:gd name="T56" fmla="*/ 2426 w 2553"/>
                <a:gd name="T57" fmla="*/ 294 h 1305"/>
                <a:gd name="T58" fmla="*/ 2522 w 2553"/>
                <a:gd name="T59" fmla="*/ 462 h 1305"/>
                <a:gd name="T60" fmla="*/ 2326 w 2553"/>
                <a:gd name="T61" fmla="*/ 614 h 1305"/>
                <a:gd name="T62" fmla="*/ 2384 w 2553"/>
                <a:gd name="T63" fmla="*/ 853 h 1305"/>
                <a:gd name="T64" fmla="*/ 2302 w 2553"/>
                <a:gd name="T65" fmla="*/ 575 h 1305"/>
                <a:gd name="T66" fmla="*/ 2192 w 2553"/>
                <a:gd name="T67" fmla="*/ 575 h 1305"/>
                <a:gd name="T68" fmla="*/ 2071 w 2553"/>
                <a:gd name="T69" fmla="*/ 688 h 1305"/>
                <a:gd name="T70" fmla="*/ 1999 w 2553"/>
                <a:gd name="T71" fmla="*/ 869 h 1305"/>
                <a:gd name="T72" fmla="*/ 2037 w 2553"/>
                <a:gd name="T73" fmla="*/ 1179 h 1305"/>
                <a:gd name="T74" fmla="*/ 183 w 2553"/>
                <a:gd name="T75" fmla="*/ 146 h 1305"/>
                <a:gd name="T76" fmla="*/ 234 w 2553"/>
                <a:gd name="T77" fmla="*/ 74 h 1305"/>
                <a:gd name="T78" fmla="*/ 217 w 2553"/>
                <a:gd name="T79" fmla="*/ 123 h 1305"/>
                <a:gd name="T80" fmla="*/ 238 w 2553"/>
                <a:gd name="T81" fmla="*/ 155 h 1305"/>
                <a:gd name="T82" fmla="*/ 293 w 2553"/>
                <a:gd name="T83" fmla="*/ 65 h 1305"/>
                <a:gd name="T84" fmla="*/ 2285 w 2553"/>
                <a:gd name="T85" fmla="*/ 556 h 1305"/>
                <a:gd name="T86" fmla="*/ 475 w 2553"/>
                <a:gd name="T87" fmla="*/ 323 h 1305"/>
                <a:gd name="T88" fmla="*/ 344 w 2553"/>
                <a:gd name="T89" fmla="*/ 391 h 1305"/>
                <a:gd name="T90" fmla="*/ 379 w 2553"/>
                <a:gd name="T91" fmla="*/ 491 h 1305"/>
                <a:gd name="T92" fmla="*/ 396 w 2553"/>
                <a:gd name="T93" fmla="*/ 556 h 1305"/>
                <a:gd name="T94" fmla="*/ 427 w 2553"/>
                <a:gd name="T95" fmla="*/ 611 h 1305"/>
                <a:gd name="T96" fmla="*/ 596 w 2553"/>
                <a:gd name="T97" fmla="*/ 430 h 1305"/>
                <a:gd name="T98" fmla="*/ 678 w 2553"/>
                <a:gd name="T99" fmla="*/ 349 h 1305"/>
                <a:gd name="T100" fmla="*/ 771 w 2553"/>
                <a:gd name="T101" fmla="*/ 346 h 1305"/>
                <a:gd name="T102" fmla="*/ 850 w 2553"/>
                <a:gd name="T103" fmla="*/ 223 h 1305"/>
                <a:gd name="T104" fmla="*/ 678 w 2553"/>
                <a:gd name="T105" fmla="*/ 62 h 1305"/>
                <a:gd name="T106" fmla="*/ 792 w 2553"/>
                <a:gd name="T107" fmla="*/ 62 h 1305"/>
                <a:gd name="T108" fmla="*/ 1518 w 2553"/>
                <a:gd name="T109" fmla="*/ 104 h 1305"/>
                <a:gd name="T110" fmla="*/ 1552 w 2553"/>
                <a:gd name="T111" fmla="*/ 87 h 1305"/>
                <a:gd name="T112" fmla="*/ 933 w 2553"/>
                <a:gd name="T113" fmla="*/ 113 h 1305"/>
                <a:gd name="T114" fmla="*/ 1576 w 2553"/>
                <a:gd name="T115" fmla="*/ 191 h 1305"/>
                <a:gd name="T116" fmla="*/ 2102 w 2553"/>
                <a:gd name="T117" fmla="*/ 217 h 1305"/>
                <a:gd name="T118" fmla="*/ 2092 w 2553"/>
                <a:gd name="T119" fmla="*/ 885 h 1305"/>
                <a:gd name="T120" fmla="*/ 1954 w 2553"/>
                <a:gd name="T121" fmla="*/ 856 h 1305"/>
                <a:gd name="T122" fmla="*/ 2470 w 2553"/>
                <a:gd name="T123" fmla="*/ 759 h 1305"/>
                <a:gd name="T124" fmla="*/ 2336 w 2553"/>
                <a:gd name="T125" fmla="*/ 1050 h 1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53" h="1305">
                  <a:moveTo>
                    <a:pt x="1979" y="1199"/>
                  </a:moveTo>
                  <a:lnTo>
                    <a:pt x="1979" y="1199"/>
                  </a:lnTo>
                  <a:lnTo>
                    <a:pt x="1975" y="1195"/>
                  </a:lnTo>
                  <a:lnTo>
                    <a:pt x="1975" y="1195"/>
                  </a:lnTo>
                  <a:lnTo>
                    <a:pt x="1979" y="1195"/>
                  </a:lnTo>
                  <a:lnTo>
                    <a:pt x="1979" y="1192"/>
                  </a:lnTo>
                  <a:lnTo>
                    <a:pt x="1975" y="1192"/>
                  </a:lnTo>
                  <a:lnTo>
                    <a:pt x="1975" y="1189"/>
                  </a:lnTo>
                  <a:lnTo>
                    <a:pt x="1975" y="1186"/>
                  </a:lnTo>
                  <a:lnTo>
                    <a:pt x="1979" y="1186"/>
                  </a:lnTo>
                  <a:lnTo>
                    <a:pt x="1982" y="1186"/>
                  </a:lnTo>
                  <a:lnTo>
                    <a:pt x="1982" y="1186"/>
                  </a:lnTo>
                  <a:lnTo>
                    <a:pt x="1982" y="1182"/>
                  </a:lnTo>
                  <a:lnTo>
                    <a:pt x="1982" y="1182"/>
                  </a:lnTo>
                  <a:lnTo>
                    <a:pt x="1982" y="1179"/>
                  </a:lnTo>
                  <a:lnTo>
                    <a:pt x="1985" y="1179"/>
                  </a:lnTo>
                  <a:lnTo>
                    <a:pt x="1985" y="1176"/>
                  </a:lnTo>
                  <a:lnTo>
                    <a:pt x="1985" y="1173"/>
                  </a:lnTo>
                  <a:lnTo>
                    <a:pt x="1982" y="1170"/>
                  </a:lnTo>
                  <a:lnTo>
                    <a:pt x="1982" y="1166"/>
                  </a:lnTo>
                  <a:lnTo>
                    <a:pt x="1982" y="1163"/>
                  </a:lnTo>
                  <a:lnTo>
                    <a:pt x="1982" y="1157"/>
                  </a:lnTo>
                  <a:lnTo>
                    <a:pt x="1982" y="1157"/>
                  </a:lnTo>
                  <a:lnTo>
                    <a:pt x="1979" y="1153"/>
                  </a:lnTo>
                  <a:lnTo>
                    <a:pt x="1979" y="1150"/>
                  </a:lnTo>
                  <a:lnTo>
                    <a:pt x="1975" y="1147"/>
                  </a:lnTo>
                  <a:lnTo>
                    <a:pt x="1972" y="1140"/>
                  </a:lnTo>
                  <a:lnTo>
                    <a:pt x="1972" y="1140"/>
                  </a:lnTo>
                  <a:lnTo>
                    <a:pt x="1972" y="1137"/>
                  </a:lnTo>
                  <a:lnTo>
                    <a:pt x="1975" y="1137"/>
                  </a:lnTo>
                  <a:lnTo>
                    <a:pt x="1975" y="1137"/>
                  </a:lnTo>
                  <a:lnTo>
                    <a:pt x="1979" y="1134"/>
                  </a:lnTo>
                  <a:lnTo>
                    <a:pt x="1979" y="1131"/>
                  </a:lnTo>
                  <a:lnTo>
                    <a:pt x="1982" y="1128"/>
                  </a:lnTo>
                  <a:lnTo>
                    <a:pt x="1982" y="1128"/>
                  </a:lnTo>
                  <a:lnTo>
                    <a:pt x="1985" y="1128"/>
                  </a:lnTo>
                  <a:lnTo>
                    <a:pt x="1989" y="1128"/>
                  </a:lnTo>
                  <a:lnTo>
                    <a:pt x="2003" y="1131"/>
                  </a:lnTo>
                  <a:lnTo>
                    <a:pt x="2003" y="1131"/>
                  </a:lnTo>
                  <a:lnTo>
                    <a:pt x="2006" y="1131"/>
                  </a:lnTo>
                  <a:lnTo>
                    <a:pt x="2006" y="1131"/>
                  </a:lnTo>
                  <a:lnTo>
                    <a:pt x="2006" y="1128"/>
                  </a:lnTo>
                  <a:lnTo>
                    <a:pt x="2006" y="1124"/>
                  </a:lnTo>
                  <a:lnTo>
                    <a:pt x="2006" y="1124"/>
                  </a:lnTo>
                  <a:lnTo>
                    <a:pt x="2006" y="1121"/>
                  </a:lnTo>
                  <a:lnTo>
                    <a:pt x="2006" y="1121"/>
                  </a:lnTo>
                  <a:lnTo>
                    <a:pt x="2006" y="1118"/>
                  </a:lnTo>
                  <a:lnTo>
                    <a:pt x="2006" y="1115"/>
                  </a:lnTo>
                  <a:lnTo>
                    <a:pt x="2006" y="1115"/>
                  </a:lnTo>
                  <a:lnTo>
                    <a:pt x="2006" y="1111"/>
                  </a:lnTo>
                  <a:lnTo>
                    <a:pt x="2006" y="1111"/>
                  </a:lnTo>
                  <a:lnTo>
                    <a:pt x="2006" y="1108"/>
                  </a:lnTo>
                  <a:lnTo>
                    <a:pt x="2009" y="1108"/>
                  </a:lnTo>
                  <a:lnTo>
                    <a:pt x="2009" y="1105"/>
                  </a:lnTo>
                  <a:lnTo>
                    <a:pt x="2009" y="1105"/>
                  </a:lnTo>
                  <a:lnTo>
                    <a:pt x="2006" y="1102"/>
                  </a:lnTo>
                  <a:lnTo>
                    <a:pt x="2006" y="1102"/>
                  </a:lnTo>
                  <a:lnTo>
                    <a:pt x="2009" y="1098"/>
                  </a:lnTo>
                  <a:lnTo>
                    <a:pt x="2009" y="1098"/>
                  </a:lnTo>
                  <a:lnTo>
                    <a:pt x="2009" y="1095"/>
                  </a:lnTo>
                  <a:lnTo>
                    <a:pt x="2006" y="1092"/>
                  </a:lnTo>
                  <a:lnTo>
                    <a:pt x="2006" y="1089"/>
                  </a:lnTo>
                  <a:lnTo>
                    <a:pt x="2006" y="1089"/>
                  </a:lnTo>
                  <a:lnTo>
                    <a:pt x="2009" y="1089"/>
                  </a:lnTo>
                  <a:lnTo>
                    <a:pt x="2009" y="1086"/>
                  </a:lnTo>
                  <a:lnTo>
                    <a:pt x="2006" y="1086"/>
                  </a:lnTo>
                  <a:lnTo>
                    <a:pt x="2006" y="1082"/>
                  </a:lnTo>
                  <a:lnTo>
                    <a:pt x="2006" y="1082"/>
                  </a:lnTo>
                  <a:lnTo>
                    <a:pt x="2006" y="1082"/>
                  </a:lnTo>
                  <a:lnTo>
                    <a:pt x="2006" y="1079"/>
                  </a:lnTo>
                  <a:lnTo>
                    <a:pt x="2006" y="1076"/>
                  </a:lnTo>
                  <a:lnTo>
                    <a:pt x="2006" y="1076"/>
                  </a:lnTo>
                  <a:lnTo>
                    <a:pt x="2003" y="1073"/>
                  </a:lnTo>
                  <a:lnTo>
                    <a:pt x="2003" y="1073"/>
                  </a:lnTo>
                  <a:lnTo>
                    <a:pt x="2006" y="1069"/>
                  </a:lnTo>
                  <a:lnTo>
                    <a:pt x="2009" y="1069"/>
                  </a:lnTo>
                  <a:lnTo>
                    <a:pt x="2009" y="1066"/>
                  </a:lnTo>
                  <a:lnTo>
                    <a:pt x="2009" y="1063"/>
                  </a:lnTo>
                  <a:lnTo>
                    <a:pt x="2009" y="1060"/>
                  </a:lnTo>
                  <a:lnTo>
                    <a:pt x="2009" y="1060"/>
                  </a:lnTo>
                  <a:lnTo>
                    <a:pt x="2006" y="1056"/>
                  </a:lnTo>
                  <a:lnTo>
                    <a:pt x="2006" y="1056"/>
                  </a:lnTo>
                  <a:lnTo>
                    <a:pt x="2003" y="1053"/>
                  </a:lnTo>
                  <a:lnTo>
                    <a:pt x="2003" y="1050"/>
                  </a:lnTo>
                  <a:lnTo>
                    <a:pt x="2006" y="1050"/>
                  </a:lnTo>
                  <a:lnTo>
                    <a:pt x="2003" y="1047"/>
                  </a:lnTo>
                  <a:lnTo>
                    <a:pt x="2003" y="1044"/>
                  </a:lnTo>
                  <a:lnTo>
                    <a:pt x="1999" y="1044"/>
                  </a:lnTo>
                  <a:lnTo>
                    <a:pt x="1996" y="1044"/>
                  </a:lnTo>
                  <a:lnTo>
                    <a:pt x="1992" y="1044"/>
                  </a:lnTo>
                  <a:lnTo>
                    <a:pt x="1989" y="1044"/>
                  </a:lnTo>
                  <a:lnTo>
                    <a:pt x="1989" y="1044"/>
                  </a:lnTo>
                  <a:lnTo>
                    <a:pt x="1985" y="1047"/>
                  </a:lnTo>
                  <a:lnTo>
                    <a:pt x="1985" y="1047"/>
                  </a:lnTo>
                  <a:lnTo>
                    <a:pt x="1982" y="1050"/>
                  </a:lnTo>
                  <a:lnTo>
                    <a:pt x="1982" y="1050"/>
                  </a:lnTo>
                  <a:lnTo>
                    <a:pt x="1979" y="1053"/>
                  </a:lnTo>
                  <a:lnTo>
                    <a:pt x="1975" y="1053"/>
                  </a:lnTo>
                  <a:lnTo>
                    <a:pt x="1972" y="1053"/>
                  </a:lnTo>
                  <a:lnTo>
                    <a:pt x="1972" y="1056"/>
                  </a:lnTo>
                  <a:lnTo>
                    <a:pt x="1972" y="1056"/>
                  </a:lnTo>
                  <a:lnTo>
                    <a:pt x="1968" y="1060"/>
                  </a:lnTo>
                  <a:lnTo>
                    <a:pt x="1968" y="1063"/>
                  </a:lnTo>
                  <a:lnTo>
                    <a:pt x="1968" y="1063"/>
                  </a:lnTo>
                  <a:lnTo>
                    <a:pt x="1968" y="1063"/>
                  </a:lnTo>
                  <a:lnTo>
                    <a:pt x="1965" y="1066"/>
                  </a:lnTo>
                  <a:lnTo>
                    <a:pt x="1958" y="1066"/>
                  </a:lnTo>
                  <a:lnTo>
                    <a:pt x="1958" y="1066"/>
                  </a:lnTo>
                  <a:lnTo>
                    <a:pt x="1954" y="1066"/>
                  </a:lnTo>
                  <a:lnTo>
                    <a:pt x="1954" y="1069"/>
                  </a:lnTo>
                  <a:lnTo>
                    <a:pt x="1951" y="1069"/>
                  </a:lnTo>
                  <a:lnTo>
                    <a:pt x="1951" y="1066"/>
                  </a:lnTo>
                  <a:lnTo>
                    <a:pt x="1948" y="1066"/>
                  </a:lnTo>
                  <a:lnTo>
                    <a:pt x="1944" y="1066"/>
                  </a:lnTo>
                  <a:lnTo>
                    <a:pt x="1941" y="1066"/>
                  </a:lnTo>
                  <a:lnTo>
                    <a:pt x="1941" y="1066"/>
                  </a:lnTo>
                  <a:lnTo>
                    <a:pt x="1937" y="1066"/>
                  </a:lnTo>
                  <a:lnTo>
                    <a:pt x="1934" y="1063"/>
                  </a:lnTo>
                  <a:lnTo>
                    <a:pt x="1934" y="1063"/>
                  </a:lnTo>
                  <a:lnTo>
                    <a:pt x="1930" y="1056"/>
                  </a:lnTo>
                  <a:lnTo>
                    <a:pt x="1930" y="1056"/>
                  </a:lnTo>
                  <a:lnTo>
                    <a:pt x="1930" y="1053"/>
                  </a:lnTo>
                  <a:lnTo>
                    <a:pt x="1930" y="1050"/>
                  </a:lnTo>
                  <a:lnTo>
                    <a:pt x="1930" y="1047"/>
                  </a:lnTo>
                  <a:lnTo>
                    <a:pt x="1930" y="1047"/>
                  </a:lnTo>
                  <a:lnTo>
                    <a:pt x="1927" y="1047"/>
                  </a:lnTo>
                  <a:lnTo>
                    <a:pt x="1927" y="1044"/>
                  </a:lnTo>
                  <a:lnTo>
                    <a:pt x="1927" y="1040"/>
                  </a:lnTo>
                  <a:lnTo>
                    <a:pt x="1927" y="1040"/>
                  </a:lnTo>
                  <a:lnTo>
                    <a:pt x="1927" y="1037"/>
                  </a:lnTo>
                  <a:lnTo>
                    <a:pt x="1927" y="1037"/>
                  </a:lnTo>
                  <a:lnTo>
                    <a:pt x="1923" y="1037"/>
                  </a:lnTo>
                  <a:lnTo>
                    <a:pt x="1923" y="1037"/>
                  </a:lnTo>
                  <a:lnTo>
                    <a:pt x="1920" y="1037"/>
                  </a:lnTo>
                  <a:lnTo>
                    <a:pt x="1920" y="1040"/>
                  </a:lnTo>
                  <a:lnTo>
                    <a:pt x="1917" y="1037"/>
                  </a:lnTo>
                  <a:lnTo>
                    <a:pt x="1913" y="1037"/>
                  </a:lnTo>
                  <a:lnTo>
                    <a:pt x="1913" y="1037"/>
                  </a:lnTo>
                  <a:lnTo>
                    <a:pt x="1910" y="1037"/>
                  </a:lnTo>
                  <a:lnTo>
                    <a:pt x="1906" y="1034"/>
                  </a:lnTo>
                  <a:lnTo>
                    <a:pt x="1906" y="1034"/>
                  </a:lnTo>
                  <a:lnTo>
                    <a:pt x="1906" y="1031"/>
                  </a:lnTo>
                  <a:lnTo>
                    <a:pt x="1903" y="1031"/>
                  </a:lnTo>
                  <a:lnTo>
                    <a:pt x="1903" y="1031"/>
                  </a:lnTo>
                  <a:lnTo>
                    <a:pt x="1899" y="1027"/>
                  </a:lnTo>
                  <a:lnTo>
                    <a:pt x="1899" y="1027"/>
                  </a:lnTo>
                  <a:lnTo>
                    <a:pt x="1896" y="1027"/>
                  </a:lnTo>
                  <a:lnTo>
                    <a:pt x="1896" y="1024"/>
                  </a:lnTo>
                  <a:lnTo>
                    <a:pt x="1896" y="1024"/>
                  </a:lnTo>
                  <a:lnTo>
                    <a:pt x="1893" y="1024"/>
                  </a:lnTo>
                  <a:lnTo>
                    <a:pt x="1893" y="1024"/>
                  </a:lnTo>
                  <a:lnTo>
                    <a:pt x="1889" y="1024"/>
                  </a:lnTo>
                  <a:lnTo>
                    <a:pt x="1889" y="1024"/>
                  </a:lnTo>
                  <a:lnTo>
                    <a:pt x="1889" y="1027"/>
                  </a:lnTo>
                  <a:lnTo>
                    <a:pt x="1886" y="1024"/>
                  </a:lnTo>
                  <a:lnTo>
                    <a:pt x="1882" y="1024"/>
                  </a:lnTo>
                  <a:lnTo>
                    <a:pt x="1882" y="1024"/>
                  </a:lnTo>
                  <a:lnTo>
                    <a:pt x="1879" y="1024"/>
                  </a:lnTo>
                  <a:lnTo>
                    <a:pt x="1875" y="1021"/>
                  </a:lnTo>
                  <a:lnTo>
                    <a:pt x="1879" y="1021"/>
                  </a:lnTo>
                  <a:lnTo>
                    <a:pt x="1879" y="1021"/>
                  </a:lnTo>
                  <a:lnTo>
                    <a:pt x="1875" y="1021"/>
                  </a:lnTo>
                  <a:lnTo>
                    <a:pt x="1872" y="1021"/>
                  </a:lnTo>
                  <a:lnTo>
                    <a:pt x="1868" y="1021"/>
                  </a:lnTo>
                  <a:lnTo>
                    <a:pt x="1868" y="1021"/>
                  </a:lnTo>
                  <a:lnTo>
                    <a:pt x="1865" y="1021"/>
                  </a:lnTo>
                  <a:lnTo>
                    <a:pt x="1865" y="1021"/>
                  </a:lnTo>
                  <a:lnTo>
                    <a:pt x="1862" y="1021"/>
                  </a:lnTo>
                  <a:lnTo>
                    <a:pt x="1858" y="1018"/>
                  </a:lnTo>
                  <a:lnTo>
                    <a:pt x="1858" y="1018"/>
                  </a:lnTo>
                  <a:lnTo>
                    <a:pt x="1851" y="1014"/>
                  </a:lnTo>
                  <a:lnTo>
                    <a:pt x="1851" y="1011"/>
                  </a:lnTo>
                  <a:lnTo>
                    <a:pt x="1851" y="1008"/>
                  </a:lnTo>
                  <a:lnTo>
                    <a:pt x="1851" y="1005"/>
                  </a:lnTo>
                  <a:lnTo>
                    <a:pt x="1848" y="1005"/>
                  </a:lnTo>
                  <a:lnTo>
                    <a:pt x="1844" y="1005"/>
                  </a:lnTo>
                  <a:lnTo>
                    <a:pt x="1844" y="1002"/>
                  </a:lnTo>
                  <a:lnTo>
                    <a:pt x="1844" y="1002"/>
                  </a:lnTo>
                  <a:lnTo>
                    <a:pt x="1844" y="995"/>
                  </a:lnTo>
                  <a:lnTo>
                    <a:pt x="1841" y="995"/>
                  </a:lnTo>
                  <a:lnTo>
                    <a:pt x="1834" y="989"/>
                  </a:lnTo>
                  <a:lnTo>
                    <a:pt x="1831" y="985"/>
                  </a:lnTo>
                  <a:lnTo>
                    <a:pt x="1831" y="982"/>
                  </a:lnTo>
                  <a:lnTo>
                    <a:pt x="1827" y="982"/>
                  </a:lnTo>
                  <a:lnTo>
                    <a:pt x="1827" y="982"/>
                  </a:lnTo>
                  <a:lnTo>
                    <a:pt x="1827" y="982"/>
                  </a:lnTo>
                  <a:lnTo>
                    <a:pt x="1827" y="979"/>
                  </a:lnTo>
                  <a:lnTo>
                    <a:pt x="1827" y="979"/>
                  </a:lnTo>
                  <a:lnTo>
                    <a:pt x="1824" y="976"/>
                  </a:lnTo>
                  <a:lnTo>
                    <a:pt x="1824" y="972"/>
                  </a:lnTo>
                  <a:lnTo>
                    <a:pt x="1820" y="972"/>
                  </a:lnTo>
                  <a:lnTo>
                    <a:pt x="1820" y="969"/>
                  </a:lnTo>
                  <a:lnTo>
                    <a:pt x="1817" y="969"/>
                  </a:lnTo>
                  <a:lnTo>
                    <a:pt x="1817" y="966"/>
                  </a:lnTo>
                  <a:lnTo>
                    <a:pt x="1810" y="963"/>
                  </a:lnTo>
                  <a:lnTo>
                    <a:pt x="1810" y="963"/>
                  </a:lnTo>
                  <a:lnTo>
                    <a:pt x="1813" y="960"/>
                  </a:lnTo>
                  <a:lnTo>
                    <a:pt x="1813" y="956"/>
                  </a:lnTo>
                  <a:lnTo>
                    <a:pt x="1807" y="956"/>
                  </a:lnTo>
                  <a:lnTo>
                    <a:pt x="1807" y="956"/>
                  </a:lnTo>
                  <a:lnTo>
                    <a:pt x="1807" y="953"/>
                  </a:lnTo>
                  <a:lnTo>
                    <a:pt x="1807" y="953"/>
                  </a:lnTo>
                  <a:lnTo>
                    <a:pt x="1807" y="950"/>
                  </a:lnTo>
                  <a:lnTo>
                    <a:pt x="1803" y="947"/>
                  </a:lnTo>
                  <a:lnTo>
                    <a:pt x="1803" y="947"/>
                  </a:lnTo>
                  <a:lnTo>
                    <a:pt x="1803" y="947"/>
                  </a:lnTo>
                  <a:lnTo>
                    <a:pt x="1800" y="943"/>
                  </a:lnTo>
                  <a:lnTo>
                    <a:pt x="1800" y="943"/>
                  </a:lnTo>
                  <a:lnTo>
                    <a:pt x="1796" y="943"/>
                  </a:lnTo>
                  <a:lnTo>
                    <a:pt x="1793" y="943"/>
                  </a:lnTo>
                  <a:lnTo>
                    <a:pt x="1796" y="940"/>
                  </a:lnTo>
                  <a:lnTo>
                    <a:pt x="1796" y="940"/>
                  </a:lnTo>
                  <a:lnTo>
                    <a:pt x="1793" y="940"/>
                  </a:lnTo>
                  <a:lnTo>
                    <a:pt x="1789" y="940"/>
                  </a:lnTo>
                  <a:lnTo>
                    <a:pt x="1789" y="940"/>
                  </a:lnTo>
                  <a:lnTo>
                    <a:pt x="1786" y="940"/>
                  </a:lnTo>
                  <a:lnTo>
                    <a:pt x="1786" y="937"/>
                  </a:lnTo>
                  <a:lnTo>
                    <a:pt x="1786" y="937"/>
                  </a:lnTo>
                  <a:lnTo>
                    <a:pt x="1786" y="934"/>
                  </a:lnTo>
                  <a:lnTo>
                    <a:pt x="1782" y="934"/>
                  </a:lnTo>
                  <a:lnTo>
                    <a:pt x="1782" y="934"/>
                  </a:lnTo>
                  <a:lnTo>
                    <a:pt x="1779" y="930"/>
                  </a:lnTo>
                  <a:lnTo>
                    <a:pt x="1779" y="934"/>
                  </a:lnTo>
                  <a:lnTo>
                    <a:pt x="1776" y="934"/>
                  </a:lnTo>
                  <a:lnTo>
                    <a:pt x="1772" y="930"/>
                  </a:lnTo>
                  <a:lnTo>
                    <a:pt x="1772" y="934"/>
                  </a:lnTo>
                  <a:lnTo>
                    <a:pt x="1772" y="934"/>
                  </a:lnTo>
                  <a:lnTo>
                    <a:pt x="1769" y="934"/>
                  </a:lnTo>
                  <a:lnTo>
                    <a:pt x="1765" y="934"/>
                  </a:lnTo>
                  <a:lnTo>
                    <a:pt x="1765" y="934"/>
                  </a:lnTo>
                  <a:lnTo>
                    <a:pt x="1762" y="934"/>
                  </a:lnTo>
                  <a:lnTo>
                    <a:pt x="1758" y="934"/>
                  </a:lnTo>
                  <a:lnTo>
                    <a:pt x="1758" y="930"/>
                  </a:lnTo>
                  <a:lnTo>
                    <a:pt x="1755" y="930"/>
                  </a:lnTo>
                  <a:lnTo>
                    <a:pt x="1748" y="930"/>
                  </a:lnTo>
                  <a:lnTo>
                    <a:pt x="1748" y="927"/>
                  </a:lnTo>
                  <a:lnTo>
                    <a:pt x="1745" y="927"/>
                  </a:lnTo>
                  <a:lnTo>
                    <a:pt x="1741" y="927"/>
                  </a:lnTo>
                  <a:lnTo>
                    <a:pt x="1741" y="927"/>
                  </a:lnTo>
                  <a:lnTo>
                    <a:pt x="1734" y="927"/>
                  </a:lnTo>
                  <a:lnTo>
                    <a:pt x="1734" y="930"/>
                  </a:lnTo>
                  <a:lnTo>
                    <a:pt x="1731" y="930"/>
                  </a:lnTo>
                  <a:lnTo>
                    <a:pt x="1731" y="934"/>
                  </a:lnTo>
                  <a:lnTo>
                    <a:pt x="1727" y="934"/>
                  </a:lnTo>
                  <a:lnTo>
                    <a:pt x="1724" y="934"/>
                  </a:lnTo>
                  <a:lnTo>
                    <a:pt x="1721" y="930"/>
                  </a:lnTo>
                  <a:lnTo>
                    <a:pt x="1717" y="934"/>
                  </a:lnTo>
                  <a:lnTo>
                    <a:pt x="1714" y="934"/>
                  </a:lnTo>
                  <a:lnTo>
                    <a:pt x="1714" y="937"/>
                  </a:lnTo>
                  <a:lnTo>
                    <a:pt x="1710" y="937"/>
                  </a:lnTo>
                  <a:lnTo>
                    <a:pt x="1707" y="937"/>
                  </a:lnTo>
                  <a:lnTo>
                    <a:pt x="1707" y="937"/>
                  </a:lnTo>
                  <a:lnTo>
                    <a:pt x="1703" y="937"/>
                  </a:lnTo>
                  <a:lnTo>
                    <a:pt x="1700" y="940"/>
                  </a:lnTo>
                  <a:lnTo>
                    <a:pt x="1696" y="940"/>
                  </a:lnTo>
                  <a:lnTo>
                    <a:pt x="1693" y="940"/>
                  </a:lnTo>
                  <a:lnTo>
                    <a:pt x="1693" y="943"/>
                  </a:lnTo>
                  <a:lnTo>
                    <a:pt x="1693" y="947"/>
                  </a:lnTo>
                  <a:lnTo>
                    <a:pt x="1690" y="950"/>
                  </a:lnTo>
                  <a:lnTo>
                    <a:pt x="1690" y="950"/>
                  </a:lnTo>
                  <a:lnTo>
                    <a:pt x="1690" y="953"/>
                  </a:lnTo>
                  <a:lnTo>
                    <a:pt x="1686" y="953"/>
                  </a:lnTo>
                  <a:lnTo>
                    <a:pt x="1686" y="956"/>
                  </a:lnTo>
                  <a:lnTo>
                    <a:pt x="1690" y="960"/>
                  </a:lnTo>
                  <a:lnTo>
                    <a:pt x="1690" y="960"/>
                  </a:lnTo>
                  <a:lnTo>
                    <a:pt x="1696" y="956"/>
                  </a:lnTo>
                  <a:lnTo>
                    <a:pt x="1696" y="956"/>
                  </a:lnTo>
                  <a:lnTo>
                    <a:pt x="1700" y="956"/>
                  </a:lnTo>
                  <a:lnTo>
                    <a:pt x="1703" y="960"/>
                  </a:lnTo>
                  <a:lnTo>
                    <a:pt x="1703" y="963"/>
                  </a:lnTo>
                  <a:lnTo>
                    <a:pt x="1707" y="966"/>
                  </a:lnTo>
                  <a:lnTo>
                    <a:pt x="1707" y="966"/>
                  </a:lnTo>
                  <a:lnTo>
                    <a:pt x="1707" y="969"/>
                  </a:lnTo>
                  <a:lnTo>
                    <a:pt x="1707" y="972"/>
                  </a:lnTo>
                  <a:lnTo>
                    <a:pt x="1707" y="976"/>
                  </a:lnTo>
                  <a:lnTo>
                    <a:pt x="1703" y="979"/>
                  </a:lnTo>
                  <a:lnTo>
                    <a:pt x="1703" y="982"/>
                  </a:lnTo>
                  <a:lnTo>
                    <a:pt x="1700" y="982"/>
                  </a:lnTo>
                  <a:lnTo>
                    <a:pt x="1696" y="985"/>
                  </a:lnTo>
                  <a:lnTo>
                    <a:pt x="1696" y="989"/>
                  </a:lnTo>
                  <a:lnTo>
                    <a:pt x="1700" y="992"/>
                  </a:lnTo>
                  <a:lnTo>
                    <a:pt x="1700" y="995"/>
                  </a:lnTo>
                  <a:lnTo>
                    <a:pt x="1700" y="998"/>
                  </a:lnTo>
                  <a:lnTo>
                    <a:pt x="1700" y="998"/>
                  </a:lnTo>
                  <a:lnTo>
                    <a:pt x="1700" y="1002"/>
                  </a:lnTo>
                  <a:lnTo>
                    <a:pt x="1700" y="1005"/>
                  </a:lnTo>
                  <a:lnTo>
                    <a:pt x="1696" y="1005"/>
                  </a:lnTo>
                  <a:lnTo>
                    <a:pt x="1700" y="1008"/>
                  </a:lnTo>
                  <a:lnTo>
                    <a:pt x="1700" y="1014"/>
                  </a:lnTo>
                  <a:lnTo>
                    <a:pt x="1700" y="1014"/>
                  </a:lnTo>
                  <a:lnTo>
                    <a:pt x="1700" y="1021"/>
                  </a:lnTo>
                  <a:lnTo>
                    <a:pt x="1700" y="1021"/>
                  </a:lnTo>
                  <a:lnTo>
                    <a:pt x="1703" y="1021"/>
                  </a:lnTo>
                  <a:lnTo>
                    <a:pt x="1703" y="1021"/>
                  </a:lnTo>
                  <a:lnTo>
                    <a:pt x="1703" y="1021"/>
                  </a:lnTo>
                  <a:lnTo>
                    <a:pt x="1707" y="1024"/>
                  </a:lnTo>
                  <a:lnTo>
                    <a:pt x="1703" y="1027"/>
                  </a:lnTo>
                  <a:lnTo>
                    <a:pt x="1703" y="1031"/>
                  </a:lnTo>
                  <a:lnTo>
                    <a:pt x="1696" y="1031"/>
                  </a:lnTo>
                  <a:lnTo>
                    <a:pt x="1690" y="1034"/>
                  </a:lnTo>
                  <a:lnTo>
                    <a:pt x="1683" y="1040"/>
                  </a:lnTo>
                  <a:lnTo>
                    <a:pt x="1679" y="1040"/>
                  </a:lnTo>
                  <a:lnTo>
                    <a:pt x="1676" y="1040"/>
                  </a:lnTo>
                  <a:lnTo>
                    <a:pt x="1669" y="1037"/>
                  </a:lnTo>
                  <a:lnTo>
                    <a:pt x="1665" y="1040"/>
                  </a:lnTo>
                  <a:lnTo>
                    <a:pt x="1665" y="1037"/>
                  </a:lnTo>
                  <a:lnTo>
                    <a:pt x="1662" y="1037"/>
                  </a:lnTo>
                  <a:lnTo>
                    <a:pt x="1662" y="1037"/>
                  </a:lnTo>
                  <a:lnTo>
                    <a:pt x="1659" y="1037"/>
                  </a:lnTo>
                  <a:lnTo>
                    <a:pt x="1652" y="1034"/>
                  </a:lnTo>
                  <a:lnTo>
                    <a:pt x="1645" y="1034"/>
                  </a:lnTo>
                  <a:lnTo>
                    <a:pt x="1645" y="1037"/>
                  </a:lnTo>
                  <a:lnTo>
                    <a:pt x="1641" y="1040"/>
                  </a:lnTo>
                  <a:lnTo>
                    <a:pt x="1638" y="1040"/>
                  </a:lnTo>
                  <a:lnTo>
                    <a:pt x="1635" y="1037"/>
                  </a:lnTo>
                  <a:lnTo>
                    <a:pt x="1631" y="1040"/>
                  </a:lnTo>
                  <a:lnTo>
                    <a:pt x="1631" y="1037"/>
                  </a:lnTo>
                  <a:lnTo>
                    <a:pt x="1628" y="1037"/>
                  </a:lnTo>
                  <a:lnTo>
                    <a:pt x="1624" y="1034"/>
                  </a:lnTo>
                  <a:lnTo>
                    <a:pt x="1621" y="1034"/>
                  </a:lnTo>
                  <a:lnTo>
                    <a:pt x="1614" y="1034"/>
                  </a:lnTo>
                  <a:lnTo>
                    <a:pt x="1610" y="1034"/>
                  </a:lnTo>
                  <a:lnTo>
                    <a:pt x="1610" y="1034"/>
                  </a:lnTo>
                  <a:lnTo>
                    <a:pt x="1607" y="1037"/>
                  </a:lnTo>
                  <a:lnTo>
                    <a:pt x="1604" y="1040"/>
                  </a:lnTo>
                  <a:lnTo>
                    <a:pt x="1600" y="1040"/>
                  </a:lnTo>
                  <a:lnTo>
                    <a:pt x="1597" y="1044"/>
                  </a:lnTo>
                  <a:lnTo>
                    <a:pt x="1597" y="1047"/>
                  </a:lnTo>
                  <a:lnTo>
                    <a:pt x="1597" y="1047"/>
                  </a:lnTo>
                  <a:lnTo>
                    <a:pt x="1593" y="1050"/>
                  </a:lnTo>
                  <a:lnTo>
                    <a:pt x="1590" y="1053"/>
                  </a:lnTo>
                  <a:lnTo>
                    <a:pt x="1579" y="1053"/>
                  </a:lnTo>
                  <a:lnTo>
                    <a:pt x="1579" y="1053"/>
                  </a:lnTo>
                  <a:lnTo>
                    <a:pt x="1576" y="1056"/>
                  </a:lnTo>
                  <a:lnTo>
                    <a:pt x="1569" y="1056"/>
                  </a:lnTo>
                  <a:lnTo>
                    <a:pt x="1562" y="1060"/>
                  </a:lnTo>
                  <a:lnTo>
                    <a:pt x="1559" y="1066"/>
                  </a:lnTo>
                  <a:lnTo>
                    <a:pt x="1559" y="1066"/>
                  </a:lnTo>
                  <a:lnTo>
                    <a:pt x="1555" y="1063"/>
                  </a:lnTo>
                  <a:lnTo>
                    <a:pt x="1549" y="1063"/>
                  </a:lnTo>
                  <a:lnTo>
                    <a:pt x="1549" y="1066"/>
                  </a:lnTo>
                  <a:lnTo>
                    <a:pt x="1542" y="1066"/>
                  </a:lnTo>
                  <a:lnTo>
                    <a:pt x="1531" y="1066"/>
                  </a:lnTo>
                  <a:lnTo>
                    <a:pt x="1524" y="1063"/>
                  </a:lnTo>
                  <a:lnTo>
                    <a:pt x="1514" y="1063"/>
                  </a:lnTo>
                  <a:lnTo>
                    <a:pt x="1511" y="1063"/>
                  </a:lnTo>
                  <a:lnTo>
                    <a:pt x="1507" y="1060"/>
                  </a:lnTo>
                  <a:lnTo>
                    <a:pt x="1507" y="1060"/>
                  </a:lnTo>
                  <a:lnTo>
                    <a:pt x="1504" y="1060"/>
                  </a:lnTo>
                  <a:lnTo>
                    <a:pt x="1500" y="1056"/>
                  </a:lnTo>
                  <a:lnTo>
                    <a:pt x="1497" y="1053"/>
                  </a:lnTo>
                  <a:lnTo>
                    <a:pt x="1497" y="1050"/>
                  </a:lnTo>
                  <a:lnTo>
                    <a:pt x="1493" y="1050"/>
                  </a:lnTo>
                  <a:lnTo>
                    <a:pt x="1487" y="1050"/>
                  </a:lnTo>
                  <a:lnTo>
                    <a:pt x="1480" y="1050"/>
                  </a:lnTo>
                  <a:lnTo>
                    <a:pt x="1476" y="1044"/>
                  </a:lnTo>
                  <a:lnTo>
                    <a:pt x="1469" y="1044"/>
                  </a:lnTo>
                  <a:lnTo>
                    <a:pt x="1463" y="1044"/>
                  </a:lnTo>
                  <a:lnTo>
                    <a:pt x="1459" y="1040"/>
                  </a:lnTo>
                  <a:lnTo>
                    <a:pt x="1452" y="1044"/>
                  </a:lnTo>
                  <a:lnTo>
                    <a:pt x="1449" y="1044"/>
                  </a:lnTo>
                  <a:lnTo>
                    <a:pt x="1445" y="1047"/>
                  </a:lnTo>
                  <a:lnTo>
                    <a:pt x="1435" y="1047"/>
                  </a:lnTo>
                  <a:lnTo>
                    <a:pt x="1432" y="1047"/>
                  </a:lnTo>
                  <a:lnTo>
                    <a:pt x="1428" y="1050"/>
                  </a:lnTo>
                  <a:lnTo>
                    <a:pt x="1425" y="1050"/>
                  </a:lnTo>
                  <a:lnTo>
                    <a:pt x="1421" y="1050"/>
                  </a:lnTo>
                  <a:lnTo>
                    <a:pt x="1421" y="1050"/>
                  </a:lnTo>
                  <a:lnTo>
                    <a:pt x="1418" y="1053"/>
                  </a:lnTo>
                  <a:lnTo>
                    <a:pt x="1411" y="1050"/>
                  </a:lnTo>
                  <a:lnTo>
                    <a:pt x="1411" y="1053"/>
                  </a:lnTo>
                  <a:lnTo>
                    <a:pt x="1407" y="1053"/>
                  </a:lnTo>
                  <a:lnTo>
                    <a:pt x="1401" y="1050"/>
                  </a:lnTo>
                  <a:lnTo>
                    <a:pt x="1397" y="1050"/>
                  </a:lnTo>
                  <a:lnTo>
                    <a:pt x="1394" y="1047"/>
                  </a:lnTo>
                  <a:lnTo>
                    <a:pt x="1390" y="1044"/>
                  </a:lnTo>
                  <a:lnTo>
                    <a:pt x="1387" y="1044"/>
                  </a:lnTo>
                  <a:lnTo>
                    <a:pt x="1387" y="1044"/>
                  </a:lnTo>
                  <a:lnTo>
                    <a:pt x="1387" y="1040"/>
                  </a:lnTo>
                  <a:lnTo>
                    <a:pt x="1383" y="1034"/>
                  </a:lnTo>
                  <a:lnTo>
                    <a:pt x="1383" y="1034"/>
                  </a:lnTo>
                  <a:lnTo>
                    <a:pt x="1383" y="1031"/>
                  </a:lnTo>
                  <a:lnTo>
                    <a:pt x="1380" y="1027"/>
                  </a:lnTo>
                  <a:lnTo>
                    <a:pt x="1380" y="1027"/>
                  </a:lnTo>
                  <a:lnTo>
                    <a:pt x="1380" y="1024"/>
                  </a:lnTo>
                  <a:lnTo>
                    <a:pt x="1377" y="1024"/>
                  </a:lnTo>
                  <a:lnTo>
                    <a:pt x="1366" y="1024"/>
                  </a:lnTo>
                  <a:lnTo>
                    <a:pt x="1363" y="1024"/>
                  </a:lnTo>
                  <a:lnTo>
                    <a:pt x="1363" y="1021"/>
                  </a:lnTo>
                  <a:lnTo>
                    <a:pt x="1356" y="1021"/>
                  </a:lnTo>
                  <a:lnTo>
                    <a:pt x="1356" y="1021"/>
                  </a:lnTo>
                  <a:lnTo>
                    <a:pt x="1352" y="1018"/>
                  </a:lnTo>
                  <a:lnTo>
                    <a:pt x="1346" y="1018"/>
                  </a:lnTo>
                  <a:lnTo>
                    <a:pt x="1339" y="1018"/>
                  </a:lnTo>
                  <a:lnTo>
                    <a:pt x="1335" y="1018"/>
                  </a:lnTo>
                  <a:lnTo>
                    <a:pt x="1335" y="1014"/>
                  </a:lnTo>
                  <a:lnTo>
                    <a:pt x="1328" y="1014"/>
                  </a:lnTo>
                  <a:lnTo>
                    <a:pt x="1325" y="1011"/>
                  </a:lnTo>
                  <a:lnTo>
                    <a:pt x="1321" y="1011"/>
                  </a:lnTo>
                  <a:lnTo>
                    <a:pt x="1318" y="1011"/>
                  </a:lnTo>
                  <a:lnTo>
                    <a:pt x="1315" y="1011"/>
                  </a:lnTo>
                  <a:lnTo>
                    <a:pt x="1315" y="1014"/>
                  </a:lnTo>
                  <a:lnTo>
                    <a:pt x="1318" y="1018"/>
                  </a:lnTo>
                  <a:lnTo>
                    <a:pt x="1315" y="1021"/>
                  </a:lnTo>
                  <a:lnTo>
                    <a:pt x="1315" y="1021"/>
                  </a:lnTo>
                  <a:lnTo>
                    <a:pt x="1311" y="1021"/>
                  </a:lnTo>
                  <a:lnTo>
                    <a:pt x="1308" y="1024"/>
                  </a:lnTo>
                  <a:lnTo>
                    <a:pt x="1308" y="1027"/>
                  </a:lnTo>
                  <a:lnTo>
                    <a:pt x="1304" y="1031"/>
                  </a:lnTo>
                  <a:lnTo>
                    <a:pt x="1304" y="1037"/>
                  </a:lnTo>
                  <a:lnTo>
                    <a:pt x="1304" y="1044"/>
                  </a:lnTo>
                  <a:lnTo>
                    <a:pt x="1311" y="1044"/>
                  </a:lnTo>
                  <a:lnTo>
                    <a:pt x="1315" y="1047"/>
                  </a:lnTo>
                  <a:lnTo>
                    <a:pt x="1318" y="1047"/>
                  </a:lnTo>
                  <a:lnTo>
                    <a:pt x="1318" y="1050"/>
                  </a:lnTo>
                  <a:lnTo>
                    <a:pt x="1315" y="1053"/>
                  </a:lnTo>
                  <a:lnTo>
                    <a:pt x="1315" y="1060"/>
                  </a:lnTo>
                  <a:lnTo>
                    <a:pt x="1321" y="1063"/>
                  </a:lnTo>
                  <a:lnTo>
                    <a:pt x="1321" y="1063"/>
                  </a:lnTo>
                  <a:lnTo>
                    <a:pt x="1318" y="1069"/>
                  </a:lnTo>
                  <a:lnTo>
                    <a:pt x="1311" y="1069"/>
                  </a:lnTo>
                  <a:lnTo>
                    <a:pt x="1308" y="1069"/>
                  </a:lnTo>
                  <a:lnTo>
                    <a:pt x="1308" y="1069"/>
                  </a:lnTo>
                  <a:lnTo>
                    <a:pt x="1304" y="1069"/>
                  </a:lnTo>
                  <a:lnTo>
                    <a:pt x="1301" y="1069"/>
                  </a:lnTo>
                  <a:lnTo>
                    <a:pt x="1294" y="1069"/>
                  </a:lnTo>
                  <a:lnTo>
                    <a:pt x="1291" y="1069"/>
                  </a:lnTo>
                  <a:lnTo>
                    <a:pt x="1287" y="1066"/>
                  </a:lnTo>
                  <a:lnTo>
                    <a:pt x="1284" y="1066"/>
                  </a:lnTo>
                  <a:lnTo>
                    <a:pt x="1280" y="1066"/>
                  </a:lnTo>
                  <a:lnTo>
                    <a:pt x="1277" y="1069"/>
                  </a:lnTo>
                  <a:lnTo>
                    <a:pt x="1270" y="1069"/>
                  </a:lnTo>
                  <a:lnTo>
                    <a:pt x="1270" y="1073"/>
                  </a:lnTo>
                  <a:lnTo>
                    <a:pt x="1263" y="1069"/>
                  </a:lnTo>
                  <a:lnTo>
                    <a:pt x="1260" y="1066"/>
                  </a:lnTo>
                  <a:lnTo>
                    <a:pt x="1249" y="1063"/>
                  </a:lnTo>
                  <a:lnTo>
                    <a:pt x="1249" y="1060"/>
                  </a:lnTo>
                  <a:lnTo>
                    <a:pt x="1246" y="1056"/>
                  </a:lnTo>
                  <a:lnTo>
                    <a:pt x="1246" y="1053"/>
                  </a:lnTo>
                  <a:lnTo>
                    <a:pt x="1239" y="1053"/>
                  </a:lnTo>
                  <a:lnTo>
                    <a:pt x="1235" y="1056"/>
                  </a:lnTo>
                  <a:lnTo>
                    <a:pt x="1232" y="1056"/>
                  </a:lnTo>
                  <a:lnTo>
                    <a:pt x="1232" y="1056"/>
                  </a:lnTo>
                  <a:lnTo>
                    <a:pt x="1225" y="1056"/>
                  </a:lnTo>
                  <a:lnTo>
                    <a:pt x="1225" y="1056"/>
                  </a:lnTo>
                  <a:lnTo>
                    <a:pt x="1225" y="1053"/>
                  </a:lnTo>
                  <a:lnTo>
                    <a:pt x="1222" y="1050"/>
                  </a:lnTo>
                  <a:lnTo>
                    <a:pt x="1222" y="1050"/>
                  </a:lnTo>
                  <a:lnTo>
                    <a:pt x="1218" y="1053"/>
                  </a:lnTo>
                  <a:lnTo>
                    <a:pt x="1215" y="1053"/>
                  </a:lnTo>
                  <a:lnTo>
                    <a:pt x="1211" y="1053"/>
                  </a:lnTo>
                  <a:lnTo>
                    <a:pt x="1208" y="1053"/>
                  </a:lnTo>
                  <a:lnTo>
                    <a:pt x="1201" y="1053"/>
                  </a:lnTo>
                  <a:lnTo>
                    <a:pt x="1198" y="1053"/>
                  </a:lnTo>
                  <a:lnTo>
                    <a:pt x="1194" y="1060"/>
                  </a:lnTo>
                  <a:lnTo>
                    <a:pt x="1191" y="1060"/>
                  </a:lnTo>
                  <a:lnTo>
                    <a:pt x="1187" y="1060"/>
                  </a:lnTo>
                  <a:lnTo>
                    <a:pt x="1184" y="1060"/>
                  </a:lnTo>
                  <a:lnTo>
                    <a:pt x="1184" y="1063"/>
                  </a:lnTo>
                  <a:lnTo>
                    <a:pt x="1187" y="1063"/>
                  </a:lnTo>
                  <a:lnTo>
                    <a:pt x="1184" y="1066"/>
                  </a:lnTo>
                  <a:lnTo>
                    <a:pt x="1184" y="1069"/>
                  </a:lnTo>
                  <a:lnTo>
                    <a:pt x="1180" y="1069"/>
                  </a:lnTo>
                  <a:lnTo>
                    <a:pt x="1177" y="1073"/>
                  </a:lnTo>
                  <a:lnTo>
                    <a:pt x="1177" y="1073"/>
                  </a:lnTo>
                  <a:lnTo>
                    <a:pt x="1170" y="1076"/>
                  </a:lnTo>
                  <a:lnTo>
                    <a:pt x="1170" y="1079"/>
                  </a:lnTo>
                  <a:lnTo>
                    <a:pt x="1170" y="1082"/>
                  </a:lnTo>
                  <a:lnTo>
                    <a:pt x="1163" y="1086"/>
                  </a:lnTo>
                  <a:lnTo>
                    <a:pt x="1160" y="1086"/>
                  </a:lnTo>
                  <a:lnTo>
                    <a:pt x="1160" y="1089"/>
                  </a:lnTo>
                  <a:lnTo>
                    <a:pt x="1149" y="1089"/>
                  </a:lnTo>
                  <a:lnTo>
                    <a:pt x="1146" y="1089"/>
                  </a:lnTo>
                  <a:lnTo>
                    <a:pt x="1143" y="1095"/>
                  </a:lnTo>
                  <a:lnTo>
                    <a:pt x="1143" y="1095"/>
                  </a:lnTo>
                  <a:lnTo>
                    <a:pt x="1143" y="1095"/>
                  </a:lnTo>
                  <a:lnTo>
                    <a:pt x="1136" y="1095"/>
                  </a:lnTo>
                  <a:lnTo>
                    <a:pt x="1136" y="1095"/>
                  </a:lnTo>
                  <a:lnTo>
                    <a:pt x="1132" y="1095"/>
                  </a:lnTo>
                  <a:lnTo>
                    <a:pt x="1129" y="1092"/>
                  </a:lnTo>
                  <a:lnTo>
                    <a:pt x="1125" y="1089"/>
                  </a:lnTo>
                  <a:lnTo>
                    <a:pt x="1122" y="1089"/>
                  </a:lnTo>
                  <a:lnTo>
                    <a:pt x="1119" y="1086"/>
                  </a:lnTo>
                  <a:lnTo>
                    <a:pt x="1122" y="1082"/>
                  </a:lnTo>
                  <a:lnTo>
                    <a:pt x="1119" y="1082"/>
                  </a:lnTo>
                  <a:lnTo>
                    <a:pt x="1115" y="1082"/>
                  </a:lnTo>
                  <a:lnTo>
                    <a:pt x="1115" y="1086"/>
                  </a:lnTo>
                  <a:lnTo>
                    <a:pt x="1108" y="1086"/>
                  </a:lnTo>
                  <a:lnTo>
                    <a:pt x="1101" y="1089"/>
                  </a:lnTo>
                  <a:lnTo>
                    <a:pt x="1098" y="1089"/>
                  </a:lnTo>
                  <a:lnTo>
                    <a:pt x="1098" y="1089"/>
                  </a:lnTo>
                  <a:lnTo>
                    <a:pt x="1094" y="1089"/>
                  </a:lnTo>
                  <a:lnTo>
                    <a:pt x="1091" y="1089"/>
                  </a:lnTo>
                  <a:lnTo>
                    <a:pt x="1088" y="1089"/>
                  </a:lnTo>
                  <a:lnTo>
                    <a:pt x="1088" y="1086"/>
                  </a:lnTo>
                  <a:lnTo>
                    <a:pt x="1084" y="1086"/>
                  </a:lnTo>
                  <a:lnTo>
                    <a:pt x="1084" y="1082"/>
                  </a:lnTo>
                  <a:lnTo>
                    <a:pt x="1084" y="1079"/>
                  </a:lnTo>
                  <a:lnTo>
                    <a:pt x="1084" y="1079"/>
                  </a:lnTo>
                  <a:lnTo>
                    <a:pt x="1084" y="1076"/>
                  </a:lnTo>
                  <a:lnTo>
                    <a:pt x="1081" y="1076"/>
                  </a:lnTo>
                  <a:lnTo>
                    <a:pt x="1081" y="1076"/>
                  </a:lnTo>
                  <a:lnTo>
                    <a:pt x="1077" y="1073"/>
                  </a:lnTo>
                  <a:lnTo>
                    <a:pt x="1070" y="1073"/>
                  </a:lnTo>
                  <a:lnTo>
                    <a:pt x="1070" y="1073"/>
                  </a:lnTo>
                  <a:lnTo>
                    <a:pt x="1067" y="1069"/>
                  </a:lnTo>
                  <a:lnTo>
                    <a:pt x="1063" y="1063"/>
                  </a:lnTo>
                  <a:lnTo>
                    <a:pt x="1060" y="1060"/>
                  </a:lnTo>
                  <a:lnTo>
                    <a:pt x="1053" y="1060"/>
                  </a:lnTo>
                  <a:lnTo>
                    <a:pt x="1046" y="1060"/>
                  </a:lnTo>
                  <a:lnTo>
                    <a:pt x="1039" y="1060"/>
                  </a:lnTo>
                  <a:lnTo>
                    <a:pt x="1039" y="1063"/>
                  </a:lnTo>
                  <a:lnTo>
                    <a:pt x="1039" y="1063"/>
                  </a:lnTo>
                  <a:lnTo>
                    <a:pt x="1039" y="1066"/>
                  </a:lnTo>
                  <a:lnTo>
                    <a:pt x="1036" y="1066"/>
                  </a:lnTo>
                  <a:lnTo>
                    <a:pt x="1033" y="1066"/>
                  </a:lnTo>
                  <a:lnTo>
                    <a:pt x="1029" y="1066"/>
                  </a:lnTo>
                  <a:lnTo>
                    <a:pt x="1022" y="1066"/>
                  </a:lnTo>
                  <a:lnTo>
                    <a:pt x="1019" y="1066"/>
                  </a:lnTo>
                  <a:lnTo>
                    <a:pt x="1019" y="1066"/>
                  </a:lnTo>
                  <a:lnTo>
                    <a:pt x="1015" y="1066"/>
                  </a:lnTo>
                  <a:lnTo>
                    <a:pt x="1012" y="1063"/>
                  </a:lnTo>
                  <a:lnTo>
                    <a:pt x="1005" y="1063"/>
                  </a:lnTo>
                  <a:lnTo>
                    <a:pt x="1005" y="1060"/>
                  </a:lnTo>
                  <a:lnTo>
                    <a:pt x="1008" y="1060"/>
                  </a:lnTo>
                  <a:lnTo>
                    <a:pt x="1002" y="1056"/>
                  </a:lnTo>
                  <a:lnTo>
                    <a:pt x="998" y="1056"/>
                  </a:lnTo>
                  <a:lnTo>
                    <a:pt x="998" y="1060"/>
                  </a:lnTo>
                  <a:lnTo>
                    <a:pt x="998" y="1063"/>
                  </a:lnTo>
                  <a:lnTo>
                    <a:pt x="998" y="1063"/>
                  </a:lnTo>
                  <a:lnTo>
                    <a:pt x="995" y="1066"/>
                  </a:lnTo>
                  <a:lnTo>
                    <a:pt x="991" y="1066"/>
                  </a:lnTo>
                  <a:lnTo>
                    <a:pt x="943" y="1014"/>
                  </a:lnTo>
                  <a:lnTo>
                    <a:pt x="909" y="995"/>
                  </a:lnTo>
                  <a:lnTo>
                    <a:pt x="905" y="992"/>
                  </a:lnTo>
                  <a:lnTo>
                    <a:pt x="909" y="992"/>
                  </a:lnTo>
                  <a:lnTo>
                    <a:pt x="912" y="989"/>
                  </a:lnTo>
                  <a:lnTo>
                    <a:pt x="912" y="985"/>
                  </a:lnTo>
                  <a:lnTo>
                    <a:pt x="912" y="982"/>
                  </a:lnTo>
                  <a:lnTo>
                    <a:pt x="905" y="985"/>
                  </a:lnTo>
                  <a:lnTo>
                    <a:pt x="902" y="985"/>
                  </a:lnTo>
                  <a:lnTo>
                    <a:pt x="898" y="989"/>
                  </a:lnTo>
                  <a:lnTo>
                    <a:pt x="895" y="989"/>
                  </a:lnTo>
                  <a:lnTo>
                    <a:pt x="891" y="992"/>
                  </a:lnTo>
                  <a:lnTo>
                    <a:pt x="891" y="995"/>
                  </a:lnTo>
                  <a:lnTo>
                    <a:pt x="888" y="998"/>
                  </a:lnTo>
                  <a:lnTo>
                    <a:pt x="888" y="1002"/>
                  </a:lnTo>
                  <a:lnTo>
                    <a:pt x="885" y="1002"/>
                  </a:lnTo>
                  <a:lnTo>
                    <a:pt x="878" y="1002"/>
                  </a:lnTo>
                  <a:lnTo>
                    <a:pt x="874" y="1005"/>
                  </a:lnTo>
                  <a:lnTo>
                    <a:pt x="874" y="1008"/>
                  </a:lnTo>
                  <a:lnTo>
                    <a:pt x="871" y="1008"/>
                  </a:lnTo>
                  <a:lnTo>
                    <a:pt x="871" y="1008"/>
                  </a:lnTo>
                  <a:lnTo>
                    <a:pt x="864" y="1008"/>
                  </a:lnTo>
                  <a:lnTo>
                    <a:pt x="857" y="1008"/>
                  </a:lnTo>
                  <a:lnTo>
                    <a:pt x="857" y="1011"/>
                  </a:lnTo>
                  <a:lnTo>
                    <a:pt x="854" y="1011"/>
                  </a:lnTo>
                  <a:lnTo>
                    <a:pt x="850" y="1008"/>
                  </a:lnTo>
                  <a:lnTo>
                    <a:pt x="850" y="1002"/>
                  </a:lnTo>
                  <a:lnTo>
                    <a:pt x="854" y="1002"/>
                  </a:lnTo>
                  <a:lnTo>
                    <a:pt x="854" y="998"/>
                  </a:lnTo>
                  <a:lnTo>
                    <a:pt x="854" y="998"/>
                  </a:lnTo>
                  <a:lnTo>
                    <a:pt x="850" y="998"/>
                  </a:lnTo>
                  <a:lnTo>
                    <a:pt x="847" y="998"/>
                  </a:lnTo>
                  <a:lnTo>
                    <a:pt x="840" y="995"/>
                  </a:lnTo>
                  <a:lnTo>
                    <a:pt x="836" y="995"/>
                  </a:lnTo>
                  <a:lnTo>
                    <a:pt x="836" y="998"/>
                  </a:lnTo>
                  <a:lnTo>
                    <a:pt x="840" y="998"/>
                  </a:lnTo>
                  <a:lnTo>
                    <a:pt x="836" y="1002"/>
                  </a:lnTo>
                  <a:lnTo>
                    <a:pt x="833" y="1002"/>
                  </a:lnTo>
                  <a:lnTo>
                    <a:pt x="830" y="998"/>
                  </a:lnTo>
                  <a:lnTo>
                    <a:pt x="830" y="992"/>
                  </a:lnTo>
                  <a:lnTo>
                    <a:pt x="823" y="989"/>
                  </a:lnTo>
                  <a:lnTo>
                    <a:pt x="823" y="989"/>
                  </a:lnTo>
                  <a:lnTo>
                    <a:pt x="823" y="992"/>
                  </a:lnTo>
                  <a:lnTo>
                    <a:pt x="823" y="995"/>
                  </a:lnTo>
                  <a:lnTo>
                    <a:pt x="823" y="995"/>
                  </a:lnTo>
                  <a:lnTo>
                    <a:pt x="819" y="992"/>
                  </a:lnTo>
                  <a:lnTo>
                    <a:pt x="816" y="992"/>
                  </a:lnTo>
                  <a:lnTo>
                    <a:pt x="816" y="995"/>
                  </a:lnTo>
                  <a:lnTo>
                    <a:pt x="816" y="995"/>
                  </a:lnTo>
                  <a:lnTo>
                    <a:pt x="812" y="995"/>
                  </a:lnTo>
                  <a:lnTo>
                    <a:pt x="809" y="995"/>
                  </a:lnTo>
                  <a:lnTo>
                    <a:pt x="805" y="995"/>
                  </a:lnTo>
                  <a:lnTo>
                    <a:pt x="802" y="992"/>
                  </a:lnTo>
                  <a:lnTo>
                    <a:pt x="805" y="992"/>
                  </a:lnTo>
                  <a:lnTo>
                    <a:pt x="805" y="989"/>
                  </a:lnTo>
                  <a:lnTo>
                    <a:pt x="805" y="989"/>
                  </a:lnTo>
                  <a:lnTo>
                    <a:pt x="805" y="985"/>
                  </a:lnTo>
                  <a:lnTo>
                    <a:pt x="805" y="982"/>
                  </a:lnTo>
                  <a:lnTo>
                    <a:pt x="802" y="982"/>
                  </a:lnTo>
                  <a:lnTo>
                    <a:pt x="802" y="979"/>
                  </a:lnTo>
                  <a:lnTo>
                    <a:pt x="799" y="976"/>
                  </a:lnTo>
                  <a:lnTo>
                    <a:pt x="799" y="972"/>
                  </a:lnTo>
                  <a:lnTo>
                    <a:pt x="795" y="969"/>
                  </a:lnTo>
                  <a:lnTo>
                    <a:pt x="792" y="969"/>
                  </a:lnTo>
                  <a:lnTo>
                    <a:pt x="788" y="972"/>
                  </a:lnTo>
                  <a:lnTo>
                    <a:pt x="785" y="972"/>
                  </a:lnTo>
                  <a:lnTo>
                    <a:pt x="778" y="969"/>
                  </a:lnTo>
                  <a:lnTo>
                    <a:pt x="774" y="969"/>
                  </a:lnTo>
                  <a:lnTo>
                    <a:pt x="768" y="966"/>
                  </a:lnTo>
                  <a:lnTo>
                    <a:pt x="768" y="969"/>
                  </a:lnTo>
                  <a:lnTo>
                    <a:pt x="764" y="969"/>
                  </a:lnTo>
                  <a:lnTo>
                    <a:pt x="761" y="969"/>
                  </a:lnTo>
                  <a:lnTo>
                    <a:pt x="761" y="972"/>
                  </a:lnTo>
                  <a:lnTo>
                    <a:pt x="754" y="972"/>
                  </a:lnTo>
                  <a:lnTo>
                    <a:pt x="750" y="972"/>
                  </a:lnTo>
                  <a:lnTo>
                    <a:pt x="754" y="976"/>
                  </a:lnTo>
                  <a:lnTo>
                    <a:pt x="754" y="979"/>
                  </a:lnTo>
                  <a:lnTo>
                    <a:pt x="747" y="979"/>
                  </a:lnTo>
                  <a:lnTo>
                    <a:pt x="747" y="979"/>
                  </a:lnTo>
                  <a:lnTo>
                    <a:pt x="744" y="982"/>
                  </a:lnTo>
                  <a:lnTo>
                    <a:pt x="740" y="982"/>
                  </a:lnTo>
                  <a:lnTo>
                    <a:pt x="737" y="985"/>
                  </a:lnTo>
                  <a:lnTo>
                    <a:pt x="737" y="985"/>
                  </a:lnTo>
                  <a:lnTo>
                    <a:pt x="726" y="989"/>
                  </a:lnTo>
                  <a:lnTo>
                    <a:pt x="723" y="989"/>
                  </a:lnTo>
                  <a:lnTo>
                    <a:pt x="719" y="992"/>
                  </a:lnTo>
                  <a:lnTo>
                    <a:pt x="716" y="992"/>
                  </a:lnTo>
                  <a:lnTo>
                    <a:pt x="713" y="989"/>
                  </a:lnTo>
                  <a:lnTo>
                    <a:pt x="713" y="992"/>
                  </a:lnTo>
                  <a:lnTo>
                    <a:pt x="713" y="992"/>
                  </a:lnTo>
                  <a:lnTo>
                    <a:pt x="706" y="992"/>
                  </a:lnTo>
                  <a:lnTo>
                    <a:pt x="706" y="995"/>
                  </a:lnTo>
                  <a:lnTo>
                    <a:pt x="706" y="998"/>
                  </a:lnTo>
                  <a:lnTo>
                    <a:pt x="702" y="998"/>
                  </a:lnTo>
                  <a:lnTo>
                    <a:pt x="702" y="998"/>
                  </a:lnTo>
                  <a:lnTo>
                    <a:pt x="699" y="998"/>
                  </a:lnTo>
                  <a:lnTo>
                    <a:pt x="695" y="1002"/>
                  </a:lnTo>
                  <a:lnTo>
                    <a:pt x="688" y="1002"/>
                  </a:lnTo>
                  <a:lnTo>
                    <a:pt x="685" y="1005"/>
                  </a:lnTo>
                  <a:lnTo>
                    <a:pt x="685" y="1005"/>
                  </a:lnTo>
                  <a:lnTo>
                    <a:pt x="678" y="1005"/>
                  </a:lnTo>
                  <a:lnTo>
                    <a:pt x="675" y="1008"/>
                  </a:lnTo>
                  <a:lnTo>
                    <a:pt x="668" y="1008"/>
                  </a:lnTo>
                  <a:lnTo>
                    <a:pt x="664" y="1008"/>
                  </a:lnTo>
                  <a:lnTo>
                    <a:pt x="661" y="1011"/>
                  </a:lnTo>
                  <a:lnTo>
                    <a:pt x="661" y="1014"/>
                  </a:lnTo>
                  <a:lnTo>
                    <a:pt x="658" y="1011"/>
                  </a:lnTo>
                  <a:lnTo>
                    <a:pt x="654" y="1011"/>
                  </a:lnTo>
                  <a:lnTo>
                    <a:pt x="651" y="1011"/>
                  </a:lnTo>
                  <a:lnTo>
                    <a:pt x="651" y="1014"/>
                  </a:lnTo>
                  <a:lnTo>
                    <a:pt x="651" y="1018"/>
                  </a:lnTo>
                  <a:lnTo>
                    <a:pt x="647" y="1014"/>
                  </a:lnTo>
                  <a:lnTo>
                    <a:pt x="640" y="1014"/>
                  </a:lnTo>
                  <a:lnTo>
                    <a:pt x="640" y="1011"/>
                  </a:lnTo>
                  <a:lnTo>
                    <a:pt x="637" y="1011"/>
                  </a:lnTo>
                  <a:lnTo>
                    <a:pt x="637" y="1014"/>
                  </a:lnTo>
                  <a:lnTo>
                    <a:pt x="633" y="1014"/>
                  </a:lnTo>
                  <a:lnTo>
                    <a:pt x="630" y="1014"/>
                  </a:lnTo>
                  <a:lnTo>
                    <a:pt x="633" y="1021"/>
                  </a:lnTo>
                  <a:lnTo>
                    <a:pt x="630" y="1021"/>
                  </a:lnTo>
                  <a:lnTo>
                    <a:pt x="633" y="1021"/>
                  </a:lnTo>
                  <a:lnTo>
                    <a:pt x="640" y="1021"/>
                  </a:lnTo>
                  <a:lnTo>
                    <a:pt x="640" y="1024"/>
                  </a:lnTo>
                  <a:lnTo>
                    <a:pt x="637" y="1024"/>
                  </a:lnTo>
                  <a:lnTo>
                    <a:pt x="633" y="1027"/>
                  </a:lnTo>
                  <a:lnTo>
                    <a:pt x="633" y="1027"/>
                  </a:lnTo>
                  <a:lnTo>
                    <a:pt x="640" y="1031"/>
                  </a:lnTo>
                  <a:lnTo>
                    <a:pt x="644" y="1031"/>
                  </a:lnTo>
                  <a:lnTo>
                    <a:pt x="644" y="1027"/>
                  </a:lnTo>
                  <a:lnTo>
                    <a:pt x="647" y="1027"/>
                  </a:lnTo>
                  <a:lnTo>
                    <a:pt x="651" y="1031"/>
                  </a:lnTo>
                  <a:lnTo>
                    <a:pt x="654" y="1034"/>
                  </a:lnTo>
                  <a:lnTo>
                    <a:pt x="654" y="1037"/>
                  </a:lnTo>
                  <a:lnTo>
                    <a:pt x="654" y="1037"/>
                  </a:lnTo>
                  <a:lnTo>
                    <a:pt x="651" y="1037"/>
                  </a:lnTo>
                  <a:lnTo>
                    <a:pt x="640" y="1037"/>
                  </a:lnTo>
                  <a:lnTo>
                    <a:pt x="637" y="1040"/>
                  </a:lnTo>
                  <a:lnTo>
                    <a:pt x="633" y="1047"/>
                  </a:lnTo>
                  <a:lnTo>
                    <a:pt x="633" y="1050"/>
                  </a:lnTo>
                  <a:lnTo>
                    <a:pt x="637" y="1050"/>
                  </a:lnTo>
                  <a:lnTo>
                    <a:pt x="637" y="1053"/>
                  </a:lnTo>
                  <a:lnTo>
                    <a:pt x="633" y="1056"/>
                  </a:lnTo>
                  <a:lnTo>
                    <a:pt x="633" y="1060"/>
                  </a:lnTo>
                  <a:lnTo>
                    <a:pt x="630" y="1060"/>
                  </a:lnTo>
                  <a:lnTo>
                    <a:pt x="630" y="1063"/>
                  </a:lnTo>
                  <a:lnTo>
                    <a:pt x="630" y="1063"/>
                  </a:lnTo>
                  <a:lnTo>
                    <a:pt x="630" y="1066"/>
                  </a:lnTo>
                  <a:lnTo>
                    <a:pt x="637" y="1066"/>
                  </a:lnTo>
                  <a:lnTo>
                    <a:pt x="637" y="1069"/>
                  </a:lnTo>
                  <a:lnTo>
                    <a:pt x="644" y="1069"/>
                  </a:lnTo>
                  <a:lnTo>
                    <a:pt x="644" y="1069"/>
                  </a:lnTo>
                  <a:lnTo>
                    <a:pt x="647" y="1073"/>
                  </a:lnTo>
                  <a:lnTo>
                    <a:pt x="654" y="1073"/>
                  </a:lnTo>
                  <a:lnTo>
                    <a:pt x="654" y="1076"/>
                  </a:lnTo>
                  <a:lnTo>
                    <a:pt x="654" y="1089"/>
                  </a:lnTo>
                  <a:lnTo>
                    <a:pt x="654" y="1089"/>
                  </a:lnTo>
                  <a:lnTo>
                    <a:pt x="647" y="1092"/>
                  </a:lnTo>
                  <a:lnTo>
                    <a:pt x="640" y="1092"/>
                  </a:lnTo>
                  <a:lnTo>
                    <a:pt x="637" y="1089"/>
                  </a:lnTo>
                  <a:lnTo>
                    <a:pt x="633" y="1089"/>
                  </a:lnTo>
                  <a:lnTo>
                    <a:pt x="633" y="1092"/>
                  </a:lnTo>
                  <a:lnTo>
                    <a:pt x="630" y="1095"/>
                  </a:lnTo>
                  <a:lnTo>
                    <a:pt x="627" y="1098"/>
                  </a:lnTo>
                  <a:lnTo>
                    <a:pt x="620" y="1095"/>
                  </a:lnTo>
                  <a:lnTo>
                    <a:pt x="613" y="1095"/>
                  </a:lnTo>
                  <a:lnTo>
                    <a:pt x="613" y="1092"/>
                  </a:lnTo>
                  <a:lnTo>
                    <a:pt x="609" y="1095"/>
                  </a:lnTo>
                  <a:lnTo>
                    <a:pt x="606" y="1092"/>
                  </a:lnTo>
                  <a:lnTo>
                    <a:pt x="602" y="1089"/>
                  </a:lnTo>
                  <a:lnTo>
                    <a:pt x="606" y="1089"/>
                  </a:lnTo>
                  <a:lnTo>
                    <a:pt x="606" y="1086"/>
                  </a:lnTo>
                  <a:lnTo>
                    <a:pt x="602" y="1086"/>
                  </a:lnTo>
                  <a:lnTo>
                    <a:pt x="599" y="1082"/>
                  </a:lnTo>
                  <a:lnTo>
                    <a:pt x="596" y="1086"/>
                  </a:lnTo>
                  <a:lnTo>
                    <a:pt x="592" y="1086"/>
                  </a:lnTo>
                  <a:lnTo>
                    <a:pt x="589" y="1086"/>
                  </a:lnTo>
                  <a:lnTo>
                    <a:pt x="592" y="1089"/>
                  </a:lnTo>
                  <a:lnTo>
                    <a:pt x="585" y="1089"/>
                  </a:lnTo>
                  <a:lnTo>
                    <a:pt x="585" y="1089"/>
                  </a:lnTo>
                  <a:lnTo>
                    <a:pt x="578" y="1082"/>
                  </a:lnTo>
                  <a:lnTo>
                    <a:pt x="575" y="1082"/>
                  </a:lnTo>
                  <a:lnTo>
                    <a:pt x="572" y="1086"/>
                  </a:lnTo>
                  <a:lnTo>
                    <a:pt x="572" y="1086"/>
                  </a:lnTo>
                  <a:lnTo>
                    <a:pt x="568" y="1086"/>
                  </a:lnTo>
                  <a:lnTo>
                    <a:pt x="568" y="1089"/>
                  </a:lnTo>
                  <a:lnTo>
                    <a:pt x="561" y="1089"/>
                  </a:lnTo>
                  <a:lnTo>
                    <a:pt x="561" y="1095"/>
                  </a:lnTo>
                  <a:lnTo>
                    <a:pt x="558" y="1098"/>
                  </a:lnTo>
                  <a:lnTo>
                    <a:pt x="554" y="1095"/>
                  </a:lnTo>
                  <a:lnTo>
                    <a:pt x="551" y="1092"/>
                  </a:lnTo>
                  <a:lnTo>
                    <a:pt x="544" y="1092"/>
                  </a:lnTo>
                  <a:lnTo>
                    <a:pt x="541" y="1089"/>
                  </a:lnTo>
                  <a:lnTo>
                    <a:pt x="537" y="1092"/>
                  </a:lnTo>
                  <a:lnTo>
                    <a:pt x="537" y="1095"/>
                  </a:lnTo>
                  <a:lnTo>
                    <a:pt x="537" y="1098"/>
                  </a:lnTo>
                  <a:lnTo>
                    <a:pt x="534" y="1098"/>
                  </a:lnTo>
                  <a:lnTo>
                    <a:pt x="534" y="1095"/>
                  </a:lnTo>
                  <a:lnTo>
                    <a:pt x="534" y="1092"/>
                  </a:lnTo>
                  <a:lnTo>
                    <a:pt x="530" y="1092"/>
                  </a:lnTo>
                  <a:lnTo>
                    <a:pt x="523" y="1089"/>
                  </a:lnTo>
                  <a:lnTo>
                    <a:pt x="520" y="1086"/>
                  </a:lnTo>
                  <a:lnTo>
                    <a:pt x="516" y="1086"/>
                  </a:lnTo>
                  <a:lnTo>
                    <a:pt x="513" y="1079"/>
                  </a:lnTo>
                  <a:lnTo>
                    <a:pt x="510" y="1079"/>
                  </a:lnTo>
                  <a:lnTo>
                    <a:pt x="510" y="1079"/>
                  </a:lnTo>
                  <a:lnTo>
                    <a:pt x="506" y="1079"/>
                  </a:lnTo>
                  <a:lnTo>
                    <a:pt x="499" y="1079"/>
                  </a:lnTo>
                  <a:lnTo>
                    <a:pt x="492" y="1076"/>
                  </a:lnTo>
                  <a:lnTo>
                    <a:pt x="492" y="1073"/>
                  </a:lnTo>
                  <a:lnTo>
                    <a:pt x="489" y="1073"/>
                  </a:lnTo>
                  <a:lnTo>
                    <a:pt x="486" y="1076"/>
                  </a:lnTo>
                  <a:lnTo>
                    <a:pt x="482" y="1076"/>
                  </a:lnTo>
                  <a:lnTo>
                    <a:pt x="479" y="1079"/>
                  </a:lnTo>
                  <a:lnTo>
                    <a:pt x="479" y="1079"/>
                  </a:lnTo>
                  <a:lnTo>
                    <a:pt x="479" y="1076"/>
                  </a:lnTo>
                  <a:lnTo>
                    <a:pt x="475" y="1079"/>
                  </a:lnTo>
                  <a:lnTo>
                    <a:pt x="475" y="1082"/>
                  </a:lnTo>
                  <a:lnTo>
                    <a:pt x="472" y="1082"/>
                  </a:lnTo>
                  <a:lnTo>
                    <a:pt x="468" y="1082"/>
                  </a:lnTo>
                  <a:lnTo>
                    <a:pt x="472" y="1079"/>
                  </a:lnTo>
                  <a:lnTo>
                    <a:pt x="472" y="1076"/>
                  </a:lnTo>
                  <a:lnTo>
                    <a:pt x="468" y="1076"/>
                  </a:lnTo>
                  <a:lnTo>
                    <a:pt x="461" y="1073"/>
                  </a:lnTo>
                  <a:lnTo>
                    <a:pt x="461" y="1073"/>
                  </a:lnTo>
                  <a:lnTo>
                    <a:pt x="461" y="1076"/>
                  </a:lnTo>
                  <a:lnTo>
                    <a:pt x="461" y="1079"/>
                  </a:lnTo>
                  <a:lnTo>
                    <a:pt x="458" y="1079"/>
                  </a:lnTo>
                  <a:lnTo>
                    <a:pt x="455" y="1082"/>
                  </a:lnTo>
                  <a:lnTo>
                    <a:pt x="451" y="1086"/>
                  </a:lnTo>
                  <a:lnTo>
                    <a:pt x="448" y="1086"/>
                  </a:lnTo>
                  <a:lnTo>
                    <a:pt x="444" y="1089"/>
                  </a:lnTo>
                  <a:lnTo>
                    <a:pt x="441" y="1092"/>
                  </a:lnTo>
                  <a:lnTo>
                    <a:pt x="444" y="1095"/>
                  </a:lnTo>
                  <a:lnTo>
                    <a:pt x="444" y="1098"/>
                  </a:lnTo>
                  <a:lnTo>
                    <a:pt x="437" y="1098"/>
                  </a:lnTo>
                  <a:lnTo>
                    <a:pt x="434" y="1098"/>
                  </a:lnTo>
                  <a:lnTo>
                    <a:pt x="437" y="1111"/>
                  </a:lnTo>
                  <a:lnTo>
                    <a:pt x="434" y="1115"/>
                  </a:lnTo>
                  <a:lnTo>
                    <a:pt x="434" y="1118"/>
                  </a:lnTo>
                  <a:lnTo>
                    <a:pt x="430" y="1121"/>
                  </a:lnTo>
                  <a:lnTo>
                    <a:pt x="424" y="1118"/>
                  </a:lnTo>
                  <a:lnTo>
                    <a:pt x="424" y="1115"/>
                  </a:lnTo>
                  <a:lnTo>
                    <a:pt x="413" y="1105"/>
                  </a:lnTo>
                  <a:lnTo>
                    <a:pt x="410" y="1108"/>
                  </a:lnTo>
                  <a:lnTo>
                    <a:pt x="410" y="1115"/>
                  </a:lnTo>
                  <a:lnTo>
                    <a:pt x="403" y="1118"/>
                  </a:lnTo>
                  <a:lnTo>
                    <a:pt x="400" y="1121"/>
                  </a:lnTo>
                  <a:lnTo>
                    <a:pt x="400" y="1128"/>
                  </a:lnTo>
                  <a:lnTo>
                    <a:pt x="403" y="1131"/>
                  </a:lnTo>
                  <a:lnTo>
                    <a:pt x="403" y="1140"/>
                  </a:lnTo>
                  <a:lnTo>
                    <a:pt x="400" y="1147"/>
                  </a:lnTo>
                  <a:lnTo>
                    <a:pt x="406" y="1150"/>
                  </a:lnTo>
                  <a:lnTo>
                    <a:pt x="410" y="1153"/>
                  </a:lnTo>
                  <a:lnTo>
                    <a:pt x="410" y="1157"/>
                  </a:lnTo>
                  <a:lnTo>
                    <a:pt x="417" y="1160"/>
                  </a:lnTo>
                  <a:lnTo>
                    <a:pt x="417" y="1157"/>
                  </a:lnTo>
                  <a:lnTo>
                    <a:pt x="430" y="1160"/>
                  </a:lnTo>
                  <a:lnTo>
                    <a:pt x="437" y="1170"/>
                  </a:lnTo>
                  <a:lnTo>
                    <a:pt x="448" y="1179"/>
                  </a:lnTo>
                  <a:lnTo>
                    <a:pt x="441" y="1179"/>
                  </a:lnTo>
                  <a:lnTo>
                    <a:pt x="437" y="1182"/>
                  </a:lnTo>
                  <a:lnTo>
                    <a:pt x="444" y="1186"/>
                  </a:lnTo>
                  <a:lnTo>
                    <a:pt x="451" y="1186"/>
                  </a:lnTo>
                  <a:lnTo>
                    <a:pt x="455" y="1189"/>
                  </a:lnTo>
                  <a:lnTo>
                    <a:pt x="455" y="1189"/>
                  </a:lnTo>
                  <a:lnTo>
                    <a:pt x="455" y="1189"/>
                  </a:lnTo>
                  <a:lnTo>
                    <a:pt x="455" y="1189"/>
                  </a:lnTo>
                  <a:lnTo>
                    <a:pt x="455" y="1189"/>
                  </a:lnTo>
                  <a:lnTo>
                    <a:pt x="451" y="1192"/>
                  </a:lnTo>
                  <a:lnTo>
                    <a:pt x="455" y="1192"/>
                  </a:lnTo>
                  <a:lnTo>
                    <a:pt x="455" y="1195"/>
                  </a:lnTo>
                  <a:lnTo>
                    <a:pt x="451" y="1195"/>
                  </a:lnTo>
                  <a:lnTo>
                    <a:pt x="455" y="1195"/>
                  </a:lnTo>
                  <a:lnTo>
                    <a:pt x="455" y="1199"/>
                  </a:lnTo>
                  <a:lnTo>
                    <a:pt x="451" y="1195"/>
                  </a:lnTo>
                  <a:lnTo>
                    <a:pt x="448" y="1195"/>
                  </a:lnTo>
                  <a:lnTo>
                    <a:pt x="444" y="1195"/>
                  </a:lnTo>
                  <a:lnTo>
                    <a:pt x="444" y="1195"/>
                  </a:lnTo>
                  <a:lnTo>
                    <a:pt x="448" y="1199"/>
                  </a:lnTo>
                  <a:lnTo>
                    <a:pt x="451" y="1202"/>
                  </a:lnTo>
                  <a:lnTo>
                    <a:pt x="448" y="1202"/>
                  </a:lnTo>
                  <a:lnTo>
                    <a:pt x="448" y="1202"/>
                  </a:lnTo>
                  <a:lnTo>
                    <a:pt x="448" y="1202"/>
                  </a:lnTo>
                  <a:lnTo>
                    <a:pt x="444" y="1202"/>
                  </a:lnTo>
                  <a:lnTo>
                    <a:pt x="444" y="1202"/>
                  </a:lnTo>
                  <a:lnTo>
                    <a:pt x="441" y="1202"/>
                  </a:lnTo>
                  <a:lnTo>
                    <a:pt x="441" y="1202"/>
                  </a:lnTo>
                  <a:lnTo>
                    <a:pt x="441" y="1202"/>
                  </a:lnTo>
                  <a:lnTo>
                    <a:pt x="444" y="1202"/>
                  </a:lnTo>
                  <a:lnTo>
                    <a:pt x="441" y="1205"/>
                  </a:lnTo>
                  <a:lnTo>
                    <a:pt x="437" y="1205"/>
                  </a:lnTo>
                  <a:lnTo>
                    <a:pt x="437" y="1205"/>
                  </a:lnTo>
                  <a:lnTo>
                    <a:pt x="434" y="1205"/>
                  </a:lnTo>
                  <a:lnTo>
                    <a:pt x="434" y="1205"/>
                  </a:lnTo>
                  <a:lnTo>
                    <a:pt x="430" y="1208"/>
                  </a:lnTo>
                  <a:lnTo>
                    <a:pt x="430" y="1205"/>
                  </a:lnTo>
                  <a:lnTo>
                    <a:pt x="427" y="1205"/>
                  </a:lnTo>
                  <a:lnTo>
                    <a:pt x="427" y="1208"/>
                  </a:lnTo>
                  <a:lnTo>
                    <a:pt x="427" y="1208"/>
                  </a:lnTo>
                  <a:lnTo>
                    <a:pt x="427" y="1215"/>
                  </a:lnTo>
                  <a:lnTo>
                    <a:pt x="424" y="1215"/>
                  </a:lnTo>
                  <a:lnTo>
                    <a:pt x="424" y="1218"/>
                  </a:lnTo>
                  <a:lnTo>
                    <a:pt x="420" y="1221"/>
                  </a:lnTo>
                  <a:lnTo>
                    <a:pt x="420" y="1228"/>
                  </a:lnTo>
                  <a:lnTo>
                    <a:pt x="417" y="1228"/>
                  </a:lnTo>
                  <a:lnTo>
                    <a:pt x="417" y="1231"/>
                  </a:lnTo>
                  <a:lnTo>
                    <a:pt x="420" y="1237"/>
                  </a:lnTo>
                  <a:lnTo>
                    <a:pt x="424" y="1237"/>
                  </a:lnTo>
                  <a:lnTo>
                    <a:pt x="424" y="1237"/>
                  </a:lnTo>
                  <a:lnTo>
                    <a:pt x="427" y="1241"/>
                  </a:lnTo>
                  <a:lnTo>
                    <a:pt x="430" y="1241"/>
                  </a:lnTo>
                  <a:lnTo>
                    <a:pt x="430" y="1247"/>
                  </a:lnTo>
                  <a:lnTo>
                    <a:pt x="434" y="1247"/>
                  </a:lnTo>
                  <a:lnTo>
                    <a:pt x="437" y="1247"/>
                  </a:lnTo>
                  <a:lnTo>
                    <a:pt x="441" y="1247"/>
                  </a:lnTo>
                  <a:lnTo>
                    <a:pt x="437" y="1250"/>
                  </a:lnTo>
                  <a:lnTo>
                    <a:pt x="437" y="1254"/>
                  </a:lnTo>
                  <a:lnTo>
                    <a:pt x="434" y="1250"/>
                  </a:lnTo>
                  <a:lnTo>
                    <a:pt x="434" y="1254"/>
                  </a:lnTo>
                  <a:lnTo>
                    <a:pt x="437" y="1254"/>
                  </a:lnTo>
                  <a:lnTo>
                    <a:pt x="437" y="1257"/>
                  </a:lnTo>
                  <a:lnTo>
                    <a:pt x="437" y="1257"/>
                  </a:lnTo>
                  <a:lnTo>
                    <a:pt x="441" y="1263"/>
                  </a:lnTo>
                  <a:lnTo>
                    <a:pt x="441" y="1266"/>
                  </a:lnTo>
                  <a:lnTo>
                    <a:pt x="444" y="1270"/>
                  </a:lnTo>
                  <a:lnTo>
                    <a:pt x="451" y="1279"/>
                  </a:lnTo>
                  <a:lnTo>
                    <a:pt x="461" y="1286"/>
                  </a:lnTo>
                  <a:lnTo>
                    <a:pt x="461" y="1286"/>
                  </a:lnTo>
                  <a:lnTo>
                    <a:pt x="461" y="1286"/>
                  </a:lnTo>
                  <a:lnTo>
                    <a:pt x="455" y="1292"/>
                  </a:lnTo>
                  <a:lnTo>
                    <a:pt x="451" y="1296"/>
                  </a:lnTo>
                  <a:lnTo>
                    <a:pt x="448" y="1299"/>
                  </a:lnTo>
                  <a:lnTo>
                    <a:pt x="441" y="1299"/>
                  </a:lnTo>
                  <a:lnTo>
                    <a:pt x="437" y="1296"/>
                  </a:lnTo>
                  <a:lnTo>
                    <a:pt x="427" y="1289"/>
                  </a:lnTo>
                  <a:lnTo>
                    <a:pt x="424" y="1286"/>
                  </a:lnTo>
                  <a:lnTo>
                    <a:pt x="420" y="1292"/>
                  </a:lnTo>
                  <a:lnTo>
                    <a:pt x="427" y="1296"/>
                  </a:lnTo>
                  <a:lnTo>
                    <a:pt x="427" y="1299"/>
                  </a:lnTo>
                  <a:lnTo>
                    <a:pt x="427" y="1305"/>
                  </a:lnTo>
                  <a:lnTo>
                    <a:pt x="420" y="1302"/>
                  </a:lnTo>
                  <a:lnTo>
                    <a:pt x="413" y="1302"/>
                  </a:lnTo>
                  <a:lnTo>
                    <a:pt x="403" y="1296"/>
                  </a:lnTo>
                  <a:lnTo>
                    <a:pt x="396" y="1299"/>
                  </a:lnTo>
                  <a:lnTo>
                    <a:pt x="396" y="1302"/>
                  </a:lnTo>
                  <a:lnTo>
                    <a:pt x="400" y="1305"/>
                  </a:lnTo>
                  <a:lnTo>
                    <a:pt x="393" y="1302"/>
                  </a:lnTo>
                  <a:lnTo>
                    <a:pt x="382" y="1302"/>
                  </a:lnTo>
                  <a:lnTo>
                    <a:pt x="379" y="1302"/>
                  </a:lnTo>
                  <a:lnTo>
                    <a:pt x="372" y="1302"/>
                  </a:lnTo>
                  <a:lnTo>
                    <a:pt x="365" y="1305"/>
                  </a:lnTo>
                  <a:lnTo>
                    <a:pt x="365" y="1305"/>
                  </a:lnTo>
                  <a:lnTo>
                    <a:pt x="362" y="1302"/>
                  </a:lnTo>
                  <a:lnTo>
                    <a:pt x="355" y="1299"/>
                  </a:lnTo>
                  <a:lnTo>
                    <a:pt x="351" y="1296"/>
                  </a:lnTo>
                  <a:lnTo>
                    <a:pt x="348" y="1299"/>
                  </a:lnTo>
                  <a:lnTo>
                    <a:pt x="344" y="1299"/>
                  </a:lnTo>
                  <a:lnTo>
                    <a:pt x="341" y="1299"/>
                  </a:lnTo>
                  <a:lnTo>
                    <a:pt x="338" y="1299"/>
                  </a:lnTo>
                  <a:lnTo>
                    <a:pt x="338" y="1299"/>
                  </a:lnTo>
                  <a:lnTo>
                    <a:pt x="334" y="1296"/>
                  </a:lnTo>
                  <a:lnTo>
                    <a:pt x="334" y="1296"/>
                  </a:lnTo>
                  <a:lnTo>
                    <a:pt x="334" y="1296"/>
                  </a:lnTo>
                  <a:lnTo>
                    <a:pt x="334" y="1296"/>
                  </a:lnTo>
                  <a:lnTo>
                    <a:pt x="334" y="1292"/>
                  </a:lnTo>
                  <a:lnTo>
                    <a:pt x="334" y="1289"/>
                  </a:lnTo>
                  <a:lnTo>
                    <a:pt x="331" y="1286"/>
                  </a:lnTo>
                  <a:lnTo>
                    <a:pt x="331" y="1279"/>
                  </a:lnTo>
                  <a:lnTo>
                    <a:pt x="327" y="1276"/>
                  </a:lnTo>
                  <a:lnTo>
                    <a:pt x="324" y="1270"/>
                  </a:lnTo>
                  <a:lnTo>
                    <a:pt x="317" y="1270"/>
                  </a:lnTo>
                  <a:lnTo>
                    <a:pt x="317" y="1266"/>
                  </a:lnTo>
                  <a:lnTo>
                    <a:pt x="314" y="1263"/>
                  </a:lnTo>
                  <a:lnTo>
                    <a:pt x="310" y="1266"/>
                  </a:lnTo>
                  <a:lnTo>
                    <a:pt x="310" y="1263"/>
                  </a:lnTo>
                  <a:lnTo>
                    <a:pt x="307" y="1263"/>
                  </a:lnTo>
                  <a:lnTo>
                    <a:pt x="303" y="1260"/>
                  </a:lnTo>
                  <a:lnTo>
                    <a:pt x="300" y="1260"/>
                  </a:lnTo>
                  <a:lnTo>
                    <a:pt x="296" y="1260"/>
                  </a:lnTo>
                  <a:lnTo>
                    <a:pt x="296" y="1257"/>
                  </a:lnTo>
                  <a:lnTo>
                    <a:pt x="293" y="1257"/>
                  </a:lnTo>
                  <a:lnTo>
                    <a:pt x="289" y="1254"/>
                  </a:lnTo>
                  <a:lnTo>
                    <a:pt x="289" y="1250"/>
                  </a:lnTo>
                  <a:lnTo>
                    <a:pt x="286" y="1250"/>
                  </a:lnTo>
                  <a:lnTo>
                    <a:pt x="283" y="1247"/>
                  </a:lnTo>
                  <a:lnTo>
                    <a:pt x="269" y="1241"/>
                  </a:lnTo>
                  <a:lnTo>
                    <a:pt x="265" y="1237"/>
                  </a:lnTo>
                  <a:lnTo>
                    <a:pt x="258" y="1234"/>
                  </a:lnTo>
                  <a:lnTo>
                    <a:pt x="252" y="1234"/>
                  </a:lnTo>
                  <a:lnTo>
                    <a:pt x="245" y="1231"/>
                  </a:lnTo>
                  <a:lnTo>
                    <a:pt x="245" y="1228"/>
                  </a:lnTo>
                  <a:lnTo>
                    <a:pt x="241" y="1224"/>
                  </a:lnTo>
                  <a:lnTo>
                    <a:pt x="238" y="1224"/>
                  </a:lnTo>
                  <a:lnTo>
                    <a:pt x="234" y="1224"/>
                  </a:lnTo>
                  <a:lnTo>
                    <a:pt x="234" y="1221"/>
                  </a:lnTo>
                  <a:lnTo>
                    <a:pt x="238" y="1221"/>
                  </a:lnTo>
                  <a:lnTo>
                    <a:pt x="238" y="1218"/>
                  </a:lnTo>
                  <a:lnTo>
                    <a:pt x="238" y="1218"/>
                  </a:lnTo>
                  <a:lnTo>
                    <a:pt x="241" y="1218"/>
                  </a:lnTo>
                  <a:lnTo>
                    <a:pt x="245" y="1221"/>
                  </a:lnTo>
                  <a:lnTo>
                    <a:pt x="245" y="1221"/>
                  </a:lnTo>
                  <a:lnTo>
                    <a:pt x="248" y="1221"/>
                  </a:lnTo>
                  <a:lnTo>
                    <a:pt x="252" y="1215"/>
                  </a:lnTo>
                  <a:lnTo>
                    <a:pt x="248" y="1215"/>
                  </a:lnTo>
                  <a:lnTo>
                    <a:pt x="248" y="1212"/>
                  </a:lnTo>
                  <a:lnTo>
                    <a:pt x="252" y="1208"/>
                  </a:lnTo>
                  <a:lnTo>
                    <a:pt x="252" y="1205"/>
                  </a:lnTo>
                  <a:lnTo>
                    <a:pt x="255" y="1205"/>
                  </a:lnTo>
                  <a:lnTo>
                    <a:pt x="258" y="1205"/>
                  </a:lnTo>
                  <a:lnTo>
                    <a:pt x="258" y="1205"/>
                  </a:lnTo>
                  <a:lnTo>
                    <a:pt x="262" y="1202"/>
                  </a:lnTo>
                  <a:lnTo>
                    <a:pt x="262" y="1202"/>
                  </a:lnTo>
                  <a:lnTo>
                    <a:pt x="258" y="1202"/>
                  </a:lnTo>
                  <a:lnTo>
                    <a:pt x="255" y="1199"/>
                  </a:lnTo>
                  <a:lnTo>
                    <a:pt x="255" y="1202"/>
                  </a:lnTo>
                  <a:lnTo>
                    <a:pt x="252" y="1199"/>
                  </a:lnTo>
                  <a:lnTo>
                    <a:pt x="248" y="1192"/>
                  </a:lnTo>
                  <a:lnTo>
                    <a:pt x="255" y="1192"/>
                  </a:lnTo>
                  <a:lnTo>
                    <a:pt x="258" y="1192"/>
                  </a:lnTo>
                  <a:lnTo>
                    <a:pt x="262" y="1192"/>
                  </a:lnTo>
                  <a:lnTo>
                    <a:pt x="258" y="1192"/>
                  </a:lnTo>
                  <a:lnTo>
                    <a:pt x="258" y="1189"/>
                  </a:lnTo>
                  <a:lnTo>
                    <a:pt x="262" y="1186"/>
                  </a:lnTo>
                  <a:lnTo>
                    <a:pt x="272" y="1182"/>
                  </a:lnTo>
                  <a:lnTo>
                    <a:pt x="272" y="1179"/>
                  </a:lnTo>
                  <a:lnTo>
                    <a:pt x="272" y="1179"/>
                  </a:lnTo>
                  <a:lnTo>
                    <a:pt x="269" y="1179"/>
                  </a:lnTo>
                  <a:lnTo>
                    <a:pt x="262" y="1182"/>
                  </a:lnTo>
                  <a:lnTo>
                    <a:pt x="258" y="1179"/>
                  </a:lnTo>
                  <a:lnTo>
                    <a:pt x="258" y="1179"/>
                  </a:lnTo>
                  <a:lnTo>
                    <a:pt x="258" y="1179"/>
                  </a:lnTo>
                  <a:lnTo>
                    <a:pt x="258" y="1173"/>
                  </a:lnTo>
                  <a:lnTo>
                    <a:pt x="262" y="1173"/>
                  </a:lnTo>
                  <a:lnTo>
                    <a:pt x="265" y="1166"/>
                  </a:lnTo>
                  <a:lnTo>
                    <a:pt x="276" y="1166"/>
                  </a:lnTo>
                  <a:lnTo>
                    <a:pt x="279" y="1163"/>
                  </a:lnTo>
                  <a:lnTo>
                    <a:pt x="279" y="1160"/>
                  </a:lnTo>
                  <a:lnTo>
                    <a:pt x="279" y="1153"/>
                  </a:lnTo>
                  <a:lnTo>
                    <a:pt x="279" y="1150"/>
                  </a:lnTo>
                  <a:lnTo>
                    <a:pt x="276" y="1147"/>
                  </a:lnTo>
                  <a:lnTo>
                    <a:pt x="276" y="1137"/>
                  </a:lnTo>
                  <a:lnTo>
                    <a:pt x="279" y="1137"/>
                  </a:lnTo>
                  <a:lnTo>
                    <a:pt x="283" y="1134"/>
                  </a:lnTo>
                  <a:lnTo>
                    <a:pt x="283" y="1131"/>
                  </a:lnTo>
                  <a:lnTo>
                    <a:pt x="279" y="1128"/>
                  </a:lnTo>
                  <a:lnTo>
                    <a:pt x="279" y="1124"/>
                  </a:lnTo>
                  <a:lnTo>
                    <a:pt x="276" y="1128"/>
                  </a:lnTo>
                  <a:lnTo>
                    <a:pt x="269" y="1128"/>
                  </a:lnTo>
                  <a:lnTo>
                    <a:pt x="265" y="1124"/>
                  </a:lnTo>
                  <a:lnTo>
                    <a:pt x="258" y="1124"/>
                  </a:lnTo>
                  <a:lnTo>
                    <a:pt x="255" y="1121"/>
                  </a:lnTo>
                  <a:lnTo>
                    <a:pt x="252" y="1121"/>
                  </a:lnTo>
                  <a:lnTo>
                    <a:pt x="245" y="1121"/>
                  </a:lnTo>
                  <a:lnTo>
                    <a:pt x="241" y="1124"/>
                  </a:lnTo>
                  <a:lnTo>
                    <a:pt x="241" y="1121"/>
                  </a:lnTo>
                  <a:lnTo>
                    <a:pt x="234" y="1118"/>
                  </a:lnTo>
                  <a:lnTo>
                    <a:pt x="231" y="1108"/>
                  </a:lnTo>
                  <a:lnTo>
                    <a:pt x="228" y="1108"/>
                  </a:lnTo>
                  <a:lnTo>
                    <a:pt x="221" y="1115"/>
                  </a:lnTo>
                  <a:lnTo>
                    <a:pt x="217" y="1111"/>
                  </a:lnTo>
                  <a:lnTo>
                    <a:pt x="210" y="1115"/>
                  </a:lnTo>
                  <a:lnTo>
                    <a:pt x="207" y="1111"/>
                  </a:lnTo>
                  <a:lnTo>
                    <a:pt x="203" y="1115"/>
                  </a:lnTo>
                  <a:lnTo>
                    <a:pt x="193" y="1108"/>
                  </a:lnTo>
                  <a:lnTo>
                    <a:pt x="193" y="1102"/>
                  </a:lnTo>
                  <a:lnTo>
                    <a:pt x="193" y="1098"/>
                  </a:lnTo>
                  <a:lnTo>
                    <a:pt x="186" y="1098"/>
                  </a:lnTo>
                  <a:lnTo>
                    <a:pt x="186" y="1092"/>
                  </a:lnTo>
                  <a:lnTo>
                    <a:pt x="183" y="1092"/>
                  </a:lnTo>
                  <a:lnTo>
                    <a:pt x="172" y="1092"/>
                  </a:lnTo>
                  <a:lnTo>
                    <a:pt x="166" y="1086"/>
                  </a:lnTo>
                  <a:lnTo>
                    <a:pt x="169" y="1082"/>
                  </a:lnTo>
                  <a:lnTo>
                    <a:pt x="166" y="1079"/>
                  </a:lnTo>
                  <a:lnTo>
                    <a:pt x="162" y="1073"/>
                  </a:lnTo>
                  <a:lnTo>
                    <a:pt x="159" y="1073"/>
                  </a:lnTo>
                  <a:lnTo>
                    <a:pt x="152" y="1073"/>
                  </a:lnTo>
                  <a:lnTo>
                    <a:pt x="145" y="1073"/>
                  </a:lnTo>
                  <a:lnTo>
                    <a:pt x="135" y="1073"/>
                  </a:lnTo>
                  <a:lnTo>
                    <a:pt x="131" y="1073"/>
                  </a:lnTo>
                  <a:lnTo>
                    <a:pt x="131" y="1076"/>
                  </a:lnTo>
                  <a:lnTo>
                    <a:pt x="128" y="1079"/>
                  </a:lnTo>
                  <a:lnTo>
                    <a:pt x="124" y="1076"/>
                  </a:lnTo>
                  <a:lnTo>
                    <a:pt x="124" y="1073"/>
                  </a:lnTo>
                  <a:lnTo>
                    <a:pt x="117" y="1069"/>
                  </a:lnTo>
                  <a:lnTo>
                    <a:pt x="121" y="1063"/>
                  </a:lnTo>
                  <a:lnTo>
                    <a:pt x="117" y="1060"/>
                  </a:lnTo>
                  <a:lnTo>
                    <a:pt x="114" y="1056"/>
                  </a:lnTo>
                  <a:lnTo>
                    <a:pt x="117" y="1053"/>
                  </a:lnTo>
                  <a:lnTo>
                    <a:pt x="121" y="1056"/>
                  </a:lnTo>
                  <a:lnTo>
                    <a:pt x="131" y="1053"/>
                  </a:lnTo>
                  <a:lnTo>
                    <a:pt x="135" y="1050"/>
                  </a:lnTo>
                  <a:lnTo>
                    <a:pt x="138" y="1047"/>
                  </a:lnTo>
                  <a:lnTo>
                    <a:pt x="131" y="1044"/>
                  </a:lnTo>
                  <a:lnTo>
                    <a:pt x="131" y="1040"/>
                  </a:lnTo>
                  <a:lnTo>
                    <a:pt x="124" y="1037"/>
                  </a:lnTo>
                  <a:lnTo>
                    <a:pt x="117" y="1034"/>
                  </a:lnTo>
                  <a:lnTo>
                    <a:pt x="117" y="1031"/>
                  </a:lnTo>
                  <a:lnTo>
                    <a:pt x="114" y="1027"/>
                  </a:lnTo>
                  <a:lnTo>
                    <a:pt x="107" y="1021"/>
                  </a:lnTo>
                  <a:lnTo>
                    <a:pt x="107" y="1018"/>
                  </a:lnTo>
                  <a:lnTo>
                    <a:pt x="100" y="1011"/>
                  </a:lnTo>
                  <a:lnTo>
                    <a:pt x="100" y="1008"/>
                  </a:lnTo>
                  <a:lnTo>
                    <a:pt x="97" y="1005"/>
                  </a:lnTo>
                  <a:lnTo>
                    <a:pt x="100" y="998"/>
                  </a:lnTo>
                  <a:lnTo>
                    <a:pt x="97" y="995"/>
                  </a:lnTo>
                  <a:lnTo>
                    <a:pt x="90" y="992"/>
                  </a:lnTo>
                  <a:lnTo>
                    <a:pt x="86" y="992"/>
                  </a:lnTo>
                  <a:lnTo>
                    <a:pt x="83" y="992"/>
                  </a:lnTo>
                  <a:lnTo>
                    <a:pt x="80" y="992"/>
                  </a:lnTo>
                  <a:lnTo>
                    <a:pt x="73" y="995"/>
                  </a:lnTo>
                  <a:lnTo>
                    <a:pt x="69" y="989"/>
                  </a:lnTo>
                  <a:lnTo>
                    <a:pt x="66" y="989"/>
                  </a:lnTo>
                  <a:lnTo>
                    <a:pt x="62" y="992"/>
                  </a:lnTo>
                  <a:lnTo>
                    <a:pt x="59" y="985"/>
                  </a:lnTo>
                  <a:lnTo>
                    <a:pt x="52" y="989"/>
                  </a:lnTo>
                  <a:lnTo>
                    <a:pt x="49" y="985"/>
                  </a:lnTo>
                  <a:lnTo>
                    <a:pt x="49" y="985"/>
                  </a:lnTo>
                  <a:lnTo>
                    <a:pt x="49" y="982"/>
                  </a:lnTo>
                  <a:lnTo>
                    <a:pt x="45" y="979"/>
                  </a:lnTo>
                  <a:lnTo>
                    <a:pt x="42" y="976"/>
                  </a:lnTo>
                  <a:lnTo>
                    <a:pt x="42" y="972"/>
                  </a:lnTo>
                  <a:lnTo>
                    <a:pt x="38" y="969"/>
                  </a:lnTo>
                  <a:lnTo>
                    <a:pt x="38" y="966"/>
                  </a:lnTo>
                  <a:lnTo>
                    <a:pt x="38" y="963"/>
                  </a:lnTo>
                  <a:lnTo>
                    <a:pt x="38" y="963"/>
                  </a:lnTo>
                  <a:lnTo>
                    <a:pt x="38" y="963"/>
                  </a:lnTo>
                  <a:lnTo>
                    <a:pt x="38" y="960"/>
                  </a:lnTo>
                  <a:lnTo>
                    <a:pt x="35" y="956"/>
                  </a:lnTo>
                  <a:lnTo>
                    <a:pt x="35" y="953"/>
                  </a:lnTo>
                  <a:lnTo>
                    <a:pt x="35" y="950"/>
                  </a:lnTo>
                  <a:lnTo>
                    <a:pt x="38" y="950"/>
                  </a:lnTo>
                  <a:lnTo>
                    <a:pt x="38" y="947"/>
                  </a:lnTo>
                  <a:lnTo>
                    <a:pt x="31" y="930"/>
                  </a:lnTo>
                  <a:lnTo>
                    <a:pt x="31" y="921"/>
                  </a:lnTo>
                  <a:lnTo>
                    <a:pt x="35" y="918"/>
                  </a:lnTo>
                  <a:lnTo>
                    <a:pt x="35" y="914"/>
                  </a:lnTo>
                  <a:lnTo>
                    <a:pt x="38" y="911"/>
                  </a:lnTo>
                  <a:lnTo>
                    <a:pt x="38" y="908"/>
                  </a:lnTo>
                  <a:lnTo>
                    <a:pt x="38" y="908"/>
                  </a:lnTo>
                  <a:lnTo>
                    <a:pt x="35" y="905"/>
                  </a:lnTo>
                  <a:lnTo>
                    <a:pt x="35" y="905"/>
                  </a:lnTo>
                  <a:lnTo>
                    <a:pt x="38" y="901"/>
                  </a:lnTo>
                  <a:lnTo>
                    <a:pt x="35" y="898"/>
                  </a:lnTo>
                  <a:lnTo>
                    <a:pt x="35" y="898"/>
                  </a:lnTo>
                  <a:lnTo>
                    <a:pt x="38" y="898"/>
                  </a:lnTo>
                  <a:lnTo>
                    <a:pt x="38" y="901"/>
                  </a:lnTo>
                  <a:lnTo>
                    <a:pt x="42" y="898"/>
                  </a:lnTo>
                  <a:lnTo>
                    <a:pt x="42" y="895"/>
                  </a:lnTo>
                  <a:lnTo>
                    <a:pt x="45" y="895"/>
                  </a:lnTo>
                  <a:lnTo>
                    <a:pt x="49" y="895"/>
                  </a:lnTo>
                  <a:lnTo>
                    <a:pt x="52" y="895"/>
                  </a:lnTo>
                  <a:lnTo>
                    <a:pt x="56" y="892"/>
                  </a:lnTo>
                  <a:lnTo>
                    <a:pt x="56" y="889"/>
                  </a:lnTo>
                  <a:lnTo>
                    <a:pt x="62" y="892"/>
                  </a:lnTo>
                  <a:lnTo>
                    <a:pt x="66" y="889"/>
                  </a:lnTo>
                  <a:lnTo>
                    <a:pt x="62" y="885"/>
                  </a:lnTo>
                  <a:lnTo>
                    <a:pt x="59" y="885"/>
                  </a:lnTo>
                  <a:lnTo>
                    <a:pt x="56" y="885"/>
                  </a:lnTo>
                  <a:lnTo>
                    <a:pt x="52" y="885"/>
                  </a:lnTo>
                  <a:lnTo>
                    <a:pt x="49" y="882"/>
                  </a:lnTo>
                  <a:lnTo>
                    <a:pt x="45" y="882"/>
                  </a:lnTo>
                  <a:lnTo>
                    <a:pt x="42" y="879"/>
                  </a:lnTo>
                  <a:lnTo>
                    <a:pt x="42" y="876"/>
                  </a:lnTo>
                  <a:lnTo>
                    <a:pt x="45" y="879"/>
                  </a:lnTo>
                  <a:lnTo>
                    <a:pt x="45" y="876"/>
                  </a:lnTo>
                  <a:lnTo>
                    <a:pt x="45" y="872"/>
                  </a:lnTo>
                  <a:lnTo>
                    <a:pt x="45" y="872"/>
                  </a:lnTo>
                  <a:lnTo>
                    <a:pt x="42" y="872"/>
                  </a:lnTo>
                  <a:lnTo>
                    <a:pt x="42" y="872"/>
                  </a:lnTo>
                  <a:lnTo>
                    <a:pt x="38" y="876"/>
                  </a:lnTo>
                  <a:lnTo>
                    <a:pt x="38" y="876"/>
                  </a:lnTo>
                  <a:lnTo>
                    <a:pt x="35" y="876"/>
                  </a:lnTo>
                  <a:lnTo>
                    <a:pt x="35" y="876"/>
                  </a:lnTo>
                  <a:lnTo>
                    <a:pt x="35" y="872"/>
                  </a:lnTo>
                  <a:lnTo>
                    <a:pt x="45" y="863"/>
                  </a:lnTo>
                  <a:lnTo>
                    <a:pt x="49" y="863"/>
                  </a:lnTo>
                  <a:lnTo>
                    <a:pt x="56" y="853"/>
                  </a:lnTo>
                  <a:lnTo>
                    <a:pt x="59" y="847"/>
                  </a:lnTo>
                  <a:lnTo>
                    <a:pt x="62" y="840"/>
                  </a:lnTo>
                  <a:lnTo>
                    <a:pt x="73" y="827"/>
                  </a:lnTo>
                  <a:lnTo>
                    <a:pt x="76" y="817"/>
                  </a:lnTo>
                  <a:lnTo>
                    <a:pt x="76" y="811"/>
                  </a:lnTo>
                  <a:lnTo>
                    <a:pt x="66" y="805"/>
                  </a:lnTo>
                  <a:lnTo>
                    <a:pt x="62" y="801"/>
                  </a:lnTo>
                  <a:lnTo>
                    <a:pt x="52" y="792"/>
                  </a:lnTo>
                  <a:lnTo>
                    <a:pt x="56" y="785"/>
                  </a:lnTo>
                  <a:lnTo>
                    <a:pt x="59" y="782"/>
                  </a:lnTo>
                  <a:lnTo>
                    <a:pt x="59" y="779"/>
                  </a:lnTo>
                  <a:lnTo>
                    <a:pt x="52" y="772"/>
                  </a:lnTo>
                  <a:lnTo>
                    <a:pt x="49" y="769"/>
                  </a:lnTo>
                  <a:lnTo>
                    <a:pt x="49" y="763"/>
                  </a:lnTo>
                  <a:lnTo>
                    <a:pt x="52" y="763"/>
                  </a:lnTo>
                  <a:lnTo>
                    <a:pt x="49" y="759"/>
                  </a:lnTo>
                  <a:lnTo>
                    <a:pt x="45" y="759"/>
                  </a:lnTo>
                  <a:lnTo>
                    <a:pt x="42" y="756"/>
                  </a:lnTo>
                  <a:lnTo>
                    <a:pt x="42" y="750"/>
                  </a:lnTo>
                  <a:lnTo>
                    <a:pt x="45" y="746"/>
                  </a:lnTo>
                  <a:lnTo>
                    <a:pt x="42" y="746"/>
                  </a:lnTo>
                  <a:lnTo>
                    <a:pt x="42" y="743"/>
                  </a:lnTo>
                  <a:lnTo>
                    <a:pt x="42" y="733"/>
                  </a:lnTo>
                  <a:lnTo>
                    <a:pt x="45" y="733"/>
                  </a:lnTo>
                  <a:lnTo>
                    <a:pt x="38" y="714"/>
                  </a:lnTo>
                  <a:lnTo>
                    <a:pt x="28" y="704"/>
                  </a:lnTo>
                  <a:lnTo>
                    <a:pt x="28" y="698"/>
                  </a:lnTo>
                  <a:lnTo>
                    <a:pt x="21" y="695"/>
                  </a:lnTo>
                  <a:lnTo>
                    <a:pt x="25" y="685"/>
                  </a:lnTo>
                  <a:lnTo>
                    <a:pt x="31" y="682"/>
                  </a:lnTo>
                  <a:lnTo>
                    <a:pt x="31" y="675"/>
                  </a:lnTo>
                  <a:lnTo>
                    <a:pt x="28" y="675"/>
                  </a:lnTo>
                  <a:lnTo>
                    <a:pt x="21" y="669"/>
                  </a:lnTo>
                  <a:lnTo>
                    <a:pt x="18" y="666"/>
                  </a:lnTo>
                  <a:lnTo>
                    <a:pt x="18" y="662"/>
                  </a:lnTo>
                  <a:lnTo>
                    <a:pt x="11" y="659"/>
                  </a:lnTo>
                  <a:lnTo>
                    <a:pt x="7" y="659"/>
                  </a:lnTo>
                  <a:lnTo>
                    <a:pt x="4" y="653"/>
                  </a:lnTo>
                  <a:lnTo>
                    <a:pt x="0" y="649"/>
                  </a:lnTo>
                  <a:lnTo>
                    <a:pt x="4" y="643"/>
                  </a:lnTo>
                  <a:lnTo>
                    <a:pt x="4" y="640"/>
                  </a:lnTo>
                  <a:lnTo>
                    <a:pt x="0" y="640"/>
                  </a:lnTo>
                  <a:lnTo>
                    <a:pt x="4" y="637"/>
                  </a:lnTo>
                  <a:lnTo>
                    <a:pt x="11" y="637"/>
                  </a:lnTo>
                  <a:lnTo>
                    <a:pt x="11" y="633"/>
                  </a:lnTo>
                  <a:lnTo>
                    <a:pt x="11" y="633"/>
                  </a:lnTo>
                  <a:lnTo>
                    <a:pt x="11" y="630"/>
                  </a:lnTo>
                  <a:lnTo>
                    <a:pt x="18" y="624"/>
                  </a:lnTo>
                  <a:lnTo>
                    <a:pt x="21" y="624"/>
                  </a:lnTo>
                  <a:lnTo>
                    <a:pt x="25" y="620"/>
                  </a:lnTo>
                  <a:lnTo>
                    <a:pt x="25" y="617"/>
                  </a:lnTo>
                  <a:lnTo>
                    <a:pt x="28" y="617"/>
                  </a:lnTo>
                  <a:lnTo>
                    <a:pt x="31" y="617"/>
                  </a:lnTo>
                  <a:lnTo>
                    <a:pt x="35" y="614"/>
                  </a:lnTo>
                  <a:lnTo>
                    <a:pt x="35" y="611"/>
                  </a:lnTo>
                  <a:lnTo>
                    <a:pt x="35" y="611"/>
                  </a:lnTo>
                  <a:lnTo>
                    <a:pt x="38" y="611"/>
                  </a:lnTo>
                  <a:lnTo>
                    <a:pt x="38" y="614"/>
                  </a:lnTo>
                  <a:lnTo>
                    <a:pt x="38" y="617"/>
                  </a:lnTo>
                  <a:lnTo>
                    <a:pt x="42" y="617"/>
                  </a:lnTo>
                  <a:lnTo>
                    <a:pt x="42" y="614"/>
                  </a:lnTo>
                  <a:lnTo>
                    <a:pt x="42" y="611"/>
                  </a:lnTo>
                  <a:lnTo>
                    <a:pt x="45" y="611"/>
                  </a:lnTo>
                  <a:lnTo>
                    <a:pt x="49" y="611"/>
                  </a:lnTo>
                  <a:lnTo>
                    <a:pt x="45" y="611"/>
                  </a:lnTo>
                  <a:lnTo>
                    <a:pt x="45" y="607"/>
                  </a:lnTo>
                  <a:lnTo>
                    <a:pt x="45" y="607"/>
                  </a:lnTo>
                  <a:lnTo>
                    <a:pt x="49" y="607"/>
                  </a:lnTo>
                  <a:lnTo>
                    <a:pt x="49" y="607"/>
                  </a:lnTo>
                  <a:lnTo>
                    <a:pt x="49" y="607"/>
                  </a:lnTo>
                  <a:lnTo>
                    <a:pt x="45" y="604"/>
                  </a:lnTo>
                  <a:lnTo>
                    <a:pt x="49" y="604"/>
                  </a:lnTo>
                  <a:lnTo>
                    <a:pt x="52" y="604"/>
                  </a:lnTo>
                  <a:lnTo>
                    <a:pt x="56" y="604"/>
                  </a:lnTo>
                  <a:lnTo>
                    <a:pt x="56" y="607"/>
                  </a:lnTo>
                  <a:lnTo>
                    <a:pt x="59" y="611"/>
                  </a:lnTo>
                  <a:lnTo>
                    <a:pt x="59" y="607"/>
                  </a:lnTo>
                  <a:lnTo>
                    <a:pt x="62" y="611"/>
                  </a:lnTo>
                  <a:lnTo>
                    <a:pt x="62" y="611"/>
                  </a:lnTo>
                  <a:lnTo>
                    <a:pt x="66" y="611"/>
                  </a:lnTo>
                  <a:lnTo>
                    <a:pt x="66" y="614"/>
                  </a:lnTo>
                  <a:lnTo>
                    <a:pt x="62" y="614"/>
                  </a:lnTo>
                  <a:lnTo>
                    <a:pt x="59" y="614"/>
                  </a:lnTo>
                  <a:lnTo>
                    <a:pt x="56" y="614"/>
                  </a:lnTo>
                  <a:lnTo>
                    <a:pt x="52" y="611"/>
                  </a:lnTo>
                  <a:lnTo>
                    <a:pt x="52" y="611"/>
                  </a:lnTo>
                  <a:lnTo>
                    <a:pt x="52" y="614"/>
                  </a:lnTo>
                  <a:lnTo>
                    <a:pt x="52" y="617"/>
                  </a:lnTo>
                  <a:lnTo>
                    <a:pt x="52" y="620"/>
                  </a:lnTo>
                  <a:lnTo>
                    <a:pt x="56" y="617"/>
                  </a:lnTo>
                  <a:lnTo>
                    <a:pt x="56" y="617"/>
                  </a:lnTo>
                  <a:lnTo>
                    <a:pt x="56" y="620"/>
                  </a:lnTo>
                  <a:lnTo>
                    <a:pt x="59" y="617"/>
                  </a:lnTo>
                  <a:lnTo>
                    <a:pt x="62" y="620"/>
                  </a:lnTo>
                  <a:lnTo>
                    <a:pt x="62" y="620"/>
                  </a:lnTo>
                  <a:lnTo>
                    <a:pt x="66" y="620"/>
                  </a:lnTo>
                  <a:lnTo>
                    <a:pt x="66" y="620"/>
                  </a:lnTo>
                  <a:lnTo>
                    <a:pt x="66" y="620"/>
                  </a:lnTo>
                  <a:lnTo>
                    <a:pt x="66" y="620"/>
                  </a:lnTo>
                  <a:lnTo>
                    <a:pt x="66" y="624"/>
                  </a:lnTo>
                  <a:lnTo>
                    <a:pt x="69" y="620"/>
                  </a:lnTo>
                  <a:lnTo>
                    <a:pt x="73" y="620"/>
                  </a:lnTo>
                  <a:lnTo>
                    <a:pt x="73" y="620"/>
                  </a:lnTo>
                  <a:lnTo>
                    <a:pt x="73" y="620"/>
                  </a:lnTo>
                  <a:lnTo>
                    <a:pt x="73" y="624"/>
                  </a:lnTo>
                  <a:lnTo>
                    <a:pt x="76" y="624"/>
                  </a:lnTo>
                  <a:lnTo>
                    <a:pt x="76" y="624"/>
                  </a:lnTo>
                  <a:lnTo>
                    <a:pt x="73" y="627"/>
                  </a:lnTo>
                  <a:lnTo>
                    <a:pt x="73" y="630"/>
                  </a:lnTo>
                  <a:lnTo>
                    <a:pt x="76" y="627"/>
                  </a:lnTo>
                  <a:lnTo>
                    <a:pt x="76" y="624"/>
                  </a:lnTo>
                  <a:lnTo>
                    <a:pt x="76" y="624"/>
                  </a:lnTo>
                  <a:lnTo>
                    <a:pt x="80" y="620"/>
                  </a:lnTo>
                  <a:lnTo>
                    <a:pt x="83" y="620"/>
                  </a:lnTo>
                  <a:lnTo>
                    <a:pt x="86" y="624"/>
                  </a:lnTo>
                  <a:lnTo>
                    <a:pt x="86" y="620"/>
                  </a:lnTo>
                  <a:lnTo>
                    <a:pt x="83" y="617"/>
                  </a:lnTo>
                  <a:lnTo>
                    <a:pt x="83" y="617"/>
                  </a:lnTo>
                  <a:lnTo>
                    <a:pt x="86" y="617"/>
                  </a:lnTo>
                  <a:lnTo>
                    <a:pt x="90" y="620"/>
                  </a:lnTo>
                  <a:lnTo>
                    <a:pt x="97" y="620"/>
                  </a:lnTo>
                  <a:lnTo>
                    <a:pt x="100" y="624"/>
                  </a:lnTo>
                  <a:lnTo>
                    <a:pt x="104" y="620"/>
                  </a:lnTo>
                  <a:lnTo>
                    <a:pt x="100" y="620"/>
                  </a:lnTo>
                  <a:lnTo>
                    <a:pt x="107" y="620"/>
                  </a:lnTo>
                  <a:lnTo>
                    <a:pt x="111" y="624"/>
                  </a:lnTo>
                  <a:lnTo>
                    <a:pt x="111" y="620"/>
                  </a:lnTo>
                  <a:lnTo>
                    <a:pt x="114" y="624"/>
                  </a:lnTo>
                  <a:lnTo>
                    <a:pt x="135" y="633"/>
                  </a:lnTo>
                  <a:lnTo>
                    <a:pt x="148" y="640"/>
                  </a:lnTo>
                  <a:lnTo>
                    <a:pt x="152" y="643"/>
                  </a:lnTo>
                  <a:lnTo>
                    <a:pt x="155" y="643"/>
                  </a:lnTo>
                  <a:lnTo>
                    <a:pt x="159" y="649"/>
                  </a:lnTo>
                  <a:lnTo>
                    <a:pt x="162" y="649"/>
                  </a:lnTo>
                  <a:lnTo>
                    <a:pt x="162" y="649"/>
                  </a:lnTo>
                  <a:lnTo>
                    <a:pt x="162" y="646"/>
                  </a:lnTo>
                  <a:lnTo>
                    <a:pt x="162" y="646"/>
                  </a:lnTo>
                  <a:lnTo>
                    <a:pt x="169" y="649"/>
                  </a:lnTo>
                  <a:lnTo>
                    <a:pt x="172" y="653"/>
                  </a:lnTo>
                  <a:lnTo>
                    <a:pt x="176" y="656"/>
                  </a:lnTo>
                  <a:lnTo>
                    <a:pt x="179" y="653"/>
                  </a:lnTo>
                  <a:lnTo>
                    <a:pt x="176" y="649"/>
                  </a:lnTo>
                  <a:lnTo>
                    <a:pt x="176" y="649"/>
                  </a:lnTo>
                  <a:lnTo>
                    <a:pt x="179" y="649"/>
                  </a:lnTo>
                  <a:lnTo>
                    <a:pt x="183" y="653"/>
                  </a:lnTo>
                  <a:lnTo>
                    <a:pt x="183" y="656"/>
                  </a:lnTo>
                  <a:lnTo>
                    <a:pt x="190" y="659"/>
                  </a:lnTo>
                  <a:lnTo>
                    <a:pt x="190" y="662"/>
                  </a:lnTo>
                  <a:lnTo>
                    <a:pt x="193" y="662"/>
                  </a:lnTo>
                  <a:lnTo>
                    <a:pt x="193" y="662"/>
                  </a:lnTo>
                  <a:lnTo>
                    <a:pt x="197" y="662"/>
                  </a:lnTo>
                  <a:lnTo>
                    <a:pt x="203" y="666"/>
                  </a:lnTo>
                  <a:lnTo>
                    <a:pt x="203" y="669"/>
                  </a:lnTo>
                  <a:lnTo>
                    <a:pt x="207" y="672"/>
                  </a:lnTo>
                  <a:lnTo>
                    <a:pt x="210" y="675"/>
                  </a:lnTo>
                  <a:lnTo>
                    <a:pt x="210" y="675"/>
                  </a:lnTo>
                  <a:lnTo>
                    <a:pt x="210" y="675"/>
                  </a:lnTo>
                  <a:lnTo>
                    <a:pt x="210" y="682"/>
                  </a:lnTo>
                  <a:lnTo>
                    <a:pt x="210" y="685"/>
                  </a:lnTo>
                  <a:lnTo>
                    <a:pt x="210" y="688"/>
                  </a:lnTo>
                  <a:lnTo>
                    <a:pt x="210" y="691"/>
                  </a:lnTo>
                  <a:lnTo>
                    <a:pt x="210" y="695"/>
                  </a:lnTo>
                  <a:lnTo>
                    <a:pt x="207" y="698"/>
                  </a:lnTo>
                  <a:lnTo>
                    <a:pt x="203" y="701"/>
                  </a:lnTo>
                  <a:lnTo>
                    <a:pt x="197" y="711"/>
                  </a:lnTo>
                  <a:lnTo>
                    <a:pt x="193" y="711"/>
                  </a:lnTo>
                  <a:lnTo>
                    <a:pt x="186" y="714"/>
                  </a:lnTo>
                  <a:lnTo>
                    <a:pt x="183" y="714"/>
                  </a:lnTo>
                  <a:lnTo>
                    <a:pt x="176" y="714"/>
                  </a:lnTo>
                  <a:lnTo>
                    <a:pt x="176" y="717"/>
                  </a:lnTo>
                  <a:lnTo>
                    <a:pt x="169" y="717"/>
                  </a:lnTo>
                  <a:lnTo>
                    <a:pt x="155" y="717"/>
                  </a:lnTo>
                  <a:lnTo>
                    <a:pt x="148" y="714"/>
                  </a:lnTo>
                  <a:lnTo>
                    <a:pt x="145" y="711"/>
                  </a:lnTo>
                  <a:lnTo>
                    <a:pt x="142" y="714"/>
                  </a:lnTo>
                  <a:lnTo>
                    <a:pt x="138" y="714"/>
                  </a:lnTo>
                  <a:lnTo>
                    <a:pt x="135" y="714"/>
                  </a:lnTo>
                  <a:lnTo>
                    <a:pt x="135" y="711"/>
                  </a:lnTo>
                  <a:lnTo>
                    <a:pt x="131" y="711"/>
                  </a:lnTo>
                  <a:lnTo>
                    <a:pt x="128" y="711"/>
                  </a:lnTo>
                  <a:lnTo>
                    <a:pt x="121" y="708"/>
                  </a:lnTo>
                  <a:lnTo>
                    <a:pt x="121" y="708"/>
                  </a:lnTo>
                  <a:lnTo>
                    <a:pt x="117" y="708"/>
                  </a:lnTo>
                  <a:lnTo>
                    <a:pt x="114" y="708"/>
                  </a:lnTo>
                  <a:lnTo>
                    <a:pt x="117" y="704"/>
                  </a:lnTo>
                  <a:lnTo>
                    <a:pt x="111" y="704"/>
                  </a:lnTo>
                  <a:lnTo>
                    <a:pt x="111" y="708"/>
                  </a:lnTo>
                  <a:lnTo>
                    <a:pt x="104" y="708"/>
                  </a:lnTo>
                  <a:lnTo>
                    <a:pt x="104" y="704"/>
                  </a:lnTo>
                  <a:lnTo>
                    <a:pt x="104" y="704"/>
                  </a:lnTo>
                  <a:lnTo>
                    <a:pt x="107" y="701"/>
                  </a:lnTo>
                  <a:lnTo>
                    <a:pt x="104" y="701"/>
                  </a:lnTo>
                  <a:lnTo>
                    <a:pt x="104" y="701"/>
                  </a:lnTo>
                  <a:lnTo>
                    <a:pt x="97" y="701"/>
                  </a:lnTo>
                  <a:lnTo>
                    <a:pt x="93" y="698"/>
                  </a:lnTo>
                  <a:lnTo>
                    <a:pt x="93" y="701"/>
                  </a:lnTo>
                  <a:lnTo>
                    <a:pt x="90" y="701"/>
                  </a:lnTo>
                  <a:lnTo>
                    <a:pt x="80" y="695"/>
                  </a:lnTo>
                  <a:lnTo>
                    <a:pt x="80" y="691"/>
                  </a:lnTo>
                  <a:lnTo>
                    <a:pt x="76" y="691"/>
                  </a:lnTo>
                  <a:lnTo>
                    <a:pt x="73" y="688"/>
                  </a:lnTo>
                  <a:lnTo>
                    <a:pt x="69" y="691"/>
                  </a:lnTo>
                  <a:lnTo>
                    <a:pt x="69" y="691"/>
                  </a:lnTo>
                  <a:lnTo>
                    <a:pt x="73" y="695"/>
                  </a:lnTo>
                  <a:lnTo>
                    <a:pt x="76" y="698"/>
                  </a:lnTo>
                  <a:lnTo>
                    <a:pt x="80" y="701"/>
                  </a:lnTo>
                  <a:lnTo>
                    <a:pt x="80" y="704"/>
                  </a:lnTo>
                  <a:lnTo>
                    <a:pt x="86" y="704"/>
                  </a:lnTo>
                  <a:lnTo>
                    <a:pt x="86" y="704"/>
                  </a:lnTo>
                  <a:lnTo>
                    <a:pt x="83" y="708"/>
                  </a:lnTo>
                  <a:lnTo>
                    <a:pt x="83" y="708"/>
                  </a:lnTo>
                  <a:lnTo>
                    <a:pt x="83" y="711"/>
                  </a:lnTo>
                  <a:lnTo>
                    <a:pt x="90" y="708"/>
                  </a:lnTo>
                  <a:lnTo>
                    <a:pt x="90" y="708"/>
                  </a:lnTo>
                  <a:lnTo>
                    <a:pt x="93" y="708"/>
                  </a:lnTo>
                  <a:lnTo>
                    <a:pt x="90" y="711"/>
                  </a:lnTo>
                  <a:lnTo>
                    <a:pt x="90" y="711"/>
                  </a:lnTo>
                  <a:lnTo>
                    <a:pt x="97" y="711"/>
                  </a:lnTo>
                  <a:lnTo>
                    <a:pt x="93" y="714"/>
                  </a:lnTo>
                  <a:lnTo>
                    <a:pt x="90" y="714"/>
                  </a:lnTo>
                  <a:lnTo>
                    <a:pt x="90" y="714"/>
                  </a:lnTo>
                  <a:lnTo>
                    <a:pt x="93" y="717"/>
                  </a:lnTo>
                  <a:lnTo>
                    <a:pt x="97" y="714"/>
                  </a:lnTo>
                  <a:lnTo>
                    <a:pt x="97" y="714"/>
                  </a:lnTo>
                  <a:lnTo>
                    <a:pt x="100" y="717"/>
                  </a:lnTo>
                  <a:lnTo>
                    <a:pt x="104" y="714"/>
                  </a:lnTo>
                  <a:lnTo>
                    <a:pt x="111" y="717"/>
                  </a:lnTo>
                  <a:lnTo>
                    <a:pt x="114" y="724"/>
                  </a:lnTo>
                  <a:lnTo>
                    <a:pt x="117" y="724"/>
                  </a:lnTo>
                  <a:lnTo>
                    <a:pt x="117" y="727"/>
                  </a:lnTo>
                  <a:lnTo>
                    <a:pt x="117" y="727"/>
                  </a:lnTo>
                  <a:lnTo>
                    <a:pt x="117" y="727"/>
                  </a:lnTo>
                  <a:lnTo>
                    <a:pt x="117" y="730"/>
                  </a:lnTo>
                  <a:lnTo>
                    <a:pt x="117" y="737"/>
                  </a:lnTo>
                  <a:lnTo>
                    <a:pt x="114" y="737"/>
                  </a:lnTo>
                  <a:lnTo>
                    <a:pt x="114" y="740"/>
                  </a:lnTo>
                  <a:lnTo>
                    <a:pt x="117" y="740"/>
                  </a:lnTo>
                  <a:lnTo>
                    <a:pt x="117" y="746"/>
                  </a:lnTo>
                  <a:lnTo>
                    <a:pt x="121" y="750"/>
                  </a:lnTo>
                  <a:lnTo>
                    <a:pt x="121" y="753"/>
                  </a:lnTo>
                  <a:lnTo>
                    <a:pt x="124" y="756"/>
                  </a:lnTo>
                  <a:lnTo>
                    <a:pt x="124" y="759"/>
                  </a:lnTo>
                  <a:lnTo>
                    <a:pt x="128" y="763"/>
                  </a:lnTo>
                  <a:lnTo>
                    <a:pt x="124" y="766"/>
                  </a:lnTo>
                  <a:lnTo>
                    <a:pt x="128" y="766"/>
                  </a:lnTo>
                  <a:lnTo>
                    <a:pt x="128" y="769"/>
                  </a:lnTo>
                  <a:lnTo>
                    <a:pt x="135" y="772"/>
                  </a:lnTo>
                  <a:lnTo>
                    <a:pt x="138" y="769"/>
                  </a:lnTo>
                  <a:lnTo>
                    <a:pt x="142" y="769"/>
                  </a:lnTo>
                  <a:lnTo>
                    <a:pt x="145" y="772"/>
                  </a:lnTo>
                  <a:lnTo>
                    <a:pt x="148" y="772"/>
                  </a:lnTo>
                  <a:lnTo>
                    <a:pt x="148" y="779"/>
                  </a:lnTo>
                  <a:lnTo>
                    <a:pt x="148" y="779"/>
                  </a:lnTo>
                  <a:lnTo>
                    <a:pt x="155" y="779"/>
                  </a:lnTo>
                  <a:lnTo>
                    <a:pt x="159" y="782"/>
                  </a:lnTo>
                  <a:lnTo>
                    <a:pt x="162" y="782"/>
                  </a:lnTo>
                  <a:lnTo>
                    <a:pt x="166" y="782"/>
                  </a:lnTo>
                  <a:lnTo>
                    <a:pt x="169" y="782"/>
                  </a:lnTo>
                  <a:lnTo>
                    <a:pt x="172" y="779"/>
                  </a:lnTo>
                  <a:lnTo>
                    <a:pt x="176" y="779"/>
                  </a:lnTo>
                  <a:lnTo>
                    <a:pt x="179" y="779"/>
                  </a:lnTo>
                  <a:lnTo>
                    <a:pt x="179" y="772"/>
                  </a:lnTo>
                  <a:lnTo>
                    <a:pt x="176" y="772"/>
                  </a:lnTo>
                  <a:lnTo>
                    <a:pt x="176" y="769"/>
                  </a:lnTo>
                  <a:lnTo>
                    <a:pt x="176" y="769"/>
                  </a:lnTo>
                  <a:lnTo>
                    <a:pt x="172" y="766"/>
                  </a:lnTo>
                  <a:lnTo>
                    <a:pt x="172" y="766"/>
                  </a:lnTo>
                  <a:lnTo>
                    <a:pt x="169" y="766"/>
                  </a:lnTo>
                  <a:lnTo>
                    <a:pt x="166" y="766"/>
                  </a:lnTo>
                  <a:lnTo>
                    <a:pt x="162" y="769"/>
                  </a:lnTo>
                  <a:lnTo>
                    <a:pt x="159" y="766"/>
                  </a:lnTo>
                  <a:lnTo>
                    <a:pt x="155" y="763"/>
                  </a:lnTo>
                  <a:lnTo>
                    <a:pt x="152" y="759"/>
                  </a:lnTo>
                  <a:lnTo>
                    <a:pt x="148" y="756"/>
                  </a:lnTo>
                  <a:lnTo>
                    <a:pt x="145" y="753"/>
                  </a:lnTo>
                  <a:lnTo>
                    <a:pt x="152" y="753"/>
                  </a:lnTo>
                  <a:lnTo>
                    <a:pt x="152" y="750"/>
                  </a:lnTo>
                  <a:lnTo>
                    <a:pt x="152" y="746"/>
                  </a:lnTo>
                  <a:lnTo>
                    <a:pt x="152" y="746"/>
                  </a:lnTo>
                  <a:lnTo>
                    <a:pt x="152" y="743"/>
                  </a:lnTo>
                  <a:lnTo>
                    <a:pt x="152" y="743"/>
                  </a:lnTo>
                  <a:lnTo>
                    <a:pt x="155" y="743"/>
                  </a:lnTo>
                  <a:lnTo>
                    <a:pt x="162" y="743"/>
                  </a:lnTo>
                  <a:lnTo>
                    <a:pt x="166" y="746"/>
                  </a:lnTo>
                  <a:lnTo>
                    <a:pt x="169" y="750"/>
                  </a:lnTo>
                  <a:lnTo>
                    <a:pt x="172" y="750"/>
                  </a:lnTo>
                  <a:lnTo>
                    <a:pt x="179" y="750"/>
                  </a:lnTo>
                  <a:lnTo>
                    <a:pt x="179" y="753"/>
                  </a:lnTo>
                  <a:lnTo>
                    <a:pt x="186" y="753"/>
                  </a:lnTo>
                  <a:lnTo>
                    <a:pt x="197" y="759"/>
                  </a:lnTo>
                  <a:lnTo>
                    <a:pt x="203" y="763"/>
                  </a:lnTo>
                  <a:lnTo>
                    <a:pt x="203" y="759"/>
                  </a:lnTo>
                  <a:lnTo>
                    <a:pt x="207" y="759"/>
                  </a:lnTo>
                  <a:lnTo>
                    <a:pt x="207" y="753"/>
                  </a:lnTo>
                  <a:lnTo>
                    <a:pt x="210" y="753"/>
                  </a:lnTo>
                  <a:lnTo>
                    <a:pt x="214" y="753"/>
                  </a:lnTo>
                  <a:lnTo>
                    <a:pt x="207" y="746"/>
                  </a:lnTo>
                  <a:lnTo>
                    <a:pt x="200" y="737"/>
                  </a:lnTo>
                  <a:lnTo>
                    <a:pt x="197" y="733"/>
                  </a:lnTo>
                  <a:lnTo>
                    <a:pt x="197" y="730"/>
                  </a:lnTo>
                  <a:lnTo>
                    <a:pt x="203" y="727"/>
                  </a:lnTo>
                  <a:lnTo>
                    <a:pt x="207" y="721"/>
                  </a:lnTo>
                  <a:lnTo>
                    <a:pt x="207" y="717"/>
                  </a:lnTo>
                  <a:lnTo>
                    <a:pt x="210" y="714"/>
                  </a:lnTo>
                  <a:lnTo>
                    <a:pt x="217" y="714"/>
                  </a:lnTo>
                  <a:lnTo>
                    <a:pt x="224" y="711"/>
                  </a:lnTo>
                  <a:lnTo>
                    <a:pt x="228" y="701"/>
                  </a:lnTo>
                  <a:lnTo>
                    <a:pt x="231" y="701"/>
                  </a:lnTo>
                  <a:lnTo>
                    <a:pt x="234" y="701"/>
                  </a:lnTo>
                  <a:lnTo>
                    <a:pt x="238" y="704"/>
                  </a:lnTo>
                  <a:lnTo>
                    <a:pt x="245" y="701"/>
                  </a:lnTo>
                  <a:lnTo>
                    <a:pt x="252" y="704"/>
                  </a:lnTo>
                  <a:lnTo>
                    <a:pt x="252" y="704"/>
                  </a:lnTo>
                  <a:lnTo>
                    <a:pt x="252" y="708"/>
                  </a:lnTo>
                  <a:lnTo>
                    <a:pt x="255" y="704"/>
                  </a:lnTo>
                  <a:lnTo>
                    <a:pt x="262" y="708"/>
                  </a:lnTo>
                  <a:lnTo>
                    <a:pt x="262" y="711"/>
                  </a:lnTo>
                  <a:lnTo>
                    <a:pt x="265" y="714"/>
                  </a:lnTo>
                  <a:lnTo>
                    <a:pt x="265" y="708"/>
                  </a:lnTo>
                  <a:lnTo>
                    <a:pt x="262" y="704"/>
                  </a:lnTo>
                  <a:lnTo>
                    <a:pt x="262" y="701"/>
                  </a:lnTo>
                  <a:lnTo>
                    <a:pt x="262" y="695"/>
                  </a:lnTo>
                  <a:lnTo>
                    <a:pt x="265" y="691"/>
                  </a:lnTo>
                  <a:lnTo>
                    <a:pt x="262" y="691"/>
                  </a:lnTo>
                  <a:lnTo>
                    <a:pt x="262" y="688"/>
                  </a:lnTo>
                  <a:lnTo>
                    <a:pt x="262" y="688"/>
                  </a:lnTo>
                  <a:lnTo>
                    <a:pt x="262" y="685"/>
                  </a:lnTo>
                  <a:lnTo>
                    <a:pt x="262" y="682"/>
                  </a:lnTo>
                  <a:lnTo>
                    <a:pt x="262" y="682"/>
                  </a:lnTo>
                  <a:lnTo>
                    <a:pt x="255" y="679"/>
                  </a:lnTo>
                  <a:lnTo>
                    <a:pt x="252" y="679"/>
                  </a:lnTo>
                  <a:lnTo>
                    <a:pt x="248" y="675"/>
                  </a:lnTo>
                  <a:lnTo>
                    <a:pt x="252" y="672"/>
                  </a:lnTo>
                  <a:lnTo>
                    <a:pt x="252" y="662"/>
                  </a:lnTo>
                  <a:lnTo>
                    <a:pt x="252" y="662"/>
                  </a:lnTo>
                  <a:lnTo>
                    <a:pt x="252" y="659"/>
                  </a:lnTo>
                  <a:lnTo>
                    <a:pt x="252" y="656"/>
                  </a:lnTo>
                  <a:lnTo>
                    <a:pt x="252" y="656"/>
                  </a:lnTo>
                  <a:lnTo>
                    <a:pt x="252" y="653"/>
                  </a:lnTo>
                  <a:lnTo>
                    <a:pt x="252" y="649"/>
                  </a:lnTo>
                  <a:lnTo>
                    <a:pt x="248" y="643"/>
                  </a:lnTo>
                  <a:lnTo>
                    <a:pt x="241" y="640"/>
                  </a:lnTo>
                  <a:lnTo>
                    <a:pt x="231" y="633"/>
                  </a:lnTo>
                  <a:lnTo>
                    <a:pt x="231" y="630"/>
                  </a:lnTo>
                  <a:lnTo>
                    <a:pt x="238" y="630"/>
                  </a:lnTo>
                  <a:lnTo>
                    <a:pt x="245" y="637"/>
                  </a:lnTo>
                  <a:lnTo>
                    <a:pt x="248" y="637"/>
                  </a:lnTo>
                  <a:lnTo>
                    <a:pt x="252" y="633"/>
                  </a:lnTo>
                  <a:lnTo>
                    <a:pt x="258" y="633"/>
                  </a:lnTo>
                  <a:lnTo>
                    <a:pt x="269" y="633"/>
                  </a:lnTo>
                  <a:lnTo>
                    <a:pt x="276" y="637"/>
                  </a:lnTo>
                  <a:lnTo>
                    <a:pt x="276" y="640"/>
                  </a:lnTo>
                  <a:lnTo>
                    <a:pt x="279" y="643"/>
                  </a:lnTo>
                  <a:lnTo>
                    <a:pt x="283" y="643"/>
                  </a:lnTo>
                  <a:lnTo>
                    <a:pt x="283" y="646"/>
                  </a:lnTo>
                  <a:lnTo>
                    <a:pt x="289" y="653"/>
                  </a:lnTo>
                  <a:lnTo>
                    <a:pt x="289" y="656"/>
                  </a:lnTo>
                  <a:lnTo>
                    <a:pt x="283" y="656"/>
                  </a:lnTo>
                  <a:lnTo>
                    <a:pt x="279" y="656"/>
                  </a:lnTo>
                  <a:lnTo>
                    <a:pt x="276" y="659"/>
                  </a:lnTo>
                  <a:lnTo>
                    <a:pt x="272" y="659"/>
                  </a:lnTo>
                  <a:lnTo>
                    <a:pt x="272" y="662"/>
                  </a:lnTo>
                  <a:lnTo>
                    <a:pt x="272" y="662"/>
                  </a:lnTo>
                  <a:lnTo>
                    <a:pt x="269" y="662"/>
                  </a:lnTo>
                  <a:lnTo>
                    <a:pt x="269" y="666"/>
                  </a:lnTo>
                  <a:lnTo>
                    <a:pt x="269" y="669"/>
                  </a:lnTo>
                  <a:lnTo>
                    <a:pt x="272" y="672"/>
                  </a:lnTo>
                  <a:lnTo>
                    <a:pt x="279" y="675"/>
                  </a:lnTo>
                  <a:lnTo>
                    <a:pt x="286" y="685"/>
                  </a:lnTo>
                  <a:lnTo>
                    <a:pt x="289" y="685"/>
                  </a:lnTo>
                  <a:lnTo>
                    <a:pt x="296" y="682"/>
                  </a:lnTo>
                  <a:lnTo>
                    <a:pt x="296" y="685"/>
                  </a:lnTo>
                  <a:lnTo>
                    <a:pt x="300" y="682"/>
                  </a:lnTo>
                  <a:lnTo>
                    <a:pt x="303" y="682"/>
                  </a:lnTo>
                  <a:lnTo>
                    <a:pt x="303" y="682"/>
                  </a:lnTo>
                  <a:lnTo>
                    <a:pt x="310" y="679"/>
                  </a:lnTo>
                  <a:lnTo>
                    <a:pt x="314" y="675"/>
                  </a:lnTo>
                  <a:lnTo>
                    <a:pt x="310" y="672"/>
                  </a:lnTo>
                  <a:lnTo>
                    <a:pt x="314" y="666"/>
                  </a:lnTo>
                  <a:lnTo>
                    <a:pt x="314" y="662"/>
                  </a:lnTo>
                  <a:lnTo>
                    <a:pt x="310" y="659"/>
                  </a:lnTo>
                  <a:lnTo>
                    <a:pt x="314" y="659"/>
                  </a:lnTo>
                  <a:lnTo>
                    <a:pt x="324" y="659"/>
                  </a:lnTo>
                  <a:lnTo>
                    <a:pt x="324" y="656"/>
                  </a:lnTo>
                  <a:lnTo>
                    <a:pt x="331" y="659"/>
                  </a:lnTo>
                  <a:lnTo>
                    <a:pt x="331" y="656"/>
                  </a:lnTo>
                  <a:lnTo>
                    <a:pt x="324" y="653"/>
                  </a:lnTo>
                  <a:lnTo>
                    <a:pt x="324" y="649"/>
                  </a:lnTo>
                  <a:lnTo>
                    <a:pt x="324" y="649"/>
                  </a:lnTo>
                  <a:lnTo>
                    <a:pt x="327" y="653"/>
                  </a:lnTo>
                  <a:lnTo>
                    <a:pt x="331" y="649"/>
                  </a:lnTo>
                  <a:lnTo>
                    <a:pt x="338" y="643"/>
                  </a:lnTo>
                  <a:lnTo>
                    <a:pt x="341" y="643"/>
                  </a:lnTo>
                  <a:lnTo>
                    <a:pt x="348" y="633"/>
                  </a:lnTo>
                  <a:lnTo>
                    <a:pt x="348" y="633"/>
                  </a:lnTo>
                  <a:lnTo>
                    <a:pt x="351" y="630"/>
                  </a:lnTo>
                  <a:lnTo>
                    <a:pt x="355" y="633"/>
                  </a:lnTo>
                  <a:lnTo>
                    <a:pt x="358" y="630"/>
                  </a:lnTo>
                  <a:lnTo>
                    <a:pt x="362" y="627"/>
                  </a:lnTo>
                  <a:lnTo>
                    <a:pt x="369" y="627"/>
                  </a:lnTo>
                  <a:lnTo>
                    <a:pt x="369" y="627"/>
                  </a:lnTo>
                  <a:lnTo>
                    <a:pt x="369" y="627"/>
                  </a:lnTo>
                  <a:lnTo>
                    <a:pt x="372" y="630"/>
                  </a:lnTo>
                  <a:lnTo>
                    <a:pt x="369" y="633"/>
                  </a:lnTo>
                  <a:lnTo>
                    <a:pt x="372" y="633"/>
                  </a:lnTo>
                  <a:lnTo>
                    <a:pt x="375" y="630"/>
                  </a:lnTo>
                  <a:lnTo>
                    <a:pt x="375" y="627"/>
                  </a:lnTo>
                  <a:lnTo>
                    <a:pt x="375" y="627"/>
                  </a:lnTo>
                  <a:lnTo>
                    <a:pt x="372" y="624"/>
                  </a:lnTo>
                  <a:lnTo>
                    <a:pt x="372" y="624"/>
                  </a:lnTo>
                  <a:lnTo>
                    <a:pt x="379" y="617"/>
                  </a:lnTo>
                  <a:lnTo>
                    <a:pt x="379" y="617"/>
                  </a:lnTo>
                  <a:lnTo>
                    <a:pt x="379" y="620"/>
                  </a:lnTo>
                  <a:lnTo>
                    <a:pt x="379" y="620"/>
                  </a:lnTo>
                  <a:lnTo>
                    <a:pt x="379" y="620"/>
                  </a:lnTo>
                  <a:lnTo>
                    <a:pt x="382" y="624"/>
                  </a:lnTo>
                  <a:lnTo>
                    <a:pt x="382" y="624"/>
                  </a:lnTo>
                  <a:lnTo>
                    <a:pt x="386" y="620"/>
                  </a:lnTo>
                  <a:lnTo>
                    <a:pt x="386" y="620"/>
                  </a:lnTo>
                  <a:lnTo>
                    <a:pt x="382" y="617"/>
                  </a:lnTo>
                  <a:lnTo>
                    <a:pt x="382" y="614"/>
                  </a:lnTo>
                  <a:lnTo>
                    <a:pt x="386" y="614"/>
                  </a:lnTo>
                  <a:lnTo>
                    <a:pt x="396" y="611"/>
                  </a:lnTo>
                  <a:lnTo>
                    <a:pt x="403" y="607"/>
                  </a:lnTo>
                  <a:lnTo>
                    <a:pt x="403" y="611"/>
                  </a:lnTo>
                  <a:lnTo>
                    <a:pt x="400" y="611"/>
                  </a:lnTo>
                  <a:lnTo>
                    <a:pt x="396" y="611"/>
                  </a:lnTo>
                  <a:lnTo>
                    <a:pt x="389" y="614"/>
                  </a:lnTo>
                  <a:lnTo>
                    <a:pt x="389" y="617"/>
                  </a:lnTo>
                  <a:lnTo>
                    <a:pt x="393" y="617"/>
                  </a:lnTo>
                  <a:lnTo>
                    <a:pt x="396" y="617"/>
                  </a:lnTo>
                  <a:lnTo>
                    <a:pt x="400" y="620"/>
                  </a:lnTo>
                  <a:lnTo>
                    <a:pt x="396" y="620"/>
                  </a:lnTo>
                  <a:lnTo>
                    <a:pt x="396" y="620"/>
                  </a:lnTo>
                  <a:lnTo>
                    <a:pt x="400" y="624"/>
                  </a:lnTo>
                  <a:lnTo>
                    <a:pt x="396" y="627"/>
                  </a:lnTo>
                  <a:lnTo>
                    <a:pt x="393" y="627"/>
                  </a:lnTo>
                  <a:lnTo>
                    <a:pt x="389" y="630"/>
                  </a:lnTo>
                  <a:lnTo>
                    <a:pt x="389" y="633"/>
                  </a:lnTo>
                  <a:lnTo>
                    <a:pt x="393" y="633"/>
                  </a:lnTo>
                  <a:lnTo>
                    <a:pt x="396" y="633"/>
                  </a:lnTo>
                  <a:lnTo>
                    <a:pt x="400" y="633"/>
                  </a:lnTo>
                  <a:lnTo>
                    <a:pt x="400" y="633"/>
                  </a:lnTo>
                  <a:lnTo>
                    <a:pt x="406" y="633"/>
                  </a:lnTo>
                  <a:lnTo>
                    <a:pt x="406" y="637"/>
                  </a:lnTo>
                  <a:lnTo>
                    <a:pt x="406" y="633"/>
                  </a:lnTo>
                  <a:lnTo>
                    <a:pt x="410" y="630"/>
                  </a:lnTo>
                  <a:lnTo>
                    <a:pt x="413" y="630"/>
                  </a:lnTo>
                  <a:lnTo>
                    <a:pt x="413" y="630"/>
                  </a:lnTo>
                  <a:lnTo>
                    <a:pt x="417" y="633"/>
                  </a:lnTo>
                  <a:lnTo>
                    <a:pt x="420" y="633"/>
                  </a:lnTo>
                  <a:lnTo>
                    <a:pt x="417" y="630"/>
                  </a:lnTo>
                  <a:lnTo>
                    <a:pt x="420" y="627"/>
                  </a:lnTo>
                  <a:lnTo>
                    <a:pt x="417" y="627"/>
                  </a:lnTo>
                  <a:lnTo>
                    <a:pt x="417" y="624"/>
                  </a:lnTo>
                  <a:lnTo>
                    <a:pt x="420" y="620"/>
                  </a:lnTo>
                  <a:lnTo>
                    <a:pt x="424" y="620"/>
                  </a:lnTo>
                  <a:lnTo>
                    <a:pt x="424" y="620"/>
                  </a:lnTo>
                  <a:lnTo>
                    <a:pt x="430" y="617"/>
                  </a:lnTo>
                  <a:lnTo>
                    <a:pt x="430" y="617"/>
                  </a:lnTo>
                  <a:lnTo>
                    <a:pt x="434" y="617"/>
                  </a:lnTo>
                  <a:lnTo>
                    <a:pt x="437" y="617"/>
                  </a:lnTo>
                  <a:lnTo>
                    <a:pt x="437" y="617"/>
                  </a:lnTo>
                  <a:lnTo>
                    <a:pt x="448" y="617"/>
                  </a:lnTo>
                  <a:lnTo>
                    <a:pt x="451" y="617"/>
                  </a:lnTo>
                  <a:lnTo>
                    <a:pt x="451" y="614"/>
                  </a:lnTo>
                  <a:lnTo>
                    <a:pt x="451" y="614"/>
                  </a:lnTo>
                  <a:lnTo>
                    <a:pt x="458" y="611"/>
                  </a:lnTo>
                  <a:lnTo>
                    <a:pt x="458" y="611"/>
                  </a:lnTo>
                  <a:lnTo>
                    <a:pt x="461" y="607"/>
                  </a:lnTo>
                  <a:lnTo>
                    <a:pt x="465" y="607"/>
                  </a:lnTo>
                  <a:lnTo>
                    <a:pt x="468" y="604"/>
                  </a:lnTo>
                  <a:lnTo>
                    <a:pt x="472" y="604"/>
                  </a:lnTo>
                  <a:lnTo>
                    <a:pt x="475" y="601"/>
                  </a:lnTo>
                  <a:lnTo>
                    <a:pt x="475" y="601"/>
                  </a:lnTo>
                  <a:lnTo>
                    <a:pt x="472" y="604"/>
                  </a:lnTo>
                  <a:lnTo>
                    <a:pt x="475" y="607"/>
                  </a:lnTo>
                  <a:lnTo>
                    <a:pt x="479" y="611"/>
                  </a:lnTo>
                  <a:lnTo>
                    <a:pt x="479" y="611"/>
                  </a:lnTo>
                  <a:lnTo>
                    <a:pt x="475" y="614"/>
                  </a:lnTo>
                  <a:lnTo>
                    <a:pt x="479" y="617"/>
                  </a:lnTo>
                  <a:lnTo>
                    <a:pt x="475" y="620"/>
                  </a:lnTo>
                  <a:lnTo>
                    <a:pt x="479" y="624"/>
                  </a:lnTo>
                  <a:lnTo>
                    <a:pt x="489" y="624"/>
                  </a:lnTo>
                  <a:lnTo>
                    <a:pt x="492" y="620"/>
                  </a:lnTo>
                  <a:lnTo>
                    <a:pt x="492" y="617"/>
                  </a:lnTo>
                  <a:lnTo>
                    <a:pt x="489" y="617"/>
                  </a:lnTo>
                  <a:lnTo>
                    <a:pt x="486" y="614"/>
                  </a:lnTo>
                  <a:lnTo>
                    <a:pt x="486" y="611"/>
                  </a:lnTo>
                  <a:lnTo>
                    <a:pt x="489" y="611"/>
                  </a:lnTo>
                  <a:lnTo>
                    <a:pt x="492" y="611"/>
                  </a:lnTo>
                  <a:lnTo>
                    <a:pt x="496" y="611"/>
                  </a:lnTo>
                  <a:lnTo>
                    <a:pt x="499" y="604"/>
                  </a:lnTo>
                  <a:lnTo>
                    <a:pt x="503" y="604"/>
                  </a:lnTo>
                  <a:lnTo>
                    <a:pt x="503" y="604"/>
                  </a:lnTo>
                  <a:lnTo>
                    <a:pt x="510" y="604"/>
                  </a:lnTo>
                  <a:lnTo>
                    <a:pt x="503" y="601"/>
                  </a:lnTo>
                  <a:lnTo>
                    <a:pt x="499" y="601"/>
                  </a:lnTo>
                  <a:lnTo>
                    <a:pt x="499" y="598"/>
                  </a:lnTo>
                  <a:lnTo>
                    <a:pt x="496" y="591"/>
                  </a:lnTo>
                  <a:lnTo>
                    <a:pt x="492" y="591"/>
                  </a:lnTo>
                  <a:lnTo>
                    <a:pt x="492" y="595"/>
                  </a:lnTo>
                  <a:lnTo>
                    <a:pt x="489" y="591"/>
                  </a:lnTo>
                  <a:lnTo>
                    <a:pt x="489" y="585"/>
                  </a:lnTo>
                  <a:lnTo>
                    <a:pt x="486" y="585"/>
                  </a:lnTo>
                  <a:lnTo>
                    <a:pt x="482" y="582"/>
                  </a:lnTo>
                  <a:lnTo>
                    <a:pt x="482" y="578"/>
                  </a:lnTo>
                  <a:lnTo>
                    <a:pt x="486" y="578"/>
                  </a:lnTo>
                  <a:lnTo>
                    <a:pt x="486" y="575"/>
                  </a:lnTo>
                  <a:lnTo>
                    <a:pt x="486" y="572"/>
                  </a:lnTo>
                  <a:lnTo>
                    <a:pt x="489" y="569"/>
                  </a:lnTo>
                  <a:lnTo>
                    <a:pt x="492" y="572"/>
                  </a:lnTo>
                  <a:lnTo>
                    <a:pt x="492" y="569"/>
                  </a:lnTo>
                  <a:lnTo>
                    <a:pt x="496" y="572"/>
                  </a:lnTo>
                  <a:lnTo>
                    <a:pt x="499" y="572"/>
                  </a:lnTo>
                  <a:lnTo>
                    <a:pt x="503" y="572"/>
                  </a:lnTo>
                  <a:lnTo>
                    <a:pt x="516" y="572"/>
                  </a:lnTo>
                  <a:lnTo>
                    <a:pt x="537" y="572"/>
                  </a:lnTo>
                  <a:lnTo>
                    <a:pt x="541" y="575"/>
                  </a:lnTo>
                  <a:lnTo>
                    <a:pt x="554" y="578"/>
                  </a:lnTo>
                  <a:lnTo>
                    <a:pt x="554" y="582"/>
                  </a:lnTo>
                  <a:lnTo>
                    <a:pt x="554" y="582"/>
                  </a:lnTo>
                  <a:lnTo>
                    <a:pt x="554" y="585"/>
                  </a:lnTo>
                  <a:lnTo>
                    <a:pt x="558" y="582"/>
                  </a:lnTo>
                  <a:lnTo>
                    <a:pt x="565" y="582"/>
                  </a:lnTo>
                  <a:lnTo>
                    <a:pt x="568" y="585"/>
                  </a:lnTo>
                  <a:lnTo>
                    <a:pt x="572" y="585"/>
                  </a:lnTo>
                  <a:lnTo>
                    <a:pt x="572" y="588"/>
                  </a:lnTo>
                  <a:lnTo>
                    <a:pt x="578" y="588"/>
                  </a:lnTo>
                  <a:lnTo>
                    <a:pt x="589" y="595"/>
                  </a:lnTo>
                  <a:lnTo>
                    <a:pt x="599" y="595"/>
                  </a:lnTo>
                  <a:lnTo>
                    <a:pt x="602" y="598"/>
                  </a:lnTo>
                  <a:lnTo>
                    <a:pt x="606" y="601"/>
                  </a:lnTo>
                  <a:lnTo>
                    <a:pt x="613" y="601"/>
                  </a:lnTo>
                  <a:lnTo>
                    <a:pt x="616" y="604"/>
                  </a:lnTo>
                  <a:lnTo>
                    <a:pt x="623" y="614"/>
                  </a:lnTo>
                  <a:lnTo>
                    <a:pt x="627" y="614"/>
                  </a:lnTo>
                  <a:lnTo>
                    <a:pt x="627" y="611"/>
                  </a:lnTo>
                  <a:lnTo>
                    <a:pt x="627" y="607"/>
                  </a:lnTo>
                  <a:lnTo>
                    <a:pt x="627" y="607"/>
                  </a:lnTo>
                  <a:lnTo>
                    <a:pt x="627" y="604"/>
                  </a:lnTo>
                  <a:lnTo>
                    <a:pt x="627" y="601"/>
                  </a:lnTo>
                  <a:lnTo>
                    <a:pt x="627" y="601"/>
                  </a:lnTo>
                  <a:lnTo>
                    <a:pt x="627" y="591"/>
                  </a:lnTo>
                  <a:lnTo>
                    <a:pt x="630" y="588"/>
                  </a:lnTo>
                  <a:lnTo>
                    <a:pt x="627" y="588"/>
                  </a:lnTo>
                  <a:lnTo>
                    <a:pt x="627" y="588"/>
                  </a:lnTo>
                  <a:lnTo>
                    <a:pt x="623" y="588"/>
                  </a:lnTo>
                  <a:lnTo>
                    <a:pt x="620" y="588"/>
                  </a:lnTo>
                  <a:lnTo>
                    <a:pt x="616" y="588"/>
                  </a:lnTo>
                  <a:lnTo>
                    <a:pt x="606" y="578"/>
                  </a:lnTo>
                  <a:lnTo>
                    <a:pt x="606" y="578"/>
                  </a:lnTo>
                  <a:lnTo>
                    <a:pt x="602" y="575"/>
                  </a:lnTo>
                  <a:lnTo>
                    <a:pt x="602" y="572"/>
                  </a:lnTo>
                  <a:lnTo>
                    <a:pt x="599" y="569"/>
                  </a:lnTo>
                  <a:lnTo>
                    <a:pt x="596" y="572"/>
                  </a:lnTo>
                  <a:lnTo>
                    <a:pt x="592" y="572"/>
                  </a:lnTo>
                  <a:lnTo>
                    <a:pt x="589" y="572"/>
                  </a:lnTo>
                  <a:lnTo>
                    <a:pt x="585" y="569"/>
                  </a:lnTo>
                  <a:lnTo>
                    <a:pt x="582" y="572"/>
                  </a:lnTo>
                  <a:lnTo>
                    <a:pt x="582" y="565"/>
                  </a:lnTo>
                  <a:lnTo>
                    <a:pt x="578" y="562"/>
                  </a:lnTo>
                  <a:lnTo>
                    <a:pt x="575" y="556"/>
                  </a:lnTo>
                  <a:lnTo>
                    <a:pt x="575" y="553"/>
                  </a:lnTo>
                  <a:lnTo>
                    <a:pt x="578" y="556"/>
                  </a:lnTo>
                  <a:lnTo>
                    <a:pt x="582" y="553"/>
                  </a:lnTo>
                  <a:lnTo>
                    <a:pt x="582" y="549"/>
                  </a:lnTo>
                  <a:lnTo>
                    <a:pt x="575" y="546"/>
                  </a:lnTo>
                  <a:lnTo>
                    <a:pt x="575" y="543"/>
                  </a:lnTo>
                  <a:lnTo>
                    <a:pt x="578" y="540"/>
                  </a:lnTo>
                  <a:lnTo>
                    <a:pt x="582" y="540"/>
                  </a:lnTo>
                  <a:lnTo>
                    <a:pt x="575" y="536"/>
                  </a:lnTo>
                  <a:lnTo>
                    <a:pt x="572" y="536"/>
                  </a:lnTo>
                  <a:lnTo>
                    <a:pt x="568" y="530"/>
                  </a:lnTo>
                  <a:lnTo>
                    <a:pt x="568" y="530"/>
                  </a:lnTo>
                  <a:lnTo>
                    <a:pt x="565" y="530"/>
                  </a:lnTo>
                  <a:lnTo>
                    <a:pt x="561" y="527"/>
                  </a:lnTo>
                  <a:lnTo>
                    <a:pt x="561" y="520"/>
                  </a:lnTo>
                  <a:lnTo>
                    <a:pt x="561" y="517"/>
                  </a:lnTo>
                  <a:lnTo>
                    <a:pt x="561" y="514"/>
                  </a:lnTo>
                  <a:lnTo>
                    <a:pt x="558" y="511"/>
                  </a:lnTo>
                  <a:lnTo>
                    <a:pt x="561" y="511"/>
                  </a:lnTo>
                  <a:lnTo>
                    <a:pt x="568" y="501"/>
                  </a:lnTo>
                  <a:lnTo>
                    <a:pt x="572" y="498"/>
                  </a:lnTo>
                  <a:lnTo>
                    <a:pt x="575" y="498"/>
                  </a:lnTo>
                  <a:lnTo>
                    <a:pt x="572" y="491"/>
                  </a:lnTo>
                  <a:lnTo>
                    <a:pt x="572" y="491"/>
                  </a:lnTo>
                  <a:lnTo>
                    <a:pt x="575" y="485"/>
                  </a:lnTo>
                  <a:lnTo>
                    <a:pt x="572" y="481"/>
                  </a:lnTo>
                  <a:lnTo>
                    <a:pt x="572" y="478"/>
                  </a:lnTo>
                  <a:lnTo>
                    <a:pt x="572" y="475"/>
                  </a:lnTo>
                  <a:lnTo>
                    <a:pt x="572" y="472"/>
                  </a:lnTo>
                  <a:lnTo>
                    <a:pt x="572" y="469"/>
                  </a:lnTo>
                  <a:lnTo>
                    <a:pt x="568" y="465"/>
                  </a:lnTo>
                  <a:lnTo>
                    <a:pt x="572" y="459"/>
                  </a:lnTo>
                  <a:lnTo>
                    <a:pt x="572" y="459"/>
                  </a:lnTo>
                  <a:lnTo>
                    <a:pt x="568" y="456"/>
                  </a:lnTo>
                  <a:lnTo>
                    <a:pt x="572" y="449"/>
                  </a:lnTo>
                  <a:lnTo>
                    <a:pt x="568" y="443"/>
                  </a:lnTo>
                  <a:lnTo>
                    <a:pt x="572" y="443"/>
                  </a:lnTo>
                  <a:lnTo>
                    <a:pt x="575" y="443"/>
                  </a:lnTo>
                  <a:lnTo>
                    <a:pt x="575" y="446"/>
                  </a:lnTo>
                  <a:lnTo>
                    <a:pt x="575" y="446"/>
                  </a:lnTo>
                  <a:lnTo>
                    <a:pt x="582" y="443"/>
                  </a:lnTo>
                  <a:lnTo>
                    <a:pt x="585" y="443"/>
                  </a:lnTo>
                  <a:lnTo>
                    <a:pt x="589" y="443"/>
                  </a:lnTo>
                  <a:lnTo>
                    <a:pt x="592" y="443"/>
                  </a:lnTo>
                  <a:lnTo>
                    <a:pt x="596" y="443"/>
                  </a:lnTo>
                  <a:lnTo>
                    <a:pt x="599" y="443"/>
                  </a:lnTo>
                  <a:lnTo>
                    <a:pt x="602" y="443"/>
                  </a:lnTo>
                  <a:lnTo>
                    <a:pt x="616" y="446"/>
                  </a:lnTo>
                  <a:lnTo>
                    <a:pt x="620" y="446"/>
                  </a:lnTo>
                  <a:lnTo>
                    <a:pt x="627" y="446"/>
                  </a:lnTo>
                  <a:lnTo>
                    <a:pt x="627" y="449"/>
                  </a:lnTo>
                  <a:lnTo>
                    <a:pt x="623" y="452"/>
                  </a:lnTo>
                  <a:lnTo>
                    <a:pt x="627" y="456"/>
                  </a:lnTo>
                  <a:lnTo>
                    <a:pt x="627" y="459"/>
                  </a:lnTo>
                  <a:lnTo>
                    <a:pt x="627" y="459"/>
                  </a:lnTo>
                  <a:lnTo>
                    <a:pt x="627" y="465"/>
                  </a:lnTo>
                  <a:lnTo>
                    <a:pt x="630" y="472"/>
                  </a:lnTo>
                  <a:lnTo>
                    <a:pt x="630" y="481"/>
                  </a:lnTo>
                  <a:lnTo>
                    <a:pt x="630" y="481"/>
                  </a:lnTo>
                  <a:lnTo>
                    <a:pt x="630" y="485"/>
                  </a:lnTo>
                  <a:lnTo>
                    <a:pt x="630" y="488"/>
                  </a:lnTo>
                  <a:lnTo>
                    <a:pt x="630" y="491"/>
                  </a:lnTo>
                  <a:lnTo>
                    <a:pt x="627" y="491"/>
                  </a:lnTo>
                  <a:lnTo>
                    <a:pt x="630" y="494"/>
                  </a:lnTo>
                  <a:lnTo>
                    <a:pt x="633" y="498"/>
                  </a:lnTo>
                  <a:lnTo>
                    <a:pt x="637" y="504"/>
                  </a:lnTo>
                  <a:lnTo>
                    <a:pt x="640" y="504"/>
                  </a:lnTo>
                  <a:lnTo>
                    <a:pt x="640" y="504"/>
                  </a:lnTo>
                  <a:lnTo>
                    <a:pt x="644" y="504"/>
                  </a:lnTo>
                  <a:lnTo>
                    <a:pt x="647" y="507"/>
                  </a:lnTo>
                  <a:lnTo>
                    <a:pt x="647" y="511"/>
                  </a:lnTo>
                  <a:lnTo>
                    <a:pt x="651" y="514"/>
                  </a:lnTo>
                  <a:lnTo>
                    <a:pt x="654" y="517"/>
                  </a:lnTo>
                  <a:lnTo>
                    <a:pt x="658" y="527"/>
                  </a:lnTo>
                  <a:lnTo>
                    <a:pt x="661" y="530"/>
                  </a:lnTo>
                  <a:lnTo>
                    <a:pt x="661" y="533"/>
                  </a:lnTo>
                  <a:lnTo>
                    <a:pt x="658" y="536"/>
                  </a:lnTo>
                  <a:lnTo>
                    <a:pt x="661" y="540"/>
                  </a:lnTo>
                  <a:lnTo>
                    <a:pt x="661" y="546"/>
                  </a:lnTo>
                  <a:lnTo>
                    <a:pt x="668" y="553"/>
                  </a:lnTo>
                  <a:lnTo>
                    <a:pt x="668" y="556"/>
                  </a:lnTo>
                  <a:lnTo>
                    <a:pt x="668" y="559"/>
                  </a:lnTo>
                  <a:lnTo>
                    <a:pt x="675" y="562"/>
                  </a:lnTo>
                  <a:lnTo>
                    <a:pt x="671" y="565"/>
                  </a:lnTo>
                  <a:lnTo>
                    <a:pt x="675" y="565"/>
                  </a:lnTo>
                  <a:lnTo>
                    <a:pt x="675" y="575"/>
                  </a:lnTo>
                  <a:lnTo>
                    <a:pt x="682" y="582"/>
                  </a:lnTo>
                  <a:lnTo>
                    <a:pt x="688" y="585"/>
                  </a:lnTo>
                  <a:lnTo>
                    <a:pt x="692" y="588"/>
                  </a:lnTo>
                  <a:lnTo>
                    <a:pt x="695" y="588"/>
                  </a:lnTo>
                  <a:lnTo>
                    <a:pt x="699" y="591"/>
                  </a:lnTo>
                  <a:lnTo>
                    <a:pt x="699" y="595"/>
                  </a:lnTo>
                  <a:lnTo>
                    <a:pt x="699" y="595"/>
                  </a:lnTo>
                  <a:lnTo>
                    <a:pt x="699" y="598"/>
                  </a:lnTo>
                  <a:lnTo>
                    <a:pt x="695" y="601"/>
                  </a:lnTo>
                  <a:lnTo>
                    <a:pt x="699" y="607"/>
                  </a:lnTo>
                  <a:lnTo>
                    <a:pt x="702" y="611"/>
                  </a:lnTo>
                  <a:lnTo>
                    <a:pt x="706" y="617"/>
                  </a:lnTo>
                  <a:lnTo>
                    <a:pt x="702" y="620"/>
                  </a:lnTo>
                  <a:lnTo>
                    <a:pt x="702" y="620"/>
                  </a:lnTo>
                  <a:lnTo>
                    <a:pt x="699" y="624"/>
                  </a:lnTo>
                  <a:lnTo>
                    <a:pt x="699" y="627"/>
                  </a:lnTo>
                  <a:lnTo>
                    <a:pt x="699" y="633"/>
                  </a:lnTo>
                  <a:lnTo>
                    <a:pt x="695" y="633"/>
                  </a:lnTo>
                  <a:lnTo>
                    <a:pt x="695" y="637"/>
                  </a:lnTo>
                  <a:lnTo>
                    <a:pt x="699" y="637"/>
                  </a:lnTo>
                  <a:lnTo>
                    <a:pt x="699" y="637"/>
                  </a:lnTo>
                  <a:lnTo>
                    <a:pt x="695" y="640"/>
                  </a:lnTo>
                  <a:lnTo>
                    <a:pt x="695" y="646"/>
                  </a:lnTo>
                  <a:lnTo>
                    <a:pt x="692" y="649"/>
                  </a:lnTo>
                  <a:lnTo>
                    <a:pt x="688" y="646"/>
                  </a:lnTo>
                  <a:lnTo>
                    <a:pt x="688" y="649"/>
                  </a:lnTo>
                  <a:lnTo>
                    <a:pt x="692" y="653"/>
                  </a:lnTo>
                  <a:lnTo>
                    <a:pt x="692" y="656"/>
                  </a:lnTo>
                  <a:lnTo>
                    <a:pt x="688" y="656"/>
                  </a:lnTo>
                  <a:lnTo>
                    <a:pt x="685" y="659"/>
                  </a:lnTo>
                  <a:lnTo>
                    <a:pt x="678" y="659"/>
                  </a:lnTo>
                  <a:lnTo>
                    <a:pt x="675" y="659"/>
                  </a:lnTo>
                  <a:lnTo>
                    <a:pt x="682" y="656"/>
                  </a:lnTo>
                  <a:lnTo>
                    <a:pt x="682" y="653"/>
                  </a:lnTo>
                  <a:lnTo>
                    <a:pt x="678" y="653"/>
                  </a:lnTo>
                  <a:lnTo>
                    <a:pt x="675" y="656"/>
                  </a:lnTo>
                  <a:lnTo>
                    <a:pt x="675" y="656"/>
                  </a:lnTo>
                  <a:lnTo>
                    <a:pt x="664" y="649"/>
                  </a:lnTo>
                  <a:lnTo>
                    <a:pt x="664" y="653"/>
                  </a:lnTo>
                  <a:lnTo>
                    <a:pt x="651" y="653"/>
                  </a:lnTo>
                  <a:lnTo>
                    <a:pt x="647" y="653"/>
                  </a:lnTo>
                  <a:lnTo>
                    <a:pt x="644" y="659"/>
                  </a:lnTo>
                  <a:lnTo>
                    <a:pt x="647" y="659"/>
                  </a:lnTo>
                  <a:lnTo>
                    <a:pt x="647" y="659"/>
                  </a:lnTo>
                  <a:lnTo>
                    <a:pt x="651" y="656"/>
                  </a:lnTo>
                  <a:lnTo>
                    <a:pt x="654" y="656"/>
                  </a:lnTo>
                  <a:lnTo>
                    <a:pt x="658" y="659"/>
                  </a:lnTo>
                  <a:lnTo>
                    <a:pt x="661" y="662"/>
                  </a:lnTo>
                  <a:lnTo>
                    <a:pt x="678" y="666"/>
                  </a:lnTo>
                  <a:lnTo>
                    <a:pt x="682" y="666"/>
                  </a:lnTo>
                  <a:lnTo>
                    <a:pt x="688" y="666"/>
                  </a:lnTo>
                  <a:lnTo>
                    <a:pt x="695" y="666"/>
                  </a:lnTo>
                  <a:lnTo>
                    <a:pt x="699" y="669"/>
                  </a:lnTo>
                  <a:lnTo>
                    <a:pt x="706" y="669"/>
                  </a:lnTo>
                  <a:lnTo>
                    <a:pt x="713" y="666"/>
                  </a:lnTo>
                  <a:lnTo>
                    <a:pt x="713" y="662"/>
                  </a:lnTo>
                  <a:lnTo>
                    <a:pt x="709" y="659"/>
                  </a:lnTo>
                  <a:lnTo>
                    <a:pt x="709" y="656"/>
                  </a:lnTo>
                  <a:lnTo>
                    <a:pt x="713" y="653"/>
                  </a:lnTo>
                  <a:lnTo>
                    <a:pt x="716" y="653"/>
                  </a:lnTo>
                  <a:lnTo>
                    <a:pt x="716" y="649"/>
                  </a:lnTo>
                  <a:lnTo>
                    <a:pt x="719" y="646"/>
                  </a:lnTo>
                  <a:lnTo>
                    <a:pt x="723" y="643"/>
                  </a:lnTo>
                  <a:lnTo>
                    <a:pt x="723" y="633"/>
                  </a:lnTo>
                  <a:lnTo>
                    <a:pt x="723" y="630"/>
                  </a:lnTo>
                  <a:lnTo>
                    <a:pt x="723" y="624"/>
                  </a:lnTo>
                  <a:lnTo>
                    <a:pt x="730" y="614"/>
                  </a:lnTo>
                  <a:lnTo>
                    <a:pt x="730" y="611"/>
                  </a:lnTo>
                  <a:lnTo>
                    <a:pt x="723" y="601"/>
                  </a:lnTo>
                  <a:lnTo>
                    <a:pt x="716" y="595"/>
                  </a:lnTo>
                  <a:lnTo>
                    <a:pt x="713" y="595"/>
                  </a:lnTo>
                  <a:lnTo>
                    <a:pt x="713" y="585"/>
                  </a:lnTo>
                  <a:lnTo>
                    <a:pt x="719" y="578"/>
                  </a:lnTo>
                  <a:lnTo>
                    <a:pt x="719" y="575"/>
                  </a:lnTo>
                  <a:lnTo>
                    <a:pt x="726" y="575"/>
                  </a:lnTo>
                  <a:lnTo>
                    <a:pt x="733" y="569"/>
                  </a:lnTo>
                  <a:lnTo>
                    <a:pt x="740" y="569"/>
                  </a:lnTo>
                  <a:lnTo>
                    <a:pt x="747" y="575"/>
                  </a:lnTo>
                  <a:lnTo>
                    <a:pt x="747" y="578"/>
                  </a:lnTo>
                  <a:lnTo>
                    <a:pt x="750" y="582"/>
                  </a:lnTo>
                  <a:lnTo>
                    <a:pt x="754" y="585"/>
                  </a:lnTo>
                  <a:lnTo>
                    <a:pt x="754" y="585"/>
                  </a:lnTo>
                  <a:lnTo>
                    <a:pt x="761" y="588"/>
                  </a:lnTo>
                  <a:lnTo>
                    <a:pt x="761" y="591"/>
                  </a:lnTo>
                  <a:lnTo>
                    <a:pt x="764" y="595"/>
                  </a:lnTo>
                  <a:lnTo>
                    <a:pt x="764" y="598"/>
                  </a:lnTo>
                  <a:lnTo>
                    <a:pt x="768" y="601"/>
                  </a:lnTo>
                  <a:lnTo>
                    <a:pt x="768" y="607"/>
                  </a:lnTo>
                  <a:lnTo>
                    <a:pt x="768" y="607"/>
                  </a:lnTo>
                  <a:lnTo>
                    <a:pt x="768" y="611"/>
                  </a:lnTo>
                  <a:lnTo>
                    <a:pt x="774" y="611"/>
                  </a:lnTo>
                  <a:lnTo>
                    <a:pt x="778" y="614"/>
                  </a:lnTo>
                  <a:lnTo>
                    <a:pt x="785" y="614"/>
                  </a:lnTo>
                  <a:lnTo>
                    <a:pt x="788" y="614"/>
                  </a:lnTo>
                  <a:lnTo>
                    <a:pt x="792" y="611"/>
                  </a:lnTo>
                  <a:lnTo>
                    <a:pt x="795" y="611"/>
                  </a:lnTo>
                  <a:lnTo>
                    <a:pt x="795" y="611"/>
                  </a:lnTo>
                  <a:lnTo>
                    <a:pt x="795" y="607"/>
                  </a:lnTo>
                  <a:lnTo>
                    <a:pt x="792" y="611"/>
                  </a:lnTo>
                  <a:lnTo>
                    <a:pt x="788" y="607"/>
                  </a:lnTo>
                  <a:lnTo>
                    <a:pt x="785" y="611"/>
                  </a:lnTo>
                  <a:lnTo>
                    <a:pt x="781" y="611"/>
                  </a:lnTo>
                  <a:lnTo>
                    <a:pt x="778" y="607"/>
                  </a:lnTo>
                  <a:lnTo>
                    <a:pt x="774" y="607"/>
                  </a:lnTo>
                  <a:lnTo>
                    <a:pt x="771" y="604"/>
                  </a:lnTo>
                  <a:lnTo>
                    <a:pt x="771" y="601"/>
                  </a:lnTo>
                  <a:lnTo>
                    <a:pt x="771" y="601"/>
                  </a:lnTo>
                  <a:lnTo>
                    <a:pt x="768" y="598"/>
                  </a:lnTo>
                  <a:lnTo>
                    <a:pt x="768" y="591"/>
                  </a:lnTo>
                  <a:lnTo>
                    <a:pt x="771" y="591"/>
                  </a:lnTo>
                  <a:lnTo>
                    <a:pt x="774" y="588"/>
                  </a:lnTo>
                  <a:lnTo>
                    <a:pt x="771" y="585"/>
                  </a:lnTo>
                  <a:lnTo>
                    <a:pt x="771" y="585"/>
                  </a:lnTo>
                  <a:lnTo>
                    <a:pt x="771" y="582"/>
                  </a:lnTo>
                  <a:lnTo>
                    <a:pt x="768" y="582"/>
                  </a:lnTo>
                  <a:lnTo>
                    <a:pt x="764" y="578"/>
                  </a:lnTo>
                  <a:lnTo>
                    <a:pt x="764" y="575"/>
                  </a:lnTo>
                  <a:lnTo>
                    <a:pt x="757" y="569"/>
                  </a:lnTo>
                  <a:lnTo>
                    <a:pt x="750" y="569"/>
                  </a:lnTo>
                  <a:lnTo>
                    <a:pt x="744" y="565"/>
                  </a:lnTo>
                  <a:lnTo>
                    <a:pt x="740" y="562"/>
                  </a:lnTo>
                  <a:lnTo>
                    <a:pt x="737" y="565"/>
                  </a:lnTo>
                  <a:lnTo>
                    <a:pt x="730" y="559"/>
                  </a:lnTo>
                  <a:lnTo>
                    <a:pt x="726" y="562"/>
                  </a:lnTo>
                  <a:lnTo>
                    <a:pt x="719" y="559"/>
                  </a:lnTo>
                  <a:lnTo>
                    <a:pt x="716" y="565"/>
                  </a:lnTo>
                  <a:lnTo>
                    <a:pt x="716" y="569"/>
                  </a:lnTo>
                  <a:lnTo>
                    <a:pt x="713" y="572"/>
                  </a:lnTo>
                  <a:lnTo>
                    <a:pt x="706" y="569"/>
                  </a:lnTo>
                  <a:lnTo>
                    <a:pt x="699" y="572"/>
                  </a:lnTo>
                  <a:lnTo>
                    <a:pt x="695" y="572"/>
                  </a:lnTo>
                  <a:lnTo>
                    <a:pt x="692" y="569"/>
                  </a:lnTo>
                  <a:lnTo>
                    <a:pt x="692" y="565"/>
                  </a:lnTo>
                  <a:lnTo>
                    <a:pt x="692" y="559"/>
                  </a:lnTo>
                  <a:lnTo>
                    <a:pt x="685" y="553"/>
                  </a:lnTo>
                  <a:lnTo>
                    <a:pt x="682" y="549"/>
                  </a:lnTo>
                  <a:lnTo>
                    <a:pt x="682" y="543"/>
                  </a:lnTo>
                  <a:lnTo>
                    <a:pt x="678" y="536"/>
                  </a:lnTo>
                  <a:lnTo>
                    <a:pt x="678" y="533"/>
                  </a:lnTo>
                  <a:lnTo>
                    <a:pt x="682" y="523"/>
                  </a:lnTo>
                  <a:lnTo>
                    <a:pt x="678" y="517"/>
                  </a:lnTo>
                  <a:lnTo>
                    <a:pt x="671" y="511"/>
                  </a:lnTo>
                  <a:lnTo>
                    <a:pt x="668" y="511"/>
                  </a:lnTo>
                  <a:lnTo>
                    <a:pt x="664" y="507"/>
                  </a:lnTo>
                  <a:lnTo>
                    <a:pt x="658" y="501"/>
                  </a:lnTo>
                  <a:lnTo>
                    <a:pt x="651" y="498"/>
                  </a:lnTo>
                  <a:lnTo>
                    <a:pt x="651" y="494"/>
                  </a:lnTo>
                  <a:lnTo>
                    <a:pt x="651" y="488"/>
                  </a:lnTo>
                  <a:lnTo>
                    <a:pt x="651" y="481"/>
                  </a:lnTo>
                  <a:lnTo>
                    <a:pt x="647" y="478"/>
                  </a:lnTo>
                  <a:lnTo>
                    <a:pt x="647" y="478"/>
                  </a:lnTo>
                  <a:lnTo>
                    <a:pt x="651" y="475"/>
                  </a:lnTo>
                  <a:lnTo>
                    <a:pt x="658" y="469"/>
                  </a:lnTo>
                  <a:lnTo>
                    <a:pt x="661" y="459"/>
                  </a:lnTo>
                  <a:lnTo>
                    <a:pt x="658" y="452"/>
                  </a:lnTo>
                  <a:lnTo>
                    <a:pt x="651" y="439"/>
                  </a:lnTo>
                  <a:lnTo>
                    <a:pt x="654" y="436"/>
                  </a:lnTo>
                  <a:lnTo>
                    <a:pt x="658" y="439"/>
                  </a:lnTo>
                  <a:lnTo>
                    <a:pt x="658" y="446"/>
                  </a:lnTo>
                  <a:lnTo>
                    <a:pt x="661" y="446"/>
                  </a:lnTo>
                  <a:lnTo>
                    <a:pt x="664" y="446"/>
                  </a:lnTo>
                  <a:lnTo>
                    <a:pt x="664" y="452"/>
                  </a:lnTo>
                  <a:lnTo>
                    <a:pt x="668" y="456"/>
                  </a:lnTo>
                  <a:lnTo>
                    <a:pt x="668" y="462"/>
                  </a:lnTo>
                  <a:lnTo>
                    <a:pt x="671" y="469"/>
                  </a:lnTo>
                  <a:lnTo>
                    <a:pt x="668" y="472"/>
                  </a:lnTo>
                  <a:lnTo>
                    <a:pt x="671" y="475"/>
                  </a:lnTo>
                  <a:lnTo>
                    <a:pt x="678" y="478"/>
                  </a:lnTo>
                  <a:lnTo>
                    <a:pt x="678" y="481"/>
                  </a:lnTo>
                  <a:lnTo>
                    <a:pt x="682" y="485"/>
                  </a:lnTo>
                  <a:lnTo>
                    <a:pt x="682" y="488"/>
                  </a:lnTo>
                  <a:lnTo>
                    <a:pt x="678" y="488"/>
                  </a:lnTo>
                  <a:lnTo>
                    <a:pt x="678" y="491"/>
                  </a:lnTo>
                  <a:lnTo>
                    <a:pt x="685" y="491"/>
                  </a:lnTo>
                  <a:lnTo>
                    <a:pt x="688" y="494"/>
                  </a:lnTo>
                  <a:lnTo>
                    <a:pt x="695" y="494"/>
                  </a:lnTo>
                  <a:lnTo>
                    <a:pt x="699" y="491"/>
                  </a:lnTo>
                  <a:lnTo>
                    <a:pt x="702" y="494"/>
                  </a:lnTo>
                  <a:lnTo>
                    <a:pt x="706" y="498"/>
                  </a:lnTo>
                  <a:lnTo>
                    <a:pt x="709" y="494"/>
                  </a:lnTo>
                  <a:lnTo>
                    <a:pt x="713" y="494"/>
                  </a:lnTo>
                  <a:lnTo>
                    <a:pt x="716" y="491"/>
                  </a:lnTo>
                  <a:lnTo>
                    <a:pt x="719" y="491"/>
                  </a:lnTo>
                  <a:lnTo>
                    <a:pt x="723" y="498"/>
                  </a:lnTo>
                  <a:lnTo>
                    <a:pt x="730" y="498"/>
                  </a:lnTo>
                  <a:lnTo>
                    <a:pt x="733" y="501"/>
                  </a:lnTo>
                  <a:lnTo>
                    <a:pt x="740" y="498"/>
                  </a:lnTo>
                  <a:lnTo>
                    <a:pt x="744" y="494"/>
                  </a:lnTo>
                  <a:lnTo>
                    <a:pt x="740" y="498"/>
                  </a:lnTo>
                  <a:lnTo>
                    <a:pt x="733" y="498"/>
                  </a:lnTo>
                  <a:lnTo>
                    <a:pt x="733" y="494"/>
                  </a:lnTo>
                  <a:lnTo>
                    <a:pt x="730" y="494"/>
                  </a:lnTo>
                  <a:lnTo>
                    <a:pt x="726" y="488"/>
                  </a:lnTo>
                  <a:lnTo>
                    <a:pt x="719" y="488"/>
                  </a:lnTo>
                  <a:lnTo>
                    <a:pt x="719" y="485"/>
                  </a:lnTo>
                  <a:lnTo>
                    <a:pt x="719" y="485"/>
                  </a:lnTo>
                  <a:lnTo>
                    <a:pt x="716" y="488"/>
                  </a:lnTo>
                  <a:lnTo>
                    <a:pt x="706" y="488"/>
                  </a:lnTo>
                  <a:lnTo>
                    <a:pt x="702" y="485"/>
                  </a:lnTo>
                  <a:lnTo>
                    <a:pt x="695" y="485"/>
                  </a:lnTo>
                  <a:lnTo>
                    <a:pt x="688" y="478"/>
                  </a:lnTo>
                  <a:lnTo>
                    <a:pt x="688" y="475"/>
                  </a:lnTo>
                  <a:lnTo>
                    <a:pt x="685" y="475"/>
                  </a:lnTo>
                  <a:lnTo>
                    <a:pt x="678" y="469"/>
                  </a:lnTo>
                  <a:lnTo>
                    <a:pt x="682" y="465"/>
                  </a:lnTo>
                  <a:lnTo>
                    <a:pt x="685" y="465"/>
                  </a:lnTo>
                  <a:lnTo>
                    <a:pt x="688" y="462"/>
                  </a:lnTo>
                  <a:lnTo>
                    <a:pt x="692" y="462"/>
                  </a:lnTo>
                  <a:lnTo>
                    <a:pt x="699" y="465"/>
                  </a:lnTo>
                  <a:lnTo>
                    <a:pt x="706" y="469"/>
                  </a:lnTo>
                  <a:lnTo>
                    <a:pt x="713" y="469"/>
                  </a:lnTo>
                  <a:lnTo>
                    <a:pt x="716" y="462"/>
                  </a:lnTo>
                  <a:lnTo>
                    <a:pt x="713" y="456"/>
                  </a:lnTo>
                  <a:lnTo>
                    <a:pt x="706" y="456"/>
                  </a:lnTo>
                  <a:lnTo>
                    <a:pt x="699" y="459"/>
                  </a:lnTo>
                  <a:lnTo>
                    <a:pt x="695" y="456"/>
                  </a:lnTo>
                  <a:lnTo>
                    <a:pt x="699" y="452"/>
                  </a:lnTo>
                  <a:lnTo>
                    <a:pt x="699" y="456"/>
                  </a:lnTo>
                  <a:lnTo>
                    <a:pt x="702" y="452"/>
                  </a:lnTo>
                  <a:lnTo>
                    <a:pt x="702" y="449"/>
                  </a:lnTo>
                  <a:lnTo>
                    <a:pt x="706" y="443"/>
                  </a:lnTo>
                  <a:lnTo>
                    <a:pt x="713" y="443"/>
                  </a:lnTo>
                  <a:lnTo>
                    <a:pt x="716" y="443"/>
                  </a:lnTo>
                  <a:lnTo>
                    <a:pt x="730" y="443"/>
                  </a:lnTo>
                  <a:lnTo>
                    <a:pt x="733" y="446"/>
                  </a:lnTo>
                  <a:lnTo>
                    <a:pt x="737" y="449"/>
                  </a:lnTo>
                  <a:lnTo>
                    <a:pt x="750" y="449"/>
                  </a:lnTo>
                  <a:lnTo>
                    <a:pt x="750" y="452"/>
                  </a:lnTo>
                  <a:lnTo>
                    <a:pt x="754" y="456"/>
                  </a:lnTo>
                  <a:lnTo>
                    <a:pt x="764" y="462"/>
                  </a:lnTo>
                  <a:lnTo>
                    <a:pt x="768" y="462"/>
                  </a:lnTo>
                  <a:lnTo>
                    <a:pt x="778" y="462"/>
                  </a:lnTo>
                  <a:lnTo>
                    <a:pt x="788" y="459"/>
                  </a:lnTo>
                  <a:lnTo>
                    <a:pt x="788" y="459"/>
                  </a:lnTo>
                  <a:lnTo>
                    <a:pt x="792" y="459"/>
                  </a:lnTo>
                  <a:lnTo>
                    <a:pt x="795" y="459"/>
                  </a:lnTo>
                  <a:lnTo>
                    <a:pt x="795" y="465"/>
                  </a:lnTo>
                  <a:lnTo>
                    <a:pt x="795" y="469"/>
                  </a:lnTo>
                  <a:lnTo>
                    <a:pt x="795" y="472"/>
                  </a:lnTo>
                  <a:lnTo>
                    <a:pt x="788" y="475"/>
                  </a:lnTo>
                  <a:lnTo>
                    <a:pt x="788" y="478"/>
                  </a:lnTo>
                  <a:lnTo>
                    <a:pt x="792" y="481"/>
                  </a:lnTo>
                  <a:lnTo>
                    <a:pt x="792" y="488"/>
                  </a:lnTo>
                  <a:lnTo>
                    <a:pt x="799" y="491"/>
                  </a:lnTo>
                  <a:lnTo>
                    <a:pt x="799" y="498"/>
                  </a:lnTo>
                  <a:lnTo>
                    <a:pt x="795" y="498"/>
                  </a:lnTo>
                  <a:lnTo>
                    <a:pt x="799" y="511"/>
                  </a:lnTo>
                  <a:lnTo>
                    <a:pt x="802" y="511"/>
                  </a:lnTo>
                  <a:lnTo>
                    <a:pt x="802" y="504"/>
                  </a:lnTo>
                  <a:lnTo>
                    <a:pt x="802" y="504"/>
                  </a:lnTo>
                  <a:lnTo>
                    <a:pt x="802" y="501"/>
                  </a:lnTo>
                  <a:lnTo>
                    <a:pt x="802" y="498"/>
                  </a:lnTo>
                  <a:lnTo>
                    <a:pt x="805" y="494"/>
                  </a:lnTo>
                  <a:lnTo>
                    <a:pt x="809" y="491"/>
                  </a:lnTo>
                  <a:lnTo>
                    <a:pt x="809" y="491"/>
                  </a:lnTo>
                  <a:lnTo>
                    <a:pt x="812" y="498"/>
                  </a:lnTo>
                  <a:lnTo>
                    <a:pt x="812" y="507"/>
                  </a:lnTo>
                  <a:lnTo>
                    <a:pt x="816" y="507"/>
                  </a:lnTo>
                  <a:lnTo>
                    <a:pt x="812" y="511"/>
                  </a:lnTo>
                  <a:lnTo>
                    <a:pt x="812" y="514"/>
                  </a:lnTo>
                  <a:lnTo>
                    <a:pt x="809" y="514"/>
                  </a:lnTo>
                  <a:lnTo>
                    <a:pt x="816" y="520"/>
                  </a:lnTo>
                  <a:lnTo>
                    <a:pt x="823" y="520"/>
                  </a:lnTo>
                  <a:lnTo>
                    <a:pt x="830" y="520"/>
                  </a:lnTo>
                  <a:lnTo>
                    <a:pt x="833" y="523"/>
                  </a:lnTo>
                  <a:lnTo>
                    <a:pt x="833" y="527"/>
                  </a:lnTo>
                  <a:lnTo>
                    <a:pt x="836" y="530"/>
                  </a:lnTo>
                  <a:lnTo>
                    <a:pt x="843" y="530"/>
                  </a:lnTo>
                  <a:lnTo>
                    <a:pt x="854" y="536"/>
                  </a:lnTo>
                  <a:lnTo>
                    <a:pt x="850" y="536"/>
                  </a:lnTo>
                  <a:lnTo>
                    <a:pt x="854" y="530"/>
                  </a:lnTo>
                  <a:lnTo>
                    <a:pt x="857" y="527"/>
                  </a:lnTo>
                  <a:lnTo>
                    <a:pt x="860" y="523"/>
                  </a:lnTo>
                  <a:lnTo>
                    <a:pt x="871" y="530"/>
                  </a:lnTo>
                  <a:lnTo>
                    <a:pt x="878" y="530"/>
                  </a:lnTo>
                  <a:lnTo>
                    <a:pt x="878" y="533"/>
                  </a:lnTo>
                  <a:lnTo>
                    <a:pt x="881" y="540"/>
                  </a:lnTo>
                  <a:lnTo>
                    <a:pt x="881" y="533"/>
                  </a:lnTo>
                  <a:lnTo>
                    <a:pt x="878" y="530"/>
                  </a:lnTo>
                  <a:lnTo>
                    <a:pt x="874" y="530"/>
                  </a:lnTo>
                  <a:lnTo>
                    <a:pt x="871" y="527"/>
                  </a:lnTo>
                  <a:lnTo>
                    <a:pt x="860" y="523"/>
                  </a:lnTo>
                  <a:lnTo>
                    <a:pt x="857" y="523"/>
                  </a:lnTo>
                  <a:lnTo>
                    <a:pt x="850" y="530"/>
                  </a:lnTo>
                  <a:lnTo>
                    <a:pt x="847" y="527"/>
                  </a:lnTo>
                  <a:lnTo>
                    <a:pt x="847" y="527"/>
                  </a:lnTo>
                  <a:lnTo>
                    <a:pt x="840" y="527"/>
                  </a:lnTo>
                  <a:lnTo>
                    <a:pt x="833" y="520"/>
                  </a:lnTo>
                  <a:lnTo>
                    <a:pt x="830" y="517"/>
                  </a:lnTo>
                  <a:lnTo>
                    <a:pt x="823" y="517"/>
                  </a:lnTo>
                  <a:lnTo>
                    <a:pt x="819" y="511"/>
                  </a:lnTo>
                  <a:lnTo>
                    <a:pt x="819" y="514"/>
                  </a:lnTo>
                  <a:lnTo>
                    <a:pt x="823" y="514"/>
                  </a:lnTo>
                  <a:lnTo>
                    <a:pt x="826" y="504"/>
                  </a:lnTo>
                  <a:lnTo>
                    <a:pt x="826" y="501"/>
                  </a:lnTo>
                  <a:lnTo>
                    <a:pt x="819" y="498"/>
                  </a:lnTo>
                  <a:lnTo>
                    <a:pt x="819" y="491"/>
                  </a:lnTo>
                  <a:lnTo>
                    <a:pt x="812" y="481"/>
                  </a:lnTo>
                  <a:lnTo>
                    <a:pt x="809" y="481"/>
                  </a:lnTo>
                  <a:lnTo>
                    <a:pt x="805" y="475"/>
                  </a:lnTo>
                  <a:lnTo>
                    <a:pt x="805" y="472"/>
                  </a:lnTo>
                  <a:lnTo>
                    <a:pt x="805" y="469"/>
                  </a:lnTo>
                  <a:lnTo>
                    <a:pt x="802" y="459"/>
                  </a:lnTo>
                  <a:lnTo>
                    <a:pt x="799" y="456"/>
                  </a:lnTo>
                  <a:lnTo>
                    <a:pt x="795" y="456"/>
                  </a:lnTo>
                  <a:lnTo>
                    <a:pt x="788" y="452"/>
                  </a:lnTo>
                  <a:lnTo>
                    <a:pt x="778" y="452"/>
                  </a:lnTo>
                  <a:lnTo>
                    <a:pt x="778" y="449"/>
                  </a:lnTo>
                  <a:lnTo>
                    <a:pt x="771" y="446"/>
                  </a:lnTo>
                  <a:lnTo>
                    <a:pt x="771" y="439"/>
                  </a:lnTo>
                  <a:lnTo>
                    <a:pt x="768" y="439"/>
                  </a:lnTo>
                  <a:lnTo>
                    <a:pt x="768" y="436"/>
                  </a:lnTo>
                  <a:lnTo>
                    <a:pt x="764" y="439"/>
                  </a:lnTo>
                  <a:lnTo>
                    <a:pt x="750" y="436"/>
                  </a:lnTo>
                  <a:lnTo>
                    <a:pt x="747" y="439"/>
                  </a:lnTo>
                  <a:lnTo>
                    <a:pt x="740" y="436"/>
                  </a:lnTo>
                  <a:lnTo>
                    <a:pt x="740" y="430"/>
                  </a:lnTo>
                  <a:lnTo>
                    <a:pt x="737" y="430"/>
                  </a:lnTo>
                  <a:lnTo>
                    <a:pt x="737" y="427"/>
                  </a:lnTo>
                  <a:lnTo>
                    <a:pt x="737" y="423"/>
                  </a:lnTo>
                  <a:lnTo>
                    <a:pt x="733" y="414"/>
                  </a:lnTo>
                  <a:lnTo>
                    <a:pt x="726" y="410"/>
                  </a:lnTo>
                  <a:lnTo>
                    <a:pt x="726" y="407"/>
                  </a:lnTo>
                  <a:lnTo>
                    <a:pt x="726" y="407"/>
                  </a:lnTo>
                  <a:lnTo>
                    <a:pt x="723" y="407"/>
                  </a:lnTo>
                  <a:lnTo>
                    <a:pt x="719" y="404"/>
                  </a:lnTo>
                  <a:lnTo>
                    <a:pt x="723" y="401"/>
                  </a:lnTo>
                  <a:lnTo>
                    <a:pt x="723" y="397"/>
                  </a:lnTo>
                  <a:lnTo>
                    <a:pt x="716" y="394"/>
                  </a:lnTo>
                  <a:lnTo>
                    <a:pt x="719" y="391"/>
                  </a:lnTo>
                  <a:lnTo>
                    <a:pt x="726" y="391"/>
                  </a:lnTo>
                  <a:lnTo>
                    <a:pt x="730" y="388"/>
                  </a:lnTo>
                  <a:lnTo>
                    <a:pt x="737" y="388"/>
                  </a:lnTo>
                  <a:lnTo>
                    <a:pt x="747" y="385"/>
                  </a:lnTo>
                  <a:lnTo>
                    <a:pt x="761" y="381"/>
                  </a:lnTo>
                  <a:lnTo>
                    <a:pt x="768" y="378"/>
                  </a:lnTo>
                  <a:lnTo>
                    <a:pt x="771" y="378"/>
                  </a:lnTo>
                  <a:lnTo>
                    <a:pt x="774" y="378"/>
                  </a:lnTo>
                  <a:lnTo>
                    <a:pt x="778" y="375"/>
                  </a:lnTo>
                  <a:lnTo>
                    <a:pt x="781" y="372"/>
                  </a:lnTo>
                  <a:lnTo>
                    <a:pt x="788" y="368"/>
                  </a:lnTo>
                  <a:lnTo>
                    <a:pt x="802" y="365"/>
                  </a:lnTo>
                  <a:lnTo>
                    <a:pt x="802" y="365"/>
                  </a:lnTo>
                  <a:lnTo>
                    <a:pt x="802" y="368"/>
                  </a:lnTo>
                  <a:lnTo>
                    <a:pt x="802" y="372"/>
                  </a:lnTo>
                  <a:lnTo>
                    <a:pt x="799" y="375"/>
                  </a:lnTo>
                  <a:lnTo>
                    <a:pt x="795" y="381"/>
                  </a:lnTo>
                  <a:lnTo>
                    <a:pt x="795" y="385"/>
                  </a:lnTo>
                  <a:lnTo>
                    <a:pt x="802" y="391"/>
                  </a:lnTo>
                  <a:lnTo>
                    <a:pt x="809" y="391"/>
                  </a:lnTo>
                  <a:lnTo>
                    <a:pt x="805" y="388"/>
                  </a:lnTo>
                  <a:lnTo>
                    <a:pt x="799" y="381"/>
                  </a:lnTo>
                  <a:lnTo>
                    <a:pt x="799" y="381"/>
                  </a:lnTo>
                  <a:lnTo>
                    <a:pt x="802" y="378"/>
                  </a:lnTo>
                  <a:lnTo>
                    <a:pt x="809" y="372"/>
                  </a:lnTo>
                  <a:lnTo>
                    <a:pt x="812" y="365"/>
                  </a:lnTo>
                  <a:lnTo>
                    <a:pt x="809" y="362"/>
                  </a:lnTo>
                  <a:lnTo>
                    <a:pt x="805" y="362"/>
                  </a:lnTo>
                  <a:lnTo>
                    <a:pt x="799" y="359"/>
                  </a:lnTo>
                  <a:lnTo>
                    <a:pt x="802" y="355"/>
                  </a:lnTo>
                  <a:lnTo>
                    <a:pt x="795" y="355"/>
                  </a:lnTo>
                  <a:lnTo>
                    <a:pt x="792" y="359"/>
                  </a:lnTo>
                  <a:lnTo>
                    <a:pt x="792" y="355"/>
                  </a:lnTo>
                  <a:lnTo>
                    <a:pt x="788" y="352"/>
                  </a:lnTo>
                  <a:lnTo>
                    <a:pt x="781" y="352"/>
                  </a:lnTo>
                  <a:lnTo>
                    <a:pt x="778" y="352"/>
                  </a:lnTo>
                  <a:lnTo>
                    <a:pt x="774" y="349"/>
                  </a:lnTo>
                  <a:lnTo>
                    <a:pt x="778" y="346"/>
                  </a:lnTo>
                  <a:lnTo>
                    <a:pt x="778" y="346"/>
                  </a:lnTo>
                  <a:lnTo>
                    <a:pt x="778" y="343"/>
                  </a:lnTo>
                  <a:lnTo>
                    <a:pt x="781" y="346"/>
                  </a:lnTo>
                  <a:lnTo>
                    <a:pt x="788" y="346"/>
                  </a:lnTo>
                  <a:lnTo>
                    <a:pt x="792" y="346"/>
                  </a:lnTo>
                  <a:lnTo>
                    <a:pt x="792" y="343"/>
                  </a:lnTo>
                  <a:lnTo>
                    <a:pt x="788" y="343"/>
                  </a:lnTo>
                  <a:lnTo>
                    <a:pt x="785" y="346"/>
                  </a:lnTo>
                  <a:lnTo>
                    <a:pt x="781" y="343"/>
                  </a:lnTo>
                  <a:lnTo>
                    <a:pt x="781" y="339"/>
                  </a:lnTo>
                  <a:lnTo>
                    <a:pt x="774" y="339"/>
                  </a:lnTo>
                  <a:lnTo>
                    <a:pt x="768" y="336"/>
                  </a:lnTo>
                  <a:lnTo>
                    <a:pt x="764" y="339"/>
                  </a:lnTo>
                  <a:lnTo>
                    <a:pt x="764" y="336"/>
                  </a:lnTo>
                  <a:lnTo>
                    <a:pt x="764" y="333"/>
                  </a:lnTo>
                  <a:lnTo>
                    <a:pt x="764" y="330"/>
                  </a:lnTo>
                  <a:lnTo>
                    <a:pt x="761" y="326"/>
                  </a:lnTo>
                  <a:lnTo>
                    <a:pt x="764" y="326"/>
                  </a:lnTo>
                  <a:lnTo>
                    <a:pt x="768" y="326"/>
                  </a:lnTo>
                  <a:lnTo>
                    <a:pt x="771" y="333"/>
                  </a:lnTo>
                  <a:lnTo>
                    <a:pt x="774" y="330"/>
                  </a:lnTo>
                  <a:lnTo>
                    <a:pt x="778" y="336"/>
                  </a:lnTo>
                  <a:lnTo>
                    <a:pt x="778" y="333"/>
                  </a:lnTo>
                  <a:lnTo>
                    <a:pt x="778" y="330"/>
                  </a:lnTo>
                  <a:lnTo>
                    <a:pt x="781" y="330"/>
                  </a:lnTo>
                  <a:lnTo>
                    <a:pt x="781" y="323"/>
                  </a:lnTo>
                  <a:lnTo>
                    <a:pt x="778" y="320"/>
                  </a:lnTo>
                  <a:lnTo>
                    <a:pt x="781" y="320"/>
                  </a:lnTo>
                  <a:lnTo>
                    <a:pt x="785" y="320"/>
                  </a:lnTo>
                  <a:lnTo>
                    <a:pt x="785" y="317"/>
                  </a:lnTo>
                  <a:lnTo>
                    <a:pt x="778" y="313"/>
                  </a:lnTo>
                  <a:lnTo>
                    <a:pt x="774" y="317"/>
                  </a:lnTo>
                  <a:lnTo>
                    <a:pt x="771" y="317"/>
                  </a:lnTo>
                  <a:lnTo>
                    <a:pt x="771" y="313"/>
                  </a:lnTo>
                  <a:lnTo>
                    <a:pt x="774" y="310"/>
                  </a:lnTo>
                  <a:lnTo>
                    <a:pt x="781" y="310"/>
                  </a:lnTo>
                  <a:lnTo>
                    <a:pt x="788" y="310"/>
                  </a:lnTo>
                  <a:lnTo>
                    <a:pt x="788" y="307"/>
                  </a:lnTo>
                  <a:lnTo>
                    <a:pt x="792" y="304"/>
                  </a:lnTo>
                  <a:lnTo>
                    <a:pt x="792" y="301"/>
                  </a:lnTo>
                  <a:lnTo>
                    <a:pt x="792" y="297"/>
                  </a:lnTo>
                  <a:lnTo>
                    <a:pt x="792" y="297"/>
                  </a:lnTo>
                  <a:lnTo>
                    <a:pt x="795" y="294"/>
                  </a:lnTo>
                  <a:lnTo>
                    <a:pt x="795" y="294"/>
                  </a:lnTo>
                  <a:lnTo>
                    <a:pt x="799" y="294"/>
                  </a:lnTo>
                  <a:lnTo>
                    <a:pt x="799" y="294"/>
                  </a:lnTo>
                  <a:lnTo>
                    <a:pt x="802" y="291"/>
                  </a:lnTo>
                  <a:lnTo>
                    <a:pt x="802" y="291"/>
                  </a:lnTo>
                  <a:lnTo>
                    <a:pt x="802" y="288"/>
                  </a:lnTo>
                  <a:lnTo>
                    <a:pt x="802" y="288"/>
                  </a:lnTo>
                  <a:lnTo>
                    <a:pt x="805" y="284"/>
                  </a:lnTo>
                  <a:lnTo>
                    <a:pt x="809" y="284"/>
                  </a:lnTo>
                  <a:lnTo>
                    <a:pt x="809" y="281"/>
                  </a:lnTo>
                  <a:lnTo>
                    <a:pt x="812" y="281"/>
                  </a:lnTo>
                  <a:lnTo>
                    <a:pt x="816" y="281"/>
                  </a:lnTo>
                  <a:lnTo>
                    <a:pt x="823" y="281"/>
                  </a:lnTo>
                  <a:lnTo>
                    <a:pt x="819" y="278"/>
                  </a:lnTo>
                  <a:lnTo>
                    <a:pt x="823" y="275"/>
                  </a:lnTo>
                  <a:lnTo>
                    <a:pt x="830" y="275"/>
                  </a:lnTo>
                  <a:lnTo>
                    <a:pt x="833" y="271"/>
                  </a:lnTo>
                  <a:lnTo>
                    <a:pt x="836" y="268"/>
                  </a:lnTo>
                  <a:lnTo>
                    <a:pt x="847" y="265"/>
                  </a:lnTo>
                  <a:lnTo>
                    <a:pt x="847" y="262"/>
                  </a:lnTo>
                  <a:lnTo>
                    <a:pt x="847" y="262"/>
                  </a:lnTo>
                  <a:lnTo>
                    <a:pt x="840" y="265"/>
                  </a:lnTo>
                  <a:lnTo>
                    <a:pt x="836" y="262"/>
                  </a:lnTo>
                  <a:lnTo>
                    <a:pt x="833" y="268"/>
                  </a:lnTo>
                  <a:lnTo>
                    <a:pt x="830" y="265"/>
                  </a:lnTo>
                  <a:lnTo>
                    <a:pt x="830" y="259"/>
                  </a:lnTo>
                  <a:lnTo>
                    <a:pt x="833" y="255"/>
                  </a:lnTo>
                  <a:lnTo>
                    <a:pt x="833" y="252"/>
                  </a:lnTo>
                  <a:lnTo>
                    <a:pt x="836" y="255"/>
                  </a:lnTo>
                  <a:lnTo>
                    <a:pt x="836" y="255"/>
                  </a:lnTo>
                  <a:lnTo>
                    <a:pt x="836" y="255"/>
                  </a:lnTo>
                  <a:lnTo>
                    <a:pt x="840" y="252"/>
                  </a:lnTo>
                  <a:lnTo>
                    <a:pt x="836" y="249"/>
                  </a:lnTo>
                  <a:lnTo>
                    <a:pt x="840" y="249"/>
                  </a:lnTo>
                  <a:lnTo>
                    <a:pt x="843" y="252"/>
                  </a:lnTo>
                  <a:lnTo>
                    <a:pt x="847" y="252"/>
                  </a:lnTo>
                  <a:lnTo>
                    <a:pt x="854" y="249"/>
                  </a:lnTo>
                  <a:lnTo>
                    <a:pt x="857" y="249"/>
                  </a:lnTo>
                  <a:lnTo>
                    <a:pt x="867" y="246"/>
                  </a:lnTo>
                  <a:lnTo>
                    <a:pt x="871" y="246"/>
                  </a:lnTo>
                  <a:lnTo>
                    <a:pt x="874" y="249"/>
                  </a:lnTo>
                  <a:lnTo>
                    <a:pt x="871" y="259"/>
                  </a:lnTo>
                  <a:lnTo>
                    <a:pt x="871" y="259"/>
                  </a:lnTo>
                  <a:lnTo>
                    <a:pt x="874" y="262"/>
                  </a:lnTo>
                  <a:lnTo>
                    <a:pt x="874" y="259"/>
                  </a:lnTo>
                  <a:lnTo>
                    <a:pt x="878" y="252"/>
                  </a:lnTo>
                  <a:lnTo>
                    <a:pt x="878" y="249"/>
                  </a:lnTo>
                  <a:lnTo>
                    <a:pt x="878" y="249"/>
                  </a:lnTo>
                  <a:lnTo>
                    <a:pt x="881" y="252"/>
                  </a:lnTo>
                  <a:lnTo>
                    <a:pt x="881" y="255"/>
                  </a:lnTo>
                  <a:lnTo>
                    <a:pt x="885" y="255"/>
                  </a:lnTo>
                  <a:lnTo>
                    <a:pt x="888" y="252"/>
                  </a:lnTo>
                  <a:lnTo>
                    <a:pt x="885" y="249"/>
                  </a:lnTo>
                  <a:lnTo>
                    <a:pt x="888" y="246"/>
                  </a:lnTo>
                  <a:lnTo>
                    <a:pt x="891" y="249"/>
                  </a:lnTo>
                  <a:lnTo>
                    <a:pt x="891" y="252"/>
                  </a:lnTo>
                  <a:lnTo>
                    <a:pt x="895" y="246"/>
                  </a:lnTo>
                  <a:lnTo>
                    <a:pt x="898" y="246"/>
                  </a:lnTo>
                  <a:lnTo>
                    <a:pt x="895" y="242"/>
                  </a:lnTo>
                  <a:lnTo>
                    <a:pt x="898" y="242"/>
                  </a:lnTo>
                  <a:lnTo>
                    <a:pt x="902" y="239"/>
                  </a:lnTo>
                  <a:lnTo>
                    <a:pt x="898" y="239"/>
                  </a:lnTo>
                  <a:lnTo>
                    <a:pt x="902" y="236"/>
                  </a:lnTo>
                  <a:lnTo>
                    <a:pt x="905" y="236"/>
                  </a:lnTo>
                  <a:lnTo>
                    <a:pt x="909" y="233"/>
                  </a:lnTo>
                  <a:lnTo>
                    <a:pt x="912" y="236"/>
                  </a:lnTo>
                  <a:lnTo>
                    <a:pt x="912" y="236"/>
                  </a:lnTo>
                  <a:lnTo>
                    <a:pt x="912" y="236"/>
                  </a:lnTo>
                  <a:lnTo>
                    <a:pt x="919" y="239"/>
                  </a:lnTo>
                  <a:lnTo>
                    <a:pt x="919" y="242"/>
                  </a:lnTo>
                  <a:lnTo>
                    <a:pt x="922" y="246"/>
                  </a:lnTo>
                  <a:lnTo>
                    <a:pt x="919" y="252"/>
                  </a:lnTo>
                  <a:lnTo>
                    <a:pt x="922" y="249"/>
                  </a:lnTo>
                  <a:lnTo>
                    <a:pt x="929" y="242"/>
                  </a:lnTo>
                  <a:lnTo>
                    <a:pt x="922" y="236"/>
                  </a:lnTo>
                  <a:lnTo>
                    <a:pt x="919" y="233"/>
                  </a:lnTo>
                  <a:lnTo>
                    <a:pt x="916" y="230"/>
                  </a:lnTo>
                  <a:lnTo>
                    <a:pt x="912" y="233"/>
                  </a:lnTo>
                  <a:lnTo>
                    <a:pt x="909" y="230"/>
                  </a:lnTo>
                  <a:lnTo>
                    <a:pt x="905" y="230"/>
                  </a:lnTo>
                  <a:lnTo>
                    <a:pt x="902" y="230"/>
                  </a:lnTo>
                  <a:lnTo>
                    <a:pt x="898" y="226"/>
                  </a:lnTo>
                  <a:lnTo>
                    <a:pt x="898" y="226"/>
                  </a:lnTo>
                  <a:lnTo>
                    <a:pt x="902" y="223"/>
                  </a:lnTo>
                  <a:lnTo>
                    <a:pt x="909" y="223"/>
                  </a:lnTo>
                  <a:lnTo>
                    <a:pt x="912" y="220"/>
                  </a:lnTo>
                  <a:lnTo>
                    <a:pt x="916" y="220"/>
                  </a:lnTo>
                  <a:lnTo>
                    <a:pt x="919" y="220"/>
                  </a:lnTo>
                  <a:lnTo>
                    <a:pt x="922" y="220"/>
                  </a:lnTo>
                  <a:lnTo>
                    <a:pt x="926" y="223"/>
                  </a:lnTo>
                  <a:lnTo>
                    <a:pt x="933" y="220"/>
                  </a:lnTo>
                  <a:lnTo>
                    <a:pt x="940" y="220"/>
                  </a:lnTo>
                  <a:lnTo>
                    <a:pt x="943" y="220"/>
                  </a:lnTo>
                  <a:lnTo>
                    <a:pt x="946" y="220"/>
                  </a:lnTo>
                  <a:lnTo>
                    <a:pt x="950" y="220"/>
                  </a:lnTo>
                  <a:lnTo>
                    <a:pt x="946" y="217"/>
                  </a:lnTo>
                  <a:lnTo>
                    <a:pt x="940" y="217"/>
                  </a:lnTo>
                  <a:lnTo>
                    <a:pt x="936" y="213"/>
                  </a:lnTo>
                  <a:lnTo>
                    <a:pt x="929" y="217"/>
                  </a:lnTo>
                  <a:lnTo>
                    <a:pt x="922" y="217"/>
                  </a:lnTo>
                  <a:lnTo>
                    <a:pt x="922" y="213"/>
                  </a:lnTo>
                  <a:lnTo>
                    <a:pt x="922" y="210"/>
                  </a:lnTo>
                  <a:lnTo>
                    <a:pt x="926" y="207"/>
                  </a:lnTo>
                  <a:lnTo>
                    <a:pt x="922" y="204"/>
                  </a:lnTo>
                  <a:lnTo>
                    <a:pt x="916" y="200"/>
                  </a:lnTo>
                  <a:lnTo>
                    <a:pt x="912" y="200"/>
                  </a:lnTo>
                  <a:lnTo>
                    <a:pt x="909" y="197"/>
                  </a:lnTo>
                  <a:lnTo>
                    <a:pt x="909" y="191"/>
                  </a:lnTo>
                  <a:lnTo>
                    <a:pt x="912" y="191"/>
                  </a:lnTo>
                  <a:lnTo>
                    <a:pt x="912" y="188"/>
                  </a:lnTo>
                  <a:lnTo>
                    <a:pt x="909" y="184"/>
                  </a:lnTo>
                  <a:lnTo>
                    <a:pt x="909" y="168"/>
                  </a:lnTo>
                  <a:lnTo>
                    <a:pt x="912" y="165"/>
                  </a:lnTo>
                  <a:lnTo>
                    <a:pt x="912" y="162"/>
                  </a:lnTo>
                  <a:lnTo>
                    <a:pt x="912" y="155"/>
                  </a:lnTo>
                  <a:lnTo>
                    <a:pt x="916" y="152"/>
                  </a:lnTo>
                  <a:lnTo>
                    <a:pt x="912" y="149"/>
                  </a:lnTo>
                  <a:lnTo>
                    <a:pt x="916" y="149"/>
                  </a:lnTo>
                  <a:lnTo>
                    <a:pt x="919" y="146"/>
                  </a:lnTo>
                  <a:lnTo>
                    <a:pt x="922" y="142"/>
                  </a:lnTo>
                  <a:lnTo>
                    <a:pt x="926" y="142"/>
                  </a:lnTo>
                  <a:lnTo>
                    <a:pt x="929" y="146"/>
                  </a:lnTo>
                  <a:lnTo>
                    <a:pt x="933" y="142"/>
                  </a:lnTo>
                  <a:lnTo>
                    <a:pt x="936" y="142"/>
                  </a:lnTo>
                  <a:lnTo>
                    <a:pt x="940" y="149"/>
                  </a:lnTo>
                  <a:lnTo>
                    <a:pt x="943" y="149"/>
                  </a:lnTo>
                  <a:lnTo>
                    <a:pt x="950" y="146"/>
                  </a:lnTo>
                  <a:lnTo>
                    <a:pt x="950" y="146"/>
                  </a:lnTo>
                  <a:lnTo>
                    <a:pt x="953" y="152"/>
                  </a:lnTo>
                  <a:lnTo>
                    <a:pt x="953" y="152"/>
                  </a:lnTo>
                  <a:lnTo>
                    <a:pt x="960" y="152"/>
                  </a:lnTo>
                  <a:lnTo>
                    <a:pt x="960" y="155"/>
                  </a:lnTo>
                  <a:lnTo>
                    <a:pt x="957" y="155"/>
                  </a:lnTo>
                  <a:lnTo>
                    <a:pt x="957" y="158"/>
                  </a:lnTo>
                  <a:lnTo>
                    <a:pt x="953" y="162"/>
                  </a:lnTo>
                  <a:lnTo>
                    <a:pt x="953" y="165"/>
                  </a:lnTo>
                  <a:lnTo>
                    <a:pt x="950" y="168"/>
                  </a:lnTo>
                  <a:lnTo>
                    <a:pt x="946" y="171"/>
                  </a:lnTo>
                  <a:lnTo>
                    <a:pt x="943" y="175"/>
                  </a:lnTo>
                  <a:lnTo>
                    <a:pt x="946" y="175"/>
                  </a:lnTo>
                  <a:lnTo>
                    <a:pt x="957" y="171"/>
                  </a:lnTo>
                  <a:lnTo>
                    <a:pt x="960" y="165"/>
                  </a:lnTo>
                  <a:lnTo>
                    <a:pt x="964" y="165"/>
                  </a:lnTo>
                  <a:lnTo>
                    <a:pt x="964" y="168"/>
                  </a:lnTo>
                  <a:lnTo>
                    <a:pt x="964" y="171"/>
                  </a:lnTo>
                  <a:lnTo>
                    <a:pt x="964" y="175"/>
                  </a:lnTo>
                  <a:lnTo>
                    <a:pt x="967" y="175"/>
                  </a:lnTo>
                  <a:lnTo>
                    <a:pt x="971" y="168"/>
                  </a:lnTo>
                  <a:lnTo>
                    <a:pt x="974" y="168"/>
                  </a:lnTo>
                  <a:lnTo>
                    <a:pt x="974" y="168"/>
                  </a:lnTo>
                  <a:lnTo>
                    <a:pt x="981" y="168"/>
                  </a:lnTo>
                  <a:lnTo>
                    <a:pt x="981" y="165"/>
                  </a:lnTo>
                  <a:lnTo>
                    <a:pt x="984" y="165"/>
                  </a:lnTo>
                  <a:lnTo>
                    <a:pt x="984" y="165"/>
                  </a:lnTo>
                  <a:lnTo>
                    <a:pt x="988" y="165"/>
                  </a:lnTo>
                  <a:lnTo>
                    <a:pt x="995" y="168"/>
                  </a:lnTo>
                  <a:lnTo>
                    <a:pt x="995" y="171"/>
                  </a:lnTo>
                  <a:lnTo>
                    <a:pt x="995" y="178"/>
                  </a:lnTo>
                  <a:lnTo>
                    <a:pt x="995" y="178"/>
                  </a:lnTo>
                  <a:lnTo>
                    <a:pt x="995" y="181"/>
                  </a:lnTo>
                  <a:lnTo>
                    <a:pt x="991" y="188"/>
                  </a:lnTo>
                  <a:lnTo>
                    <a:pt x="998" y="194"/>
                  </a:lnTo>
                  <a:lnTo>
                    <a:pt x="995" y="197"/>
                  </a:lnTo>
                  <a:lnTo>
                    <a:pt x="995" y="197"/>
                  </a:lnTo>
                  <a:lnTo>
                    <a:pt x="991" y="200"/>
                  </a:lnTo>
                  <a:lnTo>
                    <a:pt x="991" y="200"/>
                  </a:lnTo>
                  <a:lnTo>
                    <a:pt x="1002" y="200"/>
                  </a:lnTo>
                  <a:lnTo>
                    <a:pt x="1005" y="194"/>
                  </a:lnTo>
                  <a:lnTo>
                    <a:pt x="1012" y="194"/>
                  </a:lnTo>
                  <a:lnTo>
                    <a:pt x="1012" y="191"/>
                  </a:lnTo>
                  <a:lnTo>
                    <a:pt x="1012" y="184"/>
                  </a:lnTo>
                  <a:lnTo>
                    <a:pt x="1012" y="181"/>
                  </a:lnTo>
                  <a:lnTo>
                    <a:pt x="1008" y="181"/>
                  </a:lnTo>
                  <a:lnTo>
                    <a:pt x="1005" y="181"/>
                  </a:lnTo>
                  <a:lnTo>
                    <a:pt x="1005" y="175"/>
                  </a:lnTo>
                  <a:lnTo>
                    <a:pt x="1008" y="175"/>
                  </a:lnTo>
                  <a:lnTo>
                    <a:pt x="1008" y="175"/>
                  </a:lnTo>
                  <a:lnTo>
                    <a:pt x="1012" y="175"/>
                  </a:lnTo>
                  <a:lnTo>
                    <a:pt x="1015" y="175"/>
                  </a:lnTo>
                  <a:lnTo>
                    <a:pt x="1022" y="175"/>
                  </a:lnTo>
                  <a:lnTo>
                    <a:pt x="1026" y="168"/>
                  </a:lnTo>
                  <a:lnTo>
                    <a:pt x="1029" y="171"/>
                  </a:lnTo>
                  <a:lnTo>
                    <a:pt x="1033" y="171"/>
                  </a:lnTo>
                  <a:lnTo>
                    <a:pt x="1036" y="168"/>
                  </a:lnTo>
                  <a:lnTo>
                    <a:pt x="1039" y="165"/>
                  </a:lnTo>
                  <a:lnTo>
                    <a:pt x="1039" y="165"/>
                  </a:lnTo>
                  <a:lnTo>
                    <a:pt x="1043" y="162"/>
                  </a:lnTo>
                  <a:lnTo>
                    <a:pt x="1046" y="162"/>
                  </a:lnTo>
                  <a:lnTo>
                    <a:pt x="1050" y="162"/>
                  </a:lnTo>
                  <a:lnTo>
                    <a:pt x="1053" y="162"/>
                  </a:lnTo>
                  <a:lnTo>
                    <a:pt x="1053" y="165"/>
                  </a:lnTo>
                  <a:lnTo>
                    <a:pt x="1053" y="165"/>
                  </a:lnTo>
                  <a:lnTo>
                    <a:pt x="1053" y="168"/>
                  </a:lnTo>
                  <a:lnTo>
                    <a:pt x="1060" y="168"/>
                  </a:lnTo>
                  <a:lnTo>
                    <a:pt x="1063" y="168"/>
                  </a:lnTo>
                  <a:lnTo>
                    <a:pt x="1067" y="171"/>
                  </a:lnTo>
                  <a:lnTo>
                    <a:pt x="1081" y="178"/>
                  </a:lnTo>
                  <a:lnTo>
                    <a:pt x="1084" y="178"/>
                  </a:lnTo>
                  <a:lnTo>
                    <a:pt x="1088" y="181"/>
                  </a:lnTo>
                  <a:lnTo>
                    <a:pt x="1084" y="184"/>
                  </a:lnTo>
                  <a:lnTo>
                    <a:pt x="1091" y="191"/>
                  </a:lnTo>
                  <a:lnTo>
                    <a:pt x="1094" y="191"/>
                  </a:lnTo>
                  <a:lnTo>
                    <a:pt x="1094" y="188"/>
                  </a:lnTo>
                  <a:lnTo>
                    <a:pt x="1098" y="188"/>
                  </a:lnTo>
                  <a:lnTo>
                    <a:pt x="1098" y="184"/>
                  </a:lnTo>
                  <a:lnTo>
                    <a:pt x="1094" y="184"/>
                  </a:lnTo>
                  <a:lnTo>
                    <a:pt x="1091" y="181"/>
                  </a:lnTo>
                  <a:lnTo>
                    <a:pt x="1091" y="181"/>
                  </a:lnTo>
                  <a:lnTo>
                    <a:pt x="1094" y="178"/>
                  </a:lnTo>
                  <a:lnTo>
                    <a:pt x="1098" y="178"/>
                  </a:lnTo>
                  <a:lnTo>
                    <a:pt x="1098" y="181"/>
                  </a:lnTo>
                  <a:lnTo>
                    <a:pt x="1101" y="181"/>
                  </a:lnTo>
                  <a:lnTo>
                    <a:pt x="1101" y="184"/>
                  </a:lnTo>
                  <a:lnTo>
                    <a:pt x="1108" y="191"/>
                  </a:lnTo>
                  <a:lnTo>
                    <a:pt x="1108" y="194"/>
                  </a:lnTo>
                  <a:lnTo>
                    <a:pt x="1112" y="194"/>
                  </a:lnTo>
                  <a:lnTo>
                    <a:pt x="1112" y="194"/>
                  </a:lnTo>
                  <a:lnTo>
                    <a:pt x="1115" y="194"/>
                  </a:lnTo>
                  <a:lnTo>
                    <a:pt x="1115" y="194"/>
                  </a:lnTo>
                  <a:lnTo>
                    <a:pt x="1119" y="197"/>
                  </a:lnTo>
                  <a:lnTo>
                    <a:pt x="1119" y="200"/>
                  </a:lnTo>
                  <a:lnTo>
                    <a:pt x="1122" y="204"/>
                  </a:lnTo>
                  <a:lnTo>
                    <a:pt x="1122" y="207"/>
                  </a:lnTo>
                  <a:lnTo>
                    <a:pt x="1122" y="207"/>
                  </a:lnTo>
                  <a:lnTo>
                    <a:pt x="1122" y="204"/>
                  </a:lnTo>
                  <a:lnTo>
                    <a:pt x="1119" y="204"/>
                  </a:lnTo>
                  <a:lnTo>
                    <a:pt x="1119" y="204"/>
                  </a:lnTo>
                  <a:lnTo>
                    <a:pt x="1115" y="204"/>
                  </a:lnTo>
                  <a:lnTo>
                    <a:pt x="1112" y="200"/>
                  </a:lnTo>
                  <a:lnTo>
                    <a:pt x="1105" y="200"/>
                  </a:lnTo>
                  <a:lnTo>
                    <a:pt x="1101" y="200"/>
                  </a:lnTo>
                  <a:lnTo>
                    <a:pt x="1101" y="200"/>
                  </a:lnTo>
                  <a:lnTo>
                    <a:pt x="1101" y="204"/>
                  </a:lnTo>
                  <a:lnTo>
                    <a:pt x="1108" y="204"/>
                  </a:lnTo>
                  <a:lnTo>
                    <a:pt x="1108" y="207"/>
                  </a:lnTo>
                  <a:lnTo>
                    <a:pt x="1108" y="207"/>
                  </a:lnTo>
                  <a:lnTo>
                    <a:pt x="1112" y="210"/>
                  </a:lnTo>
                  <a:lnTo>
                    <a:pt x="1112" y="210"/>
                  </a:lnTo>
                  <a:lnTo>
                    <a:pt x="1115" y="210"/>
                  </a:lnTo>
                  <a:lnTo>
                    <a:pt x="1115" y="207"/>
                  </a:lnTo>
                  <a:lnTo>
                    <a:pt x="1119" y="207"/>
                  </a:lnTo>
                  <a:lnTo>
                    <a:pt x="1119" y="210"/>
                  </a:lnTo>
                  <a:lnTo>
                    <a:pt x="1122" y="210"/>
                  </a:lnTo>
                  <a:lnTo>
                    <a:pt x="1125" y="210"/>
                  </a:lnTo>
                  <a:lnTo>
                    <a:pt x="1125" y="210"/>
                  </a:lnTo>
                  <a:lnTo>
                    <a:pt x="1129" y="213"/>
                  </a:lnTo>
                  <a:lnTo>
                    <a:pt x="1125" y="213"/>
                  </a:lnTo>
                  <a:lnTo>
                    <a:pt x="1129" y="220"/>
                  </a:lnTo>
                  <a:lnTo>
                    <a:pt x="1132" y="226"/>
                  </a:lnTo>
                  <a:lnTo>
                    <a:pt x="1132" y="233"/>
                  </a:lnTo>
                  <a:lnTo>
                    <a:pt x="1129" y="236"/>
                  </a:lnTo>
                  <a:lnTo>
                    <a:pt x="1125" y="236"/>
                  </a:lnTo>
                  <a:lnTo>
                    <a:pt x="1125" y="239"/>
                  </a:lnTo>
                  <a:lnTo>
                    <a:pt x="1125" y="242"/>
                  </a:lnTo>
                  <a:lnTo>
                    <a:pt x="1122" y="246"/>
                  </a:lnTo>
                  <a:lnTo>
                    <a:pt x="1122" y="249"/>
                  </a:lnTo>
                  <a:lnTo>
                    <a:pt x="1125" y="252"/>
                  </a:lnTo>
                  <a:lnTo>
                    <a:pt x="1125" y="252"/>
                  </a:lnTo>
                  <a:lnTo>
                    <a:pt x="1122" y="255"/>
                  </a:lnTo>
                  <a:lnTo>
                    <a:pt x="1119" y="259"/>
                  </a:lnTo>
                  <a:lnTo>
                    <a:pt x="1122" y="262"/>
                  </a:lnTo>
                  <a:lnTo>
                    <a:pt x="1119" y="265"/>
                  </a:lnTo>
                  <a:lnTo>
                    <a:pt x="1115" y="268"/>
                  </a:lnTo>
                  <a:lnTo>
                    <a:pt x="1115" y="268"/>
                  </a:lnTo>
                  <a:lnTo>
                    <a:pt x="1115" y="271"/>
                  </a:lnTo>
                  <a:lnTo>
                    <a:pt x="1112" y="275"/>
                  </a:lnTo>
                  <a:lnTo>
                    <a:pt x="1108" y="278"/>
                  </a:lnTo>
                  <a:lnTo>
                    <a:pt x="1101" y="278"/>
                  </a:lnTo>
                  <a:lnTo>
                    <a:pt x="1108" y="278"/>
                  </a:lnTo>
                  <a:lnTo>
                    <a:pt x="1108" y="278"/>
                  </a:lnTo>
                  <a:lnTo>
                    <a:pt x="1112" y="278"/>
                  </a:lnTo>
                  <a:lnTo>
                    <a:pt x="1115" y="278"/>
                  </a:lnTo>
                  <a:lnTo>
                    <a:pt x="1115" y="281"/>
                  </a:lnTo>
                  <a:lnTo>
                    <a:pt x="1112" y="288"/>
                  </a:lnTo>
                  <a:lnTo>
                    <a:pt x="1108" y="291"/>
                  </a:lnTo>
                  <a:lnTo>
                    <a:pt x="1108" y="297"/>
                  </a:lnTo>
                  <a:lnTo>
                    <a:pt x="1108" y="301"/>
                  </a:lnTo>
                  <a:lnTo>
                    <a:pt x="1108" y="304"/>
                  </a:lnTo>
                  <a:lnTo>
                    <a:pt x="1105" y="310"/>
                  </a:lnTo>
                  <a:lnTo>
                    <a:pt x="1101" y="313"/>
                  </a:lnTo>
                  <a:lnTo>
                    <a:pt x="1101" y="313"/>
                  </a:lnTo>
                  <a:lnTo>
                    <a:pt x="1098" y="313"/>
                  </a:lnTo>
                  <a:lnTo>
                    <a:pt x="1094" y="313"/>
                  </a:lnTo>
                  <a:lnTo>
                    <a:pt x="1098" y="317"/>
                  </a:lnTo>
                  <a:lnTo>
                    <a:pt x="1098" y="323"/>
                  </a:lnTo>
                  <a:lnTo>
                    <a:pt x="1098" y="326"/>
                  </a:lnTo>
                  <a:lnTo>
                    <a:pt x="1094" y="330"/>
                  </a:lnTo>
                  <a:lnTo>
                    <a:pt x="1091" y="333"/>
                  </a:lnTo>
                  <a:lnTo>
                    <a:pt x="1094" y="336"/>
                  </a:lnTo>
                  <a:lnTo>
                    <a:pt x="1094" y="343"/>
                  </a:lnTo>
                  <a:lnTo>
                    <a:pt x="1091" y="343"/>
                  </a:lnTo>
                  <a:lnTo>
                    <a:pt x="1094" y="346"/>
                  </a:lnTo>
                  <a:lnTo>
                    <a:pt x="1094" y="346"/>
                  </a:lnTo>
                  <a:lnTo>
                    <a:pt x="1094" y="355"/>
                  </a:lnTo>
                  <a:lnTo>
                    <a:pt x="1091" y="359"/>
                  </a:lnTo>
                  <a:lnTo>
                    <a:pt x="1088" y="362"/>
                  </a:lnTo>
                  <a:lnTo>
                    <a:pt x="1091" y="359"/>
                  </a:lnTo>
                  <a:lnTo>
                    <a:pt x="1094" y="359"/>
                  </a:lnTo>
                  <a:lnTo>
                    <a:pt x="1098" y="355"/>
                  </a:lnTo>
                  <a:lnTo>
                    <a:pt x="1098" y="352"/>
                  </a:lnTo>
                  <a:lnTo>
                    <a:pt x="1098" y="352"/>
                  </a:lnTo>
                  <a:lnTo>
                    <a:pt x="1101" y="349"/>
                  </a:lnTo>
                  <a:lnTo>
                    <a:pt x="1105" y="349"/>
                  </a:lnTo>
                  <a:lnTo>
                    <a:pt x="1108" y="349"/>
                  </a:lnTo>
                  <a:lnTo>
                    <a:pt x="1105" y="346"/>
                  </a:lnTo>
                  <a:lnTo>
                    <a:pt x="1098" y="343"/>
                  </a:lnTo>
                  <a:lnTo>
                    <a:pt x="1098" y="336"/>
                  </a:lnTo>
                  <a:lnTo>
                    <a:pt x="1098" y="333"/>
                  </a:lnTo>
                  <a:lnTo>
                    <a:pt x="1105" y="333"/>
                  </a:lnTo>
                  <a:lnTo>
                    <a:pt x="1112" y="333"/>
                  </a:lnTo>
                  <a:lnTo>
                    <a:pt x="1119" y="330"/>
                  </a:lnTo>
                  <a:lnTo>
                    <a:pt x="1122" y="326"/>
                  </a:lnTo>
                  <a:lnTo>
                    <a:pt x="1122" y="326"/>
                  </a:lnTo>
                  <a:lnTo>
                    <a:pt x="1122" y="323"/>
                  </a:lnTo>
                  <a:lnTo>
                    <a:pt x="1125" y="320"/>
                  </a:lnTo>
                  <a:lnTo>
                    <a:pt x="1129" y="317"/>
                  </a:lnTo>
                  <a:lnTo>
                    <a:pt x="1125" y="313"/>
                  </a:lnTo>
                  <a:lnTo>
                    <a:pt x="1125" y="310"/>
                  </a:lnTo>
                  <a:lnTo>
                    <a:pt x="1132" y="313"/>
                  </a:lnTo>
                  <a:lnTo>
                    <a:pt x="1136" y="313"/>
                  </a:lnTo>
                  <a:lnTo>
                    <a:pt x="1139" y="307"/>
                  </a:lnTo>
                  <a:lnTo>
                    <a:pt x="1136" y="307"/>
                  </a:lnTo>
                  <a:lnTo>
                    <a:pt x="1143" y="301"/>
                  </a:lnTo>
                  <a:lnTo>
                    <a:pt x="1143" y="297"/>
                  </a:lnTo>
                  <a:lnTo>
                    <a:pt x="1143" y="294"/>
                  </a:lnTo>
                  <a:lnTo>
                    <a:pt x="1136" y="297"/>
                  </a:lnTo>
                  <a:lnTo>
                    <a:pt x="1136" y="301"/>
                  </a:lnTo>
                  <a:lnTo>
                    <a:pt x="1129" y="304"/>
                  </a:lnTo>
                  <a:lnTo>
                    <a:pt x="1125" y="304"/>
                  </a:lnTo>
                  <a:lnTo>
                    <a:pt x="1122" y="297"/>
                  </a:lnTo>
                  <a:lnTo>
                    <a:pt x="1125" y="294"/>
                  </a:lnTo>
                  <a:lnTo>
                    <a:pt x="1125" y="291"/>
                  </a:lnTo>
                  <a:lnTo>
                    <a:pt x="1129" y="288"/>
                  </a:lnTo>
                  <a:lnTo>
                    <a:pt x="1132" y="288"/>
                  </a:lnTo>
                  <a:lnTo>
                    <a:pt x="1139" y="291"/>
                  </a:lnTo>
                  <a:lnTo>
                    <a:pt x="1143" y="288"/>
                  </a:lnTo>
                  <a:lnTo>
                    <a:pt x="1143" y="284"/>
                  </a:lnTo>
                  <a:lnTo>
                    <a:pt x="1146" y="281"/>
                  </a:lnTo>
                  <a:lnTo>
                    <a:pt x="1149" y="284"/>
                  </a:lnTo>
                  <a:lnTo>
                    <a:pt x="1146" y="288"/>
                  </a:lnTo>
                  <a:lnTo>
                    <a:pt x="1146" y="291"/>
                  </a:lnTo>
                  <a:lnTo>
                    <a:pt x="1156" y="297"/>
                  </a:lnTo>
                  <a:lnTo>
                    <a:pt x="1163" y="297"/>
                  </a:lnTo>
                  <a:lnTo>
                    <a:pt x="1163" y="297"/>
                  </a:lnTo>
                  <a:lnTo>
                    <a:pt x="1170" y="294"/>
                  </a:lnTo>
                  <a:lnTo>
                    <a:pt x="1174" y="291"/>
                  </a:lnTo>
                  <a:lnTo>
                    <a:pt x="1174" y="288"/>
                  </a:lnTo>
                  <a:lnTo>
                    <a:pt x="1170" y="281"/>
                  </a:lnTo>
                  <a:lnTo>
                    <a:pt x="1167" y="281"/>
                  </a:lnTo>
                  <a:lnTo>
                    <a:pt x="1170" y="281"/>
                  </a:lnTo>
                  <a:lnTo>
                    <a:pt x="1177" y="288"/>
                  </a:lnTo>
                  <a:lnTo>
                    <a:pt x="1180" y="288"/>
                  </a:lnTo>
                  <a:lnTo>
                    <a:pt x="1184" y="291"/>
                  </a:lnTo>
                  <a:lnTo>
                    <a:pt x="1184" y="294"/>
                  </a:lnTo>
                  <a:lnTo>
                    <a:pt x="1184" y="294"/>
                  </a:lnTo>
                  <a:lnTo>
                    <a:pt x="1191" y="301"/>
                  </a:lnTo>
                  <a:lnTo>
                    <a:pt x="1191" y="304"/>
                  </a:lnTo>
                  <a:lnTo>
                    <a:pt x="1191" y="307"/>
                  </a:lnTo>
                  <a:lnTo>
                    <a:pt x="1191" y="304"/>
                  </a:lnTo>
                  <a:lnTo>
                    <a:pt x="1194" y="301"/>
                  </a:lnTo>
                  <a:lnTo>
                    <a:pt x="1198" y="301"/>
                  </a:lnTo>
                  <a:lnTo>
                    <a:pt x="1198" y="297"/>
                  </a:lnTo>
                  <a:lnTo>
                    <a:pt x="1198" y="297"/>
                  </a:lnTo>
                  <a:lnTo>
                    <a:pt x="1194" y="297"/>
                  </a:lnTo>
                  <a:lnTo>
                    <a:pt x="1191" y="297"/>
                  </a:lnTo>
                  <a:lnTo>
                    <a:pt x="1191" y="294"/>
                  </a:lnTo>
                  <a:lnTo>
                    <a:pt x="1194" y="291"/>
                  </a:lnTo>
                  <a:lnTo>
                    <a:pt x="1198" y="288"/>
                  </a:lnTo>
                  <a:lnTo>
                    <a:pt x="1201" y="284"/>
                  </a:lnTo>
                  <a:lnTo>
                    <a:pt x="1201" y="284"/>
                  </a:lnTo>
                  <a:lnTo>
                    <a:pt x="1205" y="284"/>
                  </a:lnTo>
                  <a:lnTo>
                    <a:pt x="1211" y="281"/>
                  </a:lnTo>
                  <a:lnTo>
                    <a:pt x="1225" y="278"/>
                  </a:lnTo>
                  <a:lnTo>
                    <a:pt x="1239" y="278"/>
                  </a:lnTo>
                  <a:lnTo>
                    <a:pt x="1253" y="275"/>
                  </a:lnTo>
                  <a:lnTo>
                    <a:pt x="1260" y="275"/>
                  </a:lnTo>
                  <a:lnTo>
                    <a:pt x="1263" y="275"/>
                  </a:lnTo>
                  <a:lnTo>
                    <a:pt x="1263" y="278"/>
                  </a:lnTo>
                  <a:lnTo>
                    <a:pt x="1263" y="278"/>
                  </a:lnTo>
                  <a:lnTo>
                    <a:pt x="1260" y="284"/>
                  </a:lnTo>
                  <a:lnTo>
                    <a:pt x="1263" y="288"/>
                  </a:lnTo>
                  <a:lnTo>
                    <a:pt x="1266" y="294"/>
                  </a:lnTo>
                  <a:lnTo>
                    <a:pt x="1284" y="294"/>
                  </a:lnTo>
                  <a:lnTo>
                    <a:pt x="1287" y="294"/>
                  </a:lnTo>
                  <a:lnTo>
                    <a:pt x="1287" y="294"/>
                  </a:lnTo>
                  <a:lnTo>
                    <a:pt x="1294" y="294"/>
                  </a:lnTo>
                  <a:lnTo>
                    <a:pt x="1301" y="294"/>
                  </a:lnTo>
                  <a:lnTo>
                    <a:pt x="1311" y="294"/>
                  </a:lnTo>
                  <a:lnTo>
                    <a:pt x="1318" y="291"/>
                  </a:lnTo>
                  <a:lnTo>
                    <a:pt x="1321" y="291"/>
                  </a:lnTo>
                  <a:lnTo>
                    <a:pt x="1328" y="291"/>
                  </a:lnTo>
                  <a:lnTo>
                    <a:pt x="1328" y="288"/>
                  </a:lnTo>
                  <a:lnTo>
                    <a:pt x="1328" y="284"/>
                  </a:lnTo>
                  <a:lnTo>
                    <a:pt x="1332" y="284"/>
                  </a:lnTo>
                  <a:lnTo>
                    <a:pt x="1335" y="284"/>
                  </a:lnTo>
                  <a:lnTo>
                    <a:pt x="1339" y="284"/>
                  </a:lnTo>
                  <a:lnTo>
                    <a:pt x="1342" y="284"/>
                  </a:lnTo>
                  <a:lnTo>
                    <a:pt x="1342" y="288"/>
                  </a:lnTo>
                  <a:lnTo>
                    <a:pt x="1346" y="284"/>
                  </a:lnTo>
                  <a:lnTo>
                    <a:pt x="1346" y="281"/>
                  </a:lnTo>
                  <a:lnTo>
                    <a:pt x="1342" y="278"/>
                  </a:lnTo>
                  <a:lnTo>
                    <a:pt x="1342" y="275"/>
                  </a:lnTo>
                  <a:lnTo>
                    <a:pt x="1339" y="271"/>
                  </a:lnTo>
                  <a:lnTo>
                    <a:pt x="1335" y="271"/>
                  </a:lnTo>
                  <a:lnTo>
                    <a:pt x="1335" y="268"/>
                  </a:lnTo>
                  <a:lnTo>
                    <a:pt x="1332" y="265"/>
                  </a:lnTo>
                  <a:lnTo>
                    <a:pt x="1332" y="262"/>
                  </a:lnTo>
                  <a:lnTo>
                    <a:pt x="1328" y="262"/>
                  </a:lnTo>
                  <a:lnTo>
                    <a:pt x="1328" y="255"/>
                  </a:lnTo>
                  <a:lnTo>
                    <a:pt x="1332" y="252"/>
                  </a:lnTo>
                  <a:lnTo>
                    <a:pt x="1332" y="255"/>
                  </a:lnTo>
                  <a:lnTo>
                    <a:pt x="1332" y="255"/>
                  </a:lnTo>
                  <a:lnTo>
                    <a:pt x="1339" y="252"/>
                  </a:lnTo>
                  <a:lnTo>
                    <a:pt x="1335" y="252"/>
                  </a:lnTo>
                  <a:lnTo>
                    <a:pt x="1335" y="249"/>
                  </a:lnTo>
                  <a:lnTo>
                    <a:pt x="1339" y="249"/>
                  </a:lnTo>
                  <a:lnTo>
                    <a:pt x="1342" y="252"/>
                  </a:lnTo>
                  <a:lnTo>
                    <a:pt x="1346" y="252"/>
                  </a:lnTo>
                  <a:lnTo>
                    <a:pt x="1346" y="249"/>
                  </a:lnTo>
                  <a:lnTo>
                    <a:pt x="1349" y="249"/>
                  </a:lnTo>
                  <a:lnTo>
                    <a:pt x="1352" y="249"/>
                  </a:lnTo>
                  <a:lnTo>
                    <a:pt x="1356" y="249"/>
                  </a:lnTo>
                  <a:lnTo>
                    <a:pt x="1356" y="246"/>
                  </a:lnTo>
                  <a:lnTo>
                    <a:pt x="1359" y="249"/>
                  </a:lnTo>
                  <a:lnTo>
                    <a:pt x="1363" y="252"/>
                  </a:lnTo>
                  <a:lnTo>
                    <a:pt x="1366" y="255"/>
                  </a:lnTo>
                  <a:lnTo>
                    <a:pt x="1370" y="252"/>
                  </a:lnTo>
                  <a:lnTo>
                    <a:pt x="1370" y="249"/>
                  </a:lnTo>
                  <a:lnTo>
                    <a:pt x="1373" y="249"/>
                  </a:lnTo>
                  <a:lnTo>
                    <a:pt x="1373" y="252"/>
                  </a:lnTo>
                  <a:lnTo>
                    <a:pt x="1370" y="255"/>
                  </a:lnTo>
                  <a:lnTo>
                    <a:pt x="1370" y="259"/>
                  </a:lnTo>
                  <a:lnTo>
                    <a:pt x="1370" y="259"/>
                  </a:lnTo>
                  <a:lnTo>
                    <a:pt x="1377" y="259"/>
                  </a:lnTo>
                  <a:lnTo>
                    <a:pt x="1377" y="259"/>
                  </a:lnTo>
                  <a:lnTo>
                    <a:pt x="1377" y="255"/>
                  </a:lnTo>
                  <a:lnTo>
                    <a:pt x="1377" y="255"/>
                  </a:lnTo>
                  <a:lnTo>
                    <a:pt x="1380" y="255"/>
                  </a:lnTo>
                  <a:lnTo>
                    <a:pt x="1380" y="252"/>
                  </a:lnTo>
                  <a:lnTo>
                    <a:pt x="1377" y="252"/>
                  </a:lnTo>
                  <a:lnTo>
                    <a:pt x="1377" y="249"/>
                  </a:lnTo>
                  <a:lnTo>
                    <a:pt x="1380" y="249"/>
                  </a:lnTo>
                  <a:lnTo>
                    <a:pt x="1387" y="249"/>
                  </a:lnTo>
                  <a:lnTo>
                    <a:pt x="1390" y="249"/>
                  </a:lnTo>
                  <a:lnTo>
                    <a:pt x="1390" y="249"/>
                  </a:lnTo>
                  <a:lnTo>
                    <a:pt x="1397" y="249"/>
                  </a:lnTo>
                  <a:lnTo>
                    <a:pt x="1397" y="249"/>
                  </a:lnTo>
                  <a:lnTo>
                    <a:pt x="1397" y="255"/>
                  </a:lnTo>
                  <a:lnTo>
                    <a:pt x="1401" y="252"/>
                  </a:lnTo>
                  <a:lnTo>
                    <a:pt x="1401" y="252"/>
                  </a:lnTo>
                  <a:lnTo>
                    <a:pt x="1404" y="249"/>
                  </a:lnTo>
                  <a:lnTo>
                    <a:pt x="1404" y="255"/>
                  </a:lnTo>
                  <a:lnTo>
                    <a:pt x="1407" y="255"/>
                  </a:lnTo>
                  <a:lnTo>
                    <a:pt x="1411" y="252"/>
                  </a:lnTo>
                  <a:lnTo>
                    <a:pt x="1414" y="255"/>
                  </a:lnTo>
                  <a:lnTo>
                    <a:pt x="1418" y="262"/>
                  </a:lnTo>
                  <a:lnTo>
                    <a:pt x="1418" y="259"/>
                  </a:lnTo>
                  <a:lnTo>
                    <a:pt x="1421" y="255"/>
                  </a:lnTo>
                  <a:lnTo>
                    <a:pt x="1425" y="259"/>
                  </a:lnTo>
                  <a:lnTo>
                    <a:pt x="1421" y="262"/>
                  </a:lnTo>
                  <a:lnTo>
                    <a:pt x="1425" y="262"/>
                  </a:lnTo>
                  <a:lnTo>
                    <a:pt x="1425" y="265"/>
                  </a:lnTo>
                  <a:lnTo>
                    <a:pt x="1428" y="265"/>
                  </a:lnTo>
                  <a:lnTo>
                    <a:pt x="1428" y="268"/>
                  </a:lnTo>
                  <a:lnTo>
                    <a:pt x="1432" y="265"/>
                  </a:lnTo>
                  <a:lnTo>
                    <a:pt x="1432" y="265"/>
                  </a:lnTo>
                  <a:lnTo>
                    <a:pt x="1435" y="268"/>
                  </a:lnTo>
                  <a:lnTo>
                    <a:pt x="1432" y="271"/>
                  </a:lnTo>
                  <a:lnTo>
                    <a:pt x="1432" y="278"/>
                  </a:lnTo>
                  <a:lnTo>
                    <a:pt x="1438" y="271"/>
                  </a:lnTo>
                  <a:lnTo>
                    <a:pt x="1442" y="271"/>
                  </a:lnTo>
                  <a:lnTo>
                    <a:pt x="1442" y="275"/>
                  </a:lnTo>
                  <a:lnTo>
                    <a:pt x="1435" y="281"/>
                  </a:lnTo>
                  <a:lnTo>
                    <a:pt x="1435" y="284"/>
                  </a:lnTo>
                  <a:lnTo>
                    <a:pt x="1442" y="284"/>
                  </a:lnTo>
                  <a:lnTo>
                    <a:pt x="1442" y="284"/>
                  </a:lnTo>
                  <a:lnTo>
                    <a:pt x="1445" y="281"/>
                  </a:lnTo>
                  <a:lnTo>
                    <a:pt x="1445" y="284"/>
                  </a:lnTo>
                  <a:lnTo>
                    <a:pt x="1449" y="284"/>
                  </a:lnTo>
                  <a:lnTo>
                    <a:pt x="1449" y="284"/>
                  </a:lnTo>
                  <a:lnTo>
                    <a:pt x="1456" y="288"/>
                  </a:lnTo>
                  <a:lnTo>
                    <a:pt x="1452" y="294"/>
                  </a:lnTo>
                  <a:lnTo>
                    <a:pt x="1456" y="294"/>
                  </a:lnTo>
                  <a:lnTo>
                    <a:pt x="1459" y="294"/>
                  </a:lnTo>
                  <a:lnTo>
                    <a:pt x="1463" y="294"/>
                  </a:lnTo>
                  <a:lnTo>
                    <a:pt x="1463" y="297"/>
                  </a:lnTo>
                  <a:lnTo>
                    <a:pt x="1459" y="301"/>
                  </a:lnTo>
                  <a:lnTo>
                    <a:pt x="1452" y="304"/>
                  </a:lnTo>
                  <a:lnTo>
                    <a:pt x="1449" y="301"/>
                  </a:lnTo>
                  <a:lnTo>
                    <a:pt x="1442" y="301"/>
                  </a:lnTo>
                  <a:lnTo>
                    <a:pt x="1435" y="301"/>
                  </a:lnTo>
                  <a:lnTo>
                    <a:pt x="1438" y="301"/>
                  </a:lnTo>
                  <a:lnTo>
                    <a:pt x="1438" y="304"/>
                  </a:lnTo>
                  <a:lnTo>
                    <a:pt x="1445" y="307"/>
                  </a:lnTo>
                  <a:lnTo>
                    <a:pt x="1449" y="307"/>
                  </a:lnTo>
                  <a:lnTo>
                    <a:pt x="1456" y="313"/>
                  </a:lnTo>
                  <a:lnTo>
                    <a:pt x="1463" y="313"/>
                  </a:lnTo>
                  <a:lnTo>
                    <a:pt x="1466" y="310"/>
                  </a:lnTo>
                  <a:lnTo>
                    <a:pt x="1466" y="307"/>
                  </a:lnTo>
                  <a:lnTo>
                    <a:pt x="1463" y="304"/>
                  </a:lnTo>
                  <a:lnTo>
                    <a:pt x="1463" y="304"/>
                  </a:lnTo>
                  <a:lnTo>
                    <a:pt x="1463" y="304"/>
                  </a:lnTo>
                  <a:lnTo>
                    <a:pt x="1469" y="307"/>
                  </a:lnTo>
                  <a:lnTo>
                    <a:pt x="1473" y="310"/>
                  </a:lnTo>
                  <a:lnTo>
                    <a:pt x="1476" y="310"/>
                  </a:lnTo>
                  <a:lnTo>
                    <a:pt x="1473" y="310"/>
                  </a:lnTo>
                  <a:lnTo>
                    <a:pt x="1463" y="317"/>
                  </a:lnTo>
                  <a:lnTo>
                    <a:pt x="1466" y="317"/>
                  </a:lnTo>
                  <a:lnTo>
                    <a:pt x="1469" y="320"/>
                  </a:lnTo>
                  <a:lnTo>
                    <a:pt x="1473" y="317"/>
                  </a:lnTo>
                  <a:lnTo>
                    <a:pt x="1473" y="317"/>
                  </a:lnTo>
                  <a:lnTo>
                    <a:pt x="1487" y="326"/>
                  </a:lnTo>
                  <a:lnTo>
                    <a:pt x="1490" y="326"/>
                  </a:lnTo>
                  <a:lnTo>
                    <a:pt x="1493" y="333"/>
                  </a:lnTo>
                  <a:lnTo>
                    <a:pt x="1504" y="333"/>
                  </a:lnTo>
                  <a:lnTo>
                    <a:pt x="1507" y="339"/>
                  </a:lnTo>
                  <a:lnTo>
                    <a:pt x="1514" y="339"/>
                  </a:lnTo>
                  <a:lnTo>
                    <a:pt x="1518" y="336"/>
                  </a:lnTo>
                  <a:lnTo>
                    <a:pt x="1514" y="336"/>
                  </a:lnTo>
                  <a:lnTo>
                    <a:pt x="1518" y="333"/>
                  </a:lnTo>
                  <a:lnTo>
                    <a:pt x="1521" y="336"/>
                  </a:lnTo>
                  <a:lnTo>
                    <a:pt x="1521" y="339"/>
                  </a:lnTo>
                  <a:lnTo>
                    <a:pt x="1524" y="343"/>
                  </a:lnTo>
                  <a:lnTo>
                    <a:pt x="1524" y="343"/>
                  </a:lnTo>
                  <a:lnTo>
                    <a:pt x="1528" y="339"/>
                  </a:lnTo>
                  <a:lnTo>
                    <a:pt x="1521" y="320"/>
                  </a:lnTo>
                  <a:lnTo>
                    <a:pt x="1518" y="313"/>
                  </a:lnTo>
                  <a:lnTo>
                    <a:pt x="1514" y="304"/>
                  </a:lnTo>
                  <a:lnTo>
                    <a:pt x="1511" y="294"/>
                  </a:lnTo>
                  <a:lnTo>
                    <a:pt x="1507" y="291"/>
                  </a:lnTo>
                  <a:lnTo>
                    <a:pt x="1507" y="288"/>
                  </a:lnTo>
                  <a:lnTo>
                    <a:pt x="1511" y="288"/>
                  </a:lnTo>
                  <a:lnTo>
                    <a:pt x="1514" y="294"/>
                  </a:lnTo>
                  <a:lnTo>
                    <a:pt x="1518" y="297"/>
                  </a:lnTo>
                  <a:lnTo>
                    <a:pt x="1524" y="297"/>
                  </a:lnTo>
                  <a:lnTo>
                    <a:pt x="1528" y="301"/>
                  </a:lnTo>
                  <a:lnTo>
                    <a:pt x="1535" y="301"/>
                  </a:lnTo>
                  <a:lnTo>
                    <a:pt x="1549" y="301"/>
                  </a:lnTo>
                  <a:lnTo>
                    <a:pt x="1552" y="301"/>
                  </a:lnTo>
                  <a:lnTo>
                    <a:pt x="1555" y="301"/>
                  </a:lnTo>
                  <a:lnTo>
                    <a:pt x="1559" y="304"/>
                  </a:lnTo>
                  <a:lnTo>
                    <a:pt x="1559" y="304"/>
                  </a:lnTo>
                  <a:lnTo>
                    <a:pt x="1559" y="297"/>
                  </a:lnTo>
                  <a:lnTo>
                    <a:pt x="1559" y="297"/>
                  </a:lnTo>
                  <a:lnTo>
                    <a:pt x="1555" y="294"/>
                  </a:lnTo>
                  <a:lnTo>
                    <a:pt x="1559" y="291"/>
                  </a:lnTo>
                  <a:lnTo>
                    <a:pt x="1559" y="291"/>
                  </a:lnTo>
                  <a:lnTo>
                    <a:pt x="1569" y="284"/>
                  </a:lnTo>
                  <a:lnTo>
                    <a:pt x="1573" y="284"/>
                  </a:lnTo>
                  <a:lnTo>
                    <a:pt x="1576" y="284"/>
                  </a:lnTo>
                  <a:lnTo>
                    <a:pt x="1579" y="288"/>
                  </a:lnTo>
                  <a:lnTo>
                    <a:pt x="1586" y="288"/>
                  </a:lnTo>
                  <a:lnTo>
                    <a:pt x="1590" y="291"/>
                  </a:lnTo>
                  <a:lnTo>
                    <a:pt x="1597" y="291"/>
                  </a:lnTo>
                  <a:lnTo>
                    <a:pt x="1597" y="294"/>
                  </a:lnTo>
                  <a:lnTo>
                    <a:pt x="1604" y="294"/>
                  </a:lnTo>
                  <a:lnTo>
                    <a:pt x="1607" y="297"/>
                  </a:lnTo>
                  <a:lnTo>
                    <a:pt x="1614" y="297"/>
                  </a:lnTo>
                  <a:lnTo>
                    <a:pt x="1610" y="297"/>
                  </a:lnTo>
                  <a:lnTo>
                    <a:pt x="1610" y="294"/>
                  </a:lnTo>
                  <a:lnTo>
                    <a:pt x="1614" y="297"/>
                  </a:lnTo>
                  <a:lnTo>
                    <a:pt x="1617" y="294"/>
                  </a:lnTo>
                  <a:lnTo>
                    <a:pt x="1614" y="291"/>
                  </a:lnTo>
                  <a:lnTo>
                    <a:pt x="1617" y="291"/>
                  </a:lnTo>
                  <a:lnTo>
                    <a:pt x="1614" y="288"/>
                  </a:lnTo>
                  <a:lnTo>
                    <a:pt x="1607" y="288"/>
                  </a:lnTo>
                  <a:lnTo>
                    <a:pt x="1604" y="288"/>
                  </a:lnTo>
                  <a:lnTo>
                    <a:pt x="1604" y="281"/>
                  </a:lnTo>
                  <a:lnTo>
                    <a:pt x="1600" y="278"/>
                  </a:lnTo>
                  <a:lnTo>
                    <a:pt x="1604" y="278"/>
                  </a:lnTo>
                  <a:lnTo>
                    <a:pt x="1607" y="278"/>
                  </a:lnTo>
                  <a:lnTo>
                    <a:pt x="1610" y="278"/>
                  </a:lnTo>
                  <a:lnTo>
                    <a:pt x="1607" y="275"/>
                  </a:lnTo>
                  <a:lnTo>
                    <a:pt x="1610" y="275"/>
                  </a:lnTo>
                  <a:lnTo>
                    <a:pt x="1617" y="278"/>
                  </a:lnTo>
                  <a:lnTo>
                    <a:pt x="1617" y="281"/>
                  </a:lnTo>
                  <a:lnTo>
                    <a:pt x="1621" y="281"/>
                  </a:lnTo>
                  <a:lnTo>
                    <a:pt x="1624" y="281"/>
                  </a:lnTo>
                  <a:lnTo>
                    <a:pt x="1624" y="281"/>
                  </a:lnTo>
                  <a:lnTo>
                    <a:pt x="1624" y="278"/>
                  </a:lnTo>
                  <a:lnTo>
                    <a:pt x="1628" y="275"/>
                  </a:lnTo>
                  <a:lnTo>
                    <a:pt x="1631" y="278"/>
                  </a:lnTo>
                  <a:lnTo>
                    <a:pt x="1631" y="275"/>
                  </a:lnTo>
                  <a:lnTo>
                    <a:pt x="1628" y="268"/>
                  </a:lnTo>
                  <a:lnTo>
                    <a:pt x="1621" y="268"/>
                  </a:lnTo>
                  <a:lnTo>
                    <a:pt x="1617" y="265"/>
                  </a:lnTo>
                  <a:lnTo>
                    <a:pt x="1617" y="259"/>
                  </a:lnTo>
                  <a:lnTo>
                    <a:pt x="1614" y="259"/>
                  </a:lnTo>
                  <a:lnTo>
                    <a:pt x="1610" y="259"/>
                  </a:lnTo>
                  <a:lnTo>
                    <a:pt x="1607" y="259"/>
                  </a:lnTo>
                  <a:lnTo>
                    <a:pt x="1614" y="255"/>
                  </a:lnTo>
                  <a:lnTo>
                    <a:pt x="1610" y="252"/>
                  </a:lnTo>
                  <a:lnTo>
                    <a:pt x="1610" y="252"/>
                  </a:lnTo>
                  <a:lnTo>
                    <a:pt x="1607" y="249"/>
                  </a:lnTo>
                  <a:lnTo>
                    <a:pt x="1614" y="249"/>
                  </a:lnTo>
                  <a:lnTo>
                    <a:pt x="1617" y="242"/>
                  </a:lnTo>
                  <a:lnTo>
                    <a:pt x="1610" y="242"/>
                  </a:lnTo>
                  <a:lnTo>
                    <a:pt x="1604" y="249"/>
                  </a:lnTo>
                  <a:lnTo>
                    <a:pt x="1604" y="252"/>
                  </a:lnTo>
                  <a:lnTo>
                    <a:pt x="1597" y="249"/>
                  </a:lnTo>
                  <a:lnTo>
                    <a:pt x="1593" y="242"/>
                  </a:lnTo>
                  <a:lnTo>
                    <a:pt x="1597" y="239"/>
                  </a:lnTo>
                  <a:lnTo>
                    <a:pt x="1597" y="236"/>
                  </a:lnTo>
                  <a:lnTo>
                    <a:pt x="1604" y="233"/>
                  </a:lnTo>
                  <a:lnTo>
                    <a:pt x="1607" y="233"/>
                  </a:lnTo>
                  <a:lnTo>
                    <a:pt x="1614" y="230"/>
                  </a:lnTo>
                  <a:lnTo>
                    <a:pt x="1614" y="226"/>
                  </a:lnTo>
                  <a:lnTo>
                    <a:pt x="1610" y="223"/>
                  </a:lnTo>
                  <a:lnTo>
                    <a:pt x="1607" y="223"/>
                  </a:lnTo>
                  <a:lnTo>
                    <a:pt x="1604" y="220"/>
                  </a:lnTo>
                  <a:lnTo>
                    <a:pt x="1597" y="220"/>
                  </a:lnTo>
                  <a:lnTo>
                    <a:pt x="1593" y="217"/>
                  </a:lnTo>
                  <a:lnTo>
                    <a:pt x="1597" y="217"/>
                  </a:lnTo>
                  <a:lnTo>
                    <a:pt x="1604" y="213"/>
                  </a:lnTo>
                  <a:lnTo>
                    <a:pt x="1614" y="217"/>
                  </a:lnTo>
                  <a:lnTo>
                    <a:pt x="1621" y="217"/>
                  </a:lnTo>
                  <a:lnTo>
                    <a:pt x="1635" y="217"/>
                  </a:lnTo>
                  <a:lnTo>
                    <a:pt x="1659" y="213"/>
                  </a:lnTo>
                  <a:lnTo>
                    <a:pt x="1662" y="213"/>
                  </a:lnTo>
                  <a:lnTo>
                    <a:pt x="1676" y="213"/>
                  </a:lnTo>
                  <a:lnTo>
                    <a:pt x="1686" y="213"/>
                  </a:lnTo>
                  <a:lnTo>
                    <a:pt x="1690" y="213"/>
                  </a:lnTo>
                  <a:lnTo>
                    <a:pt x="1700" y="213"/>
                  </a:lnTo>
                  <a:lnTo>
                    <a:pt x="1696" y="213"/>
                  </a:lnTo>
                  <a:lnTo>
                    <a:pt x="1683" y="220"/>
                  </a:lnTo>
                  <a:lnTo>
                    <a:pt x="1679" y="217"/>
                  </a:lnTo>
                  <a:lnTo>
                    <a:pt x="1676" y="217"/>
                  </a:lnTo>
                  <a:lnTo>
                    <a:pt x="1672" y="217"/>
                  </a:lnTo>
                  <a:lnTo>
                    <a:pt x="1669" y="223"/>
                  </a:lnTo>
                  <a:lnTo>
                    <a:pt x="1672" y="226"/>
                  </a:lnTo>
                  <a:lnTo>
                    <a:pt x="1669" y="226"/>
                  </a:lnTo>
                  <a:lnTo>
                    <a:pt x="1669" y="230"/>
                  </a:lnTo>
                  <a:lnTo>
                    <a:pt x="1672" y="233"/>
                  </a:lnTo>
                  <a:lnTo>
                    <a:pt x="1679" y="230"/>
                  </a:lnTo>
                  <a:lnTo>
                    <a:pt x="1679" y="226"/>
                  </a:lnTo>
                  <a:lnTo>
                    <a:pt x="1690" y="220"/>
                  </a:lnTo>
                  <a:lnTo>
                    <a:pt x="1703" y="217"/>
                  </a:lnTo>
                  <a:lnTo>
                    <a:pt x="1703" y="220"/>
                  </a:lnTo>
                  <a:lnTo>
                    <a:pt x="1703" y="230"/>
                  </a:lnTo>
                  <a:lnTo>
                    <a:pt x="1703" y="233"/>
                  </a:lnTo>
                  <a:lnTo>
                    <a:pt x="1700" y="226"/>
                  </a:lnTo>
                  <a:lnTo>
                    <a:pt x="1696" y="223"/>
                  </a:lnTo>
                  <a:lnTo>
                    <a:pt x="1696" y="220"/>
                  </a:lnTo>
                  <a:lnTo>
                    <a:pt x="1693" y="223"/>
                  </a:lnTo>
                  <a:lnTo>
                    <a:pt x="1690" y="220"/>
                  </a:lnTo>
                  <a:lnTo>
                    <a:pt x="1693" y="226"/>
                  </a:lnTo>
                  <a:lnTo>
                    <a:pt x="1696" y="230"/>
                  </a:lnTo>
                  <a:lnTo>
                    <a:pt x="1696" y="236"/>
                  </a:lnTo>
                  <a:lnTo>
                    <a:pt x="1696" y="239"/>
                  </a:lnTo>
                  <a:lnTo>
                    <a:pt x="1693" y="239"/>
                  </a:lnTo>
                  <a:lnTo>
                    <a:pt x="1690" y="242"/>
                  </a:lnTo>
                  <a:lnTo>
                    <a:pt x="1693" y="246"/>
                  </a:lnTo>
                  <a:lnTo>
                    <a:pt x="1693" y="246"/>
                  </a:lnTo>
                  <a:lnTo>
                    <a:pt x="1696" y="249"/>
                  </a:lnTo>
                  <a:lnTo>
                    <a:pt x="1700" y="249"/>
                  </a:lnTo>
                  <a:lnTo>
                    <a:pt x="1703" y="246"/>
                  </a:lnTo>
                  <a:lnTo>
                    <a:pt x="1703" y="239"/>
                  </a:lnTo>
                  <a:lnTo>
                    <a:pt x="1707" y="236"/>
                  </a:lnTo>
                  <a:lnTo>
                    <a:pt x="1707" y="233"/>
                  </a:lnTo>
                  <a:lnTo>
                    <a:pt x="1707" y="226"/>
                  </a:lnTo>
                  <a:lnTo>
                    <a:pt x="1707" y="210"/>
                  </a:lnTo>
                  <a:lnTo>
                    <a:pt x="1714" y="207"/>
                  </a:lnTo>
                  <a:lnTo>
                    <a:pt x="1724" y="204"/>
                  </a:lnTo>
                  <a:lnTo>
                    <a:pt x="1734" y="204"/>
                  </a:lnTo>
                  <a:lnTo>
                    <a:pt x="1745" y="204"/>
                  </a:lnTo>
                  <a:lnTo>
                    <a:pt x="1758" y="207"/>
                  </a:lnTo>
                  <a:lnTo>
                    <a:pt x="1762" y="213"/>
                  </a:lnTo>
                  <a:lnTo>
                    <a:pt x="1762" y="217"/>
                  </a:lnTo>
                  <a:lnTo>
                    <a:pt x="1758" y="220"/>
                  </a:lnTo>
                  <a:lnTo>
                    <a:pt x="1751" y="217"/>
                  </a:lnTo>
                  <a:lnTo>
                    <a:pt x="1751" y="217"/>
                  </a:lnTo>
                  <a:lnTo>
                    <a:pt x="1751" y="220"/>
                  </a:lnTo>
                  <a:lnTo>
                    <a:pt x="1751" y="223"/>
                  </a:lnTo>
                  <a:lnTo>
                    <a:pt x="1755" y="226"/>
                  </a:lnTo>
                  <a:lnTo>
                    <a:pt x="1751" y="230"/>
                  </a:lnTo>
                  <a:lnTo>
                    <a:pt x="1751" y="230"/>
                  </a:lnTo>
                  <a:lnTo>
                    <a:pt x="1758" y="226"/>
                  </a:lnTo>
                  <a:lnTo>
                    <a:pt x="1765" y="226"/>
                  </a:lnTo>
                  <a:lnTo>
                    <a:pt x="1769" y="223"/>
                  </a:lnTo>
                  <a:lnTo>
                    <a:pt x="1769" y="230"/>
                  </a:lnTo>
                  <a:lnTo>
                    <a:pt x="1772" y="233"/>
                  </a:lnTo>
                  <a:lnTo>
                    <a:pt x="1772" y="236"/>
                  </a:lnTo>
                  <a:lnTo>
                    <a:pt x="1776" y="239"/>
                  </a:lnTo>
                  <a:lnTo>
                    <a:pt x="1779" y="236"/>
                  </a:lnTo>
                  <a:lnTo>
                    <a:pt x="1776" y="233"/>
                  </a:lnTo>
                  <a:lnTo>
                    <a:pt x="1782" y="230"/>
                  </a:lnTo>
                  <a:lnTo>
                    <a:pt x="1786" y="230"/>
                  </a:lnTo>
                  <a:lnTo>
                    <a:pt x="1789" y="236"/>
                  </a:lnTo>
                  <a:lnTo>
                    <a:pt x="1786" y="236"/>
                  </a:lnTo>
                  <a:lnTo>
                    <a:pt x="1786" y="242"/>
                  </a:lnTo>
                  <a:lnTo>
                    <a:pt x="1786" y="242"/>
                  </a:lnTo>
                  <a:lnTo>
                    <a:pt x="1789" y="242"/>
                  </a:lnTo>
                  <a:lnTo>
                    <a:pt x="1789" y="239"/>
                  </a:lnTo>
                  <a:lnTo>
                    <a:pt x="1793" y="236"/>
                  </a:lnTo>
                  <a:lnTo>
                    <a:pt x="1793" y="239"/>
                  </a:lnTo>
                  <a:lnTo>
                    <a:pt x="1793" y="236"/>
                  </a:lnTo>
                  <a:lnTo>
                    <a:pt x="1796" y="230"/>
                  </a:lnTo>
                  <a:lnTo>
                    <a:pt x="1800" y="230"/>
                  </a:lnTo>
                  <a:lnTo>
                    <a:pt x="1803" y="230"/>
                  </a:lnTo>
                  <a:lnTo>
                    <a:pt x="1810" y="236"/>
                  </a:lnTo>
                  <a:lnTo>
                    <a:pt x="1820" y="236"/>
                  </a:lnTo>
                  <a:lnTo>
                    <a:pt x="1827" y="242"/>
                  </a:lnTo>
                  <a:lnTo>
                    <a:pt x="1827" y="246"/>
                  </a:lnTo>
                  <a:lnTo>
                    <a:pt x="1820" y="249"/>
                  </a:lnTo>
                  <a:lnTo>
                    <a:pt x="1817" y="252"/>
                  </a:lnTo>
                  <a:lnTo>
                    <a:pt x="1820" y="249"/>
                  </a:lnTo>
                  <a:lnTo>
                    <a:pt x="1831" y="249"/>
                  </a:lnTo>
                  <a:lnTo>
                    <a:pt x="1834" y="249"/>
                  </a:lnTo>
                  <a:lnTo>
                    <a:pt x="1841" y="249"/>
                  </a:lnTo>
                  <a:lnTo>
                    <a:pt x="1844" y="246"/>
                  </a:lnTo>
                  <a:lnTo>
                    <a:pt x="1851" y="242"/>
                  </a:lnTo>
                  <a:lnTo>
                    <a:pt x="1858" y="236"/>
                  </a:lnTo>
                  <a:lnTo>
                    <a:pt x="1862" y="236"/>
                  </a:lnTo>
                  <a:lnTo>
                    <a:pt x="1868" y="230"/>
                  </a:lnTo>
                  <a:lnTo>
                    <a:pt x="1872" y="230"/>
                  </a:lnTo>
                  <a:lnTo>
                    <a:pt x="1889" y="223"/>
                  </a:lnTo>
                  <a:lnTo>
                    <a:pt x="1896" y="220"/>
                  </a:lnTo>
                  <a:lnTo>
                    <a:pt x="1899" y="223"/>
                  </a:lnTo>
                  <a:lnTo>
                    <a:pt x="1899" y="220"/>
                  </a:lnTo>
                  <a:lnTo>
                    <a:pt x="1906" y="217"/>
                  </a:lnTo>
                  <a:lnTo>
                    <a:pt x="1913" y="217"/>
                  </a:lnTo>
                  <a:lnTo>
                    <a:pt x="1923" y="217"/>
                  </a:lnTo>
                  <a:lnTo>
                    <a:pt x="1941" y="220"/>
                  </a:lnTo>
                  <a:lnTo>
                    <a:pt x="1948" y="230"/>
                  </a:lnTo>
                  <a:lnTo>
                    <a:pt x="1958" y="233"/>
                  </a:lnTo>
                  <a:lnTo>
                    <a:pt x="1965" y="239"/>
                  </a:lnTo>
                  <a:lnTo>
                    <a:pt x="1968" y="246"/>
                  </a:lnTo>
                  <a:lnTo>
                    <a:pt x="1968" y="249"/>
                  </a:lnTo>
                  <a:lnTo>
                    <a:pt x="1972" y="249"/>
                  </a:lnTo>
                  <a:lnTo>
                    <a:pt x="1968" y="255"/>
                  </a:lnTo>
                  <a:lnTo>
                    <a:pt x="1975" y="262"/>
                  </a:lnTo>
                  <a:lnTo>
                    <a:pt x="1975" y="262"/>
                  </a:lnTo>
                  <a:lnTo>
                    <a:pt x="1972" y="268"/>
                  </a:lnTo>
                  <a:lnTo>
                    <a:pt x="1975" y="265"/>
                  </a:lnTo>
                  <a:lnTo>
                    <a:pt x="1982" y="262"/>
                  </a:lnTo>
                  <a:lnTo>
                    <a:pt x="1985" y="262"/>
                  </a:lnTo>
                  <a:lnTo>
                    <a:pt x="1989" y="265"/>
                  </a:lnTo>
                  <a:lnTo>
                    <a:pt x="1989" y="262"/>
                  </a:lnTo>
                  <a:lnTo>
                    <a:pt x="1992" y="262"/>
                  </a:lnTo>
                  <a:lnTo>
                    <a:pt x="1999" y="262"/>
                  </a:lnTo>
                  <a:lnTo>
                    <a:pt x="1999" y="265"/>
                  </a:lnTo>
                  <a:lnTo>
                    <a:pt x="1999" y="265"/>
                  </a:lnTo>
                  <a:lnTo>
                    <a:pt x="1999" y="259"/>
                  </a:lnTo>
                  <a:lnTo>
                    <a:pt x="2003" y="259"/>
                  </a:lnTo>
                  <a:lnTo>
                    <a:pt x="2006" y="262"/>
                  </a:lnTo>
                  <a:lnTo>
                    <a:pt x="2013" y="268"/>
                  </a:lnTo>
                  <a:lnTo>
                    <a:pt x="2013" y="275"/>
                  </a:lnTo>
                  <a:lnTo>
                    <a:pt x="2016" y="275"/>
                  </a:lnTo>
                  <a:lnTo>
                    <a:pt x="2023" y="281"/>
                  </a:lnTo>
                  <a:lnTo>
                    <a:pt x="2023" y="278"/>
                  </a:lnTo>
                  <a:lnTo>
                    <a:pt x="2020" y="271"/>
                  </a:lnTo>
                  <a:lnTo>
                    <a:pt x="2016" y="271"/>
                  </a:lnTo>
                  <a:lnTo>
                    <a:pt x="2016" y="268"/>
                  </a:lnTo>
                  <a:lnTo>
                    <a:pt x="2020" y="271"/>
                  </a:lnTo>
                  <a:lnTo>
                    <a:pt x="2023" y="268"/>
                  </a:lnTo>
                  <a:lnTo>
                    <a:pt x="2027" y="271"/>
                  </a:lnTo>
                  <a:lnTo>
                    <a:pt x="2034" y="278"/>
                  </a:lnTo>
                  <a:lnTo>
                    <a:pt x="2030" y="275"/>
                  </a:lnTo>
                  <a:lnTo>
                    <a:pt x="2023" y="265"/>
                  </a:lnTo>
                  <a:lnTo>
                    <a:pt x="2023" y="259"/>
                  </a:lnTo>
                  <a:lnTo>
                    <a:pt x="2023" y="252"/>
                  </a:lnTo>
                  <a:lnTo>
                    <a:pt x="2030" y="246"/>
                  </a:lnTo>
                  <a:lnTo>
                    <a:pt x="2037" y="246"/>
                  </a:lnTo>
                  <a:lnTo>
                    <a:pt x="2040" y="246"/>
                  </a:lnTo>
                  <a:lnTo>
                    <a:pt x="2047" y="242"/>
                  </a:lnTo>
                  <a:lnTo>
                    <a:pt x="2047" y="239"/>
                  </a:lnTo>
                  <a:lnTo>
                    <a:pt x="2047" y="239"/>
                  </a:lnTo>
                  <a:lnTo>
                    <a:pt x="2051" y="239"/>
                  </a:lnTo>
                  <a:lnTo>
                    <a:pt x="2054" y="242"/>
                  </a:lnTo>
                  <a:lnTo>
                    <a:pt x="2058" y="242"/>
                  </a:lnTo>
                  <a:lnTo>
                    <a:pt x="2065" y="242"/>
                  </a:lnTo>
                  <a:lnTo>
                    <a:pt x="2068" y="239"/>
                  </a:lnTo>
                  <a:lnTo>
                    <a:pt x="2071" y="239"/>
                  </a:lnTo>
                  <a:lnTo>
                    <a:pt x="2078" y="236"/>
                  </a:lnTo>
                  <a:lnTo>
                    <a:pt x="2085" y="236"/>
                  </a:lnTo>
                  <a:lnTo>
                    <a:pt x="2089" y="236"/>
                  </a:lnTo>
                  <a:lnTo>
                    <a:pt x="2092" y="236"/>
                  </a:lnTo>
                  <a:lnTo>
                    <a:pt x="2092" y="236"/>
                  </a:lnTo>
                  <a:lnTo>
                    <a:pt x="2095" y="239"/>
                  </a:lnTo>
                  <a:lnTo>
                    <a:pt x="2095" y="236"/>
                  </a:lnTo>
                  <a:lnTo>
                    <a:pt x="2102" y="230"/>
                  </a:lnTo>
                  <a:lnTo>
                    <a:pt x="2099" y="226"/>
                  </a:lnTo>
                  <a:lnTo>
                    <a:pt x="2099" y="223"/>
                  </a:lnTo>
                  <a:lnTo>
                    <a:pt x="2099" y="220"/>
                  </a:lnTo>
                  <a:lnTo>
                    <a:pt x="2102" y="217"/>
                  </a:lnTo>
                  <a:lnTo>
                    <a:pt x="2109" y="220"/>
                  </a:lnTo>
                  <a:lnTo>
                    <a:pt x="2109" y="223"/>
                  </a:lnTo>
                  <a:lnTo>
                    <a:pt x="2113" y="226"/>
                  </a:lnTo>
                  <a:lnTo>
                    <a:pt x="2116" y="226"/>
                  </a:lnTo>
                  <a:lnTo>
                    <a:pt x="2120" y="230"/>
                  </a:lnTo>
                  <a:lnTo>
                    <a:pt x="2120" y="233"/>
                  </a:lnTo>
                  <a:lnTo>
                    <a:pt x="2126" y="236"/>
                  </a:lnTo>
                  <a:lnTo>
                    <a:pt x="2126" y="239"/>
                  </a:lnTo>
                  <a:lnTo>
                    <a:pt x="2133" y="239"/>
                  </a:lnTo>
                  <a:lnTo>
                    <a:pt x="2144" y="239"/>
                  </a:lnTo>
                  <a:lnTo>
                    <a:pt x="2144" y="239"/>
                  </a:lnTo>
                  <a:lnTo>
                    <a:pt x="2147" y="239"/>
                  </a:lnTo>
                  <a:lnTo>
                    <a:pt x="2154" y="246"/>
                  </a:lnTo>
                  <a:lnTo>
                    <a:pt x="2154" y="249"/>
                  </a:lnTo>
                  <a:lnTo>
                    <a:pt x="2157" y="252"/>
                  </a:lnTo>
                  <a:lnTo>
                    <a:pt x="2164" y="252"/>
                  </a:lnTo>
                  <a:lnTo>
                    <a:pt x="2164" y="252"/>
                  </a:lnTo>
                  <a:lnTo>
                    <a:pt x="2171" y="252"/>
                  </a:lnTo>
                  <a:lnTo>
                    <a:pt x="2171" y="249"/>
                  </a:lnTo>
                  <a:lnTo>
                    <a:pt x="2175" y="246"/>
                  </a:lnTo>
                  <a:lnTo>
                    <a:pt x="2178" y="246"/>
                  </a:lnTo>
                  <a:lnTo>
                    <a:pt x="2178" y="246"/>
                  </a:lnTo>
                  <a:lnTo>
                    <a:pt x="2175" y="242"/>
                  </a:lnTo>
                  <a:lnTo>
                    <a:pt x="2178" y="239"/>
                  </a:lnTo>
                  <a:lnTo>
                    <a:pt x="2178" y="239"/>
                  </a:lnTo>
                  <a:lnTo>
                    <a:pt x="2178" y="236"/>
                  </a:lnTo>
                  <a:lnTo>
                    <a:pt x="2175" y="233"/>
                  </a:lnTo>
                  <a:lnTo>
                    <a:pt x="2168" y="230"/>
                  </a:lnTo>
                  <a:lnTo>
                    <a:pt x="2168" y="226"/>
                  </a:lnTo>
                  <a:lnTo>
                    <a:pt x="2161" y="220"/>
                  </a:lnTo>
                  <a:lnTo>
                    <a:pt x="2157" y="220"/>
                  </a:lnTo>
                  <a:lnTo>
                    <a:pt x="2154" y="217"/>
                  </a:lnTo>
                  <a:lnTo>
                    <a:pt x="2147" y="213"/>
                  </a:lnTo>
                  <a:lnTo>
                    <a:pt x="2144" y="217"/>
                  </a:lnTo>
                  <a:lnTo>
                    <a:pt x="2144" y="217"/>
                  </a:lnTo>
                  <a:lnTo>
                    <a:pt x="2144" y="213"/>
                  </a:lnTo>
                  <a:lnTo>
                    <a:pt x="2144" y="210"/>
                  </a:lnTo>
                  <a:lnTo>
                    <a:pt x="2140" y="204"/>
                  </a:lnTo>
                  <a:lnTo>
                    <a:pt x="2140" y="200"/>
                  </a:lnTo>
                  <a:lnTo>
                    <a:pt x="2137" y="200"/>
                  </a:lnTo>
                  <a:lnTo>
                    <a:pt x="2133" y="194"/>
                  </a:lnTo>
                  <a:lnTo>
                    <a:pt x="2130" y="191"/>
                  </a:lnTo>
                  <a:lnTo>
                    <a:pt x="2130" y="191"/>
                  </a:lnTo>
                  <a:lnTo>
                    <a:pt x="2140" y="191"/>
                  </a:lnTo>
                  <a:lnTo>
                    <a:pt x="2140" y="191"/>
                  </a:lnTo>
                  <a:lnTo>
                    <a:pt x="2151" y="191"/>
                  </a:lnTo>
                  <a:lnTo>
                    <a:pt x="2161" y="191"/>
                  </a:lnTo>
                  <a:lnTo>
                    <a:pt x="2161" y="188"/>
                  </a:lnTo>
                  <a:lnTo>
                    <a:pt x="2164" y="188"/>
                  </a:lnTo>
                  <a:lnTo>
                    <a:pt x="2171" y="188"/>
                  </a:lnTo>
                  <a:lnTo>
                    <a:pt x="2175" y="188"/>
                  </a:lnTo>
                  <a:lnTo>
                    <a:pt x="2178" y="188"/>
                  </a:lnTo>
                  <a:lnTo>
                    <a:pt x="2178" y="184"/>
                  </a:lnTo>
                  <a:lnTo>
                    <a:pt x="2181" y="184"/>
                  </a:lnTo>
                  <a:lnTo>
                    <a:pt x="2185" y="188"/>
                  </a:lnTo>
                  <a:lnTo>
                    <a:pt x="2185" y="188"/>
                  </a:lnTo>
                  <a:lnTo>
                    <a:pt x="2188" y="181"/>
                  </a:lnTo>
                  <a:lnTo>
                    <a:pt x="2192" y="184"/>
                  </a:lnTo>
                  <a:lnTo>
                    <a:pt x="2192" y="181"/>
                  </a:lnTo>
                  <a:lnTo>
                    <a:pt x="2206" y="178"/>
                  </a:lnTo>
                  <a:lnTo>
                    <a:pt x="2209" y="181"/>
                  </a:lnTo>
                  <a:lnTo>
                    <a:pt x="2209" y="178"/>
                  </a:lnTo>
                  <a:lnTo>
                    <a:pt x="2212" y="175"/>
                  </a:lnTo>
                  <a:lnTo>
                    <a:pt x="2212" y="175"/>
                  </a:lnTo>
                  <a:lnTo>
                    <a:pt x="2219" y="175"/>
                  </a:lnTo>
                  <a:lnTo>
                    <a:pt x="2223" y="175"/>
                  </a:lnTo>
                  <a:lnTo>
                    <a:pt x="2226" y="178"/>
                  </a:lnTo>
                  <a:lnTo>
                    <a:pt x="2233" y="178"/>
                  </a:lnTo>
                  <a:lnTo>
                    <a:pt x="2237" y="175"/>
                  </a:lnTo>
                  <a:lnTo>
                    <a:pt x="2237" y="178"/>
                  </a:lnTo>
                  <a:lnTo>
                    <a:pt x="2240" y="178"/>
                  </a:lnTo>
                  <a:lnTo>
                    <a:pt x="2243" y="178"/>
                  </a:lnTo>
                  <a:lnTo>
                    <a:pt x="2250" y="175"/>
                  </a:lnTo>
                  <a:lnTo>
                    <a:pt x="2261" y="178"/>
                  </a:lnTo>
                  <a:lnTo>
                    <a:pt x="2264" y="181"/>
                  </a:lnTo>
                  <a:lnTo>
                    <a:pt x="2267" y="181"/>
                  </a:lnTo>
                  <a:lnTo>
                    <a:pt x="2267" y="178"/>
                  </a:lnTo>
                  <a:lnTo>
                    <a:pt x="2271" y="178"/>
                  </a:lnTo>
                  <a:lnTo>
                    <a:pt x="2274" y="181"/>
                  </a:lnTo>
                  <a:lnTo>
                    <a:pt x="2271" y="181"/>
                  </a:lnTo>
                  <a:lnTo>
                    <a:pt x="2274" y="184"/>
                  </a:lnTo>
                  <a:lnTo>
                    <a:pt x="2278" y="181"/>
                  </a:lnTo>
                  <a:lnTo>
                    <a:pt x="2292" y="184"/>
                  </a:lnTo>
                  <a:lnTo>
                    <a:pt x="2305" y="191"/>
                  </a:lnTo>
                  <a:lnTo>
                    <a:pt x="2302" y="191"/>
                  </a:lnTo>
                  <a:lnTo>
                    <a:pt x="2298" y="191"/>
                  </a:lnTo>
                  <a:lnTo>
                    <a:pt x="2292" y="188"/>
                  </a:lnTo>
                  <a:lnTo>
                    <a:pt x="2292" y="188"/>
                  </a:lnTo>
                  <a:lnTo>
                    <a:pt x="2305" y="191"/>
                  </a:lnTo>
                  <a:lnTo>
                    <a:pt x="2309" y="194"/>
                  </a:lnTo>
                  <a:lnTo>
                    <a:pt x="2312" y="191"/>
                  </a:lnTo>
                  <a:lnTo>
                    <a:pt x="2316" y="191"/>
                  </a:lnTo>
                  <a:lnTo>
                    <a:pt x="2323" y="191"/>
                  </a:lnTo>
                  <a:lnTo>
                    <a:pt x="2319" y="188"/>
                  </a:lnTo>
                  <a:lnTo>
                    <a:pt x="2323" y="188"/>
                  </a:lnTo>
                  <a:lnTo>
                    <a:pt x="2326" y="188"/>
                  </a:lnTo>
                  <a:lnTo>
                    <a:pt x="2329" y="191"/>
                  </a:lnTo>
                  <a:lnTo>
                    <a:pt x="2333" y="191"/>
                  </a:lnTo>
                  <a:lnTo>
                    <a:pt x="2333" y="188"/>
                  </a:lnTo>
                  <a:lnTo>
                    <a:pt x="2333" y="188"/>
                  </a:lnTo>
                  <a:lnTo>
                    <a:pt x="2340" y="188"/>
                  </a:lnTo>
                  <a:lnTo>
                    <a:pt x="2340" y="191"/>
                  </a:lnTo>
                  <a:lnTo>
                    <a:pt x="2347" y="194"/>
                  </a:lnTo>
                  <a:lnTo>
                    <a:pt x="2350" y="191"/>
                  </a:lnTo>
                  <a:lnTo>
                    <a:pt x="2367" y="194"/>
                  </a:lnTo>
                  <a:lnTo>
                    <a:pt x="2364" y="191"/>
                  </a:lnTo>
                  <a:lnTo>
                    <a:pt x="2371" y="191"/>
                  </a:lnTo>
                  <a:lnTo>
                    <a:pt x="2371" y="194"/>
                  </a:lnTo>
                  <a:lnTo>
                    <a:pt x="2374" y="194"/>
                  </a:lnTo>
                  <a:lnTo>
                    <a:pt x="2374" y="191"/>
                  </a:lnTo>
                  <a:lnTo>
                    <a:pt x="2374" y="191"/>
                  </a:lnTo>
                  <a:lnTo>
                    <a:pt x="2381" y="194"/>
                  </a:lnTo>
                  <a:lnTo>
                    <a:pt x="2381" y="194"/>
                  </a:lnTo>
                  <a:lnTo>
                    <a:pt x="2384" y="197"/>
                  </a:lnTo>
                  <a:lnTo>
                    <a:pt x="2388" y="197"/>
                  </a:lnTo>
                  <a:lnTo>
                    <a:pt x="2388" y="194"/>
                  </a:lnTo>
                  <a:lnTo>
                    <a:pt x="2388" y="194"/>
                  </a:lnTo>
                  <a:lnTo>
                    <a:pt x="2395" y="194"/>
                  </a:lnTo>
                  <a:lnTo>
                    <a:pt x="2395" y="194"/>
                  </a:lnTo>
                  <a:lnTo>
                    <a:pt x="2395" y="197"/>
                  </a:lnTo>
                  <a:lnTo>
                    <a:pt x="2398" y="200"/>
                  </a:lnTo>
                  <a:lnTo>
                    <a:pt x="2405" y="204"/>
                  </a:lnTo>
                  <a:lnTo>
                    <a:pt x="2409" y="200"/>
                  </a:lnTo>
                  <a:lnTo>
                    <a:pt x="2402" y="197"/>
                  </a:lnTo>
                  <a:lnTo>
                    <a:pt x="2398" y="197"/>
                  </a:lnTo>
                  <a:lnTo>
                    <a:pt x="2398" y="194"/>
                  </a:lnTo>
                  <a:lnTo>
                    <a:pt x="2402" y="194"/>
                  </a:lnTo>
                  <a:lnTo>
                    <a:pt x="2409" y="194"/>
                  </a:lnTo>
                  <a:lnTo>
                    <a:pt x="2415" y="197"/>
                  </a:lnTo>
                  <a:lnTo>
                    <a:pt x="2415" y="200"/>
                  </a:lnTo>
                  <a:lnTo>
                    <a:pt x="2419" y="204"/>
                  </a:lnTo>
                  <a:lnTo>
                    <a:pt x="2419" y="200"/>
                  </a:lnTo>
                  <a:lnTo>
                    <a:pt x="2419" y="197"/>
                  </a:lnTo>
                  <a:lnTo>
                    <a:pt x="2422" y="200"/>
                  </a:lnTo>
                  <a:lnTo>
                    <a:pt x="2422" y="200"/>
                  </a:lnTo>
                  <a:lnTo>
                    <a:pt x="2422" y="204"/>
                  </a:lnTo>
                  <a:lnTo>
                    <a:pt x="2426" y="207"/>
                  </a:lnTo>
                  <a:lnTo>
                    <a:pt x="2433" y="217"/>
                  </a:lnTo>
                  <a:lnTo>
                    <a:pt x="2439" y="217"/>
                  </a:lnTo>
                  <a:lnTo>
                    <a:pt x="2439" y="220"/>
                  </a:lnTo>
                  <a:lnTo>
                    <a:pt x="2443" y="223"/>
                  </a:lnTo>
                  <a:lnTo>
                    <a:pt x="2446" y="226"/>
                  </a:lnTo>
                  <a:lnTo>
                    <a:pt x="2446" y="230"/>
                  </a:lnTo>
                  <a:lnTo>
                    <a:pt x="2446" y="233"/>
                  </a:lnTo>
                  <a:lnTo>
                    <a:pt x="2450" y="233"/>
                  </a:lnTo>
                  <a:lnTo>
                    <a:pt x="2453" y="230"/>
                  </a:lnTo>
                  <a:lnTo>
                    <a:pt x="2457" y="233"/>
                  </a:lnTo>
                  <a:lnTo>
                    <a:pt x="2460" y="236"/>
                  </a:lnTo>
                  <a:lnTo>
                    <a:pt x="2464" y="236"/>
                  </a:lnTo>
                  <a:lnTo>
                    <a:pt x="2467" y="236"/>
                  </a:lnTo>
                  <a:lnTo>
                    <a:pt x="2464" y="236"/>
                  </a:lnTo>
                  <a:lnTo>
                    <a:pt x="2464" y="233"/>
                  </a:lnTo>
                  <a:lnTo>
                    <a:pt x="2464" y="230"/>
                  </a:lnTo>
                  <a:lnTo>
                    <a:pt x="2467" y="230"/>
                  </a:lnTo>
                  <a:lnTo>
                    <a:pt x="2470" y="233"/>
                  </a:lnTo>
                  <a:lnTo>
                    <a:pt x="2474" y="236"/>
                  </a:lnTo>
                  <a:lnTo>
                    <a:pt x="2474" y="236"/>
                  </a:lnTo>
                  <a:lnTo>
                    <a:pt x="2470" y="230"/>
                  </a:lnTo>
                  <a:lnTo>
                    <a:pt x="2470" y="226"/>
                  </a:lnTo>
                  <a:lnTo>
                    <a:pt x="2467" y="223"/>
                  </a:lnTo>
                  <a:lnTo>
                    <a:pt x="2464" y="226"/>
                  </a:lnTo>
                  <a:lnTo>
                    <a:pt x="2457" y="226"/>
                  </a:lnTo>
                  <a:lnTo>
                    <a:pt x="2457" y="226"/>
                  </a:lnTo>
                  <a:lnTo>
                    <a:pt x="2460" y="223"/>
                  </a:lnTo>
                  <a:lnTo>
                    <a:pt x="2457" y="220"/>
                  </a:lnTo>
                  <a:lnTo>
                    <a:pt x="2450" y="213"/>
                  </a:lnTo>
                  <a:lnTo>
                    <a:pt x="2446" y="210"/>
                  </a:lnTo>
                  <a:lnTo>
                    <a:pt x="2446" y="207"/>
                  </a:lnTo>
                  <a:lnTo>
                    <a:pt x="2443" y="207"/>
                  </a:lnTo>
                  <a:lnTo>
                    <a:pt x="2439" y="210"/>
                  </a:lnTo>
                  <a:lnTo>
                    <a:pt x="2436" y="210"/>
                  </a:lnTo>
                  <a:lnTo>
                    <a:pt x="2439" y="207"/>
                  </a:lnTo>
                  <a:lnTo>
                    <a:pt x="2443" y="204"/>
                  </a:lnTo>
                  <a:lnTo>
                    <a:pt x="2450" y="197"/>
                  </a:lnTo>
                  <a:lnTo>
                    <a:pt x="2450" y="194"/>
                  </a:lnTo>
                  <a:lnTo>
                    <a:pt x="2450" y="197"/>
                  </a:lnTo>
                  <a:lnTo>
                    <a:pt x="2453" y="204"/>
                  </a:lnTo>
                  <a:lnTo>
                    <a:pt x="2457" y="204"/>
                  </a:lnTo>
                  <a:lnTo>
                    <a:pt x="2460" y="204"/>
                  </a:lnTo>
                  <a:lnTo>
                    <a:pt x="2457" y="200"/>
                  </a:lnTo>
                  <a:lnTo>
                    <a:pt x="2453" y="197"/>
                  </a:lnTo>
                  <a:lnTo>
                    <a:pt x="2457" y="197"/>
                  </a:lnTo>
                  <a:lnTo>
                    <a:pt x="2460" y="194"/>
                  </a:lnTo>
                  <a:lnTo>
                    <a:pt x="2464" y="194"/>
                  </a:lnTo>
                  <a:lnTo>
                    <a:pt x="2457" y="194"/>
                  </a:lnTo>
                  <a:lnTo>
                    <a:pt x="2460" y="191"/>
                  </a:lnTo>
                  <a:lnTo>
                    <a:pt x="2460" y="191"/>
                  </a:lnTo>
                  <a:lnTo>
                    <a:pt x="2464" y="191"/>
                  </a:lnTo>
                  <a:lnTo>
                    <a:pt x="2467" y="184"/>
                  </a:lnTo>
                  <a:lnTo>
                    <a:pt x="2470" y="184"/>
                  </a:lnTo>
                  <a:lnTo>
                    <a:pt x="2474" y="188"/>
                  </a:lnTo>
                  <a:lnTo>
                    <a:pt x="2474" y="188"/>
                  </a:lnTo>
                  <a:lnTo>
                    <a:pt x="2477" y="188"/>
                  </a:lnTo>
                  <a:lnTo>
                    <a:pt x="2477" y="188"/>
                  </a:lnTo>
                  <a:lnTo>
                    <a:pt x="2481" y="191"/>
                  </a:lnTo>
                  <a:lnTo>
                    <a:pt x="2488" y="194"/>
                  </a:lnTo>
                  <a:lnTo>
                    <a:pt x="2491" y="191"/>
                  </a:lnTo>
                  <a:lnTo>
                    <a:pt x="2501" y="194"/>
                  </a:lnTo>
                  <a:lnTo>
                    <a:pt x="2501" y="197"/>
                  </a:lnTo>
                  <a:lnTo>
                    <a:pt x="2501" y="197"/>
                  </a:lnTo>
                  <a:lnTo>
                    <a:pt x="2505" y="197"/>
                  </a:lnTo>
                  <a:lnTo>
                    <a:pt x="2505" y="194"/>
                  </a:lnTo>
                  <a:lnTo>
                    <a:pt x="2508" y="194"/>
                  </a:lnTo>
                  <a:lnTo>
                    <a:pt x="2508" y="200"/>
                  </a:lnTo>
                  <a:lnTo>
                    <a:pt x="2512" y="197"/>
                  </a:lnTo>
                  <a:lnTo>
                    <a:pt x="2515" y="194"/>
                  </a:lnTo>
                  <a:lnTo>
                    <a:pt x="2519" y="194"/>
                  </a:lnTo>
                  <a:lnTo>
                    <a:pt x="2519" y="197"/>
                  </a:lnTo>
                  <a:lnTo>
                    <a:pt x="2519" y="200"/>
                  </a:lnTo>
                  <a:lnTo>
                    <a:pt x="2515" y="200"/>
                  </a:lnTo>
                  <a:lnTo>
                    <a:pt x="2519" y="210"/>
                  </a:lnTo>
                  <a:lnTo>
                    <a:pt x="2519" y="213"/>
                  </a:lnTo>
                  <a:lnTo>
                    <a:pt x="2519" y="217"/>
                  </a:lnTo>
                  <a:lnTo>
                    <a:pt x="2522" y="217"/>
                  </a:lnTo>
                  <a:lnTo>
                    <a:pt x="2525" y="220"/>
                  </a:lnTo>
                  <a:lnTo>
                    <a:pt x="2529" y="220"/>
                  </a:lnTo>
                  <a:lnTo>
                    <a:pt x="2529" y="223"/>
                  </a:lnTo>
                  <a:lnTo>
                    <a:pt x="2529" y="226"/>
                  </a:lnTo>
                  <a:lnTo>
                    <a:pt x="2522" y="226"/>
                  </a:lnTo>
                  <a:lnTo>
                    <a:pt x="2515" y="226"/>
                  </a:lnTo>
                  <a:lnTo>
                    <a:pt x="2525" y="230"/>
                  </a:lnTo>
                  <a:lnTo>
                    <a:pt x="2525" y="233"/>
                  </a:lnTo>
                  <a:lnTo>
                    <a:pt x="2525" y="236"/>
                  </a:lnTo>
                  <a:lnTo>
                    <a:pt x="2522" y="236"/>
                  </a:lnTo>
                  <a:lnTo>
                    <a:pt x="2519" y="242"/>
                  </a:lnTo>
                  <a:lnTo>
                    <a:pt x="2515" y="239"/>
                  </a:lnTo>
                  <a:lnTo>
                    <a:pt x="2512" y="242"/>
                  </a:lnTo>
                  <a:lnTo>
                    <a:pt x="2508" y="242"/>
                  </a:lnTo>
                  <a:lnTo>
                    <a:pt x="2501" y="246"/>
                  </a:lnTo>
                  <a:lnTo>
                    <a:pt x="2508" y="246"/>
                  </a:lnTo>
                  <a:lnTo>
                    <a:pt x="2512" y="246"/>
                  </a:lnTo>
                  <a:lnTo>
                    <a:pt x="2512" y="249"/>
                  </a:lnTo>
                  <a:lnTo>
                    <a:pt x="2515" y="246"/>
                  </a:lnTo>
                  <a:lnTo>
                    <a:pt x="2519" y="246"/>
                  </a:lnTo>
                  <a:lnTo>
                    <a:pt x="2519" y="249"/>
                  </a:lnTo>
                  <a:lnTo>
                    <a:pt x="2522" y="252"/>
                  </a:lnTo>
                  <a:lnTo>
                    <a:pt x="2519" y="255"/>
                  </a:lnTo>
                  <a:lnTo>
                    <a:pt x="2519" y="259"/>
                  </a:lnTo>
                  <a:lnTo>
                    <a:pt x="2522" y="255"/>
                  </a:lnTo>
                  <a:lnTo>
                    <a:pt x="2525" y="255"/>
                  </a:lnTo>
                  <a:lnTo>
                    <a:pt x="2532" y="259"/>
                  </a:lnTo>
                  <a:lnTo>
                    <a:pt x="2532" y="262"/>
                  </a:lnTo>
                  <a:lnTo>
                    <a:pt x="2536" y="265"/>
                  </a:lnTo>
                  <a:lnTo>
                    <a:pt x="2529" y="268"/>
                  </a:lnTo>
                  <a:lnTo>
                    <a:pt x="2532" y="268"/>
                  </a:lnTo>
                  <a:lnTo>
                    <a:pt x="2532" y="275"/>
                  </a:lnTo>
                  <a:lnTo>
                    <a:pt x="2529" y="275"/>
                  </a:lnTo>
                  <a:lnTo>
                    <a:pt x="2529" y="278"/>
                  </a:lnTo>
                  <a:lnTo>
                    <a:pt x="2529" y="281"/>
                  </a:lnTo>
                  <a:lnTo>
                    <a:pt x="2532" y="278"/>
                  </a:lnTo>
                  <a:lnTo>
                    <a:pt x="2532" y="278"/>
                  </a:lnTo>
                  <a:lnTo>
                    <a:pt x="2536" y="278"/>
                  </a:lnTo>
                  <a:lnTo>
                    <a:pt x="2536" y="284"/>
                  </a:lnTo>
                  <a:lnTo>
                    <a:pt x="2539" y="284"/>
                  </a:lnTo>
                  <a:lnTo>
                    <a:pt x="2543" y="284"/>
                  </a:lnTo>
                  <a:lnTo>
                    <a:pt x="2543" y="281"/>
                  </a:lnTo>
                  <a:lnTo>
                    <a:pt x="2543" y="281"/>
                  </a:lnTo>
                  <a:lnTo>
                    <a:pt x="2546" y="281"/>
                  </a:lnTo>
                  <a:lnTo>
                    <a:pt x="2550" y="281"/>
                  </a:lnTo>
                  <a:lnTo>
                    <a:pt x="2550" y="288"/>
                  </a:lnTo>
                  <a:lnTo>
                    <a:pt x="2550" y="288"/>
                  </a:lnTo>
                  <a:lnTo>
                    <a:pt x="2546" y="284"/>
                  </a:lnTo>
                  <a:lnTo>
                    <a:pt x="2543" y="288"/>
                  </a:lnTo>
                  <a:lnTo>
                    <a:pt x="2546" y="291"/>
                  </a:lnTo>
                  <a:lnTo>
                    <a:pt x="2550" y="291"/>
                  </a:lnTo>
                  <a:lnTo>
                    <a:pt x="2553" y="294"/>
                  </a:lnTo>
                  <a:lnTo>
                    <a:pt x="2553" y="297"/>
                  </a:lnTo>
                  <a:lnTo>
                    <a:pt x="2546" y="301"/>
                  </a:lnTo>
                  <a:lnTo>
                    <a:pt x="2543" y="294"/>
                  </a:lnTo>
                  <a:lnTo>
                    <a:pt x="2543" y="294"/>
                  </a:lnTo>
                  <a:lnTo>
                    <a:pt x="2543" y="301"/>
                  </a:lnTo>
                  <a:lnTo>
                    <a:pt x="2539" y="301"/>
                  </a:lnTo>
                  <a:lnTo>
                    <a:pt x="2539" y="301"/>
                  </a:lnTo>
                  <a:lnTo>
                    <a:pt x="2536" y="301"/>
                  </a:lnTo>
                  <a:lnTo>
                    <a:pt x="2536" y="301"/>
                  </a:lnTo>
                  <a:lnTo>
                    <a:pt x="2532" y="297"/>
                  </a:lnTo>
                  <a:lnTo>
                    <a:pt x="2522" y="297"/>
                  </a:lnTo>
                  <a:lnTo>
                    <a:pt x="2519" y="301"/>
                  </a:lnTo>
                  <a:lnTo>
                    <a:pt x="2515" y="301"/>
                  </a:lnTo>
                  <a:lnTo>
                    <a:pt x="2515" y="297"/>
                  </a:lnTo>
                  <a:lnTo>
                    <a:pt x="2515" y="294"/>
                  </a:lnTo>
                  <a:lnTo>
                    <a:pt x="2512" y="294"/>
                  </a:lnTo>
                  <a:lnTo>
                    <a:pt x="2512" y="301"/>
                  </a:lnTo>
                  <a:lnTo>
                    <a:pt x="2512" y="301"/>
                  </a:lnTo>
                  <a:lnTo>
                    <a:pt x="2512" y="301"/>
                  </a:lnTo>
                  <a:lnTo>
                    <a:pt x="2512" y="304"/>
                  </a:lnTo>
                  <a:lnTo>
                    <a:pt x="2508" y="307"/>
                  </a:lnTo>
                  <a:lnTo>
                    <a:pt x="2508" y="307"/>
                  </a:lnTo>
                  <a:lnTo>
                    <a:pt x="2508" y="304"/>
                  </a:lnTo>
                  <a:lnTo>
                    <a:pt x="2505" y="304"/>
                  </a:lnTo>
                  <a:lnTo>
                    <a:pt x="2498" y="304"/>
                  </a:lnTo>
                  <a:lnTo>
                    <a:pt x="2495" y="304"/>
                  </a:lnTo>
                  <a:lnTo>
                    <a:pt x="2498" y="304"/>
                  </a:lnTo>
                  <a:lnTo>
                    <a:pt x="2495" y="297"/>
                  </a:lnTo>
                  <a:lnTo>
                    <a:pt x="2495" y="297"/>
                  </a:lnTo>
                  <a:lnTo>
                    <a:pt x="2484" y="291"/>
                  </a:lnTo>
                  <a:lnTo>
                    <a:pt x="2484" y="291"/>
                  </a:lnTo>
                  <a:lnTo>
                    <a:pt x="2484" y="288"/>
                  </a:lnTo>
                  <a:lnTo>
                    <a:pt x="2477" y="288"/>
                  </a:lnTo>
                  <a:lnTo>
                    <a:pt x="2477" y="291"/>
                  </a:lnTo>
                  <a:lnTo>
                    <a:pt x="2470" y="291"/>
                  </a:lnTo>
                  <a:lnTo>
                    <a:pt x="2467" y="294"/>
                  </a:lnTo>
                  <a:lnTo>
                    <a:pt x="2464" y="294"/>
                  </a:lnTo>
                  <a:lnTo>
                    <a:pt x="2464" y="291"/>
                  </a:lnTo>
                  <a:lnTo>
                    <a:pt x="2460" y="288"/>
                  </a:lnTo>
                  <a:lnTo>
                    <a:pt x="2464" y="291"/>
                  </a:lnTo>
                  <a:lnTo>
                    <a:pt x="2464" y="297"/>
                  </a:lnTo>
                  <a:lnTo>
                    <a:pt x="2464" y="301"/>
                  </a:lnTo>
                  <a:lnTo>
                    <a:pt x="2464" y="304"/>
                  </a:lnTo>
                  <a:lnTo>
                    <a:pt x="2457" y="313"/>
                  </a:lnTo>
                  <a:lnTo>
                    <a:pt x="2453" y="313"/>
                  </a:lnTo>
                  <a:lnTo>
                    <a:pt x="2450" y="307"/>
                  </a:lnTo>
                  <a:lnTo>
                    <a:pt x="2446" y="307"/>
                  </a:lnTo>
                  <a:lnTo>
                    <a:pt x="2443" y="307"/>
                  </a:lnTo>
                  <a:lnTo>
                    <a:pt x="2433" y="301"/>
                  </a:lnTo>
                  <a:lnTo>
                    <a:pt x="2436" y="301"/>
                  </a:lnTo>
                  <a:lnTo>
                    <a:pt x="2433" y="291"/>
                  </a:lnTo>
                  <a:lnTo>
                    <a:pt x="2429" y="291"/>
                  </a:lnTo>
                  <a:lnTo>
                    <a:pt x="2429" y="288"/>
                  </a:lnTo>
                  <a:lnTo>
                    <a:pt x="2426" y="284"/>
                  </a:lnTo>
                  <a:lnTo>
                    <a:pt x="2426" y="288"/>
                  </a:lnTo>
                  <a:lnTo>
                    <a:pt x="2426" y="291"/>
                  </a:lnTo>
                  <a:lnTo>
                    <a:pt x="2426" y="294"/>
                  </a:lnTo>
                  <a:lnTo>
                    <a:pt x="2429" y="294"/>
                  </a:lnTo>
                  <a:lnTo>
                    <a:pt x="2426" y="297"/>
                  </a:lnTo>
                  <a:lnTo>
                    <a:pt x="2422" y="294"/>
                  </a:lnTo>
                  <a:lnTo>
                    <a:pt x="2415" y="291"/>
                  </a:lnTo>
                  <a:lnTo>
                    <a:pt x="2415" y="291"/>
                  </a:lnTo>
                  <a:lnTo>
                    <a:pt x="2419" y="294"/>
                  </a:lnTo>
                  <a:lnTo>
                    <a:pt x="2415" y="297"/>
                  </a:lnTo>
                  <a:lnTo>
                    <a:pt x="2415" y="297"/>
                  </a:lnTo>
                  <a:lnTo>
                    <a:pt x="2422" y="297"/>
                  </a:lnTo>
                  <a:lnTo>
                    <a:pt x="2426" y="301"/>
                  </a:lnTo>
                  <a:lnTo>
                    <a:pt x="2422" y="304"/>
                  </a:lnTo>
                  <a:lnTo>
                    <a:pt x="2415" y="304"/>
                  </a:lnTo>
                  <a:lnTo>
                    <a:pt x="2415" y="307"/>
                  </a:lnTo>
                  <a:lnTo>
                    <a:pt x="2419" y="307"/>
                  </a:lnTo>
                  <a:lnTo>
                    <a:pt x="2429" y="317"/>
                  </a:lnTo>
                  <a:lnTo>
                    <a:pt x="2436" y="320"/>
                  </a:lnTo>
                  <a:lnTo>
                    <a:pt x="2443" y="320"/>
                  </a:lnTo>
                  <a:lnTo>
                    <a:pt x="2446" y="320"/>
                  </a:lnTo>
                  <a:lnTo>
                    <a:pt x="2450" y="326"/>
                  </a:lnTo>
                  <a:lnTo>
                    <a:pt x="2446" y="326"/>
                  </a:lnTo>
                  <a:lnTo>
                    <a:pt x="2443" y="320"/>
                  </a:lnTo>
                  <a:lnTo>
                    <a:pt x="2443" y="320"/>
                  </a:lnTo>
                  <a:lnTo>
                    <a:pt x="2443" y="326"/>
                  </a:lnTo>
                  <a:lnTo>
                    <a:pt x="2450" y="330"/>
                  </a:lnTo>
                  <a:lnTo>
                    <a:pt x="2453" y="333"/>
                  </a:lnTo>
                  <a:lnTo>
                    <a:pt x="2457" y="336"/>
                  </a:lnTo>
                  <a:lnTo>
                    <a:pt x="2457" y="346"/>
                  </a:lnTo>
                  <a:lnTo>
                    <a:pt x="2453" y="355"/>
                  </a:lnTo>
                  <a:lnTo>
                    <a:pt x="2453" y="362"/>
                  </a:lnTo>
                  <a:lnTo>
                    <a:pt x="2453" y="365"/>
                  </a:lnTo>
                  <a:lnTo>
                    <a:pt x="2457" y="368"/>
                  </a:lnTo>
                  <a:lnTo>
                    <a:pt x="2450" y="375"/>
                  </a:lnTo>
                  <a:lnTo>
                    <a:pt x="2450" y="378"/>
                  </a:lnTo>
                  <a:lnTo>
                    <a:pt x="2446" y="381"/>
                  </a:lnTo>
                  <a:lnTo>
                    <a:pt x="2446" y="378"/>
                  </a:lnTo>
                  <a:lnTo>
                    <a:pt x="2446" y="375"/>
                  </a:lnTo>
                  <a:lnTo>
                    <a:pt x="2439" y="381"/>
                  </a:lnTo>
                  <a:lnTo>
                    <a:pt x="2436" y="378"/>
                  </a:lnTo>
                  <a:lnTo>
                    <a:pt x="2433" y="381"/>
                  </a:lnTo>
                  <a:lnTo>
                    <a:pt x="2429" y="381"/>
                  </a:lnTo>
                  <a:lnTo>
                    <a:pt x="2426" y="378"/>
                  </a:lnTo>
                  <a:lnTo>
                    <a:pt x="2422" y="378"/>
                  </a:lnTo>
                  <a:lnTo>
                    <a:pt x="2415" y="372"/>
                  </a:lnTo>
                  <a:lnTo>
                    <a:pt x="2412" y="372"/>
                  </a:lnTo>
                  <a:lnTo>
                    <a:pt x="2409" y="368"/>
                  </a:lnTo>
                  <a:lnTo>
                    <a:pt x="2405" y="368"/>
                  </a:lnTo>
                  <a:lnTo>
                    <a:pt x="2402" y="368"/>
                  </a:lnTo>
                  <a:lnTo>
                    <a:pt x="2398" y="372"/>
                  </a:lnTo>
                  <a:lnTo>
                    <a:pt x="2395" y="372"/>
                  </a:lnTo>
                  <a:lnTo>
                    <a:pt x="2398" y="375"/>
                  </a:lnTo>
                  <a:lnTo>
                    <a:pt x="2402" y="375"/>
                  </a:lnTo>
                  <a:lnTo>
                    <a:pt x="2405" y="372"/>
                  </a:lnTo>
                  <a:lnTo>
                    <a:pt x="2415" y="375"/>
                  </a:lnTo>
                  <a:lnTo>
                    <a:pt x="2419" y="378"/>
                  </a:lnTo>
                  <a:lnTo>
                    <a:pt x="2412" y="381"/>
                  </a:lnTo>
                  <a:lnTo>
                    <a:pt x="2409" y="378"/>
                  </a:lnTo>
                  <a:lnTo>
                    <a:pt x="2405" y="378"/>
                  </a:lnTo>
                  <a:lnTo>
                    <a:pt x="2405" y="381"/>
                  </a:lnTo>
                  <a:lnTo>
                    <a:pt x="2402" y="378"/>
                  </a:lnTo>
                  <a:lnTo>
                    <a:pt x="2398" y="378"/>
                  </a:lnTo>
                  <a:lnTo>
                    <a:pt x="2398" y="378"/>
                  </a:lnTo>
                  <a:lnTo>
                    <a:pt x="2402" y="385"/>
                  </a:lnTo>
                  <a:lnTo>
                    <a:pt x="2409" y="388"/>
                  </a:lnTo>
                  <a:lnTo>
                    <a:pt x="2405" y="391"/>
                  </a:lnTo>
                  <a:lnTo>
                    <a:pt x="2409" y="397"/>
                  </a:lnTo>
                  <a:lnTo>
                    <a:pt x="2412" y="397"/>
                  </a:lnTo>
                  <a:lnTo>
                    <a:pt x="2409" y="397"/>
                  </a:lnTo>
                  <a:lnTo>
                    <a:pt x="2409" y="391"/>
                  </a:lnTo>
                  <a:lnTo>
                    <a:pt x="2412" y="388"/>
                  </a:lnTo>
                  <a:lnTo>
                    <a:pt x="2415" y="388"/>
                  </a:lnTo>
                  <a:lnTo>
                    <a:pt x="2415" y="388"/>
                  </a:lnTo>
                  <a:lnTo>
                    <a:pt x="2422" y="381"/>
                  </a:lnTo>
                  <a:lnTo>
                    <a:pt x="2426" y="381"/>
                  </a:lnTo>
                  <a:lnTo>
                    <a:pt x="2429" y="385"/>
                  </a:lnTo>
                  <a:lnTo>
                    <a:pt x="2429" y="385"/>
                  </a:lnTo>
                  <a:lnTo>
                    <a:pt x="2433" y="391"/>
                  </a:lnTo>
                  <a:lnTo>
                    <a:pt x="2436" y="394"/>
                  </a:lnTo>
                  <a:lnTo>
                    <a:pt x="2443" y="397"/>
                  </a:lnTo>
                  <a:lnTo>
                    <a:pt x="2446" y="397"/>
                  </a:lnTo>
                  <a:lnTo>
                    <a:pt x="2450" y="394"/>
                  </a:lnTo>
                  <a:lnTo>
                    <a:pt x="2446" y="391"/>
                  </a:lnTo>
                  <a:lnTo>
                    <a:pt x="2450" y="391"/>
                  </a:lnTo>
                  <a:lnTo>
                    <a:pt x="2460" y="397"/>
                  </a:lnTo>
                  <a:lnTo>
                    <a:pt x="2460" y="401"/>
                  </a:lnTo>
                  <a:lnTo>
                    <a:pt x="2457" y="401"/>
                  </a:lnTo>
                  <a:lnTo>
                    <a:pt x="2457" y="404"/>
                  </a:lnTo>
                  <a:lnTo>
                    <a:pt x="2464" y="410"/>
                  </a:lnTo>
                  <a:lnTo>
                    <a:pt x="2467" y="410"/>
                  </a:lnTo>
                  <a:lnTo>
                    <a:pt x="2467" y="407"/>
                  </a:lnTo>
                  <a:lnTo>
                    <a:pt x="2467" y="404"/>
                  </a:lnTo>
                  <a:lnTo>
                    <a:pt x="2474" y="407"/>
                  </a:lnTo>
                  <a:lnTo>
                    <a:pt x="2481" y="417"/>
                  </a:lnTo>
                  <a:lnTo>
                    <a:pt x="2477" y="414"/>
                  </a:lnTo>
                  <a:lnTo>
                    <a:pt x="2474" y="414"/>
                  </a:lnTo>
                  <a:lnTo>
                    <a:pt x="2474" y="417"/>
                  </a:lnTo>
                  <a:lnTo>
                    <a:pt x="2477" y="420"/>
                  </a:lnTo>
                  <a:lnTo>
                    <a:pt x="2474" y="423"/>
                  </a:lnTo>
                  <a:lnTo>
                    <a:pt x="2474" y="427"/>
                  </a:lnTo>
                  <a:lnTo>
                    <a:pt x="2474" y="427"/>
                  </a:lnTo>
                  <a:lnTo>
                    <a:pt x="2477" y="427"/>
                  </a:lnTo>
                  <a:lnTo>
                    <a:pt x="2477" y="423"/>
                  </a:lnTo>
                  <a:lnTo>
                    <a:pt x="2481" y="423"/>
                  </a:lnTo>
                  <a:lnTo>
                    <a:pt x="2484" y="423"/>
                  </a:lnTo>
                  <a:lnTo>
                    <a:pt x="2484" y="420"/>
                  </a:lnTo>
                  <a:lnTo>
                    <a:pt x="2488" y="423"/>
                  </a:lnTo>
                  <a:lnTo>
                    <a:pt x="2495" y="430"/>
                  </a:lnTo>
                  <a:lnTo>
                    <a:pt x="2505" y="430"/>
                  </a:lnTo>
                  <a:lnTo>
                    <a:pt x="2508" y="436"/>
                  </a:lnTo>
                  <a:lnTo>
                    <a:pt x="2508" y="436"/>
                  </a:lnTo>
                  <a:lnTo>
                    <a:pt x="2512" y="443"/>
                  </a:lnTo>
                  <a:lnTo>
                    <a:pt x="2515" y="443"/>
                  </a:lnTo>
                  <a:lnTo>
                    <a:pt x="2522" y="452"/>
                  </a:lnTo>
                  <a:lnTo>
                    <a:pt x="2522" y="462"/>
                  </a:lnTo>
                  <a:lnTo>
                    <a:pt x="2519" y="462"/>
                  </a:lnTo>
                  <a:lnTo>
                    <a:pt x="2519" y="462"/>
                  </a:lnTo>
                  <a:lnTo>
                    <a:pt x="2522" y="465"/>
                  </a:lnTo>
                  <a:lnTo>
                    <a:pt x="2525" y="469"/>
                  </a:lnTo>
                  <a:lnTo>
                    <a:pt x="2522" y="469"/>
                  </a:lnTo>
                  <a:lnTo>
                    <a:pt x="2522" y="469"/>
                  </a:lnTo>
                  <a:lnTo>
                    <a:pt x="2505" y="469"/>
                  </a:lnTo>
                  <a:lnTo>
                    <a:pt x="2501" y="465"/>
                  </a:lnTo>
                  <a:lnTo>
                    <a:pt x="2498" y="469"/>
                  </a:lnTo>
                  <a:lnTo>
                    <a:pt x="2495" y="465"/>
                  </a:lnTo>
                  <a:lnTo>
                    <a:pt x="2495" y="462"/>
                  </a:lnTo>
                  <a:lnTo>
                    <a:pt x="2495" y="462"/>
                  </a:lnTo>
                  <a:lnTo>
                    <a:pt x="2491" y="465"/>
                  </a:lnTo>
                  <a:lnTo>
                    <a:pt x="2495" y="465"/>
                  </a:lnTo>
                  <a:lnTo>
                    <a:pt x="2488" y="469"/>
                  </a:lnTo>
                  <a:lnTo>
                    <a:pt x="2484" y="469"/>
                  </a:lnTo>
                  <a:lnTo>
                    <a:pt x="2481" y="472"/>
                  </a:lnTo>
                  <a:lnTo>
                    <a:pt x="2484" y="472"/>
                  </a:lnTo>
                  <a:lnTo>
                    <a:pt x="2477" y="478"/>
                  </a:lnTo>
                  <a:lnTo>
                    <a:pt x="2474" y="478"/>
                  </a:lnTo>
                  <a:lnTo>
                    <a:pt x="2474" y="481"/>
                  </a:lnTo>
                  <a:lnTo>
                    <a:pt x="2477" y="481"/>
                  </a:lnTo>
                  <a:lnTo>
                    <a:pt x="2470" y="488"/>
                  </a:lnTo>
                  <a:lnTo>
                    <a:pt x="2467" y="488"/>
                  </a:lnTo>
                  <a:lnTo>
                    <a:pt x="2467" y="488"/>
                  </a:lnTo>
                  <a:lnTo>
                    <a:pt x="2464" y="488"/>
                  </a:lnTo>
                  <a:lnTo>
                    <a:pt x="2464" y="494"/>
                  </a:lnTo>
                  <a:lnTo>
                    <a:pt x="2467" y="498"/>
                  </a:lnTo>
                  <a:lnTo>
                    <a:pt x="2464" y="501"/>
                  </a:lnTo>
                  <a:lnTo>
                    <a:pt x="2460" y="498"/>
                  </a:lnTo>
                  <a:lnTo>
                    <a:pt x="2460" y="501"/>
                  </a:lnTo>
                  <a:lnTo>
                    <a:pt x="2460" y="504"/>
                  </a:lnTo>
                  <a:lnTo>
                    <a:pt x="2457" y="507"/>
                  </a:lnTo>
                  <a:lnTo>
                    <a:pt x="2453" y="511"/>
                  </a:lnTo>
                  <a:lnTo>
                    <a:pt x="2457" y="511"/>
                  </a:lnTo>
                  <a:lnTo>
                    <a:pt x="2457" y="514"/>
                  </a:lnTo>
                  <a:lnTo>
                    <a:pt x="2453" y="517"/>
                  </a:lnTo>
                  <a:lnTo>
                    <a:pt x="2450" y="514"/>
                  </a:lnTo>
                  <a:lnTo>
                    <a:pt x="2450" y="517"/>
                  </a:lnTo>
                  <a:lnTo>
                    <a:pt x="2450" y="517"/>
                  </a:lnTo>
                  <a:lnTo>
                    <a:pt x="2450" y="520"/>
                  </a:lnTo>
                  <a:lnTo>
                    <a:pt x="2446" y="523"/>
                  </a:lnTo>
                  <a:lnTo>
                    <a:pt x="2450" y="527"/>
                  </a:lnTo>
                  <a:lnTo>
                    <a:pt x="2450" y="530"/>
                  </a:lnTo>
                  <a:lnTo>
                    <a:pt x="2446" y="530"/>
                  </a:lnTo>
                  <a:lnTo>
                    <a:pt x="2443" y="527"/>
                  </a:lnTo>
                  <a:lnTo>
                    <a:pt x="2439" y="527"/>
                  </a:lnTo>
                  <a:lnTo>
                    <a:pt x="2443" y="530"/>
                  </a:lnTo>
                  <a:lnTo>
                    <a:pt x="2450" y="533"/>
                  </a:lnTo>
                  <a:lnTo>
                    <a:pt x="2446" y="536"/>
                  </a:lnTo>
                  <a:lnTo>
                    <a:pt x="2443" y="536"/>
                  </a:lnTo>
                  <a:lnTo>
                    <a:pt x="2443" y="540"/>
                  </a:lnTo>
                  <a:lnTo>
                    <a:pt x="2443" y="540"/>
                  </a:lnTo>
                  <a:lnTo>
                    <a:pt x="2446" y="546"/>
                  </a:lnTo>
                  <a:lnTo>
                    <a:pt x="2443" y="546"/>
                  </a:lnTo>
                  <a:lnTo>
                    <a:pt x="2446" y="549"/>
                  </a:lnTo>
                  <a:lnTo>
                    <a:pt x="2443" y="553"/>
                  </a:lnTo>
                  <a:lnTo>
                    <a:pt x="2443" y="556"/>
                  </a:lnTo>
                  <a:lnTo>
                    <a:pt x="2439" y="562"/>
                  </a:lnTo>
                  <a:lnTo>
                    <a:pt x="2439" y="569"/>
                  </a:lnTo>
                  <a:lnTo>
                    <a:pt x="2436" y="572"/>
                  </a:lnTo>
                  <a:lnTo>
                    <a:pt x="2436" y="575"/>
                  </a:lnTo>
                  <a:lnTo>
                    <a:pt x="2439" y="575"/>
                  </a:lnTo>
                  <a:lnTo>
                    <a:pt x="2439" y="578"/>
                  </a:lnTo>
                  <a:lnTo>
                    <a:pt x="2439" y="582"/>
                  </a:lnTo>
                  <a:lnTo>
                    <a:pt x="2443" y="588"/>
                  </a:lnTo>
                  <a:lnTo>
                    <a:pt x="2443" y="588"/>
                  </a:lnTo>
                  <a:lnTo>
                    <a:pt x="2439" y="588"/>
                  </a:lnTo>
                  <a:lnTo>
                    <a:pt x="2436" y="588"/>
                  </a:lnTo>
                  <a:lnTo>
                    <a:pt x="2433" y="585"/>
                  </a:lnTo>
                  <a:lnTo>
                    <a:pt x="2433" y="588"/>
                  </a:lnTo>
                  <a:lnTo>
                    <a:pt x="2426" y="582"/>
                  </a:lnTo>
                  <a:lnTo>
                    <a:pt x="2426" y="582"/>
                  </a:lnTo>
                  <a:lnTo>
                    <a:pt x="2426" y="582"/>
                  </a:lnTo>
                  <a:lnTo>
                    <a:pt x="2422" y="582"/>
                  </a:lnTo>
                  <a:lnTo>
                    <a:pt x="2419" y="582"/>
                  </a:lnTo>
                  <a:lnTo>
                    <a:pt x="2419" y="578"/>
                  </a:lnTo>
                  <a:lnTo>
                    <a:pt x="2409" y="572"/>
                  </a:lnTo>
                  <a:lnTo>
                    <a:pt x="2402" y="572"/>
                  </a:lnTo>
                  <a:lnTo>
                    <a:pt x="2395" y="575"/>
                  </a:lnTo>
                  <a:lnTo>
                    <a:pt x="2395" y="575"/>
                  </a:lnTo>
                  <a:lnTo>
                    <a:pt x="2391" y="575"/>
                  </a:lnTo>
                  <a:lnTo>
                    <a:pt x="2384" y="578"/>
                  </a:lnTo>
                  <a:lnTo>
                    <a:pt x="2381" y="578"/>
                  </a:lnTo>
                  <a:lnTo>
                    <a:pt x="2381" y="585"/>
                  </a:lnTo>
                  <a:lnTo>
                    <a:pt x="2378" y="588"/>
                  </a:lnTo>
                  <a:lnTo>
                    <a:pt x="2374" y="585"/>
                  </a:lnTo>
                  <a:lnTo>
                    <a:pt x="2378" y="591"/>
                  </a:lnTo>
                  <a:lnTo>
                    <a:pt x="2374" y="595"/>
                  </a:lnTo>
                  <a:lnTo>
                    <a:pt x="2374" y="598"/>
                  </a:lnTo>
                  <a:lnTo>
                    <a:pt x="2374" y="601"/>
                  </a:lnTo>
                  <a:lnTo>
                    <a:pt x="2374" y="607"/>
                  </a:lnTo>
                  <a:lnTo>
                    <a:pt x="2371" y="611"/>
                  </a:lnTo>
                  <a:lnTo>
                    <a:pt x="2367" y="607"/>
                  </a:lnTo>
                  <a:lnTo>
                    <a:pt x="2364" y="598"/>
                  </a:lnTo>
                  <a:lnTo>
                    <a:pt x="2364" y="595"/>
                  </a:lnTo>
                  <a:lnTo>
                    <a:pt x="2360" y="591"/>
                  </a:lnTo>
                  <a:lnTo>
                    <a:pt x="2357" y="588"/>
                  </a:lnTo>
                  <a:lnTo>
                    <a:pt x="2357" y="591"/>
                  </a:lnTo>
                  <a:lnTo>
                    <a:pt x="2353" y="598"/>
                  </a:lnTo>
                  <a:lnTo>
                    <a:pt x="2350" y="601"/>
                  </a:lnTo>
                  <a:lnTo>
                    <a:pt x="2347" y="604"/>
                  </a:lnTo>
                  <a:lnTo>
                    <a:pt x="2353" y="604"/>
                  </a:lnTo>
                  <a:lnTo>
                    <a:pt x="2347" y="614"/>
                  </a:lnTo>
                  <a:lnTo>
                    <a:pt x="2347" y="611"/>
                  </a:lnTo>
                  <a:lnTo>
                    <a:pt x="2343" y="611"/>
                  </a:lnTo>
                  <a:lnTo>
                    <a:pt x="2340" y="607"/>
                  </a:lnTo>
                  <a:lnTo>
                    <a:pt x="2340" y="607"/>
                  </a:lnTo>
                  <a:lnTo>
                    <a:pt x="2336" y="611"/>
                  </a:lnTo>
                  <a:lnTo>
                    <a:pt x="2336" y="614"/>
                  </a:lnTo>
                  <a:lnTo>
                    <a:pt x="2329" y="611"/>
                  </a:lnTo>
                  <a:lnTo>
                    <a:pt x="2329" y="611"/>
                  </a:lnTo>
                  <a:lnTo>
                    <a:pt x="2326" y="614"/>
                  </a:lnTo>
                  <a:lnTo>
                    <a:pt x="2329" y="617"/>
                  </a:lnTo>
                  <a:lnTo>
                    <a:pt x="2329" y="617"/>
                  </a:lnTo>
                  <a:lnTo>
                    <a:pt x="2326" y="620"/>
                  </a:lnTo>
                  <a:lnTo>
                    <a:pt x="2326" y="624"/>
                  </a:lnTo>
                  <a:lnTo>
                    <a:pt x="2329" y="627"/>
                  </a:lnTo>
                  <a:lnTo>
                    <a:pt x="2329" y="630"/>
                  </a:lnTo>
                  <a:lnTo>
                    <a:pt x="2329" y="630"/>
                  </a:lnTo>
                  <a:lnTo>
                    <a:pt x="2329" y="633"/>
                  </a:lnTo>
                  <a:lnTo>
                    <a:pt x="2333" y="633"/>
                  </a:lnTo>
                  <a:lnTo>
                    <a:pt x="2336" y="637"/>
                  </a:lnTo>
                  <a:lnTo>
                    <a:pt x="2336" y="640"/>
                  </a:lnTo>
                  <a:lnTo>
                    <a:pt x="2336" y="640"/>
                  </a:lnTo>
                  <a:lnTo>
                    <a:pt x="2336" y="640"/>
                  </a:lnTo>
                  <a:lnTo>
                    <a:pt x="2336" y="643"/>
                  </a:lnTo>
                  <a:lnTo>
                    <a:pt x="2340" y="646"/>
                  </a:lnTo>
                  <a:lnTo>
                    <a:pt x="2340" y="646"/>
                  </a:lnTo>
                  <a:lnTo>
                    <a:pt x="2336" y="646"/>
                  </a:lnTo>
                  <a:lnTo>
                    <a:pt x="2333" y="646"/>
                  </a:lnTo>
                  <a:lnTo>
                    <a:pt x="2333" y="646"/>
                  </a:lnTo>
                  <a:lnTo>
                    <a:pt x="2336" y="649"/>
                  </a:lnTo>
                  <a:lnTo>
                    <a:pt x="2340" y="649"/>
                  </a:lnTo>
                  <a:lnTo>
                    <a:pt x="2340" y="653"/>
                  </a:lnTo>
                  <a:lnTo>
                    <a:pt x="2340" y="656"/>
                  </a:lnTo>
                  <a:lnTo>
                    <a:pt x="2340" y="659"/>
                  </a:lnTo>
                  <a:lnTo>
                    <a:pt x="2336" y="662"/>
                  </a:lnTo>
                  <a:lnTo>
                    <a:pt x="2340" y="666"/>
                  </a:lnTo>
                  <a:lnTo>
                    <a:pt x="2336" y="669"/>
                  </a:lnTo>
                  <a:lnTo>
                    <a:pt x="2340" y="672"/>
                  </a:lnTo>
                  <a:lnTo>
                    <a:pt x="2340" y="675"/>
                  </a:lnTo>
                  <a:lnTo>
                    <a:pt x="2340" y="679"/>
                  </a:lnTo>
                  <a:lnTo>
                    <a:pt x="2343" y="685"/>
                  </a:lnTo>
                  <a:lnTo>
                    <a:pt x="2340" y="685"/>
                  </a:lnTo>
                  <a:lnTo>
                    <a:pt x="2343" y="688"/>
                  </a:lnTo>
                  <a:lnTo>
                    <a:pt x="2347" y="691"/>
                  </a:lnTo>
                  <a:lnTo>
                    <a:pt x="2353" y="695"/>
                  </a:lnTo>
                  <a:lnTo>
                    <a:pt x="2357" y="698"/>
                  </a:lnTo>
                  <a:lnTo>
                    <a:pt x="2357" y="698"/>
                  </a:lnTo>
                  <a:lnTo>
                    <a:pt x="2360" y="695"/>
                  </a:lnTo>
                  <a:lnTo>
                    <a:pt x="2353" y="688"/>
                  </a:lnTo>
                  <a:lnTo>
                    <a:pt x="2353" y="688"/>
                  </a:lnTo>
                  <a:lnTo>
                    <a:pt x="2357" y="685"/>
                  </a:lnTo>
                  <a:lnTo>
                    <a:pt x="2360" y="685"/>
                  </a:lnTo>
                  <a:lnTo>
                    <a:pt x="2367" y="688"/>
                  </a:lnTo>
                  <a:lnTo>
                    <a:pt x="2371" y="688"/>
                  </a:lnTo>
                  <a:lnTo>
                    <a:pt x="2374" y="691"/>
                  </a:lnTo>
                  <a:lnTo>
                    <a:pt x="2374" y="691"/>
                  </a:lnTo>
                  <a:lnTo>
                    <a:pt x="2374" y="695"/>
                  </a:lnTo>
                  <a:lnTo>
                    <a:pt x="2374" y="698"/>
                  </a:lnTo>
                  <a:lnTo>
                    <a:pt x="2374" y="701"/>
                  </a:lnTo>
                  <a:lnTo>
                    <a:pt x="2374" y="704"/>
                  </a:lnTo>
                  <a:lnTo>
                    <a:pt x="2371" y="704"/>
                  </a:lnTo>
                  <a:lnTo>
                    <a:pt x="2371" y="708"/>
                  </a:lnTo>
                  <a:lnTo>
                    <a:pt x="2374" y="714"/>
                  </a:lnTo>
                  <a:lnTo>
                    <a:pt x="2378" y="717"/>
                  </a:lnTo>
                  <a:lnTo>
                    <a:pt x="2374" y="724"/>
                  </a:lnTo>
                  <a:lnTo>
                    <a:pt x="2381" y="724"/>
                  </a:lnTo>
                  <a:lnTo>
                    <a:pt x="2381" y="724"/>
                  </a:lnTo>
                  <a:lnTo>
                    <a:pt x="2381" y="721"/>
                  </a:lnTo>
                  <a:lnTo>
                    <a:pt x="2384" y="721"/>
                  </a:lnTo>
                  <a:lnTo>
                    <a:pt x="2384" y="717"/>
                  </a:lnTo>
                  <a:lnTo>
                    <a:pt x="2388" y="721"/>
                  </a:lnTo>
                  <a:lnTo>
                    <a:pt x="2391" y="721"/>
                  </a:lnTo>
                  <a:lnTo>
                    <a:pt x="2391" y="730"/>
                  </a:lnTo>
                  <a:lnTo>
                    <a:pt x="2398" y="737"/>
                  </a:lnTo>
                  <a:lnTo>
                    <a:pt x="2402" y="740"/>
                  </a:lnTo>
                  <a:lnTo>
                    <a:pt x="2402" y="743"/>
                  </a:lnTo>
                  <a:lnTo>
                    <a:pt x="2402" y="746"/>
                  </a:lnTo>
                  <a:lnTo>
                    <a:pt x="2398" y="750"/>
                  </a:lnTo>
                  <a:lnTo>
                    <a:pt x="2391" y="746"/>
                  </a:lnTo>
                  <a:lnTo>
                    <a:pt x="2388" y="743"/>
                  </a:lnTo>
                  <a:lnTo>
                    <a:pt x="2388" y="740"/>
                  </a:lnTo>
                  <a:lnTo>
                    <a:pt x="2388" y="733"/>
                  </a:lnTo>
                  <a:lnTo>
                    <a:pt x="2388" y="730"/>
                  </a:lnTo>
                  <a:lnTo>
                    <a:pt x="2388" y="727"/>
                  </a:lnTo>
                  <a:lnTo>
                    <a:pt x="2384" y="730"/>
                  </a:lnTo>
                  <a:lnTo>
                    <a:pt x="2388" y="730"/>
                  </a:lnTo>
                  <a:lnTo>
                    <a:pt x="2388" y="733"/>
                  </a:lnTo>
                  <a:lnTo>
                    <a:pt x="2384" y="733"/>
                  </a:lnTo>
                  <a:lnTo>
                    <a:pt x="2378" y="740"/>
                  </a:lnTo>
                  <a:lnTo>
                    <a:pt x="2381" y="740"/>
                  </a:lnTo>
                  <a:lnTo>
                    <a:pt x="2384" y="740"/>
                  </a:lnTo>
                  <a:lnTo>
                    <a:pt x="2384" y="743"/>
                  </a:lnTo>
                  <a:lnTo>
                    <a:pt x="2381" y="746"/>
                  </a:lnTo>
                  <a:lnTo>
                    <a:pt x="2384" y="753"/>
                  </a:lnTo>
                  <a:lnTo>
                    <a:pt x="2381" y="753"/>
                  </a:lnTo>
                  <a:lnTo>
                    <a:pt x="2384" y="766"/>
                  </a:lnTo>
                  <a:lnTo>
                    <a:pt x="2384" y="769"/>
                  </a:lnTo>
                  <a:lnTo>
                    <a:pt x="2384" y="769"/>
                  </a:lnTo>
                  <a:lnTo>
                    <a:pt x="2395" y="782"/>
                  </a:lnTo>
                  <a:lnTo>
                    <a:pt x="2398" y="782"/>
                  </a:lnTo>
                  <a:lnTo>
                    <a:pt x="2405" y="792"/>
                  </a:lnTo>
                  <a:lnTo>
                    <a:pt x="2409" y="792"/>
                  </a:lnTo>
                  <a:lnTo>
                    <a:pt x="2409" y="795"/>
                  </a:lnTo>
                  <a:lnTo>
                    <a:pt x="2409" y="798"/>
                  </a:lnTo>
                  <a:lnTo>
                    <a:pt x="2395" y="805"/>
                  </a:lnTo>
                  <a:lnTo>
                    <a:pt x="2395" y="801"/>
                  </a:lnTo>
                  <a:lnTo>
                    <a:pt x="2388" y="805"/>
                  </a:lnTo>
                  <a:lnTo>
                    <a:pt x="2384" y="805"/>
                  </a:lnTo>
                  <a:lnTo>
                    <a:pt x="2388" y="805"/>
                  </a:lnTo>
                  <a:lnTo>
                    <a:pt x="2384" y="811"/>
                  </a:lnTo>
                  <a:lnTo>
                    <a:pt x="2384" y="817"/>
                  </a:lnTo>
                  <a:lnTo>
                    <a:pt x="2381" y="817"/>
                  </a:lnTo>
                  <a:lnTo>
                    <a:pt x="2384" y="821"/>
                  </a:lnTo>
                  <a:lnTo>
                    <a:pt x="2381" y="830"/>
                  </a:lnTo>
                  <a:lnTo>
                    <a:pt x="2384" y="840"/>
                  </a:lnTo>
                  <a:lnTo>
                    <a:pt x="2391" y="843"/>
                  </a:lnTo>
                  <a:lnTo>
                    <a:pt x="2391" y="847"/>
                  </a:lnTo>
                  <a:lnTo>
                    <a:pt x="2395" y="850"/>
                  </a:lnTo>
                  <a:lnTo>
                    <a:pt x="2398" y="853"/>
                  </a:lnTo>
                  <a:lnTo>
                    <a:pt x="2395" y="850"/>
                  </a:lnTo>
                  <a:lnTo>
                    <a:pt x="2391" y="850"/>
                  </a:lnTo>
                  <a:lnTo>
                    <a:pt x="2388" y="853"/>
                  </a:lnTo>
                  <a:lnTo>
                    <a:pt x="2384" y="853"/>
                  </a:lnTo>
                  <a:lnTo>
                    <a:pt x="2384" y="853"/>
                  </a:lnTo>
                  <a:lnTo>
                    <a:pt x="2378" y="859"/>
                  </a:lnTo>
                  <a:lnTo>
                    <a:pt x="2374" y="856"/>
                  </a:lnTo>
                  <a:lnTo>
                    <a:pt x="2371" y="859"/>
                  </a:lnTo>
                  <a:lnTo>
                    <a:pt x="2374" y="859"/>
                  </a:lnTo>
                  <a:lnTo>
                    <a:pt x="2378" y="859"/>
                  </a:lnTo>
                  <a:lnTo>
                    <a:pt x="2378" y="863"/>
                  </a:lnTo>
                  <a:lnTo>
                    <a:pt x="2378" y="866"/>
                  </a:lnTo>
                  <a:lnTo>
                    <a:pt x="2381" y="869"/>
                  </a:lnTo>
                  <a:lnTo>
                    <a:pt x="2378" y="872"/>
                  </a:lnTo>
                  <a:lnTo>
                    <a:pt x="2378" y="869"/>
                  </a:lnTo>
                  <a:lnTo>
                    <a:pt x="2378" y="876"/>
                  </a:lnTo>
                  <a:lnTo>
                    <a:pt x="2378" y="879"/>
                  </a:lnTo>
                  <a:lnTo>
                    <a:pt x="2381" y="879"/>
                  </a:lnTo>
                  <a:lnTo>
                    <a:pt x="2381" y="879"/>
                  </a:lnTo>
                  <a:lnTo>
                    <a:pt x="2384" y="879"/>
                  </a:lnTo>
                  <a:lnTo>
                    <a:pt x="2381" y="882"/>
                  </a:lnTo>
                  <a:lnTo>
                    <a:pt x="2381" y="889"/>
                  </a:lnTo>
                  <a:lnTo>
                    <a:pt x="2384" y="892"/>
                  </a:lnTo>
                  <a:lnTo>
                    <a:pt x="2384" y="898"/>
                  </a:lnTo>
                  <a:lnTo>
                    <a:pt x="2381" y="901"/>
                  </a:lnTo>
                  <a:lnTo>
                    <a:pt x="2381" y="901"/>
                  </a:lnTo>
                  <a:lnTo>
                    <a:pt x="2381" y="905"/>
                  </a:lnTo>
                  <a:lnTo>
                    <a:pt x="2378" y="908"/>
                  </a:lnTo>
                  <a:lnTo>
                    <a:pt x="2378" y="911"/>
                  </a:lnTo>
                  <a:lnTo>
                    <a:pt x="2374" y="911"/>
                  </a:lnTo>
                  <a:lnTo>
                    <a:pt x="2374" y="921"/>
                  </a:lnTo>
                  <a:lnTo>
                    <a:pt x="2367" y="927"/>
                  </a:lnTo>
                  <a:lnTo>
                    <a:pt x="2371" y="924"/>
                  </a:lnTo>
                  <a:lnTo>
                    <a:pt x="2367" y="921"/>
                  </a:lnTo>
                  <a:lnTo>
                    <a:pt x="2367" y="918"/>
                  </a:lnTo>
                  <a:lnTo>
                    <a:pt x="2367" y="914"/>
                  </a:lnTo>
                  <a:lnTo>
                    <a:pt x="2360" y="914"/>
                  </a:lnTo>
                  <a:lnTo>
                    <a:pt x="2357" y="911"/>
                  </a:lnTo>
                  <a:lnTo>
                    <a:pt x="2353" y="905"/>
                  </a:lnTo>
                  <a:lnTo>
                    <a:pt x="2347" y="889"/>
                  </a:lnTo>
                  <a:lnTo>
                    <a:pt x="2343" y="882"/>
                  </a:lnTo>
                  <a:lnTo>
                    <a:pt x="2347" y="882"/>
                  </a:lnTo>
                  <a:lnTo>
                    <a:pt x="2350" y="882"/>
                  </a:lnTo>
                  <a:lnTo>
                    <a:pt x="2350" y="879"/>
                  </a:lnTo>
                  <a:lnTo>
                    <a:pt x="2347" y="882"/>
                  </a:lnTo>
                  <a:lnTo>
                    <a:pt x="2343" y="879"/>
                  </a:lnTo>
                  <a:lnTo>
                    <a:pt x="2336" y="879"/>
                  </a:lnTo>
                  <a:lnTo>
                    <a:pt x="2319" y="853"/>
                  </a:lnTo>
                  <a:lnTo>
                    <a:pt x="2305" y="840"/>
                  </a:lnTo>
                  <a:lnTo>
                    <a:pt x="2305" y="837"/>
                  </a:lnTo>
                  <a:lnTo>
                    <a:pt x="2302" y="830"/>
                  </a:lnTo>
                  <a:lnTo>
                    <a:pt x="2292" y="817"/>
                  </a:lnTo>
                  <a:lnTo>
                    <a:pt x="2281" y="798"/>
                  </a:lnTo>
                  <a:lnTo>
                    <a:pt x="2271" y="782"/>
                  </a:lnTo>
                  <a:lnTo>
                    <a:pt x="2271" y="779"/>
                  </a:lnTo>
                  <a:lnTo>
                    <a:pt x="2267" y="769"/>
                  </a:lnTo>
                  <a:lnTo>
                    <a:pt x="2264" y="759"/>
                  </a:lnTo>
                  <a:lnTo>
                    <a:pt x="2261" y="753"/>
                  </a:lnTo>
                  <a:lnTo>
                    <a:pt x="2261" y="746"/>
                  </a:lnTo>
                  <a:lnTo>
                    <a:pt x="2267" y="743"/>
                  </a:lnTo>
                  <a:lnTo>
                    <a:pt x="2267" y="737"/>
                  </a:lnTo>
                  <a:lnTo>
                    <a:pt x="2271" y="737"/>
                  </a:lnTo>
                  <a:lnTo>
                    <a:pt x="2267" y="733"/>
                  </a:lnTo>
                  <a:lnTo>
                    <a:pt x="2271" y="730"/>
                  </a:lnTo>
                  <a:lnTo>
                    <a:pt x="2271" y="724"/>
                  </a:lnTo>
                  <a:lnTo>
                    <a:pt x="2264" y="714"/>
                  </a:lnTo>
                  <a:lnTo>
                    <a:pt x="2257" y="714"/>
                  </a:lnTo>
                  <a:lnTo>
                    <a:pt x="2257" y="711"/>
                  </a:lnTo>
                  <a:lnTo>
                    <a:pt x="2261" y="708"/>
                  </a:lnTo>
                  <a:lnTo>
                    <a:pt x="2271" y="711"/>
                  </a:lnTo>
                  <a:lnTo>
                    <a:pt x="2274" y="708"/>
                  </a:lnTo>
                  <a:lnTo>
                    <a:pt x="2271" y="704"/>
                  </a:lnTo>
                  <a:lnTo>
                    <a:pt x="2271" y="698"/>
                  </a:lnTo>
                  <a:lnTo>
                    <a:pt x="2278" y="698"/>
                  </a:lnTo>
                  <a:lnTo>
                    <a:pt x="2281" y="698"/>
                  </a:lnTo>
                  <a:lnTo>
                    <a:pt x="2278" y="695"/>
                  </a:lnTo>
                  <a:lnTo>
                    <a:pt x="2285" y="685"/>
                  </a:lnTo>
                  <a:lnTo>
                    <a:pt x="2281" y="679"/>
                  </a:lnTo>
                  <a:lnTo>
                    <a:pt x="2285" y="672"/>
                  </a:lnTo>
                  <a:lnTo>
                    <a:pt x="2281" y="669"/>
                  </a:lnTo>
                  <a:lnTo>
                    <a:pt x="2285" y="666"/>
                  </a:lnTo>
                  <a:lnTo>
                    <a:pt x="2285" y="662"/>
                  </a:lnTo>
                  <a:lnTo>
                    <a:pt x="2281" y="659"/>
                  </a:lnTo>
                  <a:lnTo>
                    <a:pt x="2285" y="656"/>
                  </a:lnTo>
                  <a:lnTo>
                    <a:pt x="2288" y="656"/>
                  </a:lnTo>
                  <a:lnTo>
                    <a:pt x="2285" y="653"/>
                  </a:lnTo>
                  <a:lnTo>
                    <a:pt x="2281" y="649"/>
                  </a:lnTo>
                  <a:lnTo>
                    <a:pt x="2285" y="649"/>
                  </a:lnTo>
                  <a:lnTo>
                    <a:pt x="2285" y="643"/>
                  </a:lnTo>
                  <a:lnTo>
                    <a:pt x="2285" y="640"/>
                  </a:lnTo>
                  <a:lnTo>
                    <a:pt x="2285" y="637"/>
                  </a:lnTo>
                  <a:lnTo>
                    <a:pt x="2288" y="637"/>
                  </a:lnTo>
                  <a:lnTo>
                    <a:pt x="2292" y="633"/>
                  </a:lnTo>
                  <a:lnTo>
                    <a:pt x="2288" y="627"/>
                  </a:lnTo>
                  <a:lnTo>
                    <a:pt x="2292" y="620"/>
                  </a:lnTo>
                  <a:lnTo>
                    <a:pt x="2288" y="620"/>
                  </a:lnTo>
                  <a:lnTo>
                    <a:pt x="2288" y="617"/>
                  </a:lnTo>
                  <a:lnTo>
                    <a:pt x="2292" y="614"/>
                  </a:lnTo>
                  <a:lnTo>
                    <a:pt x="2292" y="607"/>
                  </a:lnTo>
                  <a:lnTo>
                    <a:pt x="2288" y="607"/>
                  </a:lnTo>
                  <a:lnTo>
                    <a:pt x="2288" y="604"/>
                  </a:lnTo>
                  <a:lnTo>
                    <a:pt x="2288" y="601"/>
                  </a:lnTo>
                  <a:lnTo>
                    <a:pt x="2288" y="598"/>
                  </a:lnTo>
                  <a:lnTo>
                    <a:pt x="2292" y="598"/>
                  </a:lnTo>
                  <a:lnTo>
                    <a:pt x="2292" y="598"/>
                  </a:lnTo>
                  <a:lnTo>
                    <a:pt x="2298" y="595"/>
                  </a:lnTo>
                  <a:lnTo>
                    <a:pt x="2298" y="591"/>
                  </a:lnTo>
                  <a:lnTo>
                    <a:pt x="2302" y="588"/>
                  </a:lnTo>
                  <a:lnTo>
                    <a:pt x="2305" y="588"/>
                  </a:lnTo>
                  <a:lnTo>
                    <a:pt x="2309" y="585"/>
                  </a:lnTo>
                  <a:lnTo>
                    <a:pt x="2309" y="585"/>
                  </a:lnTo>
                  <a:lnTo>
                    <a:pt x="2309" y="582"/>
                  </a:lnTo>
                  <a:lnTo>
                    <a:pt x="2309" y="582"/>
                  </a:lnTo>
                  <a:lnTo>
                    <a:pt x="2305" y="582"/>
                  </a:lnTo>
                  <a:lnTo>
                    <a:pt x="2302" y="582"/>
                  </a:lnTo>
                  <a:lnTo>
                    <a:pt x="2302" y="582"/>
                  </a:lnTo>
                  <a:lnTo>
                    <a:pt x="2302" y="575"/>
                  </a:lnTo>
                  <a:lnTo>
                    <a:pt x="2302" y="569"/>
                  </a:lnTo>
                  <a:lnTo>
                    <a:pt x="2302" y="569"/>
                  </a:lnTo>
                  <a:lnTo>
                    <a:pt x="2298" y="565"/>
                  </a:lnTo>
                  <a:lnTo>
                    <a:pt x="2298" y="562"/>
                  </a:lnTo>
                  <a:lnTo>
                    <a:pt x="2295" y="565"/>
                  </a:lnTo>
                  <a:lnTo>
                    <a:pt x="2295" y="565"/>
                  </a:lnTo>
                  <a:lnTo>
                    <a:pt x="2295" y="559"/>
                  </a:lnTo>
                  <a:lnTo>
                    <a:pt x="2295" y="556"/>
                  </a:lnTo>
                  <a:lnTo>
                    <a:pt x="2295" y="556"/>
                  </a:lnTo>
                  <a:lnTo>
                    <a:pt x="2295" y="549"/>
                  </a:lnTo>
                  <a:lnTo>
                    <a:pt x="2292" y="549"/>
                  </a:lnTo>
                  <a:lnTo>
                    <a:pt x="2292" y="546"/>
                  </a:lnTo>
                  <a:lnTo>
                    <a:pt x="2292" y="546"/>
                  </a:lnTo>
                  <a:lnTo>
                    <a:pt x="2292" y="546"/>
                  </a:lnTo>
                  <a:lnTo>
                    <a:pt x="2288" y="540"/>
                  </a:lnTo>
                  <a:lnTo>
                    <a:pt x="2285" y="540"/>
                  </a:lnTo>
                  <a:lnTo>
                    <a:pt x="2285" y="536"/>
                  </a:lnTo>
                  <a:lnTo>
                    <a:pt x="2285" y="533"/>
                  </a:lnTo>
                  <a:lnTo>
                    <a:pt x="2281" y="530"/>
                  </a:lnTo>
                  <a:lnTo>
                    <a:pt x="2281" y="527"/>
                  </a:lnTo>
                  <a:lnTo>
                    <a:pt x="2288" y="523"/>
                  </a:lnTo>
                  <a:lnTo>
                    <a:pt x="2292" y="523"/>
                  </a:lnTo>
                  <a:lnTo>
                    <a:pt x="2295" y="523"/>
                  </a:lnTo>
                  <a:lnTo>
                    <a:pt x="2292" y="520"/>
                  </a:lnTo>
                  <a:lnTo>
                    <a:pt x="2298" y="517"/>
                  </a:lnTo>
                  <a:lnTo>
                    <a:pt x="2295" y="517"/>
                  </a:lnTo>
                  <a:lnTo>
                    <a:pt x="2292" y="517"/>
                  </a:lnTo>
                  <a:lnTo>
                    <a:pt x="2288" y="517"/>
                  </a:lnTo>
                  <a:lnTo>
                    <a:pt x="2285" y="517"/>
                  </a:lnTo>
                  <a:lnTo>
                    <a:pt x="2278" y="514"/>
                  </a:lnTo>
                  <a:lnTo>
                    <a:pt x="2278" y="514"/>
                  </a:lnTo>
                  <a:lnTo>
                    <a:pt x="2271" y="514"/>
                  </a:lnTo>
                  <a:lnTo>
                    <a:pt x="2267" y="517"/>
                  </a:lnTo>
                  <a:lnTo>
                    <a:pt x="2264" y="517"/>
                  </a:lnTo>
                  <a:lnTo>
                    <a:pt x="2261" y="523"/>
                  </a:lnTo>
                  <a:lnTo>
                    <a:pt x="2261" y="523"/>
                  </a:lnTo>
                  <a:lnTo>
                    <a:pt x="2261" y="527"/>
                  </a:lnTo>
                  <a:lnTo>
                    <a:pt x="2264" y="530"/>
                  </a:lnTo>
                  <a:lnTo>
                    <a:pt x="2264" y="533"/>
                  </a:lnTo>
                  <a:lnTo>
                    <a:pt x="2264" y="533"/>
                  </a:lnTo>
                  <a:lnTo>
                    <a:pt x="2264" y="540"/>
                  </a:lnTo>
                  <a:lnTo>
                    <a:pt x="2267" y="543"/>
                  </a:lnTo>
                  <a:lnTo>
                    <a:pt x="2271" y="543"/>
                  </a:lnTo>
                  <a:lnTo>
                    <a:pt x="2271" y="546"/>
                  </a:lnTo>
                  <a:lnTo>
                    <a:pt x="2274" y="553"/>
                  </a:lnTo>
                  <a:lnTo>
                    <a:pt x="2281" y="553"/>
                  </a:lnTo>
                  <a:lnTo>
                    <a:pt x="2278" y="556"/>
                  </a:lnTo>
                  <a:lnTo>
                    <a:pt x="2281" y="559"/>
                  </a:lnTo>
                  <a:lnTo>
                    <a:pt x="2281" y="562"/>
                  </a:lnTo>
                  <a:lnTo>
                    <a:pt x="2278" y="559"/>
                  </a:lnTo>
                  <a:lnTo>
                    <a:pt x="2274" y="556"/>
                  </a:lnTo>
                  <a:lnTo>
                    <a:pt x="2271" y="559"/>
                  </a:lnTo>
                  <a:lnTo>
                    <a:pt x="2267" y="559"/>
                  </a:lnTo>
                  <a:lnTo>
                    <a:pt x="2264" y="565"/>
                  </a:lnTo>
                  <a:lnTo>
                    <a:pt x="2267" y="565"/>
                  </a:lnTo>
                  <a:lnTo>
                    <a:pt x="2267" y="572"/>
                  </a:lnTo>
                  <a:lnTo>
                    <a:pt x="2264" y="572"/>
                  </a:lnTo>
                  <a:lnTo>
                    <a:pt x="2264" y="575"/>
                  </a:lnTo>
                  <a:lnTo>
                    <a:pt x="2267" y="575"/>
                  </a:lnTo>
                  <a:lnTo>
                    <a:pt x="2267" y="578"/>
                  </a:lnTo>
                  <a:lnTo>
                    <a:pt x="2264" y="578"/>
                  </a:lnTo>
                  <a:lnTo>
                    <a:pt x="2264" y="582"/>
                  </a:lnTo>
                  <a:lnTo>
                    <a:pt x="2264" y="585"/>
                  </a:lnTo>
                  <a:lnTo>
                    <a:pt x="2264" y="591"/>
                  </a:lnTo>
                  <a:lnTo>
                    <a:pt x="2261" y="595"/>
                  </a:lnTo>
                  <a:lnTo>
                    <a:pt x="2261" y="598"/>
                  </a:lnTo>
                  <a:lnTo>
                    <a:pt x="2257" y="598"/>
                  </a:lnTo>
                  <a:lnTo>
                    <a:pt x="2257" y="604"/>
                  </a:lnTo>
                  <a:lnTo>
                    <a:pt x="2254" y="598"/>
                  </a:lnTo>
                  <a:lnTo>
                    <a:pt x="2250" y="598"/>
                  </a:lnTo>
                  <a:lnTo>
                    <a:pt x="2254" y="591"/>
                  </a:lnTo>
                  <a:lnTo>
                    <a:pt x="2254" y="591"/>
                  </a:lnTo>
                  <a:lnTo>
                    <a:pt x="2250" y="588"/>
                  </a:lnTo>
                  <a:lnTo>
                    <a:pt x="2247" y="591"/>
                  </a:lnTo>
                  <a:lnTo>
                    <a:pt x="2247" y="595"/>
                  </a:lnTo>
                  <a:lnTo>
                    <a:pt x="2243" y="595"/>
                  </a:lnTo>
                  <a:lnTo>
                    <a:pt x="2243" y="591"/>
                  </a:lnTo>
                  <a:lnTo>
                    <a:pt x="2240" y="588"/>
                  </a:lnTo>
                  <a:lnTo>
                    <a:pt x="2240" y="588"/>
                  </a:lnTo>
                  <a:lnTo>
                    <a:pt x="2237" y="591"/>
                  </a:lnTo>
                  <a:lnTo>
                    <a:pt x="2233" y="588"/>
                  </a:lnTo>
                  <a:lnTo>
                    <a:pt x="2237" y="588"/>
                  </a:lnTo>
                  <a:lnTo>
                    <a:pt x="2237" y="585"/>
                  </a:lnTo>
                  <a:lnTo>
                    <a:pt x="2237" y="585"/>
                  </a:lnTo>
                  <a:lnTo>
                    <a:pt x="2237" y="582"/>
                  </a:lnTo>
                  <a:lnTo>
                    <a:pt x="2237" y="582"/>
                  </a:lnTo>
                  <a:lnTo>
                    <a:pt x="2237" y="578"/>
                  </a:lnTo>
                  <a:lnTo>
                    <a:pt x="2233" y="575"/>
                  </a:lnTo>
                  <a:lnTo>
                    <a:pt x="2237" y="575"/>
                  </a:lnTo>
                  <a:lnTo>
                    <a:pt x="2237" y="572"/>
                  </a:lnTo>
                  <a:lnTo>
                    <a:pt x="2233" y="569"/>
                  </a:lnTo>
                  <a:lnTo>
                    <a:pt x="2237" y="569"/>
                  </a:lnTo>
                  <a:lnTo>
                    <a:pt x="2237" y="565"/>
                  </a:lnTo>
                  <a:lnTo>
                    <a:pt x="2230" y="562"/>
                  </a:lnTo>
                  <a:lnTo>
                    <a:pt x="2230" y="559"/>
                  </a:lnTo>
                  <a:lnTo>
                    <a:pt x="2230" y="559"/>
                  </a:lnTo>
                  <a:lnTo>
                    <a:pt x="2226" y="562"/>
                  </a:lnTo>
                  <a:lnTo>
                    <a:pt x="2226" y="562"/>
                  </a:lnTo>
                  <a:lnTo>
                    <a:pt x="2226" y="569"/>
                  </a:lnTo>
                  <a:lnTo>
                    <a:pt x="2223" y="572"/>
                  </a:lnTo>
                  <a:lnTo>
                    <a:pt x="2219" y="572"/>
                  </a:lnTo>
                  <a:lnTo>
                    <a:pt x="2219" y="565"/>
                  </a:lnTo>
                  <a:lnTo>
                    <a:pt x="2216" y="565"/>
                  </a:lnTo>
                  <a:lnTo>
                    <a:pt x="2216" y="569"/>
                  </a:lnTo>
                  <a:lnTo>
                    <a:pt x="2212" y="565"/>
                  </a:lnTo>
                  <a:lnTo>
                    <a:pt x="2209" y="565"/>
                  </a:lnTo>
                  <a:lnTo>
                    <a:pt x="2209" y="565"/>
                  </a:lnTo>
                  <a:lnTo>
                    <a:pt x="2206" y="565"/>
                  </a:lnTo>
                  <a:lnTo>
                    <a:pt x="2206" y="569"/>
                  </a:lnTo>
                  <a:lnTo>
                    <a:pt x="2202" y="569"/>
                  </a:lnTo>
                  <a:lnTo>
                    <a:pt x="2202" y="572"/>
                  </a:lnTo>
                  <a:lnTo>
                    <a:pt x="2195" y="572"/>
                  </a:lnTo>
                  <a:lnTo>
                    <a:pt x="2192" y="575"/>
                  </a:lnTo>
                  <a:lnTo>
                    <a:pt x="2192" y="572"/>
                  </a:lnTo>
                  <a:lnTo>
                    <a:pt x="2188" y="575"/>
                  </a:lnTo>
                  <a:lnTo>
                    <a:pt x="2185" y="575"/>
                  </a:lnTo>
                  <a:lnTo>
                    <a:pt x="2178" y="578"/>
                  </a:lnTo>
                  <a:lnTo>
                    <a:pt x="2178" y="582"/>
                  </a:lnTo>
                  <a:lnTo>
                    <a:pt x="2178" y="585"/>
                  </a:lnTo>
                  <a:lnTo>
                    <a:pt x="2175" y="588"/>
                  </a:lnTo>
                  <a:lnTo>
                    <a:pt x="2175" y="588"/>
                  </a:lnTo>
                  <a:lnTo>
                    <a:pt x="2178" y="591"/>
                  </a:lnTo>
                  <a:lnTo>
                    <a:pt x="2178" y="595"/>
                  </a:lnTo>
                  <a:lnTo>
                    <a:pt x="2181" y="601"/>
                  </a:lnTo>
                  <a:lnTo>
                    <a:pt x="2178" y="601"/>
                  </a:lnTo>
                  <a:lnTo>
                    <a:pt x="2175" y="614"/>
                  </a:lnTo>
                  <a:lnTo>
                    <a:pt x="2181" y="617"/>
                  </a:lnTo>
                  <a:lnTo>
                    <a:pt x="2178" y="620"/>
                  </a:lnTo>
                  <a:lnTo>
                    <a:pt x="2178" y="620"/>
                  </a:lnTo>
                  <a:lnTo>
                    <a:pt x="2178" y="624"/>
                  </a:lnTo>
                  <a:lnTo>
                    <a:pt x="2175" y="627"/>
                  </a:lnTo>
                  <a:lnTo>
                    <a:pt x="2175" y="633"/>
                  </a:lnTo>
                  <a:lnTo>
                    <a:pt x="2171" y="637"/>
                  </a:lnTo>
                  <a:lnTo>
                    <a:pt x="2171" y="640"/>
                  </a:lnTo>
                  <a:lnTo>
                    <a:pt x="2168" y="643"/>
                  </a:lnTo>
                  <a:lnTo>
                    <a:pt x="2171" y="649"/>
                  </a:lnTo>
                  <a:lnTo>
                    <a:pt x="2171" y="649"/>
                  </a:lnTo>
                  <a:lnTo>
                    <a:pt x="2175" y="656"/>
                  </a:lnTo>
                  <a:lnTo>
                    <a:pt x="2175" y="659"/>
                  </a:lnTo>
                  <a:lnTo>
                    <a:pt x="2171" y="659"/>
                  </a:lnTo>
                  <a:lnTo>
                    <a:pt x="2175" y="662"/>
                  </a:lnTo>
                  <a:lnTo>
                    <a:pt x="2178" y="659"/>
                  </a:lnTo>
                  <a:lnTo>
                    <a:pt x="2181" y="662"/>
                  </a:lnTo>
                  <a:lnTo>
                    <a:pt x="2181" y="659"/>
                  </a:lnTo>
                  <a:lnTo>
                    <a:pt x="2181" y="659"/>
                  </a:lnTo>
                  <a:lnTo>
                    <a:pt x="2185" y="659"/>
                  </a:lnTo>
                  <a:lnTo>
                    <a:pt x="2185" y="659"/>
                  </a:lnTo>
                  <a:lnTo>
                    <a:pt x="2185" y="659"/>
                  </a:lnTo>
                  <a:lnTo>
                    <a:pt x="2188" y="659"/>
                  </a:lnTo>
                  <a:lnTo>
                    <a:pt x="2188" y="659"/>
                  </a:lnTo>
                  <a:lnTo>
                    <a:pt x="2192" y="659"/>
                  </a:lnTo>
                  <a:lnTo>
                    <a:pt x="2192" y="662"/>
                  </a:lnTo>
                  <a:lnTo>
                    <a:pt x="2192" y="662"/>
                  </a:lnTo>
                  <a:lnTo>
                    <a:pt x="2195" y="666"/>
                  </a:lnTo>
                  <a:lnTo>
                    <a:pt x="2195" y="669"/>
                  </a:lnTo>
                  <a:lnTo>
                    <a:pt x="2192" y="669"/>
                  </a:lnTo>
                  <a:lnTo>
                    <a:pt x="2188" y="669"/>
                  </a:lnTo>
                  <a:lnTo>
                    <a:pt x="2188" y="669"/>
                  </a:lnTo>
                  <a:lnTo>
                    <a:pt x="2185" y="669"/>
                  </a:lnTo>
                  <a:lnTo>
                    <a:pt x="2185" y="672"/>
                  </a:lnTo>
                  <a:lnTo>
                    <a:pt x="2185" y="672"/>
                  </a:lnTo>
                  <a:lnTo>
                    <a:pt x="2181" y="679"/>
                  </a:lnTo>
                  <a:lnTo>
                    <a:pt x="2178" y="675"/>
                  </a:lnTo>
                  <a:lnTo>
                    <a:pt x="2178" y="672"/>
                  </a:lnTo>
                  <a:lnTo>
                    <a:pt x="2175" y="672"/>
                  </a:lnTo>
                  <a:lnTo>
                    <a:pt x="2175" y="672"/>
                  </a:lnTo>
                  <a:lnTo>
                    <a:pt x="2171" y="672"/>
                  </a:lnTo>
                  <a:lnTo>
                    <a:pt x="2168" y="672"/>
                  </a:lnTo>
                  <a:lnTo>
                    <a:pt x="2168" y="675"/>
                  </a:lnTo>
                  <a:lnTo>
                    <a:pt x="2168" y="679"/>
                  </a:lnTo>
                  <a:lnTo>
                    <a:pt x="2168" y="679"/>
                  </a:lnTo>
                  <a:lnTo>
                    <a:pt x="2164" y="679"/>
                  </a:lnTo>
                  <a:lnTo>
                    <a:pt x="2164" y="682"/>
                  </a:lnTo>
                  <a:lnTo>
                    <a:pt x="2164" y="682"/>
                  </a:lnTo>
                  <a:lnTo>
                    <a:pt x="2164" y="685"/>
                  </a:lnTo>
                  <a:lnTo>
                    <a:pt x="2161" y="685"/>
                  </a:lnTo>
                  <a:lnTo>
                    <a:pt x="2154" y="682"/>
                  </a:lnTo>
                  <a:lnTo>
                    <a:pt x="2154" y="682"/>
                  </a:lnTo>
                  <a:lnTo>
                    <a:pt x="2157" y="685"/>
                  </a:lnTo>
                  <a:lnTo>
                    <a:pt x="2154" y="685"/>
                  </a:lnTo>
                  <a:lnTo>
                    <a:pt x="2154" y="688"/>
                  </a:lnTo>
                  <a:lnTo>
                    <a:pt x="2151" y="688"/>
                  </a:lnTo>
                  <a:lnTo>
                    <a:pt x="2144" y="691"/>
                  </a:lnTo>
                  <a:lnTo>
                    <a:pt x="2144" y="691"/>
                  </a:lnTo>
                  <a:lnTo>
                    <a:pt x="2137" y="688"/>
                  </a:lnTo>
                  <a:lnTo>
                    <a:pt x="2133" y="688"/>
                  </a:lnTo>
                  <a:lnTo>
                    <a:pt x="2133" y="685"/>
                  </a:lnTo>
                  <a:lnTo>
                    <a:pt x="2133" y="685"/>
                  </a:lnTo>
                  <a:lnTo>
                    <a:pt x="2137" y="685"/>
                  </a:lnTo>
                  <a:lnTo>
                    <a:pt x="2137" y="682"/>
                  </a:lnTo>
                  <a:lnTo>
                    <a:pt x="2140" y="679"/>
                  </a:lnTo>
                  <a:lnTo>
                    <a:pt x="2144" y="679"/>
                  </a:lnTo>
                  <a:lnTo>
                    <a:pt x="2151" y="675"/>
                  </a:lnTo>
                  <a:lnTo>
                    <a:pt x="2151" y="672"/>
                  </a:lnTo>
                  <a:lnTo>
                    <a:pt x="2147" y="672"/>
                  </a:lnTo>
                  <a:lnTo>
                    <a:pt x="2144" y="675"/>
                  </a:lnTo>
                  <a:lnTo>
                    <a:pt x="2140" y="675"/>
                  </a:lnTo>
                  <a:lnTo>
                    <a:pt x="2140" y="672"/>
                  </a:lnTo>
                  <a:lnTo>
                    <a:pt x="2137" y="672"/>
                  </a:lnTo>
                  <a:lnTo>
                    <a:pt x="2133" y="669"/>
                  </a:lnTo>
                  <a:lnTo>
                    <a:pt x="2126" y="669"/>
                  </a:lnTo>
                  <a:lnTo>
                    <a:pt x="2120" y="669"/>
                  </a:lnTo>
                  <a:lnTo>
                    <a:pt x="2123" y="672"/>
                  </a:lnTo>
                  <a:lnTo>
                    <a:pt x="2120" y="672"/>
                  </a:lnTo>
                  <a:lnTo>
                    <a:pt x="2116" y="672"/>
                  </a:lnTo>
                  <a:lnTo>
                    <a:pt x="2116" y="669"/>
                  </a:lnTo>
                  <a:lnTo>
                    <a:pt x="2113" y="669"/>
                  </a:lnTo>
                  <a:lnTo>
                    <a:pt x="2106" y="669"/>
                  </a:lnTo>
                  <a:lnTo>
                    <a:pt x="2102" y="669"/>
                  </a:lnTo>
                  <a:lnTo>
                    <a:pt x="2099" y="669"/>
                  </a:lnTo>
                  <a:lnTo>
                    <a:pt x="2095" y="669"/>
                  </a:lnTo>
                  <a:lnTo>
                    <a:pt x="2089" y="672"/>
                  </a:lnTo>
                  <a:lnTo>
                    <a:pt x="2085" y="672"/>
                  </a:lnTo>
                  <a:lnTo>
                    <a:pt x="2085" y="675"/>
                  </a:lnTo>
                  <a:lnTo>
                    <a:pt x="2092" y="679"/>
                  </a:lnTo>
                  <a:lnTo>
                    <a:pt x="2085" y="679"/>
                  </a:lnTo>
                  <a:lnTo>
                    <a:pt x="2085" y="679"/>
                  </a:lnTo>
                  <a:lnTo>
                    <a:pt x="2082" y="682"/>
                  </a:lnTo>
                  <a:lnTo>
                    <a:pt x="2085" y="682"/>
                  </a:lnTo>
                  <a:lnTo>
                    <a:pt x="2089" y="682"/>
                  </a:lnTo>
                  <a:lnTo>
                    <a:pt x="2092" y="682"/>
                  </a:lnTo>
                  <a:lnTo>
                    <a:pt x="2092" y="685"/>
                  </a:lnTo>
                  <a:lnTo>
                    <a:pt x="2082" y="688"/>
                  </a:lnTo>
                  <a:lnTo>
                    <a:pt x="2082" y="685"/>
                  </a:lnTo>
                  <a:lnTo>
                    <a:pt x="2075" y="685"/>
                  </a:lnTo>
                  <a:lnTo>
                    <a:pt x="2071" y="688"/>
                  </a:lnTo>
                  <a:lnTo>
                    <a:pt x="2071" y="688"/>
                  </a:lnTo>
                  <a:lnTo>
                    <a:pt x="2071" y="688"/>
                  </a:lnTo>
                  <a:lnTo>
                    <a:pt x="2068" y="691"/>
                  </a:lnTo>
                  <a:lnTo>
                    <a:pt x="2065" y="691"/>
                  </a:lnTo>
                  <a:lnTo>
                    <a:pt x="2065" y="688"/>
                  </a:lnTo>
                  <a:lnTo>
                    <a:pt x="2058" y="688"/>
                  </a:lnTo>
                  <a:lnTo>
                    <a:pt x="2054" y="691"/>
                  </a:lnTo>
                  <a:lnTo>
                    <a:pt x="2047" y="688"/>
                  </a:lnTo>
                  <a:lnTo>
                    <a:pt x="2040" y="691"/>
                  </a:lnTo>
                  <a:lnTo>
                    <a:pt x="2040" y="691"/>
                  </a:lnTo>
                  <a:lnTo>
                    <a:pt x="2047" y="695"/>
                  </a:lnTo>
                  <a:lnTo>
                    <a:pt x="2044" y="698"/>
                  </a:lnTo>
                  <a:lnTo>
                    <a:pt x="2040" y="701"/>
                  </a:lnTo>
                  <a:lnTo>
                    <a:pt x="2037" y="698"/>
                  </a:lnTo>
                  <a:lnTo>
                    <a:pt x="2037" y="698"/>
                  </a:lnTo>
                  <a:lnTo>
                    <a:pt x="2037" y="695"/>
                  </a:lnTo>
                  <a:lnTo>
                    <a:pt x="2034" y="691"/>
                  </a:lnTo>
                  <a:lnTo>
                    <a:pt x="2034" y="695"/>
                  </a:lnTo>
                  <a:lnTo>
                    <a:pt x="2030" y="695"/>
                  </a:lnTo>
                  <a:lnTo>
                    <a:pt x="2027" y="695"/>
                  </a:lnTo>
                  <a:lnTo>
                    <a:pt x="2020" y="698"/>
                  </a:lnTo>
                  <a:lnTo>
                    <a:pt x="2016" y="698"/>
                  </a:lnTo>
                  <a:lnTo>
                    <a:pt x="2013" y="701"/>
                  </a:lnTo>
                  <a:lnTo>
                    <a:pt x="2006" y="701"/>
                  </a:lnTo>
                  <a:lnTo>
                    <a:pt x="1999" y="704"/>
                  </a:lnTo>
                  <a:lnTo>
                    <a:pt x="1996" y="704"/>
                  </a:lnTo>
                  <a:lnTo>
                    <a:pt x="1992" y="704"/>
                  </a:lnTo>
                  <a:lnTo>
                    <a:pt x="1989" y="704"/>
                  </a:lnTo>
                  <a:lnTo>
                    <a:pt x="1989" y="708"/>
                  </a:lnTo>
                  <a:lnTo>
                    <a:pt x="1982" y="711"/>
                  </a:lnTo>
                  <a:lnTo>
                    <a:pt x="1982" y="714"/>
                  </a:lnTo>
                  <a:lnTo>
                    <a:pt x="1979" y="717"/>
                  </a:lnTo>
                  <a:lnTo>
                    <a:pt x="1975" y="721"/>
                  </a:lnTo>
                  <a:lnTo>
                    <a:pt x="1982" y="727"/>
                  </a:lnTo>
                  <a:lnTo>
                    <a:pt x="1982" y="733"/>
                  </a:lnTo>
                  <a:lnTo>
                    <a:pt x="1975" y="740"/>
                  </a:lnTo>
                  <a:lnTo>
                    <a:pt x="1972" y="746"/>
                  </a:lnTo>
                  <a:lnTo>
                    <a:pt x="1972" y="750"/>
                  </a:lnTo>
                  <a:lnTo>
                    <a:pt x="1972" y="756"/>
                  </a:lnTo>
                  <a:lnTo>
                    <a:pt x="1975" y="759"/>
                  </a:lnTo>
                  <a:lnTo>
                    <a:pt x="1975" y="763"/>
                  </a:lnTo>
                  <a:lnTo>
                    <a:pt x="1972" y="763"/>
                  </a:lnTo>
                  <a:lnTo>
                    <a:pt x="1972" y="763"/>
                  </a:lnTo>
                  <a:lnTo>
                    <a:pt x="1972" y="766"/>
                  </a:lnTo>
                  <a:lnTo>
                    <a:pt x="1968" y="769"/>
                  </a:lnTo>
                  <a:lnTo>
                    <a:pt x="1972" y="772"/>
                  </a:lnTo>
                  <a:lnTo>
                    <a:pt x="1968" y="775"/>
                  </a:lnTo>
                  <a:lnTo>
                    <a:pt x="1965" y="779"/>
                  </a:lnTo>
                  <a:lnTo>
                    <a:pt x="1961" y="785"/>
                  </a:lnTo>
                  <a:lnTo>
                    <a:pt x="1961" y="788"/>
                  </a:lnTo>
                  <a:lnTo>
                    <a:pt x="1958" y="792"/>
                  </a:lnTo>
                  <a:lnTo>
                    <a:pt x="1958" y="798"/>
                  </a:lnTo>
                  <a:lnTo>
                    <a:pt x="1958" y="798"/>
                  </a:lnTo>
                  <a:lnTo>
                    <a:pt x="1954" y="805"/>
                  </a:lnTo>
                  <a:lnTo>
                    <a:pt x="1954" y="811"/>
                  </a:lnTo>
                  <a:lnTo>
                    <a:pt x="1954" y="811"/>
                  </a:lnTo>
                  <a:lnTo>
                    <a:pt x="1954" y="817"/>
                  </a:lnTo>
                  <a:lnTo>
                    <a:pt x="1951" y="821"/>
                  </a:lnTo>
                  <a:lnTo>
                    <a:pt x="1951" y="824"/>
                  </a:lnTo>
                  <a:lnTo>
                    <a:pt x="1948" y="827"/>
                  </a:lnTo>
                  <a:lnTo>
                    <a:pt x="1948" y="830"/>
                  </a:lnTo>
                  <a:lnTo>
                    <a:pt x="1944" y="830"/>
                  </a:lnTo>
                  <a:lnTo>
                    <a:pt x="1944" y="834"/>
                  </a:lnTo>
                  <a:lnTo>
                    <a:pt x="1941" y="840"/>
                  </a:lnTo>
                  <a:lnTo>
                    <a:pt x="1941" y="843"/>
                  </a:lnTo>
                  <a:lnTo>
                    <a:pt x="1934" y="850"/>
                  </a:lnTo>
                  <a:lnTo>
                    <a:pt x="1934" y="850"/>
                  </a:lnTo>
                  <a:lnTo>
                    <a:pt x="1930" y="856"/>
                  </a:lnTo>
                  <a:lnTo>
                    <a:pt x="1930" y="859"/>
                  </a:lnTo>
                  <a:lnTo>
                    <a:pt x="1927" y="863"/>
                  </a:lnTo>
                  <a:lnTo>
                    <a:pt x="1930" y="866"/>
                  </a:lnTo>
                  <a:lnTo>
                    <a:pt x="1934" y="869"/>
                  </a:lnTo>
                  <a:lnTo>
                    <a:pt x="1937" y="866"/>
                  </a:lnTo>
                  <a:lnTo>
                    <a:pt x="1941" y="869"/>
                  </a:lnTo>
                  <a:lnTo>
                    <a:pt x="1944" y="869"/>
                  </a:lnTo>
                  <a:lnTo>
                    <a:pt x="1948" y="866"/>
                  </a:lnTo>
                  <a:lnTo>
                    <a:pt x="1951" y="866"/>
                  </a:lnTo>
                  <a:lnTo>
                    <a:pt x="1954" y="863"/>
                  </a:lnTo>
                  <a:lnTo>
                    <a:pt x="1958" y="863"/>
                  </a:lnTo>
                  <a:lnTo>
                    <a:pt x="1961" y="863"/>
                  </a:lnTo>
                  <a:lnTo>
                    <a:pt x="1961" y="872"/>
                  </a:lnTo>
                  <a:lnTo>
                    <a:pt x="1965" y="876"/>
                  </a:lnTo>
                  <a:lnTo>
                    <a:pt x="1968" y="882"/>
                  </a:lnTo>
                  <a:lnTo>
                    <a:pt x="1965" y="885"/>
                  </a:lnTo>
                  <a:lnTo>
                    <a:pt x="1972" y="889"/>
                  </a:lnTo>
                  <a:lnTo>
                    <a:pt x="1975" y="885"/>
                  </a:lnTo>
                  <a:lnTo>
                    <a:pt x="1975" y="885"/>
                  </a:lnTo>
                  <a:lnTo>
                    <a:pt x="1979" y="885"/>
                  </a:lnTo>
                  <a:lnTo>
                    <a:pt x="1979" y="882"/>
                  </a:lnTo>
                  <a:lnTo>
                    <a:pt x="1982" y="882"/>
                  </a:lnTo>
                  <a:lnTo>
                    <a:pt x="1982" y="882"/>
                  </a:lnTo>
                  <a:lnTo>
                    <a:pt x="1985" y="882"/>
                  </a:lnTo>
                  <a:lnTo>
                    <a:pt x="1989" y="882"/>
                  </a:lnTo>
                  <a:lnTo>
                    <a:pt x="1989" y="882"/>
                  </a:lnTo>
                  <a:lnTo>
                    <a:pt x="1985" y="885"/>
                  </a:lnTo>
                  <a:lnTo>
                    <a:pt x="1985" y="892"/>
                  </a:lnTo>
                  <a:lnTo>
                    <a:pt x="1985" y="892"/>
                  </a:lnTo>
                  <a:lnTo>
                    <a:pt x="1982" y="892"/>
                  </a:lnTo>
                  <a:lnTo>
                    <a:pt x="1982" y="895"/>
                  </a:lnTo>
                  <a:lnTo>
                    <a:pt x="1992" y="892"/>
                  </a:lnTo>
                  <a:lnTo>
                    <a:pt x="1996" y="892"/>
                  </a:lnTo>
                  <a:lnTo>
                    <a:pt x="1996" y="885"/>
                  </a:lnTo>
                  <a:lnTo>
                    <a:pt x="1996" y="882"/>
                  </a:lnTo>
                  <a:lnTo>
                    <a:pt x="1999" y="879"/>
                  </a:lnTo>
                  <a:lnTo>
                    <a:pt x="1999" y="885"/>
                  </a:lnTo>
                  <a:lnTo>
                    <a:pt x="1999" y="889"/>
                  </a:lnTo>
                  <a:lnTo>
                    <a:pt x="1999" y="892"/>
                  </a:lnTo>
                  <a:lnTo>
                    <a:pt x="2003" y="892"/>
                  </a:lnTo>
                  <a:lnTo>
                    <a:pt x="2003" y="889"/>
                  </a:lnTo>
                  <a:lnTo>
                    <a:pt x="2003" y="882"/>
                  </a:lnTo>
                  <a:lnTo>
                    <a:pt x="2003" y="879"/>
                  </a:lnTo>
                  <a:lnTo>
                    <a:pt x="1999" y="876"/>
                  </a:lnTo>
                  <a:lnTo>
                    <a:pt x="1999" y="869"/>
                  </a:lnTo>
                  <a:lnTo>
                    <a:pt x="2003" y="869"/>
                  </a:lnTo>
                  <a:lnTo>
                    <a:pt x="2006" y="872"/>
                  </a:lnTo>
                  <a:lnTo>
                    <a:pt x="2006" y="872"/>
                  </a:lnTo>
                  <a:lnTo>
                    <a:pt x="2006" y="876"/>
                  </a:lnTo>
                  <a:lnTo>
                    <a:pt x="2009" y="876"/>
                  </a:lnTo>
                  <a:lnTo>
                    <a:pt x="2009" y="872"/>
                  </a:lnTo>
                  <a:lnTo>
                    <a:pt x="2013" y="872"/>
                  </a:lnTo>
                  <a:lnTo>
                    <a:pt x="2020" y="869"/>
                  </a:lnTo>
                  <a:lnTo>
                    <a:pt x="2023" y="872"/>
                  </a:lnTo>
                  <a:lnTo>
                    <a:pt x="2027" y="872"/>
                  </a:lnTo>
                  <a:lnTo>
                    <a:pt x="2030" y="876"/>
                  </a:lnTo>
                  <a:lnTo>
                    <a:pt x="2034" y="879"/>
                  </a:lnTo>
                  <a:lnTo>
                    <a:pt x="2034" y="879"/>
                  </a:lnTo>
                  <a:lnTo>
                    <a:pt x="2040" y="882"/>
                  </a:lnTo>
                  <a:lnTo>
                    <a:pt x="2040" y="882"/>
                  </a:lnTo>
                  <a:lnTo>
                    <a:pt x="2051" y="885"/>
                  </a:lnTo>
                  <a:lnTo>
                    <a:pt x="2051" y="889"/>
                  </a:lnTo>
                  <a:lnTo>
                    <a:pt x="2054" y="889"/>
                  </a:lnTo>
                  <a:lnTo>
                    <a:pt x="2058" y="892"/>
                  </a:lnTo>
                  <a:lnTo>
                    <a:pt x="2061" y="892"/>
                  </a:lnTo>
                  <a:lnTo>
                    <a:pt x="2061" y="895"/>
                  </a:lnTo>
                  <a:lnTo>
                    <a:pt x="2061" y="898"/>
                  </a:lnTo>
                  <a:lnTo>
                    <a:pt x="2061" y="901"/>
                  </a:lnTo>
                  <a:lnTo>
                    <a:pt x="2058" y="901"/>
                  </a:lnTo>
                  <a:lnTo>
                    <a:pt x="2061" y="908"/>
                  </a:lnTo>
                  <a:lnTo>
                    <a:pt x="2065" y="908"/>
                  </a:lnTo>
                  <a:lnTo>
                    <a:pt x="2068" y="911"/>
                  </a:lnTo>
                  <a:lnTo>
                    <a:pt x="2071" y="914"/>
                  </a:lnTo>
                  <a:lnTo>
                    <a:pt x="2068" y="918"/>
                  </a:lnTo>
                  <a:lnTo>
                    <a:pt x="2068" y="921"/>
                  </a:lnTo>
                  <a:lnTo>
                    <a:pt x="2071" y="924"/>
                  </a:lnTo>
                  <a:lnTo>
                    <a:pt x="2075" y="924"/>
                  </a:lnTo>
                  <a:lnTo>
                    <a:pt x="2078" y="924"/>
                  </a:lnTo>
                  <a:lnTo>
                    <a:pt x="2078" y="924"/>
                  </a:lnTo>
                  <a:lnTo>
                    <a:pt x="2075" y="927"/>
                  </a:lnTo>
                  <a:lnTo>
                    <a:pt x="2078" y="930"/>
                  </a:lnTo>
                  <a:lnTo>
                    <a:pt x="2078" y="934"/>
                  </a:lnTo>
                  <a:lnTo>
                    <a:pt x="2078" y="937"/>
                  </a:lnTo>
                  <a:lnTo>
                    <a:pt x="2078" y="937"/>
                  </a:lnTo>
                  <a:lnTo>
                    <a:pt x="2078" y="940"/>
                  </a:lnTo>
                  <a:lnTo>
                    <a:pt x="2078" y="943"/>
                  </a:lnTo>
                  <a:lnTo>
                    <a:pt x="2078" y="947"/>
                  </a:lnTo>
                  <a:lnTo>
                    <a:pt x="2078" y="947"/>
                  </a:lnTo>
                  <a:lnTo>
                    <a:pt x="2078" y="950"/>
                  </a:lnTo>
                  <a:lnTo>
                    <a:pt x="2078" y="950"/>
                  </a:lnTo>
                  <a:lnTo>
                    <a:pt x="2078" y="953"/>
                  </a:lnTo>
                  <a:lnTo>
                    <a:pt x="2078" y="960"/>
                  </a:lnTo>
                  <a:lnTo>
                    <a:pt x="2078" y="963"/>
                  </a:lnTo>
                  <a:lnTo>
                    <a:pt x="2078" y="969"/>
                  </a:lnTo>
                  <a:lnTo>
                    <a:pt x="2078" y="972"/>
                  </a:lnTo>
                  <a:lnTo>
                    <a:pt x="2078" y="972"/>
                  </a:lnTo>
                  <a:lnTo>
                    <a:pt x="2085" y="985"/>
                  </a:lnTo>
                  <a:lnTo>
                    <a:pt x="2085" y="985"/>
                  </a:lnTo>
                  <a:lnTo>
                    <a:pt x="2089" y="982"/>
                  </a:lnTo>
                  <a:lnTo>
                    <a:pt x="2092" y="985"/>
                  </a:lnTo>
                  <a:lnTo>
                    <a:pt x="2089" y="989"/>
                  </a:lnTo>
                  <a:lnTo>
                    <a:pt x="2085" y="989"/>
                  </a:lnTo>
                  <a:lnTo>
                    <a:pt x="2089" y="992"/>
                  </a:lnTo>
                  <a:lnTo>
                    <a:pt x="2089" y="992"/>
                  </a:lnTo>
                  <a:lnTo>
                    <a:pt x="2095" y="998"/>
                  </a:lnTo>
                  <a:lnTo>
                    <a:pt x="2095" y="1005"/>
                  </a:lnTo>
                  <a:lnTo>
                    <a:pt x="2095" y="1008"/>
                  </a:lnTo>
                  <a:lnTo>
                    <a:pt x="2095" y="1008"/>
                  </a:lnTo>
                  <a:lnTo>
                    <a:pt x="2095" y="1018"/>
                  </a:lnTo>
                  <a:lnTo>
                    <a:pt x="2099" y="1018"/>
                  </a:lnTo>
                  <a:lnTo>
                    <a:pt x="2099" y="1021"/>
                  </a:lnTo>
                  <a:lnTo>
                    <a:pt x="2099" y="1021"/>
                  </a:lnTo>
                  <a:lnTo>
                    <a:pt x="2099" y="1027"/>
                  </a:lnTo>
                  <a:lnTo>
                    <a:pt x="2099" y="1031"/>
                  </a:lnTo>
                  <a:lnTo>
                    <a:pt x="2102" y="1034"/>
                  </a:lnTo>
                  <a:lnTo>
                    <a:pt x="2095" y="1040"/>
                  </a:lnTo>
                  <a:lnTo>
                    <a:pt x="2095" y="1044"/>
                  </a:lnTo>
                  <a:lnTo>
                    <a:pt x="2092" y="1050"/>
                  </a:lnTo>
                  <a:lnTo>
                    <a:pt x="2092" y="1053"/>
                  </a:lnTo>
                  <a:lnTo>
                    <a:pt x="2095" y="1053"/>
                  </a:lnTo>
                  <a:lnTo>
                    <a:pt x="2092" y="1060"/>
                  </a:lnTo>
                  <a:lnTo>
                    <a:pt x="2089" y="1063"/>
                  </a:lnTo>
                  <a:lnTo>
                    <a:pt x="2089" y="1066"/>
                  </a:lnTo>
                  <a:lnTo>
                    <a:pt x="2089" y="1073"/>
                  </a:lnTo>
                  <a:lnTo>
                    <a:pt x="2089" y="1073"/>
                  </a:lnTo>
                  <a:lnTo>
                    <a:pt x="2089" y="1076"/>
                  </a:lnTo>
                  <a:lnTo>
                    <a:pt x="2085" y="1079"/>
                  </a:lnTo>
                  <a:lnTo>
                    <a:pt x="2089" y="1086"/>
                  </a:lnTo>
                  <a:lnTo>
                    <a:pt x="2085" y="1089"/>
                  </a:lnTo>
                  <a:lnTo>
                    <a:pt x="2085" y="1092"/>
                  </a:lnTo>
                  <a:lnTo>
                    <a:pt x="2089" y="1095"/>
                  </a:lnTo>
                  <a:lnTo>
                    <a:pt x="2085" y="1098"/>
                  </a:lnTo>
                  <a:lnTo>
                    <a:pt x="2082" y="1102"/>
                  </a:lnTo>
                  <a:lnTo>
                    <a:pt x="2082" y="1105"/>
                  </a:lnTo>
                  <a:lnTo>
                    <a:pt x="2078" y="1108"/>
                  </a:lnTo>
                  <a:lnTo>
                    <a:pt x="2078" y="1111"/>
                  </a:lnTo>
                  <a:lnTo>
                    <a:pt x="2071" y="1118"/>
                  </a:lnTo>
                  <a:lnTo>
                    <a:pt x="2068" y="1131"/>
                  </a:lnTo>
                  <a:lnTo>
                    <a:pt x="2068" y="1131"/>
                  </a:lnTo>
                  <a:lnTo>
                    <a:pt x="2068" y="1134"/>
                  </a:lnTo>
                  <a:lnTo>
                    <a:pt x="2068" y="1137"/>
                  </a:lnTo>
                  <a:lnTo>
                    <a:pt x="2068" y="1137"/>
                  </a:lnTo>
                  <a:lnTo>
                    <a:pt x="2061" y="1140"/>
                  </a:lnTo>
                  <a:lnTo>
                    <a:pt x="2061" y="1144"/>
                  </a:lnTo>
                  <a:lnTo>
                    <a:pt x="2058" y="1147"/>
                  </a:lnTo>
                  <a:lnTo>
                    <a:pt x="2058" y="1150"/>
                  </a:lnTo>
                  <a:lnTo>
                    <a:pt x="2058" y="1153"/>
                  </a:lnTo>
                  <a:lnTo>
                    <a:pt x="2058" y="1153"/>
                  </a:lnTo>
                  <a:lnTo>
                    <a:pt x="2054" y="1160"/>
                  </a:lnTo>
                  <a:lnTo>
                    <a:pt x="2054" y="1160"/>
                  </a:lnTo>
                  <a:lnTo>
                    <a:pt x="2051" y="1160"/>
                  </a:lnTo>
                  <a:lnTo>
                    <a:pt x="2051" y="1163"/>
                  </a:lnTo>
                  <a:lnTo>
                    <a:pt x="2051" y="1166"/>
                  </a:lnTo>
                  <a:lnTo>
                    <a:pt x="2047" y="1166"/>
                  </a:lnTo>
                  <a:lnTo>
                    <a:pt x="2047" y="1170"/>
                  </a:lnTo>
                  <a:lnTo>
                    <a:pt x="2044" y="1176"/>
                  </a:lnTo>
                  <a:lnTo>
                    <a:pt x="2040" y="1179"/>
                  </a:lnTo>
                  <a:lnTo>
                    <a:pt x="2037" y="1179"/>
                  </a:lnTo>
                  <a:lnTo>
                    <a:pt x="2037" y="1182"/>
                  </a:lnTo>
                  <a:lnTo>
                    <a:pt x="2030" y="1182"/>
                  </a:lnTo>
                  <a:lnTo>
                    <a:pt x="2027" y="1189"/>
                  </a:lnTo>
                  <a:lnTo>
                    <a:pt x="2023" y="1186"/>
                  </a:lnTo>
                  <a:lnTo>
                    <a:pt x="2023" y="1186"/>
                  </a:lnTo>
                  <a:lnTo>
                    <a:pt x="2016" y="1182"/>
                  </a:lnTo>
                  <a:lnTo>
                    <a:pt x="2009" y="1182"/>
                  </a:lnTo>
                  <a:lnTo>
                    <a:pt x="2009" y="1176"/>
                  </a:lnTo>
                  <a:lnTo>
                    <a:pt x="2006" y="1176"/>
                  </a:lnTo>
                  <a:lnTo>
                    <a:pt x="2003" y="1176"/>
                  </a:lnTo>
                  <a:lnTo>
                    <a:pt x="1999" y="1176"/>
                  </a:lnTo>
                  <a:lnTo>
                    <a:pt x="1996" y="1176"/>
                  </a:lnTo>
                  <a:lnTo>
                    <a:pt x="1996" y="1179"/>
                  </a:lnTo>
                  <a:lnTo>
                    <a:pt x="1992" y="1182"/>
                  </a:lnTo>
                  <a:lnTo>
                    <a:pt x="1992" y="1189"/>
                  </a:lnTo>
                  <a:lnTo>
                    <a:pt x="1992" y="1189"/>
                  </a:lnTo>
                  <a:lnTo>
                    <a:pt x="1989" y="1195"/>
                  </a:lnTo>
                  <a:lnTo>
                    <a:pt x="1989" y="1192"/>
                  </a:lnTo>
                  <a:lnTo>
                    <a:pt x="1982" y="1195"/>
                  </a:lnTo>
                  <a:lnTo>
                    <a:pt x="1982" y="1199"/>
                  </a:lnTo>
                  <a:lnTo>
                    <a:pt x="1979" y="1199"/>
                  </a:lnTo>
                  <a:lnTo>
                    <a:pt x="1979" y="1199"/>
                  </a:lnTo>
                  <a:close/>
                  <a:moveTo>
                    <a:pt x="644" y="1212"/>
                  </a:moveTo>
                  <a:lnTo>
                    <a:pt x="640" y="1208"/>
                  </a:lnTo>
                  <a:lnTo>
                    <a:pt x="616" y="1212"/>
                  </a:lnTo>
                  <a:lnTo>
                    <a:pt x="644" y="1212"/>
                  </a:lnTo>
                  <a:lnTo>
                    <a:pt x="644" y="1212"/>
                  </a:lnTo>
                  <a:close/>
                  <a:moveTo>
                    <a:pt x="2264" y="1140"/>
                  </a:moveTo>
                  <a:lnTo>
                    <a:pt x="2267" y="1140"/>
                  </a:lnTo>
                  <a:lnTo>
                    <a:pt x="2271" y="1140"/>
                  </a:lnTo>
                  <a:lnTo>
                    <a:pt x="2271" y="1137"/>
                  </a:lnTo>
                  <a:lnTo>
                    <a:pt x="2267" y="1137"/>
                  </a:lnTo>
                  <a:lnTo>
                    <a:pt x="2264" y="1140"/>
                  </a:lnTo>
                  <a:lnTo>
                    <a:pt x="2264" y="1140"/>
                  </a:lnTo>
                  <a:close/>
                  <a:moveTo>
                    <a:pt x="128" y="168"/>
                  </a:moveTo>
                  <a:lnTo>
                    <a:pt x="128" y="165"/>
                  </a:lnTo>
                  <a:lnTo>
                    <a:pt x="124" y="158"/>
                  </a:lnTo>
                  <a:lnTo>
                    <a:pt x="124" y="155"/>
                  </a:lnTo>
                  <a:lnTo>
                    <a:pt x="121" y="155"/>
                  </a:lnTo>
                  <a:lnTo>
                    <a:pt x="121" y="152"/>
                  </a:lnTo>
                  <a:lnTo>
                    <a:pt x="124" y="149"/>
                  </a:lnTo>
                  <a:lnTo>
                    <a:pt x="128" y="146"/>
                  </a:lnTo>
                  <a:lnTo>
                    <a:pt x="131" y="146"/>
                  </a:lnTo>
                  <a:lnTo>
                    <a:pt x="135" y="146"/>
                  </a:lnTo>
                  <a:lnTo>
                    <a:pt x="138" y="146"/>
                  </a:lnTo>
                  <a:lnTo>
                    <a:pt x="138" y="149"/>
                  </a:lnTo>
                  <a:lnTo>
                    <a:pt x="145" y="149"/>
                  </a:lnTo>
                  <a:lnTo>
                    <a:pt x="148" y="149"/>
                  </a:lnTo>
                  <a:lnTo>
                    <a:pt x="148" y="149"/>
                  </a:lnTo>
                  <a:lnTo>
                    <a:pt x="152" y="149"/>
                  </a:lnTo>
                  <a:lnTo>
                    <a:pt x="148" y="146"/>
                  </a:lnTo>
                  <a:lnTo>
                    <a:pt x="145" y="146"/>
                  </a:lnTo>
                  <a:lnTo>
                    <a:pt x="135" y="139"/>
                  </a:lnTo>
                  <a:lnTo>
                    <a:pt x="124" y="139"/>
                  </a:lnTo>
                  <a:lnTo>
                    <a:pt x="121" y="139"/>
                  </a:lnTo>
                  <a:lnTo>
                    <a:pt x="114" y="146"/>
                  </a:lnTo>
                  <a:lnTo>
                    <a:pt x="111" y="149"/>
                  </a:lnTo>
                  <a:lnTo>
                    <a:pt x="107" y="149"/>
                  </a:lnTo>
                  <a:lnTo>
                    <a:pt x="100" y="152"/>
                  </a:lnTo>
                  <a:lnTo>
                    <a:pt x="100" y="162"/>
                  </a:lnTo>
                  <a:lnTo>
                    <a:pt x="104" y="165"/>
                  </a:lnTo>
                  <a:lnTo>
                    <a:pt x="111" y="162"/>
                  </a:lnTo>
                  <a:lnTo>
                    <a:pt x="114" y="165"/>
                  </a:lnTo>
                  <a:lnTo>
                    <a:pt x="114" y="165"/>
                  </a:lnTo>
                  <a:lnTo>
                    <a:pt x="117" y="168"/>
                  </a:lnTo>
                  <a:lnTo>
                    <a:pt x="117" y="165"/>
                  </a:lnTo>
                  <a:lnTo>
                    <a:pt x="117" y="162"/>
                  </a:lnTo>
                  <a:lnTo>
                    <a:pt x="121" y="162"/>
                  </a:lnTo>
                  <a:lnTo>
                    <a:pt x="124" y="162"/>
                  </a:lnTo>
                  <a:lnTo>
                    <a:pt x="124" y="168"/>
                  </a:lnTo>
                  <a:lnTo>
                    <a:pt x="128" y="168"/>
                  </a:lnTo>
                  <a:lnTo>
                    <a:pt x="128" y="168"/>
                  </a:lnTo>
                  <a:lnTo>
                    <a:pt x="128" y="168"/>
                  </a:lnTo>
                  <a:close/>
                  <a:moveTo>
                    <a:pt x="159" y="120"/>
                  </a:moveTo>
                  <a:lnTo>
                    <a:pt x="159" y="116"/>
                  </a:lnTo>
                  <a:lnTo>
                    <a:pt x="162" y="113"/>
                  </a:lnTo>
                  <a:lnTo>
                    <a:pt x="166" y="113"/>
                  </a:lnTo>
                  <a:lnTo>
                    <a:pt x="166" y="116"/>
                  </a:lnTo>
                  <a:lnTo>
                    <a:pt x="166" y="116"/>
                  </a:lnTo>
                  <a:lnTo>
                    <a:pt x="166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close/>
                  <a:moveTo>
                    <a:pt x="152" y="184"/>
                  </a:moveTo>
                  <a:lnTo>
                    <a:pt x="152" y="184"/>
                  </a:lnTo>
                  <a:lnTo>
                    <a:pt x="155" y="184"/>
                  </a:lnTo>
                  <a:lnTo>
                    <a:pt x="155" y="181"/>
                  </a:lnTo>
                  <a:lnTo>
                    <a:pt x="155" y="178"/>
                  </a:lnTo>
                  <a:lnTo>
                    <a:pt x="159" y="178"/>
                  </a:lnTo>
                  <a:lnTo>
                    <a:pt x="159" y="178"/>
                  </a:lnTo>
                  <a:lnTo>
                    <a:pt x="162" y="178"/>
                  </a:lnTo>
                  <a:lnTo>
                    <a:pt x="162" y="171"/>
                  </a:lnTo>
                  <a:lnTo>
                    <a:pt x="162" y="168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62" y="162"/>
                  </a:lnTo>
                  <a:lnTo>
                    <a:pt x="166" y="162"/>
                  </a:lnTo>
                  <a:lnTo>
                    <a:pt x="172" y="162"/>
                  </a:lnTo>
                  <a:lnTo>
                    <a:pt x="172" y="162"/>
                  </a:lnTo>
                  <a:lnTo>
                    <a:pt x="172" y="158"/>
                  </a:lnTo>
                  <a:lnTo>
                    <a:pt x="172" y="158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6" y="155"/>
                  </a:lnTo>
                  <a:lnTo>
                    <a:pt x="166" y="152"/>
                  </a:lnTo>
                  <a:lnTo>
                    <a:pt x="169" y="152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76" y="152"/>
                  </a:lnTo>
                  <a:lnTo>
                    <a:pt x="179" y="149"/>
                  </a:lnTo>
                  <a:lnTo>
                    <a:pt x="183" y="146"/>
                  </a:lnTo>
                  <a:lnTo>
                    <a:pt x="183" y="146"/>
                  </a:lnTo>
                  <a:lnTo>
                    <a:pt x="179" y="142"/>
                  </a:lnTo>
                  <a:lnTo>
                    <a:pt x="179" y="142"/>
                  </a:lnTo>
                  <a:lnTo>
                    <a:pt x="176" y="139"/>
                  </a:lnTo>
                  <a:lnTo>
                    <a:pt x="176" y="136"/>
                  </a:lnTo>
                  <a:lnTo>
                    <a:pt x="172" y="136"/>
                  </a:lnTo>
                  <a:lnTo>
                    <a:pt x="169" y="136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39"/>
                  </a:lnTo>
                  <a:lnTo>
                    <a:pt x="166" y="136"/>
                  </a:lnTo>
                  <a:lnTo>
                    <a:pt x="169" y="136"/>
                  </a:lnTo>
                  <a:lnTo>
                    <a:pt x="169" y="133"/>
                  </a:lnTo>
                  <a:lnTo>
                    <a:pt x="169" y="126"/>
                  </a:lnTo>
                  <a:lnTo>
                    <a:pt x="169" y="126"/>
                  </a:lnTo>
                  <a:lnTo>
                    <a:pt x="166" y="129"/>
                  </a:lnTo>
                  <a:lnTo>
                    <a:pt x="162" y="136"/>
                  </a:lnTo>
                  <a:lnTo>
                    <a:pt x="162" y="136"/>
                  </a:lnTo>
                  <a:lnTo>
                    <a:pt x="162" y="133"/>
                  </a:lnTo>
                  <a:lnTo>
                    <a:pt x="162" y="129"/>
                  </a:lnTo>
                  <a:lnTo>
                    <a:pt x="162" y="129"/>
                  </a:lnTo>
                  <a:lnTo>
                    <a:pt x="159" y="129"/>
                  </a:lnTo>
                  <a:lnTo>
                    <a:pt x="159" y="133"/>
                  </a:lnTo>
                  <a:lnTo>
                    <a:pt x="155" y="136"/>
                  </a:lnTo>
                  <a:lnTo>
                    <a:pt x="155" y="139"/>
                  </a:lnTo>
                  <a:lnTo>
                    <a:pt x="155" y="139"/>
                  </a:lnTo>
                  <a:lnTo>
                    <a:pt x="159" y="139"/>
                  </a:lnTo>
                  <a:lnTo>
                    <a:pt x="162" y="139"/>
                  </a:lnTo>
                  <a:lnTo>
                    <a:pt x="162" y="139"/>
                  </a:lnTo>
                  <a:lnTo>
                    <a:pt x="159" y="142"/>
                  </a:lnTo>
                  <a:lnTo>
                    <a:pt x="155" y="142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2" y="149"/>
                  </a:lnTo>
                  <a:lnTo>
                    <a:pt x="148" y="155"/>
                  </a:lnTo>
                  <a:lnTo>
                    <a:pt x="145" y="155"/>
                  </a:lnTo>
                  <a:lnTo>
                    <a:pt x="142" y="155"/>
                  </a:lnTo>
                  <a:lnTo>
                    <a:pt x="138" y="155"/>
                  </a:lnTo>
                  <a:lnTo>
                    <a:pt x="135" y="152"/>
                  </a:lnTo>
                  <a:lnTo>
                    <a:pt x="135" y="152"/>
                  </a:lnTo>
                  <a:lnTo>
                    <a:pt x="131" y="152"/>
                  </a:lnTo>
                  <a:lnTo>
                    <a:pt x="131" y="155"/>
                  </a:lnTo>
                  <a:lnTo>
                    <a:pt x="131" y="155"/>
                  </a:lnTo>
                  <a:lnTo>
                    <a:pt x="131" y="158"/>
                  </a:lnTo>
                  <a:lnTo>
                    <a:pt x="135" y="158"/>
                  </a:lnTo>
                  <a:lnTo>
                    <a:pt x="135" y="158"/>
                  </a:lnTo>
                  <a:lnTo>
                    <a:pt x="138" y="158"/>
                  </a:lnTo>
                  <a:lnTo>
                    <a:pt x="142" y="162"/>
                  </a:lnTo>
                  <a:lnTo>
                    <a:pt x="145" y="165"/>
                  </a:lnTo>
                  <a:lnTo>
                    <a:pt x="145" y="165"/>
                  </a:lnTo>
                  <a:lnTo>
                    <a:pt x="142" y="165"/>
                  </a:lnTo>
                  <a:lnTo>
                    <a:pt x="138" y="165"/>
                  </a:lnTo>
                  <a:lnTo>
                    <a:pt x="135" y="168"/>
                  </a:lnTo>
                  <a:lnTo>
                    <a:pt x="135" y="175"/>
                  </a:lnTo>
                  <a:lnTo>
                    <a:pt x="138" y="178"/>
                  </a:lnTo>
                  <a:lnTo>
                    <a:pt x="138" y="181"/>
                  </a:lnTo>
                  <a:lnTo>
                    <a:pt x="138" y="181"/>
                  </a:lnTo>
                  <a:lnTo>
                    <a:pt x="142" y="181"/>
                  </a:lnTo>
                  <a:lnTo>
                    <a:pt x="145" y="181"/>
                  </a:lnTo>
                  <a:lnTo>
                    <a:pt x="145" y="178"/>
                  </a:lnTo>
                  <a:lnTo>
                    <a:pt x="145" y="175"/>
                  </a:lnTo>
                  <a:lnTo>
                    <a:pt x="148" y="175"/>
                  </a:lnTo>
                  <a:lnTo>
                    <a:pt x="152" y="178"/>
                  </a:lnTo>
                  <a:lnTo>
                    <a:pt x="152" y="184"/>
                  </a:lnTo>
                  <a:lnTo>
                    <a:pt x="152" y="184"/>
                  </a:lnTo>
                  <a:close/>
                  <a:moveTo>
                    <a:pt x="176" y="178"/>
                  </a:moveTo>
                  <a:lnTo>
                    <a:pt x="176" y="175"/>
                  </a:lnTo>
                  <a:lnTo>
                    <a:pt x="179" y="171"/>
                  </a:lnTo>
                  <a:lnTo>
                    <a:pt x="179" y="171"/>
                  </a:lnTo>
                  <a:lnTo>
                    <a:pt x="176" y="168"/>
                  </a:lnTo>
                  <a:lnTo>
                    <a:pt x="172" y="168"/>
                  </a:lnTo>
                  <a:lnTo>
                    <a:pt x="169" y="171"/>
                  </a:lnTo>
                  <a:lnTo>
                    <a:pt x="169" y="175"/>
                  </a:lnTo>
                  <a:lnTo>
                    <a:pt x="169" y="175"/>
                  </a:lnTo>
                  <a:lnTo>
                    <a:pt x="176" y="178"/>
                  </a:lnTo>
                  <a:lnTo>
                    <a:pt x="176" y="178"/>
                  </a:lnTo>
                  <a:close/>
                  <a:moveTo>
                    <a:pt x="183" y="188"/>
                  </a:moveTo>
                  <a:lnTo>
                    <a:pt x="183" y="188"/>
                  </a:lnTo>
                  <a:lnTo>
                    <a:pt x="186" y="188"/>
                  </a:lnTo>
                  <a:lnTo>
                    <a:pt x="190" y="184"/>
                  </a:lnTo>
                  <a:lnTo>
                    <a:pt x="193" y="184"/>
                  </a:lnTo>
                  <a:lnTo>
                    <a:pt x="197" y="184"/>
                  </a:lnTo>
                  <a:lnTo>
                    <a:pt x="193" y="181"/>
                  </a:lnTo>
                  <a:lnTo>
                    <a:pt x="190" y="181"/>
                  </a:lnTo>
                  <a:lnTo>
                    <a:pt x="190" y="178"/>
                  </a:lnTo>
                  <a:lnTo>
                    <a:pt x="186" y="171"/>
                  </a:lnTo>
                  <a:lnTo>
                    <a:pt x="186" y="175"/>
                  </a:lnTo>
                  <a:lnTo>
                    <a:pt x="183" y="178"/>
                  </a:lnTo>
                  <a:lnTo>
                    <a:pt x="183" y="181"/>
                  </a:lnTo>
                  <a:lnTo>
                    <a:pt x="179" y="181"/>
                  </a:lnTo>
                  <a:lnTo>
                    <a:pt x="176" y="181"/>
                  </a:lnTo>
                  <a:lnTo>
                    <a:pt x="183" y="184"/>
                  </a:lnTo>
                  <a:lnTo>
                    <a:pt x="183" y="188"/>
                  </a:lnTo>
                  <a:lnTo>
                    <a:pt x="183" y="188"/>
                  </a:lnTo>
                  <a:close/>
                  <a:moveTo>
                    <a:pt x="231" y="71"/>
                  </a:moveTo>
                  <a:lnTo>
                    <a:pt x="234" y="68"/>
                  </a:lnTo>
                  <a:lnTo>
                    <a:pt x="238" y="68"/>
                  </a:lnTo>
                  <a:lnTo>
                    <a:pt x="241" y="68"/>
                  </a:lnTo>
                  <a:lnTo>
                    <a:pt x="241" y="65"/>
                  </a:lnTo>
                  <a:lnTo>
                    <a:pt x="241" y="65"/>
                  </a:lnTo>
                  <a:lnTo>
                    <a:pt x="241" y="62"/>
                  </a:lnTo>
                  <a:lnTo>
                    <a:pt x="238" y="58"/>
                  </a:lnTo>
                  <a:lnTo>
                    <a:pt x="234" y="62"/>
                  </a:lnTo>
                  <a:lnTo>
                    <a:pt x="231" y="62"/>
                  </a:lnTo>
                  <a:lnTo>
                    <a:pt x="228" y="65"/>
                  </a:lnTo>
                  <a:lnTo>
                    <a:pt x="228" y="65"/>
                  </a:lnTo>
                  <a:lnTo>
                    <a:pt x="228" y="65"/>
                  </a:lnTo>
                  <a:lnTo>
                    <a:pt x="231" y="68"/>
                  </a:lnTo>
                  <a:lnTo>
                    <a:pt x="231" y="68"/>
                  </a:lnTo>
                  <a:lnTo>
                    <a:pt x="231" y="71"/>
                  </a:lnTo>
                  <a:lnTo>
                    <a:pt x="231" y="71"/>
                  </a:lnTo>
                  <a:close/>
                  <a:moveTo>
                    <a:pt x="234" y="78"/>
                  </a:moveTo>
                  <a:lnTo>
                    <a:pt x="234" y="74"/>
                  </a:lnTo>
                  <a:lnTo>
                    <a:pt x="238" y="74"/>
                  </a:lnTo>
                  <a:lnTo>
                    <a:pt x="238" y="74"/>
                  </a:lnTo>
                  <a:lnTo>
                    <a:pt x="234" y="78"/>
                  </a:lnTo>
                  <a:lnTo>
                    <a:pt x="234" y="78"/>
                  </a:lnTo>
                  <a:close/>
                  <a:moveTo>
                    <a:pt x="238" y="87"/>
                  </a:moveTo>
                  <a:lnTo>
                    <a:pt x="238" y="84"/>
                  </a:lnTo>
                  <a:lnTo>
                    <a:pt x="241" y="84"/>
                  </a:lnTo>
                  <a:lnTo>
                    <a:pt x="241" y="81"/>
                  </a:lnTo>
                  <a:lnTo>
                    <a:pt x="241" y="81"/>
                  </a:lnTo>
                  <a:lnTo>
                    <a:pt x="238" y="81"/>
                  </a:lnTo>
                  <a:lnTo>
                    <a:pt x="234" y="81"/>
                  </a:lnTo>
                  <a:lnTo>
                    <a:pt x="231" y="78"/>
                  </a:lnTo>
                  <a:lnTo>
                    <a:pt x="231" y="78"/>
                  </a:lnTo>
                  <a:lnTo>
                    <a:pt x="228" y="81"/>
                  </a:lnTo>
                  <a:lnTo>
                    <a:pt x="224" y="84"/>
                  </a:lnTo>
                  <a:lnTo>
                    <a:pt x="221" y="84"/>
                  </a:lnTo>
                  <a:lnTo>
                    <a:pt x="224" y="87"/>
                  </a:lnTo>
                  <a:lnTo>
                    <a:pt x="228" y="87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4" y="87"/>
                  </a:lnTo>
                  <a:lnTo>
                    <a:pt x="238" y="87"/>
                  </a:lnTo>
                  <a:lnTo>
                    <a:pt x="238" y="87"/>
                  </a:lnTo>
                  <a:close/>
                  <a:moveTo>
                    <a:pt x="245" y="87"/>
                  </a:moveTo>
                  <a:lnTo>
                    <a:pt x="245" y="84"/>
                  </a:lnTo>
                  <a:lnTo>
                    <a:pt x="248" y="81"/>
                  </a:lnTo>
                  <a:lnTo>
                    <a:pt x="248" y="81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7"/>
                  </a:lnTo>
                  <a:lnTo>
                    <a:pt x="248" y="87"/>
                  </a:lnTo>
                  <a:lnTo>
                    <a:pt x="245" y="87"/>
                  </a:lnTo>
                  <a:lnTo>
                    <a:pt x="245" y="87"/>
                  </a:lnTo>
                  <a:close/>
                  <a:moveTo>
                    <a:pt x="231" y="104"/>
                  </a:moveTo>
                  <a:lnTo>
                    <a:pt x="234" y="100"/>
                  </a:lnTo>
                  <a:lnTo>
                    <a:pt x="238" y="97"/>
                  </a:lnTo>
                  <a:lnTo>
                    <a:pt x="241" y="94"/>
                  </a:lnTo>
                  <a:lnTo>
                    <a:pt x="241" y="91"/>
                  </a:lnTo>
                  <a:lnTo>
                    <a:pt x="238" y="91"/>
                  </a:lnTo>
                  <a:lnTo>
                    <a:pt x="231" y="94"/>
                  </a:lnTo>
                  <a:lnTo>
                    <a:pt x="228" y="91"/>
                  </a:lnTo>
                  <a:lnTo>
                    <a:pt x="224" y="91"/>
                  </a:lnTo>
                  <a:lnTo>
                    <a:pt x="224" y="94"/>
                  </a:lnTo>
                  <a:lnTo>
                    <a:pt x="221" y="97"/>
                  </a:lnTo>
                  <a:lnTo>
                    <a:pt x="221" y="97"/>
                  </a:lnTo>
                  <a:lnTo>
                    <a:pt x="224" y="97"/>
                  </a:lnTo>
                  <a:lnTo>
                    <a:pt x="228" y="100"/>
                  </a:lnTo>
                  <a:lnTo>
                    <a:pt x="228" y="100"/>
                  </a:lnTo>
                  <a:lnTo>
                    <a:pt x="224" y="104"/>
                  </a:lnTo>
                  <a:lnTo>
                    <a:pt x="217" y="104"/>
                  </a:lnTo>
                  <a:lnTo>
                    <a:pt x="217" y="107"/>
                  </a:lnTo>
                  <a:lnTo>
                    <a:pt x="217" y="107"/>
                  </a:lnTo>
                  <a:lnTo>
                    <a:pt x="221" y="110"/>
                  </a:lnTo>
                  <a:lnTo>
                    <a:pt x="224" y="107"/>
                  </a:lnTo>
                  <a:lnTo>
                    <a:pt x="224" y="107"/>
                  </a:lnTo>
                  <a:lnTo>
                    <a:pt x="231" y="104"/>
                  </a:lnTo>
                  <a:lnTo>
                    <a:pt x="231" y="104"/>
                  </a:lnTo>
                  <a:close/>
                  <a:moveTo>
                    <a:pt x="241" y="104"/>
                  </a:moveTo>
                  <a:lnTo>
                    <a:pt x="238" y="104"/>
                  </a:lnTo>
                  <a:lnTo>
                    <a:pt x="234" y="107"/>
                  </a:lnTo>
                  <a:lnTo>
                    <a:pt x="234" y="104"/>
                  </a:lnTo>
                  <a:lnTo>
                    <a:pt x="234" y="104"/>
                  </a:lnTo>
                  <a:lnTo>
                    <a:pt x="238" y="100"/>
                  </a:lnTo>
                  <a:lnTo>
                    <a:pt x="238" y="97"/>
                  </a:lnTo>
                  <a:lnTo>
                    <a:pt x="241" y="100"/>
                  </a:lnTo>
                  <a:lnTo>
                    <a:pt x="241" y="104"/>
                  </a:lnTo>
                  <a:lnTo>
                    <a:pt x="241" y="104"/>
                  </a:lnTo>
                  <a:lnTo>
                    <a:pt x="241" y="104"/>
                  </a:lnTo>
                  <a:close/>
                  <a:moveTo>
                    <a:pt x="252" y="110"/>
                  </a:moveTo>
                  <a:lnTo>
                    <a:pt x="248" y="107"/>
                  </a:lnTo>
                  <a:lnTo>
                    <a:pt x="245" y="107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8" y="107"/>
                  </a:lnTo>
                  <a:lnTo>
                    <a:pt x="255" y="107"/>
                  </a:lnTo>
                  <a:lnTo>
                    <a:pt x="258" y="107"/>
                  </a:lnTo>
                  <a:lnTo>
                    <a:pt x="255" y="110"/>
                  </a:lnTo>
                  <a:lnTo>
                    <a:pt x="252" y="110"/>
                  </a:lnTo>
                  <a:lnTo>
                    <a:pt x="252" y="110"/>
                  </a:lnTo>
                  <a:close/>
                  <a:moveTo>
                    <a:pt x="248" y="120"/>
                  </a:moveTo>
                  <a:lnTo>
                    <a:pt x="245" y="116"/>
                  </a:lnTo>
                  <a:lnTo>
                    <a:pt x="238" y="113"/>
                  </a:lnTo>
                  <a:lnTo>
                    <a:pt x="231" y="110"/>
                  </a:lnTo>
                  <a:lnTo>
                    <a:pt x="228" y="110"/>
                  </a:lnTo>
                  <a:lnTo>
                    <a:pt x="224" y="110"/>
                  </a:lnTo>
                  <a:lnTo>
                    <a:pt x="224" y="110"/>
                  </a:lnTo>
                  <a:lnTo>
                    <a:pt x="228" y="107"/>
                  </a:lnTo>
                  <a:lnTo>
                    <a:pt x="234" y="107"/>
                  </a:lnTo>
                  <a:lnTo>
                    <a:pt x="241" y="110"/>
                  </a:lnTo>
                  <a:lnTo>
                    <a:pt x="245" y="113"/>
                  </a:lnTo>
                  <a:lnTo>
                    <a:pt x="248" y="113"/>
                  </a:lnTo>
                  <a:lnTo>
                    <a:pt x="252" y="113"/>
                  </a:lnTo>
                  <a:lnTo>
                    <a:pt x="252" y="113"/>
                  </a:lnTo>
                  <a:lnTo>
                    <a:pt x="252" y="116"/>
                  </a:lnTo>
                  <a:lnTo>
                    <a:pt x="252" y="120"/>
                  </a:lnTo>
                  <a:lnTo>
                    <a:pt x="248" y="120"/>
                  </a:lnTo>
                  <a:lnTo>
                    <a:pt x="248" y="120"/>
                  </a:lnTo>
                  <a:close/>
                  <a:moveTo>
                    <a:pt x="252" y="129"/>
                  </a:moveTo>
                  <a:lnTo>
                    <a:pt x="252" y="126"/>
                  </a:lnTo>
                  <a:lnTo>
                    <a:pt x="248" y="123"/>
                  </a:lnTo>
                  <a:lnTo>
                    <a:pt x="245" y="123"/>
                  </a:lnTo>
                  <a:lnTo>
                    <a:pt x="238" y="120"/>
                  </a:lnTo>
                  <a:lnTo>
                    <a:pt x="234" y="116"/>
                  </a:lnTo>
                  <a:lnTo>
                    <a:pt x="231" y="116"/>
                  </a:lnTo>
                  <a:lnTo>
                    <a:pt x="228" y="116"/>
                  </a:lnTo>
                  <a:lnTo>
                    <a:pt x="224" y="116"/>
                  </a:lnTo>
                  <a:lnTo>
                    <a:pt x="221" y="113"/>
                  </a:lnTo>
                  <a:lnTo>
                    <a:pt x="210" y="113"/>
                  </a:lnTo>
                  <a:lnTo>
                    <a:pt x="207" y="113"/>
                  </a:lnTo>
                  <a:lnTo>
                    <a:pt x="207" y="116"/>
                  </a:lnTo>
                  <a:lnTo>
                    <a:pt x="207" y="120"/>
                  </a:lnTo>
                  <a:lnTo>
                    <a:pt x="210" y="120"/>
                  </a:lnTo>
                  <a:lnTo>
                    <a:pt x="217" y="123"/>
                  </a:lnTo>
                  <a:lnTo>
                    <a:pt x="217" y="120"/>
                  </a:lnTo>
                  <a:lnTo>
                    <a:pt x="221" y="120"/>
                  </a:lnTo>
                  <a:lnTo>
                    <a:pt x="224" y="123"/>
                  </a:lnTo>
                  <a:lnTo>
                    <a:pt x="224" y="123"/>
                  </a:lnTo>
                  <a:lnTo>
                    <a:pt x="228" y="126"/>
                  </a:lnTo>
                  <a:lnTo>
                    <a:pt x="228" y="123"/>
                  </a:lnTo>
                  <a:lnTo>
                    <a:pt x="231" y="126"/>
                  </a:lnTo>
                  <a:lnTo>
                    <a:pt x="234" y="129"/>
                  </a:lnTo>
                  <a:lnTo>
                    <a:pt x="238" y="126"/>
                  </a:lnTo>
                  <a:lnTo>
                    <a:pt x="245" y="129"/>
                  </a:lnTo>
                  <a:lnTo>
                    <a:pt x="248" y="129"/>
                  </a:lnTo>
                  <a:lnTo>
                    <a:pt x="252" y="129"/>
                  </a:lnTo>
                  <a:lnTo>
                    <a:pt x="252" y="129"/>
                  </a:lnTo>
                  <a:close/>
                  <a:moveTo>
                    <a:pt x="221" y="136"/>
                  </a:moveTo>
                  <a:lnTo>
                    <a:pt x="221" y="136"/>
                  </a:lnTo>
                  <a:lnTo>
                    <a:pt x="221" y="136"/>
                  </a:lnTo>
                  <a:lnTo>
                    <a:pt x="217" y="133"/>
                  </a:lnTo>
                  <a:lnTo>
                    <a:pt x="214" y="133"/>
                  </a:lnTo>
                  <a:lnTo>
                    <a:pt x="210" y="129"/>
                  </a:lnTo>
                  <a:lnTo>
                    <a:pt x="210" y="129"/>
                  </a:lnTo>
                  <a:lnTo>
                    <a:pt x="214" y="129"/>
                  </a:lnTo>
                  <a:lnTo>
                    <a:pt x="217" y="126"/>
                  </a:lnTo>
                  <a:lnTo>
                    <a:pt x="221" y="126"/>
                  </a:lnTo>
                  <a:lnTo>
                    <a:pt x="221" y="126"/>
                  </a:lnTo>
                  <a:lnTo>
                    <a:pt x="224" y="129"/>
                  </a:lnTo>
                  <a:lnTo>
                    <a:pt x="228" y="129"/>
                  </a:lnTo>
                  <a:lnTo>
                    <a:pt x="228" y="129"/>
                  </a:lnTo>
                  <a:lnTo>
                    <a:pt x="231" y="129"/>
                  </a:lnTo>
                  <a:lnTo>
                    <a:pt x="231" y="133"/>
                  </a:lnTo>
                  <a:lnTo>
                    <a:pt x="231" y="133"/>
                  </a:lnTo>
                  <a:lnTo>
                    <a:pt x="221" y="136"/>
                  </a:lnTo>
                  <a:lnTo>
                    <a:pt x="221" y="136"/>
                  </a:lnTo>
                  <a:close/>
                  <a:moveTo>
                    <a:pt x="214" y="152"/>
                  </a:moveTo>
                  <a:lnTo>
                    <a:pt x="210" y="149"/>
                  </a:lnTo>
                  <a:lnTo>
                    <a:pt x="210" y="146"/>
                  </a:lnTo>
                  <a:lnTo>
                    <a:pt x="210" y="146"/>
                  </a:lnTo>
                  <a:lnTo>
                    <a:pt x="207" y="149"/>
                  </a:lnTo>
                  <a:lnTo>
                    <a:pt x="207" y="152"/>
                  </a:lnTo>
                  <a:lnTo>
                    <a:pt x="207" y="152"/>
                  </a:lnTo>
                  <a:lnTo>
                    <a:pt x="210" y="155"/>
                  </a:lnTo>
                  <a:lnTo>
                    <a:pt x="214" y="152"/>
                  </a:lnTo>
                  <a:lnTo>
                    <a:pt x="214" y="152"/>
                  </a:lnTo>
                  <a:close/>
                  <a:moveTo>
                    <a:pt x="217" y="152"/>
                  </a:moveTo>
                  <a:lnTo>
                    <a:pt x="217" y="152"/>
                  </a:lnTo>
                  <a:lnTo>
                    <a:pt x="221" y="149"/>
                  </a:lnTo>
                  <a:lnTo>
                    <a:pt x="217" y="149"/>
                  </a:lnTo>
                  <a:lnTo>
                    <a:pt x="217" y="142"/>
                  </a:lnTo>
                  <a:lnTo>
                    <a:pt x="214" y="146"/>
                  </a:lnTo>
                  <a:lnTo>
                    <a:pt x="214" y="149"/>
                  </a:lnTo>
                  <a:lnTo>
                    <a:pt x="217" y="152"/>
                  </a:lnTo>
                  <a:lnTo>
                    <a:pt x="217" y="152"/>
                  </a:lnTo>
                  <a:close/>
                  <a:moveTo>
                    <a:pt x="224" y="149"/>
                  </a:moveTo>
                  <a:lnTo>
                    <a:pt x="224" y="149"/>
                  </a:lnTo>
                  <a:lnTo>
                    <a:pt x="228" y="149"/>
                  </a:lnTo>
                  <a:lnTo>
                    <a:pt x="228" y="149"/>
                  </a:lnTo>
                  <a:lnTo>
                    <a:pt x="228" y="146"/>
                  </a:lnTo>
                  <a:lnTo>
                    <a:pt x="224" y="146"/>
                  </a:lnTo>
                  <a:lnTo>
                    <a:pt x="221" y="146"/>
                  </a:lnTo>
                  <a:lnTo>
                    <a:pt x="224" y="149"/>
                  </a:lnTo>
                  <a:lnTo>
                    <a:pt x="224" y="149"/>
                  </a:lnTo>
                  <a:close/>
                  <a:moveTo>
                    <a:pt x="224" y="155"/>
                  </a:moveTo>
                  <a:lnTo>
                    <a:pt x="224" y="155"/>
                  </a:lnTo>
                  <a:lnTo>
                    <a:pt x="228" y="152"/>
                  </a:lnTo>
                  <a:lnTo>
                    <a:pt x="228" y="149"/>
                  </a:lnTo>
                  <a:lnTo>
                    <a:pt x="224" y="149"/>
                  </a:lnTo>
                  <a:lnTo>
                    <a:pt x="221" y="152"/>
                  </a:lnTo>
                  <a:lnTo>
                    <a:pt x="221" y="152"/>
                  </a:lnTo>
                  <a:lnTo>
                    <a:pt x="221" y="155"/>
                  </a:lnTo>
                  <a:lnTo>
                    <a:pt x="224" y="155"/>
                  </a:lnTo>
                  <a:lnTo>
                    <a:pt x="224" y="155"/>
                  </a:lnTo>
                  <a:close/>
                  <a:moveTo>
                    <a:pt x="217" y="165"/>
                  </a:moveTo>
                  <a:lnTo>
                    <a:pt x="217" y="162"/>
                  </a:lnTo>
                  <a:lnTo>
                    <a:pt x="214" y="162"/>
                  </a:lnTo>
                  <a:lnTo>
                    <a:pt x="210" y="158"/>
                  </a:lnTo>
                  <a:lnTo>
                    <a:pt x="210" y="158"/>
                  </a:lnTo>
                  <a:lnTo>
                    <a:pt x="207" y="162"/>
                  </a:lnTo>
                  <a:lnTo>
                    <a:pt x="210" y="165"/>
                  </a:lnTo>
                  <a:lnTo>
                    <a:pt x="210" y="165"/>
                  </a:lnTo>
                  <a:lnTo>
                    <a:pt x="207" y="168"/>
                  </a:lnTo>
                  <a:lnTo>
                    <a:pt x="207" y="171"/>
                  </a:lnTo>
                  <a:lnTo>
                    <a:pt x="214" y="171"/>
                  </a:lnTo>
                  <a:lnTo>
                    <a:pt x="217" y="168"/>
                  </a:lnTo>
                  <a:lnTo>
                    <a:pt x="217" y="165"/>
                  </a:lnTo>
                  <a:lnTo>
                    <a:pt x="217" y="165"/>
                  </a:lnTo>
                  <a:close/>
                  <a:moveTo>
                    <a:pt x="221" y="158"/>
                  </a:moveTo>
                  <a:lnTo>
                    <a:pt x="221" y="162"/>
                  </a:lnTo>
                  <a:lnTo>
                    <a:pt x="224" y="165"/>
                  </a:lnTo>
                  <a:lnTo>
                    <a:pt x="224" y="165"/>
                  </a:lnTo>
                  <a:lnTo>
                    <a:pt x="224" y="162"/>
                  </a:lnTo>
                  <a:lnTo>
                    <a:pt x="224" y="162"/>
                  </a:lnTo>
                  <a:lnTo>
                    <a:pt x="221" y="158"/>
                  </a:lnTo>
                  <a:lnTo>
                    <a:pt x="221" y="158"/>
                  </a:lnTo>
                  <a:close/>
                  <a:moveTo>
                    <a:pt x="252" y="123"/>
                  </a:moveTo>
                  <a:lnTo>
                    <a:pt x="252" y="120"/>
                  </a:lnTo>
                  <a:lnTo>
                    <a:pt x="255" y="120"/>
                  </a:lnTo>
                  <a:lnTo>
                    <a:pt x="255" y="116"/>
                  </a:lnTo>
                  <a:lnTo>
                    <a:pt x="258" y="113"/>
                  </a:lnTo>
                  <a:lnTo>
                    <a:pt x="258" y="113"/>
                  </a:lnTo>
                  <a:lnTo>
                    <a:pt x="262" y="116"/>
                  </a:lnTo>
                  <a:lnTo>
                    <a:pt x="262" y="120"/>
                  </a:lnTo>
                  <a:lnTo>
                    <a:pt x="258" y="120"/>
                  </a:lnTo>
                  <a:lnTo>
                    <a:pt x="258" y="123"/>
                  </a:lnTo>
                  <a:lnTo>
                    <a:pt x="258" y="123"/>
                  </a:lnTo>
                  <a:lnTo>
                    <a:pt x="255" y="123"/>
                  </a:lnTo>
                  <a:lnTo>
                    <a:pt x="252" y="123"/>
                  </a:lnTo>
                  <a:lnTo>
                    <a:pt x="252" y="123"/>
                  </a:lnTo>
                  <a:close/>
                  <a:moveTo>
                    <a:pt x="231" y="158"/>
                  </a:moveTo>
                  <a:lnTo>
                    <a:pt x="231" y="162"/>
                  </a:lnTo>
                  <a:lnTo>
                    <a:pt x="234" y="162"/>
                  </a:lnTo>
                  <a:lnTo>
                    <a:pt x="238" y="162"/>
                  </a:lnTo>
                  <a:lnTo>
                    <a:pt x="238" y="158"/>
                  </a:lnTo>
                  <a:lnTo>
                    <a:pt x="238" y="155"/>
                  </a:lnTo>
                  <a:lnTo>
                    <a:pt x="238" y="155"/>
                  </a:lnTo>
                  <a:lnTo>
                    <a:pt x="234" y="155"/>
                  </a:lnTo>
                  <a:lnTo>
                    <a:pt x="231" y="158"/>
                  </a:lnTo>
                  <a:lnTo>
                    <a:pt x="231" y="158"/>
                  </a:lnTo>
                  <a:lnTo>
                    <a:pt x="231" y="158"/>
                  </a:lnTo>
                  <a:close/>
                  <a:moveTo>
                    <a:pt x="231" y="152"/>
                  </a:moveTo>
                  <a:lnTo>
                    <a:pt x="234" y="152"/>
                  </a:lnTo>
                  <a:lnTo>
                    <a:pt x="234" y="152"/>
                  </a:lnTo>
                  <a:lnTo>
                    <a:pt x="234" y="149"/>
                  </a:lnTo>
                  <a:lnTo>
                    <a:pt x="231" y="149"/>
                  </a:lnTo>
                  <a:lnTo>
                    <a:pt x="231" y="152"/>
                  </a:lnTo>
                  <a:lnTo>
                    <a:pt x="231" y="152"/>
                  </a:lnTo>
                  <a:close/>
                  <a:moveTo>
                    <a:pt x="238" y="149"/>
                  </a:moveTo>
                  <a:lnTo>
                    <a:pt x="238" y="152"/>
                  </a:lnTo>
                  <a:lnTo>
                    <a:pt x="241" y="152"/>
                  </a:lnTo>
                  <a:lnTo>
                    <a:pt x="241" y="152"/>
                  </a:lnTo>
                  <a:lnTo>
                    <a:pt x="245" y="149"/>
                  </a:lnTo>
                  <a:lnTo>
                    <a:pt x="241" y="149"/>
                  </a:lnTo>
                  <a:lnTo>
                    <a:pt x="241" y="149"/>
                  </a:lnTo>
                  <a:lnTo>
                    <a:pt x="238" y="149"/>
                  </a:lnTo>
                  <a:lnTo>
                    <a:pt x="238" y="149"/>
                  </a:lnTo>
                  <a:lnTo>
                    <a:pt x="238" y="149"/>
                  </a:lnTo>
                  <a:close/>
                  <a:moveTo>
                    <a:pt x="238" y="136"/>
                  </a:moveTo>
                  <a:lnTo>
                    <a:pt x="234" y="139"/>
                  </a:lnTo>
                  <a:lnTo>
                    <a:pt x="234" y="139"/>
                  </a:lnTo>
                  <a:lnTo>
                    <a:pt x="231" y="139"/>
                  </a:lnTo>
                  <a:lnTo>
                    <a:pt x="231" y="136"/>
                  </a:lnTo>
                  <a:lnTo>
                    <a:pt x="234" y="133"/>
                  </a:lnTo>
                  <a:lnTo>
                    <a:pt x="238" y="129"/>
                  </a:lnTo>
                  <a:lnTo>
                    <a:pt x="241" y="129"/>
                  </a:lnTo>
                  <a:lnTo>
                    <a:pt x="241" y="133"/>
                  </a:lnTo>
                  <a:lnTo>
                    <a:pt x="245" y="133"/>
                  </a:lnTo>
                  <a:lnTo>
                    <a:pt x="245" y="136"/>
                  </a:lnTo>
                  <a:lnTo>
                    <a:pt x="245" y="139"/>
                  </a:lnTo>
                  <a:lnTo>
                    <a:pt x="241" y="139"/>
                  </a:lnTo>
                  <a:lnTo>
                    <a:pt x="238" y="136"/>
                  </a:lnTo>
                  <a:lnTo>
                    <a:pt x="238" y="136"/>
                  </a:lnTo>
                  <a:close/>
                  <a:moveTo>
                    <a:pt x="252" y="136"/>
                  </a:moveTo>
                  <a:lnTo>
                    <a:pt x="255" y="139"/>
                  </a:lnTo>
                  <a:lnTo>
                    <a:pt x="258" y="139"/>
                  </a:lnTo>
                  <a:lnTo>
                    <a:pt x="262" y="136"/>
                  </a:lnTo>
                  <a:lnTo>
                    <a:pt x="262" y="136"/>
                  </a:lnTo>
                  <a:lnTo>
                    <a:pt x="258" y="133"/>
                  </a:lnTo>
                  <a:lnTo>
                    <a:pt x="258" y="133"/>
                  </a:lnTo>
                  <a:lnTo>
                    <a:pt x="255" y="136"/>
                  </a:lnTo>
                  <a:lnTo>
                    <a:pt x="252" y="136"/>
                  </a:lnTo>
                  <a:lnTo>
                    <a:pt x="252" y="136"/>
                  </a:lnTo>
                  <a:close/>
                  <a:moveTo>
                    <a:pt x="262" y="165"/>
                  </a:moveTo>
                  <a:lnTo>
                    <a:pt x="262" y="165"/>
                  </a:lnTo>
                  <a:lnTo>
                    <a:pt x="258" y="162"/>
                  </a:lnTo>
                  <a:lnTo>
                    <a:pt x="258" y="158"/>
                  </a:lnTo>
                  <a:lnTo>
                    <a:pt x="258" y="155"/>
                  </a:lnTo>
                  <a:lnTo>
                    <a:pt x="255" y="152"/>
                  </a:lnTo>
                  <a:lnTo>
                    <a:pt x="252" y="149"/>
                  </a:lnTo>
                  <a:lnTo>
                    <a:pt x="252" y="152"/>
                  </a:lnTo>
                  <a:lnTo>
                    <a:pt x="248" y="152"/>
                  </a:lnTo>
                  <a:lnTo>
                    <a:pt x="241" y="152"/>
                  </a:lnTo>
                  <a:lnTo>
                    <a:pt x="241" y="155"/>
                  </a:lnTo>
                  <a:lnTo>
                    <a:pt x="245" y="158"/>
                  </a:lnTo>
                  <a:lnTo>
                    <a:pt x="245" y="165"/>
                  </a:lnTo>
                  <a:lnTo>
                    <a:pt x="248" y="168"/>
                  </a:lnTo>
                  <a:lnTo>
                    <a:pt x="252" y="168"/>
                  </a:lnTo>
                  <a:lnTo>
                    <a:pt x="255" y="165"/>
                  </a:lnTo>
                  <a:lnTo>
                    <a:pt x="262" y="165"/>
                  </a:lnTo>
                  <a:lnTo>
                    <a:pt x="262" y="165"/>
                  </a:lnTo>
                  <a:close/>
                  <a:moveTo>
                    <a:pt x="272" y="165"/>
                  </a:moveTo>
                  <a:lnTo>
                    <a:pt x="272" y="162"/>
                  </a:lnTo>
                  <a:lnTo>
                    <a:pt x="269" y="158"/>
                  </a:lnTo>
                  <a:lnTo>
                    <a:pt x="269" y="158"/>
                  </a:lnTo>
                  <a:lnTo>
                    <a:pt x="272" y="158"/>
                  </a:lnTo>
                  <a:lnTo>
                    <a:pt x="272" y="155"/>
                  </a:lnTo>
                  <a:lnTo>
                    <a:pt x="272" y="152"/>
                  </a:lnTo>
                  <a:lnTo>
                    <a:pt x="279" y="149"/>
                  </a:lnTo>
                  <a:lnTo>
                    <a:pt x="283" y="149"/>
                  </a:lnTo>
                  <a:lnTo>
                    <a:pt x="283" y="149"/>
                  </a:lnTo>
                  <a:lnTo>
                    <a:pt x="279" y="146"/>
                  </a:lnTo>
                  <a:lnTo>
                    <a:pt x="276" y="149"/>
                  </a:lnTo>
                  <a:lnTo>
                    <a:pt x="269" y="142"/>
                  </a:lnTo>
                  <a:lnTo>
                    <a:pt x="265" y="139"/>
                  </a:lnTo>
                  <a:lnTo>
                    <a:pt x="262" y="142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58" y="146"/>
                  </a:lnTo>
                  <a:lnTo>
                    <a:pt x="262" y="152"/>
                  </a:lnTo>
                  <a:lnTo>
                    <a:pt x="262" y="155"/>
                  </a:lnTo>
                  <a:lnTo>
                    <a:pt x="262" y="162"/>
                  </a:lnTo>
                  <a:lnTo>
                    <a:pt x="269" y="165"/>
                  </a:lnTo>
                  <a:lnTo>
                    <a:pt x="272" y="165"/>
                  </a:lnTo>
                  <a:lnTo>
                    <a:pt x="272" y="165"/>
                  </a:lnTo>
                  <a:close/>
                  <a:moveTo>
                    <a:pt x="283" y="165"/>
                  </a:moveTo>
                  <a:lnTo>
                    <a:pt x="283" y="165"/>
                  </a:lnTo>
                  <a:lnTo>
                    <a:pt x="286" y="168"/>
                  </a:lnTo>
                  <a:lnTo>
                    <a:pt x="289" y="171"/>
                  </a:lnTo>
                  <a:lnTo>
                    <a:pt x="296" y="171"/>
                  </a:lnTo>
                  <a:lnTo>
                    <a:pt x="300" y="165"/>
                  </a:lnTo>
                  <a:lnTo>
                    <a:pt x="296" y="162"/>
                  </a:lnTo>
                  <a:lnTo>
                    <a:pt x="293" y="158"/>
                  </a:lnTo>
                  <a:lnTo>
                    <a:pt x="289" y="162"/>
                  </a:lnTo>
                  <a:lnTo>
                    <a:pt x="283" y="165"/>
                  </a:lnTo>
                  <a:lnTo>
                    <a:pt x="283" y="165"/>
                  </a:lnTo>
                  <a:close/>
                  <a:moveTo>
                    <a:pt x="283" y="171"/>
                  </a:moveTo>
                  <a:lnTo>
                    <a:pt x="283" y="171"/>
                  </a:lnTo>
                  <a:lnTo>
                    <a:pt x="286" y="175"/>
                  </a:lnTo>
                  <a:lnTo>
                    <a:pt x="286" y="175"/>
                  </a:lnTo>
                  <a:lnTo>
                    <a:pt x="289" y="175"/>
                  </a:lnTo>
                  <a:lnTo>
                    <a:pt x="286" y="171"/>
                  </a:lnTo>
                  <a:lnTo>
                    <a:pt x="283" y="171"/>
                  </a:lnTo>
                  <a:lnTo>
                    <a:pt x="283" y="171"/>
                  </a:lnTo>
                  <a:close/>
                  <a:moveTo>
                    <a:pt x="283" y="65"/>
                  </a:moveTo>
                  <a:lnTo>
                    <a:pt x="286" y="65"/>
                  </a:lnTo>
                  <a:lnTo>
                    <a:pt x="286" y="65"/>
                  </a:lnTo>
                  <a:lnTo>
                    <a:pt x="289" y="62"/>
                  </a:lnTo>
                  <a:lnTo>
                    <a:pt x="293" y="62"/>
                  </a:lnTo>
                  <a:lnTo>
                    <a:pt x="293" y="65"/>
                  </a:lnTo>
                  <a:lnTo>
                    <a:pt x="296" y="65"/>
                  </a:lnTo>
                  <a:lnTo>
                    <a:pt x="296" y="65"/>
                  </a:lnTo>
                  <a:lnTo>
                    <a:pt x="293" y="68"/>
                  </a:lnTo>
                  <a:lnTo>
                    <a:pt x="293" y="68"/>
                  </a:lnTo>
                  <a:lnTo>
                    <a:pt x="289" y="68"/>
                  </a:lnTo>
                  <a:lnTo>
                    <a:pt x="283" y="68"/>
                  </a:lnTo>
                  <a:lnTo>
                    <a:pt x="283" y="65"/>
                  </a:lnTo>
                  <a:lnTo>
                    <a:pt x="283" y="65"/>
                  </a:lnTo>
                  <a:close/>
                  <a:moveTo>
                    <a:pt x="289" y="110"/>
                  </a:moveTo>
                  <a:lnTo>
                    <a:pt x="293" y="107"/>
                  </a:lnTo>
                  <a:lnTo>
                    <a:pt x="293" y="107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89" y="100"/>
                  </a:lnTo>
                  <a:lnTo>
                    <a:pt x="286" y="100"/>
                  </a:lnTo>
                  <a:lnTo>
                    <a:pt x="283" y="100"/>
                  </a:lnTo>
                  <a:lnTo>
                    <a:pt x="276" y="104"/>
                  </a:lnTo>
                  <a:lnTo>
                    <a:pt x="276" y="107"/>
                  </a:lnTo>
                  <a:lnTo>
                    <a:pt x="276" y="107"/>
                  </a:lnTo>
                  <a:lnTo>
                    <a:pt x="283" y="113"/>
                  </a:lnTo>
                  <a:lnTo>
                    <a:pt x="286" y="113"/>
                  </a:lnTo>
                  <a:lnTo>
                    <a:pt x="289" y="110"/>
                  </a:lnTo>
                  <a:lnTo>
                    <a:pt x="289" y="110"/>
                  </a:lnTo>
                  <a:close/>
                  <a:moveTo>
                    <a:pt x="300" y="107"/>
                  </a:moveTo>
                  <a:lnTo>
                    <a:pt x="300" y="107"/>
                  </a:lnTo>
                  <a:lnTo>
                    <a:pt x="300" y="113"/>
                  </a:lnTo>
                  <a:lnTo>
                    <a:pt x="296" y="113"/>
                  </a:lnTo>
                  <a:lnTo>
                    <a:pt x="293" y="113"/>
                  </a:lnTo>
                  <a:lnTo>
                    <a:pt x="293" y="113"/>
                  </a:lnTo>
                  <a:lnTo>
                    <a:pt x="286" y="116"/>
                  </a:lnTo>
                  <a:lnTo>
                    <a:pt x="283" y="116"/>
                  </a:lnTo>
                  <a:lnTo>
                    <a:pt x="279" y="116"/>
                  </a:lnTo>
                  <a:lnTo>
                    <a:pt x="279" y="116"/>
                  </a:lnTo>
                  <a:lnTo>
                    <a:pt x="279" y="120"/>
                  </a:lnTo>
                  <a:lnTo>
                    <a:pt x="279" y="123"/>
                  </a:lnTo>
                  <a:lnTo>
                    <a:pt x="279" y="133"/>
                  </a:lnTo>
                  <a:lnTo>
                    <a:pt x="283" y="136"/>
                  </a:lnTo>
                  <a:lnTo>
                    <a:pt x="286" y="142"/>
                  </a:lnTo>
                  <a:lnTo>
                    <a:pt x="289" y="142"/>
                  </a:lnTo>
                  <a:lnTo>
                    <a:pt x="296" y="139"/>
                  </a:lnTo>
                  <a:lnTo>
                    <a:pt x="300" y="139"/>
                  </a:lnTo>
                  <a:lnTo>
                    <a:pt x="303" y="139"/>
                  </a:lnTo>
                  <a:lnTo>
                    <a:pt x="310" y="136"/>
                  </a:lnTo>
                  <a:lnTo>
                    <a:pt x="310" y="136"/>
                  </a:lnTo>
                  <a:lnTo>
                    <a:pt x="307" y="133"/>
                  </a:lnTo>
                  <a:lnTo>
                    <a:pt x="303" y="129"/>
                  </a:lnTo>
                  <a:lnTo>
                    <a:pt x="300" y="126"/>
                  </a:lnTo>
                  <a:lnTo>
                    <a:pt x="296" y="123"/>
                  </a:lnTo>
                  <a:lnTo>
                    <a:pt x="296" y="123"/>
                  </a:lnTo>
                  <a:lnTo>
                    <a:pt x="300" y="120"/>
                  </a:lnTo>
                  <a:lnTo>
                    <a:pt x="307" y="120"/>
                  </a:lnTo>
                  <a:lnTo>
                    <a:pt x="310" y="116"/>
                  </a:lnTo>
                  <a:lnTo>
                    <a:pt x="310" y="116"/>
                  </a:lnTo>
                  <a:lnTo>
                    <a:pt x="307" y="113"/>
                  </a:lnTo>
                  <a:lnTo>
                    <a:pt x="303" y="110"/>
                  </a:lnTo>
                  <a:lnTo>
                    <a:pt x="300" y="107"/>
                  </a:lnTo>
                  <a:lnTo>
                    <a:pt x="300" y="107"/>
                  </a:lnTo>
                  <a:close/>
                  <a:moveTo>
                    <a:pt x="317" y="113"/>
                  </a:moveTo>
                  <a:lnTo>
                    <a:pt x="314" y="110"/>
                  </a:lnTo>
                  <a:lnTo>
                    <a:pt x="314" y="107"/>
                  </a:lnTo>
                  <a:lnTo>
                    <a:pt x="310" y="107"/>
                  </a:lnTo>
                  <a:lnTo>
                    <a:pt x="307" y="107"/>
                  </a:lnTo>
                  <a:lnTo>
                    <a:pt x="303" y="104"/>
                  </a:lnTo>
                  <a:lnTo>
                    <a:pt x="303" y="100"/>
                  </a:lnTo>
                  <a:lnTo>
                    <a:pt x="307" y="100"/>
                  </a:lnTo>
                  <a:lnTo>
                    <a:pt x="303" y="94"/>
                  </a:lnTo>
                  <a:lnTo>
                    <a:pt x="303" y="91"/>
                  </a:lnTo>
                  <a:lnTo>
                    <a:pt x="303" y="87"/>
                  </a:lnTo>
                  <a:lnTo>
                    <a:pt x="307" y="84"/>
                  </a:lnTo>
                  <a:lnTo>
                    <a:pt x="310" y="81"/>
                  </a:lnTo>
                  <a:lnTo>
                    <a:pt x="310" y="78"/>
                  </a:lnTo>
                  <a:lnTo>
                    <a:pt x="314" y="74"/>
                  </a:lnTo>
                  <a:lnTo>
                    <a:pt x="314" y="74"/>
                  </a:lnTo>
                  <a:lnTo>
                    <a:pt x="317" y="78"/>
                  </a:lnTo>
                  <a:lnTo>
                    <a:pt x="320" y="78"/>
                  </a:lnTo>
                  <a:lnTo>
                    <a:pt x="324" y="81"/>
                  </a:lnTo>
                  <a:lnTo>
                    <a:pt x="320" y="87"/>
                  </a:lnTo>
                  <a:lnTo>
                    <a:pt x="324" y="87"/>
                  </a:lnTo>
                  <a:lnTo>
                    <a:pt x="327" y="91"/>
                  </a:lnTo>
                  <a:lnTo>
                    <a:pt x="331" y="94"/>
                  </a:lnTo>
                  <a:lnTo>
                    <a:pt x="334" y="94"/>
                  </a:lnTo>
                  <a:lnTo>
                    <a:pt x="334" y="94"/>
                  </a:lnTo>
                  <a:lnTo>
                    <a:pt x="327" y="97"/>
                  </a:lnTo>
                  <a:lnTo>
                    <a:pt x="320" y="100"/>
                  </a:lnTo>
                  <a:lnTo>
                    <a:pt x="320" y="104"/>
                  </a:lnTo>
                  <a:lnTo>
                    <a:pt x="320" y="104"/>
                  </a:lnTo>
                  <a:lnTo>
                    <a:pt x="320" y="110"/>
                  </a:lnTo>
                  <a:lnTo>
                    <a:pt x="317" y="113"/>
                  </a:lnTo>
                  <a:lnTo>
                    <a:pt x="317" y="113"/>
                  </a:lnTo>
                  <a:close/>
                  <a:moveTo>
                    <a:pt x="1979" y="204"/>
                  </a:moveTo>
                  <a:lnTo>
                    <a:pt x="1979" y="204"/>
                  </a:lnTo>
                  <a:lnTo>
                    <a:pt x="1982" y="204"/>
                  </a:lnTo>
                  <a:lnTo>
                    <a:pt x="1979" y="200"/>
                  </a:lnTo>
                  <a:lnTo>
                    <a:pt x="1979" y="204"/>
                  </a:lnTo>
                  <a:lnTo>
                    <a:pt x="1979" y="204"/>
                  </a:lnTo>
                  <a:lnTo>
                    <a:pt x="1979" y="204"/>
                  </a:lnTo>
                  <a:close/>
                  <a:moveTo>
                    <a:pt x="1965" y="204"/>
                  </a:moveTo>
                  <a:lnTo>
                    <a:pt x="1965" y="204"/>
                  </a:lnTo>
                  <a:lnTo>
                    <a:pt x="1968" y="200"/>
                  </a:lnTo>
                  <a:lnTo>
                    <a:pt x="1961" y="200"/>
                  </a:lnTo>
                  <a:lnTo>
                    <a:pt x="1961" y="200"/>
                  </a:lnTo>
                  <a:lnTo>
                    <a:pt x="1965" y="204"/>
                  </a:lnTo>
                  <a:lnTo>
                    <a:pt x="1965" y="204"/>
                  </a:lnTo>
                  <a:close/>
                  <a:moveTo>
                    <a:pt x="1951" y="207"/>
                  </a:moveTo>
                  <a:lnTo>
                    <a:pt x="1951" y="207"/>
                  </a:lnTo>
                  <a:lnTo>
                    <a:pt x="1951" y="207"/>
                  </a:lnTo>
                  <a:lnTo>
                    <a:pt x="1951" y="204"/>
                  </a:lnTo>
                  <a:lnTo>
                    <a:pt x="1948" y="204"/>
                  </a:lnTo>
                  <a:lnTo>
                    <a:pt x="1948" y="204"/>
                  </a:lnTo>
                  <a:lnTo>
                    <a:pt x="1951" y="207"/>
                  </a:lnTo>
                  <a:lnTo>
                    <a:pt x="1951" y="207"/>
                  </a:lnTo>
                  <a:close/>
                  <a:moveTo>
                    <a:pt x="2285" y="556"/>
                  </a:moveTo>
                  <a:lnTo>
                    <a:pt x="2285" y="556"/>
                  </a:lnTo>
                  <a:lnTo>
                    <a:pt x="2285" y="559"/>
                  </a:lnTo>
                  <a:lnTo>
                    <a:pt x="2288" y="559"/>
                  </a:lnTo>
                  <a:lnTo>
                    <a:pt x="2288" y="556"/>
                  </a:lnTo>
                  <a:lnTo>
                    <a:pt x="2285" y="556"/>
                  </a:lnTo>
                  <a:lnTo>
                    <a:pt x="2285" y="556"/>
                  </a:lnTo>
                  <a:lnTo>
                    <a:pt x="2285" y="556"/>
                  </a:lnTo>
                  <a:close/>
                  <a:moveTo>
                    <a:pt x="2281" y="549"/>
                  </a:moveTo>
                  <a:lnTo>
                    <a:pt x="2285" y="553"/>
                  </a:lnTo>
                  <a:lnTo>
                    <a:pt x="2285" y="553"/>
                  </a:lnTo>
                  <a:lnTo>
                    <a:pt x="2285" y="549"/>
                  </a:lnTo>
                  <a:lnTo>
                    <a:pt x="2285" y="549"/>
                  </a:lnTo>
                  <a:lnTo>
                    <a:pt x="2281" y="549"/>
                  </a:lnTo>
                  <a:lnTo>
                    <a:pt x="2281" y="549"/>
                  </a:lnTo>
                  <a:lnTo>
                    <a:pt x="2281" y="549"/>
                  </a:lnTo>
                  <a:close/>
                  <a:moveTo>
                    <a:pt x="365" y="349"/>
                  </a:moveTo>
                  <a:lnTo>
                    <a:pt x="365" y="349"/>
                  </a:lnTo>
                  <a:lnTo>
                    <a:pt x="369" y="349"/>
                  </a:lnTo>
                  <a:lnTo>
                    <a:pt x="372" y="346"/>
                  </a:lnTo>
                  <a:lnTo>
                    <a:pt x="372" y="343"/>
                  </a:lnTo>
                  <a:lnTo>
                    <a:pt x="372" y="343"/>
                  </a:lnTo>
                  <a:lnTo>
                    <a:pt x="369" y="346"/>
                  </a:lnTo>
                  <a:lnTo>
                    <a:pt x="365" y="346"/>
                  </a:lnTo>
                  <a:lnTo>
                    <a:pt x="362" y="349"/>
                  </a:lnTo>
                  <a:lnTo>
                    <a:pt x="365" y="349"/>
                  </a:lnTo>
                  <a:lnTo>
                    <a:pt x="365" y="349"/>
                  </a:lnTo>
                  <a:close/>
                  <a:moveTo>
                    <a:pt x="341" y="456"/>
                  </a:moveTo>
                  <a:lnTo>
                    <a:pt x="348" y="456"/>
                  </a:lnTo>
                  <a:lnTo>
                    <a:pt x="351" y="452"/>
                  </a:lnTo>
                  <a:lnTo>
                    <a:pt x="358" y="452"/>
                  </a:lnTo>
                  <a:lnTo>
                    <a:pt x="362" y="452"/>
                  </a:lnTo>
                  <a:lnTo>
                    <a:pt x="362" y="452"/>
                  </a:lnTo>
                  <a:lnTo>
                    <a:pt x="365" y="456"/>
                  </a:lnTo>
                  <a:lnTo>
                    <a:pt x="369" y="452"/>
                  </a:lnTo>
                  <a:lnTo>
                    <a:pt x="369" y="452"/>
                  </a:lnTo>
                  <a:lnTo>
                    <a:pt x="369" y="449"/>
                  </a:lnTo>
                  <a:lnTo>
                    <a:pt x="369" y="449"/>
                  </a:lnTo>
                  <a:lnTo>
                    <a:pt x="372" y="452"/>
                  </a:lnTo>
                  <a:lnTo>
                    <a:pt x="375" y="456"/>
                  </a:lnTo>
                  <a:lnTo>
                    <a:pt x="379" y="456"/>
                  </a:lnTo>
                  <a:lnTo>
                    <a:pt x="382" y="452"/>
                  </a:lnTo>
                  <a:lnTo>
                    <a:pt x="386" y="452"/>
                  </a:lnTo>
                  <a:lnTo>
                    <a:pt x="386" y="449"/>
                  </a:lnTo>
                  <a:lnTo>
                    <a:pt x="386" y="446"/>
                  </a:lnTo>
                  <a:lnTo>
                    <a:pt x="389" y="439"/>
                  </a:lnTo>
                  <a:lnTo>
                    <a:pt x="389" y="436"/>
                  </a:lnTo>
                  <a:lnTo>
                    <a:pt x="386" y="436"/>
                  </a:lnTo>
                  <a:lnTo>
                    <a:pt x="386" y="433"/>
                  </a:lnTo>
                  <a:lnTo>
                    <a:pt x="379" y="430"/>
                  </a:lnTo>
                  <a:lnTo>
                    <a:pt x="379" y="430"/>
                  </a:lnTo>
                  <a:lnTo>
                    <a:pt x="375" y="430"/>
                  </a:lnTo>
                  <a:lnTo>
                    <a:pt x="379" y="430"/>
                  </a:lnTo>
                  <a:lnTo>
                    <a:pt x="382" y="430"/>
                  </a:lnTo>
                  <a:lnTo>
                    <a:pt x="386" y="430"/>
                  </a:lnTo>
                  <a:lnTo>
                    <a:pt x="386" y="430"/>
                  </a:lnTo>
                  <a:lnTo>
                    <a:pt x="386" y="433"/>
                  </a:lnTo>
                  <a:lnTo>
                    <a:pt x="389" y="433"/>
                  </a:lnTo>
                  <a:lnTo>
                    <a:pt x="389" y="433"/>
                  </a:lnTo>
                  <a:lnTo>
                    <a:pt x="389" y="427"/>
                  </a:lnTo>
                  <a:lnTo>
                    <a:pt x="386" y="423"/>
                  </a:lnTo>
                  <a:lnTo>
                    <a:pt x="382" y="417"/>
                  </a:lnTo>
                  <a:lnTo>
                    <a:pt x="382" y="417"/>
                  </a:lnTo>
                  <a:lnTo>
                    <a:pt x="386" y="420"/>
                  </a:lnTo>
                  <a:lnTo>
                    <a:pt x="386" y="420"/>
                  </a:lnTo>
                  <a:lnTo>
                    <a:pt x="389" y="423"/>
                  </a:lnTo>
                  <a:lnTo>
                    <a:pt x="393" y="423"/>
                  </a:lnTo>
                  <a:lnTo>
                    <a:pt x="393" y="420"/>
                  </a:lnTo>
                  <a:lnTo>
                    <a:pt x="393" y="420"/>
                  </a:lnTo>
                  <a:lnTo>
                    <a:pt x="393" y="417"/>
                  </a:lnTo>
                  <a:lnTo>
                    <a:pt x="393" y="417"/>
                  </a:lnTo>
                  <a:lnTo>
                    <a:pt x="393" y="414"/>
                  </a:lnTo>
                  <a:lnTo>
                    <a:pt x="393" y="410"/>
                  </a:lnTo>
                  <a:lnTo>
                    <a:pt x="389" y="407"/>
                  </a:lnTo>
                  <a:lnTo>
                    <a:pt x="386" y="404"/>
                  </a:lnTo>
                  <a:lnTo>
                    <a:pt x="389" y="401"/>
                  </a:lnTo>
                  <a:lnTo>
                    <a:pt x="393" y="404"/>
                  </a:lnTo>
                  <a:lnTo>
                    <a:pt x="396" y="404"/>
                  </a:lnTo>
                  <a:lnTo>
                    <a:pt x="396" y="401"/>
                  </a:lnTo>
                  <a:lnTo>
                    <a:pt x="396" y="401"/>
                  </a:lnTo>
                  <a:lnTo>
                    <a:pt x="393" y="401"/>
                  </a:lnTo>
                  <a:lnTo>
                    <a:pt x="393" y="394"/>
                  </a:lnTo>
                  <a:lnTo>
                    <a:pt x="396" y="394"/>
                  </a:lnTo>
                  <a:lnTo>
                    <a:pt x="400" y="397"/>
                  </a:lnTo>
                  <a:lnTo>
                    <a:pt x="403" y="397"/>
                  </a:lnTo>
                  <a:lnTo>
                    <a:pt x="406" y="397"/>
                  </a:lnTo>
                  <a:lnTo>
                    <a:pt x="403" y="394"/>
                  </a:lnTo>
                  <a:lnTo>
                    <a:pt x="403" y="394"/>
                  </a:lnTo>
                  <a:lnTo>
                    <a:pt x="406" y="394"/>
                  </a:lnTo>
                  <a:lnTo>
                    <a:pt x="406" y="394"/>
                  </a:lnTo>
                  <a:lnTo>
                    <a:pt x="410" y="391"/>
                  </a:lnTo>
                  <a:lnTo>
                    <a:pt x="410" y="388"/>
                  </a:lnTo>
                  <a:lnTo>
                    <a:pt x="410" y="388"/>
                  </a:lnTo>
                  <a:lnTo>
                    <a:pt x="410" y="385"/>
                  </a:lnTo>
                  <a:lnTo>
                    <a:pt x="413" y="385"/>
                  </a:lnTo>
                  <a:lnTo>
                    <a:pt x="417" y="381"/>
                  </a:lnTo>
                  <a:lnTo>
                    <a:pt x="413" y="381"/>
                  </a:lnTo>
                  <a:lnTo>
                    <a:pt x="410" y="378"/>
                  </a:lnTo>
                  <a:lnTo>
                    <a:pt x="413" y="375"/>
                  </a:lnTo>
                  <a:lnTo>
                    <a:pt x="413" y="378"/>
                  </a:lnTo>
                  <a:lnTo>
                    <a:pt x="417" y="375"/>
                  </a:lnTo>
                  <a:lnTo>
                    <a:pt x="424" y="368"/>
                  </a:lnTo>
                  <a:lnTo>
                    <a:pt x="424" y="365"/>
                  </a:lnTo>
                  <a:lnTo>
                    <a:pt x="427" y="365"/>
                  </a:lnTo>
                  <a:lnTo>
                    <a:pt x="427" y="362"/>
                  </a:lnTo>
                  <a:lnTo>
                    <a:pt x="434" y="359"/>
                  </a:lnTo>
                  <a:lnTo>
                    <a:pt x="434" y="352"/>
                  </a:lnTo>
                  <a:lnTo>
                    <a:pt x="437" y="346"/>
                  </a:lnTo>
                  <a:lnTo>
                    <a:pt x="441" y="346"/>
                  </a:lnTo>
                  <a:lnTo>
                    <a:pt x="448" y="343"/>
                  </a:lnTo>
                  <a:lnTo>
                    <a:pt x="455" y="336"/>
                  </a:lnTo>
                  <a:lnTo>
                    <a:pt x="461" y="330"/>
                  </a:lnTo>
                  <a:lnTo>
                    <a:pt x="465" y="330"/>
                  </a:lnTo>
                  <a:lnTo>
                    <a:pt x="468" y="326"/>
                  </a:lnTo>
                  <a:lnTo>
                    <a:pt x="475" y="323"/>
                  </a:lnTo>
                  <a:lnTo>
                    <a:pt x="479" y="323"/>
                  </a:lnTo>
                  <a:lnTo>
                    <a:pt x="486" y="317"/>
                  </a:lnTo>
                  <a:lnTo>
                    <a:pt x="489" y="313"/>
                  </a:lnTo>
                  <a:lnTo>
                    <a:pt x="489" y="317"/>
                  </a:lnTo>
                  <a:lnTo>
                    <a:pt x="492" y="313"/>
                  </a:lnTo>
                  <a:lnTo>
                    <a:pt x="492" y="313"/>
                  </a:lnTo>
                  <a:lnTo>
                    <a:pt x="492" y="310"/>
                  </a:lnTo>
                  <a:lnTo>
                    <a:pt x="492" y="307"/>
                  </a:lnTo>
                  <a:lnTo>
                    <a:pt x="492" y="304"/>
                  </a:lnTo>
                  <a:lnTo>
                    <a:pt x="492" y="301"/>
                  </a:lnTo>
                  <a:lnTo>
                    <a:pt x="492" y="301"/>
                  </a:lnTo>
                  <a:lnTo>
                    <a:pt x="489" y="301"/>
                  </a:lnTo>
                  <a:lnTo>
                    <a:pt x="489" y="294"/>
                  </a:lnTo>
                  <a:lnTo>
                    <a:pt x="492" y="291"/>
                  </a:lnTo>
                  <a:lnTo>
                    <a:pt x="489" y="291"/>
                  </a:lnTo>
                  <a:lnTo>
                    <a:pt x="486" y="288"/>
                  </a:lnTo>
                  <a:lnTo>
                    <a:pt x="486" y="288"/>
                  </a:lnTo>
                  <a:lnTo>
                    <a:pt x="482" y="288"/>
                  </a:lnTo>
                  <a:lnTo>
                    <a:pt x="479" y="284"/>
                  </a:lnTo>
                  <a:lnTo>
                    <a:pt x="479" y="281"/>
                  </a:lnTo>
                  <a:lnTo>
                    <a:pt x="475" y="281"/>
                  </a:lnTo>
                  <a:lnTo>
                    <a:pt x="472" y="281"/>
                  </a:lnTo>
                  <a:lnTo>
                    <a:pt x="472" y="284"/>
                  </a:lnTo>
                  <a:lnTo>
                    <a:pt x="468" y="284"/>
                  </a:lnTo>
                  <a:lnTo>
                    <a:pt x="465" y="281"/>
                  </a:lnTo>
                  <a:lnTo>
                    <a:pt x="461" y="284"/>
                  </a:lnTo>
                  <a:lnTo>
                    <a:pt x="458" y="284"/>
                  </a:lnTo>
                  <a:lnTo>
                    <a:pt x="458" y="288"/>
                  </a:lnTo>
                  <a:lnTo>
                    <a:pt x="455" y="291"/>
                  </a:lnTo>
                  <a:lnTo>
                    <a:pt x="451" y="291"/>
                  </a:lnTo>
                  <a:lnTo>
                    <a:pt x="451" y="291"/>
                  </a:lnTo>
                  <a:lnTo>
                    <a:pt x="448" y="294"/>
                  </a:lnTo>
                  <a:lnTo>
                    <a:pt x="448" y="297"/>
                  </a:lnTo>
                  <a:lnTo>
                    <a:pt x="448" y="301"/>
                  </a:lnTo>
                  <a:lnTo>
                    <a:pt x="448" y="304"/>
                  </a:lnTo>
                  <a:lnTo>
                    <a:pt x="448" y="304"/>
                  </a:lnTo>
                  <a:lnTo>
                    <a:pt x="444" y="304"/>
                  </a:lnTo>
                  <a:lnTo>
                    <a:pt x="444" y="307"/>
                  </a:lnTo>
                  <a:lnTo>
                    <a:pt x="444" y="307"/>
                  </a:lnTo>
                  <a:lnTo>
                    <a:pt x="441" y="310"/>
                  </a:lnTo>
                  <a:lnTo>
                    <a:pt x="441" y="313"/>
                  </a:lnTo>
                  <a:lnTo>
                    <a:pt x="434" y="317"/>
                  </a:lnTo>
                  <a:lnTo>
                    <a:pt x="430" y="317"/>
                  </a:lnTo>
                  <a:lnTo>
                    <a:pt x="430" y="317"/>
                  </a:lnTo>
                  <a:lnTo>
                    <a:pt x="427" y="317"/>
                  </a:lnTo>
                  <a:lnTo>
                    <a:pt x="424" y="320"/>
                  </a:lnTo>
                  <a:lnTo>
                    <a:pt x="420" y="323"/>
                  </a:lnTo>
                  <a:lnTo>
                    <a:pt x="417" y="323"/>
                  </a:lnTo>
                  <a:lnTo>
                    <a:pt x="417" y="323"/>
                  </a:lnTo>
                  <a:lnTo>
                    <a:pt x="413" y="320"/>
                  </a:lnTo>
                  <a:lnTo>
                    <a:pt x="413" y="320"/>
                  </a:lnTo>
                  <a:lnTo>
                    <a:pt x="413" y="323"/>
                  </a:lnTo>
                  <a:lnTo>
                    <a:pt x="413" y="326"/>
                  </a:lnTo>
                  <a:lnTo>
                    <a:pt x="410" y="330"/>
                  </a:lnTo>
                  <a:lnTo>
                    <a:pt x="410" y="326"/>
                  </a:lnTo>
                  <a:lnTo>
                    <a:pt x="410" y="323"/>
                  </a:lnTo>
                  <a:lnTo>
                    <a:pt x="403" y="323"/>
                  </a:lnTo>
                  <a:lnTo>
                    <a:pt x="396" y="323"/>
                  </a:lnTo>
                  <a:lnTo>
                    <a:pt x="393" y="326"/>
                  </a:lnTo>
                  <a:lnTo>
                    <a:pt x="389" y="326"/>
                  </a:lnTo>
                  <a:lnTo>
                    <a:pt x="389" y="326"/>
                  </a:lnTo>
                  <a:lnTo>
                    <a:pt x="393" y="333"/>
                  </a:lnTo>
                  <a:lnTo>
                    <a:pt x="393" y="333"/>
                  </a:lnTo>
                  <a:lnTo>
                    <a:pt x="393" y="336"/>
                  </a:lnTo>
                  <a:lnTo>
                    <a:pt x="393" y="336"/>
                  </a:lnTo>
                  <a:lnTo>
                    <a:pt x="389" y="339"/>
                  </a:lnTo>
                  <a:lnTo>
                    <a:pt x="386" y="339"/>
                  </a:lnTo>
                  <a:lnTo>
                    <a:pt x="386" y="336"/>
                  </a:lnTo>
                  <a:lnTo>
                    <a:pt x="389" y="336"/>
                  </a:lnTo>
                  <a:lnTo>
                    <a:pt x="389" y="333"/>
                  </a:lnTo>
                  <a:lnTo>
                    <a:pt x="386" y="333"/>
                  </a:lnTo>
                  <a:lnTo>
                    <a:pt x="382" y="336"/>
                  </a:lnTo>
                  <a:lnTo>
                    <a:pt x="379" y="339"/>
                  </a:lnTo>
                  <a:lnTo>
                    <a:pt x="379" y="339"/>
                  </a:lnTo>
                  <a:lnTo>
                    <a:pt x="382" y="343"/>
                  </a:lnTo>
                  <a:lnTo>
                    <a:pt x="382" y="343"/>
                  </a:lnTo>
                  <a:lnTo>
                    <a:pt x="379" y="346"/>
                  </a:lnTo>
                  <a:lnTo>
                    <a:pt x="375" y="346"/>
                  </a:lnTo>
                  <a:lnTo>
                    <a:pt x="372" y="346"/>
                  </a:lnTo>
                  <a:lnTo>
                    <a:pt x="372" y="349"/>
                  </a:lnTo>
                  <a:lnTo>
                    <a:pt x="369" y="349"/>
                  </a:lnTo>
                  <a:lnTo>
                    <a:pt x="365" y="352"/>
                  </a:lnTo>
                  <a:lnTo>
                    <a:pt x="365" y="355"/>
                  </a:lnTo>
                  <a:lnTo>
                    <a:pt x="369" y="359"/>
                  </a:lnTo>
                  <a:lnTo>
                    <a:pt x="369" y="359"/>
                  </a:lnTo>
                  <a:lnTo>
                    <a:pt x="365" y="359"/>
                  </a:lnTo>
                  <a:lnTo>
                    <a:pt x="362" y="359"/>
                  </a:lnTo>
                  <a:lnTo>
                    <a:pt x="358" y="362"/>
                  </a:lnTo>
                  <a:lnTo>
                    <a:pt x="358" y="365"/>
                  </a:lnTo>
                  <a:lnTo>
                    <a:pt x="358" y="368"/>
                  </a:lnTo>
                  <a:lnTo>
                    <a:pt x="362" y="368"/>
                  </a:lnTo>
                  <a:lnTo>
                    <a:pt x="362" y="368"/>
                  </a:lnTo>
                  <a:lnTo>
                    <a:pt x="365" y="368"/>
                  </a:lnTo>
                  <a:lnTo>
                    <a:pt x="365" y="372"/>
                  </a:lnTo>
                  <a:lnTo>
                    <a:pt x="365" y="375"/>
                  </a:lnTo>
                  <a:lnTo>
                    <a:pt x="362" y="375"/>
                  </a:lnTo>
                  <a:lnTo>
                    <a:pt x="358" y="375"/>
                  </a:lnTo>
                  <a:lnTo>
                    <a:pt x="355" y="375"/>
                  </a:lnTo>
                  <a:lnTo>
                    <a:pt x="351" y="375"/>
                  </a:lnTo>
                  <a:lnTo>
                    <a:pt x="348" y="378"/>
                  </a:lnTo>
                  <a:lnTo>
                    <a:pt x="348" y="381"/>
                  </a:lnTo>
                  <a:lnTo>
                    <a:pt x="348" y="385"/>
                  </a:lnTo>
                  <a:lnTo>
                    <a:pt x="344" y="385"/>
                  </a:lnTo>
                  <a:lnTo>
                    <a:pt x="341" y="385"/>
                  </a:lnTo>
                  <a:lnTo>
                    <a:pt x="341" y="381"/>
                  </a:lnTo>
                  <a:lnTo>
                    <a:pt x="338" y="381"/>
                  </a:lnTo>
                  <a:lnTo>
                    <a:pt x="338" y="381"/>
                  </a:lnTo>
                  <a:lnTo>
                    <a:pt x="338" y="385"/>
                  </a:lnTo>
                  <a:lnTo>
                    <a:pt x="338" y="388"/>
                  </a:lnTo>
                  <a:lnTo>
                    <a:pt x="341" y="391"/>
                  </a:lnTo>
                  <a:lnTo>
                    <a:pt x="341" y="391"/>
                  </a:lnTo>
                  <a:lnTo>
                    <a:pt x="344" y="391"/>
                  </a:lnTo>
                  <a:lnTo>
                    <a:pt x="344" y="391"/>
                  </a:lnTo>
                  <a:lnTo>
                    <a:pt x="341" y="397"/>
                  </a:lnTo>
                  <a:lnTo>
                    <a:pt x="344" y="397"/>
                  </a:lnTo>
                  <a:lnTo>
                    <a:pt x="344" y="397"/>
                  </a:lnTo>
                  <a:lnTo>
                    <a:pt x="348" y="397"/>
                  </a:lnTo>
                  <a:lnTo>
                    <a:pt x="348" y="397"/>
                  </a:lnTo>
                  <a:lnTo>
                    <a:pt x="351" y="397"/>
                  </a:lnTo>
                  <a:lnTo>
                    <a:pt x="355" y="397"/>
                  </a:lnTo>
                  <a:lnTo>
                    <a:pt x="358" y="397"/>
                  </a:lnTo>
                  <a:lnTo>
                    <a:pt x="358" y="397"/>
                  </a:lnTo>
                  <a:lnTo>
                    <a:pt x="355" y="401"/>
                  </a:lnTo>
                  <a:lnTo>
                    <a:pt x="355" y="401"/>
                  </a:lnTo>
                  <a:lnTo>
                    <a:pt x="348" y="401"/>
                  </a:lnTo>
                  <a:lnTo>
                    <a:pt x="348" y="401"/>
                  </a:lnTo>
                  <a:lnTo>
                    <a:pt x="344" y="401"/>
                  </a:lnTo>
                  <a:lnTo>
                    <a:pt x="344" y="404"/>
                  </a:lnTo>
                  <a:lnTo>
                    <a:pt x="344" y="407"/>
                  </a:lnTo>
                  <a:lnTo>
                    <a:pt x="348" y="407"/>
                  </a:lnTo>
                  <a:lnTo>
                    <a:pt x="351" y="407"/>
                  </a:lnTo>
                  <a:lnTo>
                    <a:pt x="351" y="407"/>
                  </a:lnTo>
                  <a:lnTo>
                    <a:pt x="355" y="407"/>
                  </a:lnTo>
                  <a:lnTo>
                    <a:pt x="355" y="410"/>
                  </a:lnTo>
                  <a:lnTo>
                    <a:pt x="348" y="410"/>
                  </a:lnTo>
                  <a:lnTo>
                    <a:pt x="344" y="410"/>
                  </a:lnTo>
                  <a:lnTo>
                    <a:pt x="341" y="414"/>
                  </a:lnTo>
                  <a:lnTo>
                    <a:pt x="341" y="414"/>
                  </a:lnTo>
                  <a:lnTo>
                    <a:pt x="344" y="417"/>
                  </a:lnTo>
                  <a:lnTo>
                    <a:pt x="348" y="414"/>
                  </a:lnTo>
                  <a:lnTo>
                    <a:pt x="351" y="417"/>
                  </a:lnTo>
                  <a:lnTo>
                    <a:pt x="351" y="417"/>
                  </a:lnTo>
                  <a:lnTo>
                    <a:pt x="348" y="417"/>
                  </a:lnTo>
                  <a:lnTo>
                    <a:pt x="344" y="417"/>
                  </a:lnTo>
                  <a:lnTo>
                    <a:pt x="344" y="420"/>
                  </a:lnTo>
                  <a:lnTo>
                    <a:pt x="344" y="420"/>
                  </a:lnTo>
                  <a:lnTo>
                    <a:pt x="351" y="420"/>
                  </a:lnTo>
                  <a:lnTo>
                    <a:pt x="355" y="423"/>
                  </a:lnTo>
                  <a:lnTo>
                    <a:pt x="358" y="423"/>
                  </a:lnTo>
                  <a:lnTo>
                    <a:pt x="358" y="427"/>
                  </a:lnTo>
                  <a:lnTo>
                    <a:pt x="358" y="427"/>
                  </a:lnTo>
                  <a:lnTo>
                    <a:pt x="358" y="427"/>
                  </a:lnTo>
                  <a:lnTo>
                    <a:pt x="355" y="423"/>
                  </a:lnTo>
                  <a:lnTo>
                    <a:pt x="348" y="423"/>
                  </a:lnTo>
                  <a:lnTo>
                    <a:pt x="348" y="423"/>
                  </a:lnTo>
                  <a:lnTo>
                    <a:pt x="344" y="423"/>
                  </a:lnTo>
                  <a:lnTo>
                    <a:pt x="341" y="423"/>
                  </a:lnTo>
                  <a:lnTo>
                    <a:pt x="341" y="427"/>
                  </a:lnTo>
                  <a:lnTo>
                    <a:pt x="338" y="427"/>
                  </a:lnTo>
                  <a:lnTo>
                    <a:pt x="338" y="430"/>
                  </a:lnTo>
                  <a:lnTo>
                    <a:pt x="341" y="430"/>
                  </a:lnTo>
                  <a:lnTo>
                    <a:pt x="341" y="433"/>
                  </a:lnTo>
                  <a:lnTo>
                    <a:pt x="338" y="433"/>
                  </a:lnTo>
                  <a:lnTo>
                    <a:pt x="338" y="433"/>
                  </a:lnTo>
                  <a:lnTo>
                    <a:pt x="334" y="433"/>
                  </a:lnTo>
                  <a:lnTo>
                    <a:pt x="334" y="436"/>
                  </a:lnTo>
                  <a:lnTo>
                    <a:pt x="334" y="439"/>
                  </a:lnTo>
                  <a:lnTo>
                    <a:pt x="331" y="439"/>
                  </a:lnTo>
                  <a:lnTo>
                    <a:pt x="331" y="439"/>
                  </a:lnTo>
                  <a:lnTo>
                    <a:pt x="327" y="443"/>
                  </a:lnTo>
                  <a:lnTo>
                    <a:pt x="334" y="446"/>
                  </a:lnTo>
                  <a:lnTo>
                    <a:pt x="338" y="446"/>
                  </a:lnTo>
                  <a:lnTo>
                    <a:pt x="338" y="446"/>
                  </a:lnTo>
                  <a:lnTo>
                    <a:pt x="338" y="443"/>
                  </a:lnTo>
                  <a:lnTo>
                    <a:pt x="341" y="443"/>
                  </a:lnTo>
                  <a:lnTo>
                    <a:pt x="348" y="439"/>
                  </a:lnTo>
                  <a:lnTo>
                    <a:pt x="351" y="436"/>
                  </a:lnTo>
                  <a:lnTo>
                    <a:pt x="355" y="439"/>
                  </a:lnTo>
                  <a:lnTo>
                    <a:pt x="358" y="439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1" y="439"/>
                  </a:lnTo>
                  <a:lnTo>
                    <a:pt x="351" y="439"/>
                  </a:lnTo>
                  <a:lnTo>
                    <a:pt x="348" y="443"/>
                  </a:lnTo>
                  <a:lnTo>
                    <a:pt x="344" y="443"/>
                  </a:lnTo>
                  <a:lnTo>
                    <a:pt x="341" y="446"/>
                  </a:lnTo>
                  <a:lnTo>
                    <a:pt x="341" y="449"/>
                  </a:lnTo>
                  <a:lnTo>
                    <a:pt x="341" y="452"/>
                  </a:lnTo>
                  <a:lnTo>
                    <a:pt x="341" y="452"/>
                  </a:lnTo>
                  <a:lnTo>
                    <a:pt x="341" y="452"/>
                  </a:lnTo>
                  <a:lnTo>
                    <a:pt x="341" y="456"/>
                  </a:lnTo>
                  <a:lnTo>
                    <a:pt x="341" y="456"/>
                  </a:lnTo>
                  <a:close/>
                  <a:moveTo>
                    <a:pt x="358" y="543"/>
                  </a:moveTo>
                  <a:lnTo>
                    <a:pt x="358" y="546"/>
                  </a:lnTo>
                  <a:lnTo>
                    <a:pt x="362" y="543"/>
                  </a:lnTo>
                  <a:lnTo>
                    <a:pt x="358" y="540"/>
                  </a:lnTo>
                  <a:lnTo>
                    <a:pt x="362" y="540"/>
                  </a:lnTo>
                  <a:lnTo>
                    <a:pt x="358" y="536"/>
                  </a:lnTo>
                  <a:lnTo>
                    <a:pt x="355" y="533"/>
                  </a:lnTo>
                  <a:lnTo>
                    <a:pt x="355" y="533"/>
                  </a:lnTo>
                  <a:lnTo>
                    <a:pt x="351" y="530"/>
                  </a:lnTo>
                  <a:lnTo>
                    <a:pt x="348" y="533"/>
                  </a:lnTo>
                  <a:lnTo>
                    <a:pt x="344" y="533"/>
                  </a:lnTo>
                  <a:lnTo>
                    <a:pt x="344" y="536"/>
                  </a:lnTo>
                  <a:lnTo>
                    <a:pt x="348" y="536"/>
                  </a:lnTo>
                  <a:lnTo>
                    <a:pt x="348" y="536"/>
                  </a:lnTo>
                  <a:lnTo>
                    <a:pt x="351" y="536"/>
                  </a:lnTo>
                  <a:lnTo>
                    <a:pt x="351" y="540"/>
                  </a:lnTo>
                  <a:lnTo>
                    <a:pt x="355" y="540"/>
                  </a:lnTo>
                  <a:lnTo>
                    <a:pt x="358" y="543"/>
                  </a:lnTo>
                  <a:lnTo>
                    <a:pt x="358" y="543"/>
                  </a:lnTo>
                  <a:close/>
                  <a:moveTo>
                    <a:pt x="427" y="543"/>
                  </a:moveTo>
                  <a:lnTo>
                    <a:pt x="424" y="543"/>
                  </a:lnTo>
                  <a:lnTo>
                    <a:pt x="420" y="543"/>
                  </a:lnTo>
                  <a:lnTo>
                    <a:pt x="417" y="543"/>
                  </a:lnTo>
                  <a:lnTo>
                    <a:pt x="417" y="536"/>
                  </a:lnTo>
                  <a:lnTo>
                    <a:pt x="410" y="536"/>
                  </a:lnTo>
                  <a:lnTo>
                    <a:pt x="406" y="533"/>
                  </a:lnTo>
                  <a:lnTo>
                    <a:pt x="403" y="530"/>
                  </a:lnTo>
                  <a:lnTo>
                    <a:pt x="400" y="530"/>
                  </a:lnTo>
                  <a:lnTo>
                    <a:pt x="393" y="523"/>
                  </a:lnTo>
                  <a:lnTo>
                    <a:pt x="386" y="517"/>
                  </a:lnTo>
                  <a:lnTo>
                    <a:pt x="386" y="507"/>
                  </a:lnTo>
                  <a:lnTo>
                    <a:pt x="382" y="504"/>
                  </a:lnTo>
                  <a:lnTo>
                    <a:pt x="382" y="494"/>
                  </a:lnTo>
                  <a:lnTo>
                    <a:pt x="379" y="491"/>
                  </a:lnTo>
                  <a:lnTo>
                    <a:pt x="375" y="481"/>
                  </a:lnTo>
                  <a:lnTo>
                    <a:pt x="375" y="478"/>
                  </a:lnTo>
                  <a:lnTo>
                    <a:pt x="379" y="478"/>
                  </a:lnTo>
                  <a:lnTo>
                    <a:pt x="375" y="475"/>
                  </a:lnTo>
                  <a:lnTo>
                    <a:pt x="372" y="475"/>
                  </a:lnTo>
                  <a:lnTo>
                    <a:pt x="372" y="475"/>
                  </a:lnTo>
                  <a:lnTo>
                    <a:pt x="369" y="475"/>
                  </a:lnTo>
                  <a:lnTo>
                    <a:pt x="369" y="472"/>
                  </a:lnTo>
                  <a:lnTo>
                    <a:pt x="375" y="472"/>
                  </a:lnTo>
                  <a:lnTo>
                    <a:pt x="379" y="472"/>
                  </a:lnTo>
                  <a:lnTo>
                    <a:pt x="379" y="465"/>
                  </a:lnTo>
                  <a:lnTo>
                    <a:pt x="379" y="462"/>
                  </a:lnTo>
                  <a:lnTo>
                    <a:pt x="375" y="462"/>
                  </a:lnTo>
                  <a:lnTo>
                    <a:pt x="372" y="462"/>
                  </a:lnTo>
                  <a:lnTo>
                    <a:pt x="372" y="462"/>
                  </a:lnTo>
                  <a:lnTo>
                    <a:pt x="379" y="459"/>
                  </a:lnTo>
                  <a:lnTo>
                    <a:pt x="379" y="459"/>
                  </a:lnTo>
                  <a:lnTo>
                    <a:pt x="379" y="456"/>
                  </a:lnTo>
                  <a:lnTo>
                    <a:pt x="372" y="456"/>
                  </a:lnTo>
                  <a:lnTo>
                    <a:pt x="362" y="456"/>
                  </a:lnTo>
                  <a:lnTo>
                    <a:pt x="358" y="452"/>
                  </a:lnTo>
                  <a:lnTo>
                    <a:pt x="355" y="452"/>
                  </a:lnTo>
                  <a:lnTo>
                    <a:pt x="348" y="456"/>
                  </a:lnTo>
                  <a:lnTo>
                    <a:pt x="341" y="456"/>
                  </a:lnTo>
                  <a:lnTo>
                    <a:pt x="338" y="459"/>
                  </a:lnTo>
                  <a:lnTo>
                    <a:pt x="334" y="462"/>
                  </a:lnTo>
                  <a:lnTo>
                    <a:pt x="334" y="465"/>
                  </a:lnTo>
                  <a:lnTo>
                    <a:pt x="331" y="469"/>
                  </a:lnTo>
                  <a:lnTo>
                    <a:pt x="334" y="472"/>
                  </a:lnTo>
                  <a:lnTo>
                    <a:pt x="338" y="472"/>
                  </a:lnTo>
                  <a:lnTo>
                    <a:pt x="338" y="472"/>
                  </a:lnTo>
                  <a:lnTo>
                    <a:pt x="338" y="475"/>
                  </a:lnTo>
                  <a:lnTo>
                    <a:pt x="334" y="475"/>
                  </a:lnTo>
                  <a:lnTo>
                    <a:pt x="331" y="475"/>
                  </a:lnTo>
                  <a:lnTo>
                    <a:pt x="327" y="481"/>
                  </a:lnTo>
                  <a:lnTo>
                    <a:pt x="327" y="485"/>
                  </a:lnTo>
                  <a:lnTo>
                    <a:pt x="327" y="485"/>
                  </a:lnTo>
                  <a:lnTo>
                    <a:pt x="331" y="485"/>
                  </a:lnTo>
                  <a:lnTo>
                    <a:pt x="334" y="481"/>
                  </a:lnTo>
                  <a:lnTo>
                    <a:pt x="338" y="485"/>
                  </a:lnTo>
                  <a:lnTo>
                    <a:pt x="334" y="485"/>
                  </a:lnTo>
                  <a:lnTo>
                    <a:pt x="331" y="488"/>
                  </a:lnTo>
                  <a:lnTo>
                    <a:pt x="334" y="488"/>
                  </a:lnTo>
                  <a:lnTo>
                    <a:pt x="338" y="488"/>
                  </a:lnTo>
                  <a:lnTo>
                    <a:pt x="341" y="485"/>
                  </a:lnTo>
                  <a:lnTo>
                    <a:pt x="341" y="488"/>
                  </a:lnTo>
                  <a:lnTo>
                    <a:pt x="338" y="491"/>
                  </a:lnTo>
                  <a:lnTo>
                    <a:pt x="338" y="491"/>
                  </a:lnTo>
                  <a:lnTo>
                    <a:pt x="338" y="494"/>
                  </a:lnTo>
                  <a:lnTo>
                    <a:pt x="344" y="494"/>
                  </a:lnTo>
                  <a:lnTo>
                    <a:pt x="341" y="494"/>
                  </a:lnTo>
                  <a:lnTo>
                    <a:pt x="338" y="494"/>
                  </a:lnTo>
                  <a:lnTo>
                    <a:pt x="334" y="498"/>
                  </a:lnTo>
                  <a:lnTo>
                    <a:pt x="334" y="501"/>
                  </a:lnTo>
                  <a:lnTo>
                    <a:pt x="338" y="504"/>
                  </a:lnTo>
                  <a:lnTo>
                    <a:pt x="338" y="504"/>
                  </a:lnTo>
                  <a:lnTo>
                    <a:pt x="334" y="504"/>
                  </a:lnTo>
                  <a:lnTo>
                    <a:pt x="331" y="504"/>
                  </a:lnTo>
                  <a:lnTo>
                    <a:pt x="327" y="504"/>
                  </a:lnTo>
                  <a:lnTo>
                    <a:pt x="324" y="504"/>
                  </a:lnTo>
                  <a:lnTo>
                    <a:pt x="324" y="507"/>
                  </a:lnTo>
                  <a:lnTo>
                    <a:pt x="324" y="511"/>
                  </a:lnTo>
                  <a:lnTo>
                    <a:pt x="324" y="514"/>
                  </a:lnTo>
                  <a:lnTo>
                    <a:pt x="324" y="517"/>
                  </a:lnTo>
                  <a:lnTo>
                    <a:pt x="324" y="520"/>
                  </a:lnTo>
                  <a:lnTo>
                    <a:pt x="327" y="523"/>
                  </a:lnTo>
                  <a:lnTo>
                    <a:pt x="327" y="527"/>
                  </a:lnTo>
                  <a:lnTo>
                    <a:pt x="334" y="530"/>
                  </a:lnTo>
                  <a:lnTo>
                    <a:pt x="338" y="530"/>
                  </a:lnTo>
                  <a:lnTo>
                    <a:pt x="341" y="530"/>
                  </a:lnTo>
                  <a:lnTo>
                    <a:pt x="341" y="530"/>
                  </a:lnTo>
                  <a:lnTo>
                    <a:pt x="344" y="527"/>
                  </a:lnTo>
                  <a:lnTo>
                    <a:pt x="344" y="520"/>
                  </a:lnTo>
                  <a:lnTo>
                    <a:pt x="344" y="517"/>
                  </a:lnTo>
                  <a:lnTo>
                    <a:pt x="348" y="514"/>
                  </a:lnTo>
                  <a:lnTo>
                    <a:pt x="344" y="520"/>
                  </a:lnTo>
                  <a:lnTo>
                    <a:pt x="344" y="520"/>
                  </a:lnTo>
                  <a:lnTo>
                    <a:pt x="348" y="523"/>
                  </a:lnTo>
                  <a:lnTo>
                    <a:pt x="348" y="527"/>
                  </a:lnTo>
                  <a:lnTo>
                    <a:pt x="351" y="527"/>
                  </a:lnTo>
                  <a:lnTo>
                    <a:pt x="355" y="527"/>
                  </a:lnTo>
                  <a:lnTo>
                    <a:pt x="355" y="523"/>
                  </a:lnTo>
                  <a:lnTo>
                    <a:pt x="355" y="520"/>
                  </a:lnTo>
                  <a:lnTo>
                    <a:pt x="358" y="523"/>
                  </a:lnTo>
                  <a:lnTo>
                    <a:pt x="355" y="523"/>
                  </a:lnTo>
                  <a:lnTo>
                    <a:pt x="355" y="527"/>
                  </a:lnTo>
                  <a:lnTo>
                    <a:pt x="362" y="533"/>
                  </a:lnTo>
                  <a:lnTo>
                    <a:pt x="365" y="533"/>
                  </a:lnTo>
                  <a:lnTo>
                    <a:pt x="369" y="533"/>
                  </a:lnTo>
                  <a:lnTo>
                    <a:pt x="372" y="533"/>
                  </a:lnTo>
                  <a:lnTo>
                    <a:pt x="372" y="533"/>
                  </a:lnTo>
                  <a:lnTo>
                    <a:pt x="372" y="536"/>
                  </a:lnTo>
                  <a:lnTo>
                    <a:pt x="369" y="536"/>
                  </a:lnTo>
                  <a:lnTo>
                    <a:pt x="369" y="536"/>
                  </a:lnTo>
                  <a:lnTo>
                    <a:pt x="365" y="540"/>
                  </a:lnTo>
                  <a:lnTo>
                    <a:pt x="365" y="540"/>
                  </a:lnTo>
                  <a:lnTo>
                    <a:pt x="369" y="543"/>
                  </a:lnTo>
                  <a:lnTo>
                    <a:pt x="369" y="546"/>
                  </a:lnTo>
                  <a:lnTo>
                    <a:pt x="365" y="546"/>
                  </a:lnTo>
                  <a:lnTo>
                    <a:pt x="365" y="546"/>
                  </a:lnTo>
                  <a:lnTo>
                    <a:pt x="365" y="546"/>
                  </a:lnTo>
                  <a:lnTo>
                    <a:pt x="365" y="549"/>
                  </a:lnTo>
                  <a:lnTo>
                    <a:pt x="372" y="549"/>
                  </a:lnTo>
                  <a:lnTo>
                    <a:pt x="375" y="549"/>
                  </a:lnTo>
                  <a:lnTo>
                    <a:pt x="379" y="549"/>
                  </a:lnTo>
                  <a:lnTo>
                    <a:pt x="386" y="553"/>
                  </a:lnTo>
                  <a:lnTo>
                    <a:pt x="386" y="549"/>
                  </a:lnTo>
                  <a:lnTo>
                    <a:pt x="386" y="549"/>
                  </a:lnTo>
                  <a:lnTo>
                    <a:pt x="389" y="553"/>
                  </a:lnTo>
                  <a:lnTo>
                    <a:pt x="389" y="556"/>
                  </a:lnTo>
                  <a:lnTo>
                    <a:pt x="393" y="559"/>
                  </a:lnTo>
                  <a:lnTo>
                    <a:pt x="396" y="559"/>
                  </a:lnTo>
                  <a:lnTo>
                    <a:pt x="396" y="556"/>
                  </a:lnTo>
                  <a:lnTo>
                    <a:pt x="396" y="553"/>
                  </a:lnTo>
                  <a:lnTo>
                    <a:pt x="393" y="549"/>
                  </a:lnTo>
                  <a:lnTo>
                    <a:pt x="389" y="549"/>
                  </a:lnTo>
                  <a:lnTo>
                    <a:pt x="393" y="549"/>
                  </a:lnTo>
                  <a:lnTo>
                    <a:pt x="393" y="549"/>
                  </a:lnTo>
                  <a:lnTo>
                    <a:pt x="400" y="549"/>
                  </a:lnTo>
                  <a:lnTo>
                    <a:pt x="400" y="553"/>
                  </a:lnTo>
                  <a:lnTo>
                    <a:pt x="403" y="556"/>
                  </a:lnTo>
                  <a:lnTo>
                    <a:pt x="403" y="556"/>
                  </a:lnTo>
                  <a:lnTo>
                    <a:pt x="403" y="553"/>
                  </a:lnTo>
                  <a:lnTo>
                    <a:pt x="406" y="553"/>
                  </a:lnTo>
                  <a:lnTo>
                    <a:pt x="406" y="556"/>
                  </a:lnTo>
                  <a:lnTo>
                    <a:pt x="413" y="556"/>
                  </a:lnTo>
                  <a:lnTo>
                    <a:pt x="413" y="556"/>
                  </a:lnTo>
                  <a:lnTo>
                    <a:pt x="413" y="556"/>
                  </a:lnTo>
                  <a:lnTo>
                    <a:pt x="410" y="553"/>
                  </a:lnTo>
                  <a:lnTo>
                    <a:pt x="410" y="553"/>
                  </a:lnTo>
                  <a:lnTo>
                    <a:pt x="413" y="549"/>
                  </a:lnTo>
                  <a:lnTo>
                    <a:pt x="417" y="553"/>
                  </a:lnTo>
                  <a:lnTo>
                    <a:pt x="417" y="553"/>
                  </a:lnTo>
                  <a:lnTo>
                    <a:pt x="420" y="553"/>
                  </a:lnTo>
                  <a:lnTo>
                    <a:pt x="420" y="556"/>
                  </a:lnTo>
                  <a:lnTo>
                    <a:pt x="424" y="559"/>
                  </a:lnTo>
                  <a:lnTo>
                    <a:pt x="424" y="559"/>
                  </a:lnTo>
                  <a:lnTo>
                    <a:pt x="427" y="556"/>
                  </a:lnTo>
                  <a:lnTo>
                    <a:pt x="424" y="553"/>
                  </a:lnTo>
                  <a:lnTo>
                    <a:pt x="420" y="553"/>
                  </a:lnTo>
                  <a:lnTo>
                    <a:pt x="420" y="549"/>
                  </a:lnTo>
                  <a:lnTo>
                    <a:pt x="420" y="549"/>
                  </a:lnTo>
                  <a:lnTo>
                    <a:pt x="424" y="549"/>
                  </a:lnTo>
                  <a:lnTo>
                    <a:pt x="424" y="549"/>
                  </a:lnTo>
                  <a:lnTo>
                    <a:pt x="427" y="549"/>
                  </a:lnTo>
                  <a:lnTo>
                    <a:pt x="427" y="546"/>
                  </a:lnTo>
                  <a:lnTo>
                    <a:pt x="427" y="543"/>
                  </a:lnTo>
                  <a:lnTo>
                    <a:pt x="427" y="543"/>
                  </a:lnTo>
                  <a:close/>
                  <a:moveTo>
                    <a:pt x="138" y="750"/>
                  </a:moveTo>
                  <a:lnTo>
                    <a:pt x="135" y="746"/>
                  </a:lnTo>
                  <a:lnTo>
                    <a:pt x="135" y="746"/>
                  </a:lnTo>
                  <a:lnTo>
                    <a:pt x="135" y="743"/>
                  </a:lnTo>
                  <a:lnTo>
                    <a:pt x="135" y="743"/>
                  </a:lnTo>
                  <a:lnTo>
                    <a:pt x="131" y="746"/>
                  </a:lnTo>
                  <a:lnTo>
                    <a:pt x="131" y="746"/>
                  </a:lnTo>
                  <a:lnTo>
                    <a:pt x="135" y="750"/>
                  </a:lnTo>
                  <a:lnTo>
                    <a:pt x="135" y="750"/>
                  </a:lnTo>
                  <a:lnTo>
                    <a:pt x="135" y="750"/>
                  </a:lnTo>
                  <a:lnTo>
                    <a:pt x="138" y="750"/>
                  </a:lnTo>
                  <a:lnTo>
                    <a:pt x="138" y="750"/>
                  </a:lnTo>
                  <a:close/>
                  <a:moveTo>
                    <a:pt x="238" y="695"/>
                  </a:moveTo>
                  <a:lnTo>
                    <a:pt x="238" y="695"/>
                  </a:lnTo>
                  <a:lnTo>
                    <a:pt x="238" y="695"/>
                  </a:lnTo>
                  <a:lnTo>
                    <a:pt x="238" y="691"/>
                  </a:lnTo>
                  <a:lnTo>
                    <a:pt x="234" y="691"/>
                  </a:lnTo>
                  <a:lnTo>
                    <a:pt x="234" y="695"/>
                  </a:lnTo>
                  <a:lnTo>
                    <a:pt x="238" y="695"/>
                  </a:lnTo>
                  <a:lnTo>
                    <a:pt x="238" y="695"/>
                  </a:lnTo>
                  <a:close/>
                  <a:moveTo>
                    <a:pt x="314" y="624"/>
                  </a:moveTo>
                  <a:lnTo>
                    <a:pt x="320" y="624"/>
                  </a:lnTo>
                  <a:lnTo>
                    <a:pt x="324" y="620"/>
                  </a:lnTo>
                  <a:lnTo>
                    <a:pt x="327" y="617"/>
                  </a:lnTo>
                  <a:lnTo>
                    <a:pt x="327" y="611"/>
                  </a:lnTo>
                  <a:lnTo>
                    <a:pt x="331" y="607"/>
                  </a:lnTo>
                  <a:lnTo>
                    <a:pt x="331" y="611"/>
                  </a:lnTo>
                  <a:lnTo>
                    <a:pt x="331" y="617"/>
                  </a:lnTo>
                  <a:lnTo>
                    <a:pt x="334" y="611"/>
                  </a:lnTo>
                  <a:lnTo>
                    <a:pt x="334" y="607"/>
                  </a:lnTo>
                  <a:lnTo>
                    <a:pt x="331" y="604"/>
                  </a:lnTo>
                  <a:lnTo>
                    <a:pt x="317" y="601"/>
                  </a:lnTo>
                  <a:lnTo>
                    <a:pt x="310" y="598"/>
                  </a:lnTo>
                  <a:lnTo>
                    <a:pt x="303" y="601"/>
                  </a:lnTo>
                  <a:lnTo>
                    <a:pt x="303" y="607"/>
                  </a:lnTo>
                  <a:lnTo>
                    <a:pt x="303" y="617"/>
                  </a:lnTo>
                  <a:lnTo>
                    <a:pt x="303" y="620"/>
                  </a:lnTo>
                  <a:lnTo>
                    <a:pt x="307" y="624"/>
                  </a:lnTo>
                  <a:lnTo>
                    <a:pt x="307" y="624"/>
                  </a:lnTo>
                  <a:lnTo>
                    <a:pt x="310" y="624"/>
                  </a:lnTo>
                  <a:lnTo>
                    <a:pt x="310" y="627"/>
                  </a:lnTo>
                  <a:lnTo>
                    <a:pt x="314" y="627"/>
                  </a:lnTo>
                  <a:lnTo>
                    <a:pt x="314" y="624"/>
                  </a:lnTo>
                  <a:lnTo>
                    <a:pt x="314" y="624"/>
                  </a:lnTo>
                  <a:close/>
                  <a:moveTo>
                    <a:pt x="348" y="630"/>
                  </a:moveTo>
                  <a:lnTo>
                    <a:pt x="351" y="630"/>
                  </a:lnTo>
                  <a:lnTo>
                    <a:pt x="351" y="630"/>
                  </a:lnTo>
                  <a:lnTo>
                    <a:pt x="355" y="630"/>
                  </a:lnTo>
                  <a:lnTo>
                    <a:pt x="358" y="627"/>
                  </a:lnTo>
                  <a:lnTo>
                    <a:pt x="355" y="627"/>
                  </a:lnTo>
                  <a:lnTo>
                    <a:pt x="351" y="630"/>
                  </a:lnTo>
                  <a:lnTo>
                    <a:pt x="348" y="630"/>
                  </a:lnTo>
                  <a:lnTo>
                    <a:pt x="348" y="630"/>
                  </a:lnTo>
                  <a:close/>
                  <a:moveTo>
                    <a:pt x="406" y="630"/>
                  </a:moveTo>
                  <a:lnTo>
                    <a:pt x="406" y="630"/>
                  </a:lnTo>
                  <a:lnTo>
                    <a:pt x="410" y="627"/>
                  </a:lnTo>
                  <a:lnTo>
                    <a:pt x="410" y="624"/>
                  </a:lnTo>
                  <a:lnTo>
                    <a:pt x="406" y="627"/>
                  </a:lnTo>
                  <a:lnTo>
                    <a:pt x="406" y="627"/>
                  </a:lnTo>
                  <a:lnTo>
                    <a:pt x="406" y="630"/>
                  </a:lnTo>
                  <a:lnTo>
                    <a:pt x="406" y="630"/>
                  </a:lnTo>
                  <a:close/>
                  <a:moveTo>
                    <a:pt x="400" y="630"/>
                  </a:moveTo>
                  <a:lnTo>
                    <a:pt x="400" y="630"/>
                  </a:lnTo>
                  <a:lnTo>
                    <a:pt x="403" y="627"/>
                  </a:lnTo>
                  <a:lnTo>
                    <a:pt x="400" y="627"/>
                  </a:lnTo>
                  <a:lnTo>
                    <a:pt x="400" y="627"/>
                  </a:lnTo>
                  <a:lnTo>
                    <a:pt x="400" y="630"/>
                  </a:lnTo>
                  <a:lnTo>
                    <a:pt x="400" y="630"/>
                  </a:lnTo>
                  <a:close/>
                  <a:moveTo>
                    <a:pt x="444" y="614"/>
                  </a:moveTo>
                  <a:lnTo>
                    <a:pt x="444" y="614"/>
                  </a:lnTo>
                  <a:lnTo>
                    <a:pt x="448" y="614"/>
                  </a:lnTo>
                  <a:lnTo>
                    <a:pt x="455" y="611"/>
                  </a:lnTo>
                  <a:lnTo>
                    <a:pt x="455" y="611"/>
                  </a:lnTo>
                  <a:lnTo>
                    <a:pt x="451" y="607"/>
                  </a:lnTo>
                  <a:lnTo>
                    <a:pt x="448" y="611"/>
                  </a:lnTo>
                  <a:lnTo>
                    <a:pt x="444" y="614"/>
                  </a:lnTo>
                  <a:lnTo>
                    <a:pt x="444" y="614"/>
                  </a:lnTo>
                  <a:close/>
                  <a:moveTo>
                    <a:pt x="427" y="611"/>
                  </a:moveTo>
                  <a:lnTo>
                    <a:pt x="427" y="611"/>
                  </a:lnTo>
                  <a:lnTo>
                    <a:pt x="430" y="611"/>
                  </a:lnTo>
                  <a:lnTo>
                    <a:pt x="430" y="611"/>
                  </a:lnTo>
                  <a:lnTo>
                    <a:pt x="427" y="607"/>
                  </a:lnTo>
                  <a:lnTo>
                    <a:pt x="427" y="611"/>
                  </a:lnTo>
                  <a:lnTo>
                    <a:pt x="427" y="611"/>
                  </a:lnTo>
                  <a:close/>
                  <a:moveTo>
                    <a:pt x="413" y="611"/>
                  </a:moveTo>
                  <a:lnTo>
                    <a:pt x="417" y="611"/>
                  </a:lnTo>
                  <a:lnTo>
                    <a:pt x="417" y="611"/>
                  </a:lnTo>
                  <a:lnTo>
                    <a:pt x="420" y="611"/>
                  </a:lnTo>
                  <a:lnTo>
                    <a:pt x="420" y="607"/>
                  </a:lnTo>
                  <a:lnTo>
                    <a:pt x="417" y="607"/>
                  </a:lnTo>
                  <a:lnTo>
                    <a:pt x="413" y="611"/>
                  </a:lnTo>
                  <a:lnTo>
                    <a:pt x="413" y="611"/>
                  </a:lnTo>
                  <a:close/>
                  <a:moveTo>
                    <a:pt x="406" y="611"/>
                  </a:moveTo>
                  <a:lnTo>
                    <a:pt x="410" y="611"/>
                  </a:lnTo>
                  <a:lnTo>
                    <a:pt x="410" y="611"/>
                  </a:lnTo>
                  <a:lnTo>
                    <a:pt x="413" y="607"/>
                  </a:lnTo>
                  <a:lnTo>
                    <a:pt x="410" y="607"/>
                  </a:lnTo>
                  <a:lnTo>
                    <a:pt x="406" y="611"/>
                  </a:lnTo>
                  <a:lnTo>
                    <a:pt x="406" y="611"/>
                  </a:lnTo>
                  <a:close/>
                  <a:moveTo>
                    <a:pt x="823" y="504"/>
                  </a:moveTo>
                  <a:lnTo>
                    <a:pt x="823" y="507"/>
                  </a:lnTo>
                  <a:lnTo>
                    <a:pt x="823" y="507"/>
                  </a:lnTo>
                  <a:lnTo>
                    <a:pt x="826" y="504"/>
                  </a:lnTo>
                  <a:lnTo>
                    <a:pt x="823" y="504"/>
                  </a:lnTo>
                  <a:lnTo>
                    <a:pt x="823" y="504"/>
                  </a:lnTo>
                  <a:lnTo>
                    <a:pt x="823" y="504"/>
                  </a:lnTo>
                  <a:close/>
                  <a:moveTo>
                    <a:pt x="816" y="491"/>
                  </a:moveTo>
                  <a:lnTo>
                    <a:pt x="816" y="498"/>
                  </a:lnTo>
                  <a:lnTo>
                    <a:pt x="816" y="501"/>
                  </a:lnTo>
                  <a:lnTo>
                    <a:pt x="816" y="507"/>
                  </a:lnTo>
                  <a:lnTo>
                    <a:pt x="816" y="507"/>
                  </a:lnTo>
                  <a:lnTo>
                    <a:pt x="819" y="504"/>
                  </a:lnTo>
                  <a:lnTo>
                    <a:pt x="819" y="498"/>
                  </a:lnTo>
                  <a:lnTo>
                    <a:pt x="816" y="491"/>
                  </a:lnTo>
                  <a:lnTo>
                    <a:pt x="816" y="491"/>
                  </a:lnTo>
                  <a:lnTo>
                    <a:pt x="816" y="491"/>
                  </a:lnTo>
                  <a:close/>
                  <a:moveTo>
                    <a:pt x="809" y="488"/>
                  </a:moveTo>
                  <a:lnTo>
                    <a:pt x="812" y="491"/>
                  </a:lnTo>
                  <a:lnTo>
                    <a:pt x="812" y="491"/>
                  </a:lnTo>
                  <a:lnTo>
                    <a:pt x="812" y="488"/>
                  </a:lnTo>
                  <a:lnTo>
                    <a:pt x="809" y="485"/>
                  </a:lnTo>
                  <a:lnTo>
                    <a:pt x="809" y="488"/>
                  </a:lnTo>
                  <a:lnTo>
                    <a:pt x="809" y="488"/>
                  </a:lnTo>
                  <a:close/>
                  <a:moveTo>
                    <a:pt x="458" y="585"/>
                  </a:moveTo>
                  <a:lnTo>
                    <a:pt x="458" y="585"/>
                  </a:lnTo>
                  <a:lnTo>
                    <a:pt x="458" y="582"/>
                  </a:lnTo>
                  <a:lnTo>
                    <a:pt x="458" y="582"/>
                  </a:lnTo>
                  <a:lnTo>
                    <a:pt x="458" y="585"/>
                  </a:lnTo>
                  <a:lnTo>
                    <a:pt x="458" y="585"/>
                  </a:lnTo>
                  <a:close/>
                  <a:moveTo>
                    <a:pt x="475" y="598"/>
                  </a:moveTo>
                  <a:lnTo>
                    <a:pt x="475" y="598"/>
                  </a:lnTo>
                  <a:lnTo>
                    <a:pt x="479" y="598"/>
                  </a:lnTo>
                  <a:lnTo>
                    <a:pt x="475" y="598"/>
                  </a:lnTo>
                  <a:lnTo>
                    <a:pt x="475" y="598"/>
                  </a:lnTo>
                  <a:lnTo>
                    <a:pt x="475" y="598"/>
                  </a:lnTo>
                  <a:close/>
                  <a:moveTo>
                    <a:pt x="472" y="595"/>
                  </a:moveTo>
                  <a:lnTo>
                    <a:pt x="472" y="591"/>
                  </a:lnTo>
                  <a:lnTo>
                    <a:pt x="465" y="588"/>
                  </a:lnTo>
                  <a:lnTo>
                    <a:pt x="461" y="585"/>
                  </a:lnTo>
                  <a:lnTo>
                    <a:pt x="461" y="588"/>
                  </a:lnTo>
                  <a:lnTo>
                    <a:pt x="465" y="591"/>
                  </a:lnTo>
                  <a:lnTo>
                    <a:pt x="472" y="595"/>
                  </a:lnTo>
                  <a:lnTo>
                    <a:pt x="472" y="595"/>
                  </a:lnTo>
                  <a:close/>
                  <a:moveTo>
                    <a:pt x="482" y="578"/>
                  </a:moveTo>
                  <a:lnTo>
                    <a:pt x="486" y="575"/>
                  </a:lnTo>
                  <a:lnTo>
                    <a:pt x="482" y="569"/>
                  </a:lnTo>
                  <a:lnTo>
                    <a:pt x="475" y="565"/>
                  </a:lnTo>
                  <a:lnTo>
                    <a:pt x="472" y="562"/>
                  </a:lnTo>
                  <a:lnTo>
                    <a:pt x="468" y="562"/>
                  </a:lnTo>
                  <a:lnTo>
                    <a:pt x="465" y="559"/>
                  </a:lnTo>
                  <a:lnTo>
                    <a:pt x="458" y="556"/>
                  </a:lnTo>
                  <a:lnTo>
                    <a:pt x="458" y="553"/>
                  </a:lnTo>
                  <a:lnTo>
                    <a:pt x="455" y="549"/>
                  </a:lnTo>
                  <a:lnTo>
                    <a:pt x="451" y="549"/>
                  </a:lnTo>
                  <a:lnTo>
                    <a:pt x="448" y="553"/>
                  </a:lnTo>
                  <a:lnTo>
                    <a:pt x="448" y="553"/>
                  </a:lnTo>
                  <a:lnTo>
                    <a:pt x="444" y="556"/>
                  </a:lnTo>
                  <a:lnTo>
                    <a:pt x="448" y="559"/>
                  </a:lnTo>
                  <a:lnTo>
                    <a:pt x="451" y="559"/>
                  </a:lnTo>
                  <a:lnTo>
                    <a:pt x="451" y="559"/>
                  </a:lnTo>
                  <a:lnTo>
                    <a:pt x="448" y="562"/>
                  </a:lnTo>
                  <a:lnTo>
                    <a:pt x="444" y="559"/>
                  </a:lnTo>
                  <a:lnTo>
                    <a:pt x="444" y="559"/>
                  </a:lnTo>
                  <a:lnTo>
                    <a:pt x="444" y="562"/>
                  </a:lnTo>
                  <a:lnTo>
                    <a:pt x="451" y="569"/>
                  </a:lnTo>
                  <a:lnTo>
                    <a:pt x="455" y="569"/>
                  </a:lnTo>
                  <a:lnTo>
                    <a:pt x="458" y="572"/>
                  </a:lnTo>
                  <a:lnTo>
                    <a:pt x="461" y="572"/>
                  </a:lnTo>
                  <a:lnTo>
                    <a:pt x="461" y="569"/>
                  </a:lnTo>
                  <a:lnTo>
                    <a:pt x="465" y="572"/>
                  </a:lnTo>
                  <a:lnTo>
                    <a:pt x="468" y="569"/>
                  </a:lnTo>
                  <a:lnTo>
                    <a:pt x="468" y="572"/>
                  </a:lnTo>
                  <a:lnTo>
                    <a:pt x="468" y="575"/>
                  </a:lnTo>
                  <a:lnTo>
                    <a:pt x="468" y="575"/>
                  </a:lnTo>
                  <a:lnTo>
                    <a:pt x="472" y="578"/>
                  </a:lnTo>
                  <a:lnTo>
                    <a:pt x="475" y="578"/>
                  </a:lnTo>
                  <a:lnTo>
                    <a:pt x="479" y="578"/>
                  </a:lnTo>
                  <a:lnTo>
                    <a:pt x="482" y="578"/>
                  </a:lnTo>
                  <a:lnTo>
                    <a:pt x="482" y="578"/>
                  </a:lnTo>
                  <a:close/>
                  <a:moveTo>
                    <a:pt x="575" y="439"/>
                  </a:moveTo>
                  <a:lnTo>
                    <a:pt x="575" y="439"/>
                  </a:lnTo>
                  <a:lnTo>
                    <a:pt x="575" y="436"/>
                  </a:lnTo>
                  <a:lnTo>
                    <a:pt x="575" y="436"/>
                  </a:lnTo>
                  <a:lnTo>
                    <a:pt x="578" y="436"/>
                  </a:lnTo>
                  <a:lnTo>
                    <a:pt x="578" y="436"/>
                  </a:lnTo>
                  <a:lnTo>
                    <a:pt x="582" y="436"/>
                  </a:lnTo>
                  <a:lnTo>
                    <a:pt x="582" y="436"/>
                  </a:lnTo>
                  <a:lnTo>
                    <a:pt x="585" y="436"/>
                  </a:lnTo>
                  <a:lnTo>
                    <a:pt x="585" y="433"/>
                  </a:lnTo>
                  <a:lnTo>
                    <a:pt x="589" y="433"/>
                  </a:lnTo>
                  <a:lnTo>
                    <a:pt x="596" y="430"/>
                  </a:lnTo>
                  <a:lnTo>
                    <a:pt x="596" y="430"/>
                  </a:lnTo>
                  <a:lnTo>
                    <a:pt x="592" y="427"/>
                  </a:lnTo>
                  <a:lnTo>
                    <a:pt x="589" y="423"/>
                  </a:lnTo>
                  <a:lnTo>
                    <a:pt x="585" y="420"/>
                  </a:lnTo>
                  <a:lnTo>
                    <a:pt x="582" y="417"/>
                  </a:lnTo>
                  <a:lnTo>
                    <a:pt x="582" y="417"/>
                  </a:lnTo>
                  <a:lnTo>
                    <a:pt x="578" y="417"/>
                  </a:lnTo>
                  <a:lnTo>
                    <a:pt x="575" y="420"/>
                  </a:lnTo>
                  <a:lnTo>
                    <a:pt x="572" y="420"/>
                  </a:lnTo>
                  <a:lnTo>
                    <a:pt x="568" y="423"/>
                  </a:lnTo>
                  <a:lnTo>
                    <a:pt x="568" y="427"/>
                  </a:lnTo>
                  <a:lnTo>
                    <a:pt x="572" y="430"/>
                  </a:lnTo>
                  <a:lnTo>
                    <a:pt x="572" y="433"/>
                  </a:lnTo>
                  <a:lnTo>
                    <a:pt x="572" y="436"/>
                  </a:lnTo>
                  <a:lnTo>
                    <a:pt x="575" y="439"/>
                  </a:lnTo>
                  <a:lnTo>
                    <a:pt x="575" y="439"/>
                  </a:lnTo>
                  <a:close/>
                  <a:moveTo>
                    <a:pt x="585" y="575"/>
                  </a:moveTo>
                  <a:lnTo>
                    <a:pt x="585" y="575"/>
                  </a:lnTo>
                  <a:lnTo>
                    <a:pt x="585" y="578"/>
                  </a:lnTo>
                  <a:lnTo>
                    <a:pt x="589" y="578"/>
                  </a:lnTo>
                  <a:lnTo>
                    <a:pt x="592" y="575"/>
                  </a:lnTo>
                  <a:lnTo>
                    <a:pt x="592" y="575"/>
                  </a:lnTo>
                  <a:lnTo>
                    <a:pt x="589" y="572"/>
                  </a:lnTo>
                  <a:lnTo>
                    <a:pt x="585" y="575"/>
                  </a:lnTo>
                  <a:lnTo>
                    <a:pt x="585" y="575"/>
                  </a:lnTo>
                  <a:lnTo>
                    <a:pt x="585" y="575"/>
                  </a:lnTo>
                  <a:lnTo>
                    <a:pt x="585" y="575"/>
                  </a:lnTo>
                  <a:close/>
                  <a:moveTo>
                    <a:pt x="658" y="656"/>
                  </a:moveTo>
                  <a:lnTo>
                    <a:pt x="658" y="656"/>
                  </a:lnTo>
                  <a:lnTo>
                    <a:pt x="661" y="656"/>
                  </a:lnTo>
                  <a:lnTo>
                    <a:pt x="661" y="659"/>
                  </a:lnTo>
                  <a:lnTo>
                    <a:pt x="664" y="662"/>
                  </a:lnTo>
                  <a:lnTo>
                    <a:pt x="668" y="659"/>
                  </a:lnTo>
                  <a:lnTo>
                    <a:pt x="671" y="659"/>
                  </a:lnTo>
                  <a:lnTo>
                    <a:pt x="668" y="656"/>
                  </a:lnTo>
                  <a:lnTo>
                    <a:pt x="668" y="656"/>
                  </a:lnTo>
                  <a:lnTo>
                    <a:pt x="664" y="656"/>
                  </a:lnTo>
                  <a:lnTo>
                    <a:pt x="661" y="656"/>
                  </a:lnTo>
                  <a:lnTo>
                    <a:pt x="658" y="656"/>
                  </a:lnTo>
                  <a:lnTo>
                    <a:pt x="658" y="656"/>
                  </a:lnTo>
                  <a:close/>
                  <a:moveTo>
                    <a:pt x="644" y="436"/>
                  </a:moveTo>
                  <a:lnTo>
                    <a:pt x="644" y="433"/>
                  </a:lnTo>
                  <a:lnTo>
                    <a:pt x="644" y="433"/>
                  </a:lnTo>
                  <a:lnTo>
                    <a:pt x="644" y="430"/>
                  </a:lnTo>
                  <a:lnTo>
                    <a:pt x="644" y="427"/>
                  </a:lnTo>
                  <a:lnTo>
                    <a:pt x="644" y="427"/>
                  </a:lnTo>
                  <a:lnTo>
                    <a:pt x="640" y="423"/>
                  </a:lnTo>
                  <a:lnTo>
                    <a:pt x="637" y="427"/>
                  </a:lnTo>
                  <a:lnTo>
                    <a:pt x="637" y="433"/>
                  </a:lnTo>
                  <a:lnTo>
                    <a:pt x="637" y="433"/>
                  </a:lnTo>
                  <a:lnTo>
                    <a:pt x="640" y="433"/>
                  </a:lnTo>
                  <a:lnTo>
                    <a:pt x="644" y="436"/>
                  </a:lnTo>
                  <a:lnTo>
                    <a:pt x="644" y="436"/>
                  </a:lnTo>
                  <a:lnTo>
                    <a:pt x="644" y="436"/>
                  </a:lnTo>
                  <a:close/>
                  <a:moveTo>
                    <a:pt x="637" y="414"/>
                  </a:moveTo>
                  <a:lnTo>
                    <a:pt x="640" y="410"/>
                  </a:lnTo>
                  <a:lnTo>
                    <a:pt x="644" y="410"/>
                  </a:lnTo>
                  <a:lnTo>
                    <a:pt x="647" y="407"/>
                  </a:lnTo>
                  <a:lnTo>
                    <a:pt x="647" y="407"/>
                  </a:lnTo>
                  <a:lnTo>
                    <a:pt x="647" y="404"/>
                  </a:lnTo>
                  <a:lnTo>
                    <a:pt x="651" y="404"/>
                  </a:lnTo>
                  <a:lnTo>
                    <a:pt x="647" y="404"/>
                  </a:lnTo>
                  <a:lnTo>
                    <a:pt x="647" y="404"/>
                  </a:lnTo>
                  <a:lnTo>
                    <a:pt x="640" y="407"/>
                  </a:lnTo>
                  <a:lnTo>
                    <a:pt x="637" y="410"/>
                  </a:lnTo>
                  <a:lnTo>
                    <a:pt x="637" y="414"/>
                  </a:lnTo>
                  <a:lnTo>
                    <a:pt x="637" y="414"/>
                  </a:lnTo>
                  <a:close/>
                  <a:moveTo>
                    <a:pt x="654" y="417"/>
                  </a:moveTo>
                  <a:lnTo>
                    <a:pt x="661" y="420"/>
                  </a:lnTo>
                  <a:lnTo>
                    <a:pt x="664" y="420"/>
                  </a:lnTo>
                  <a:lnTo>
                    <a:pt x="668" y="420"/>
                  </a:lnTo>
                  <a:lnTo>
                    <a:pt x="668" y="417"/>
                  </a:lnTo>
                  <a:lnTo>
                    <a:pt x="661" y="417"/>
                  </a:lnTo>
                  <a:lnTo>
                    <a:pt x="658" y="417"/>
                  </a:lnTo>
                  <a:lnTo>
                    <a:pt x="654" y="417"/>
                  </a:lnTo>
                  <a:lnTo>
                    <a:pt x="654" y="417"/>
                  </a:lnTo>
                  <a:close/>
                  <a:moveTo>
                    <a:pt x="692" y="439"/>
                  </a:moveTo>
                  <a:lnTo>
                    <a:pt x="692" y="443"/>
                  </a:lnTo>
                  <a:lnTo>
                    <a:pt x="692" y="446"/>
                  </a:lnTo>
                  <a:lnTo>
                    <a:pt x="688" y="446"/>
                  </a:lnTo>
                  <a:lnTo>
                    <a:pt x="688" y="449"/>
                  </a:lnTo>
                  <a:lnTo>
                    <a:pt x="688" y="452"/>
                  </a:lnTo>
                  <a:lnTo>
                    <a:pt x="692" y="452"/>
                  </a:lnTo>
                  <a:lnTo>
                    <a:pt x="695" y="449"/>
                  </a:lnTo>
                  <a:lnTo>
                    <a:pt x="699" y="449"/>
                  </a:lnTo>
                  <a:lnTo>
                    <a:pt x="702" y="446"/>
                  </a:lnTo>
                  <a:lnTo>
                    <a:pt x="702" y="443"/>
                  </a:lnTo>
                  <a:lnTo>
                    <a:pt x="706" y="439"/>
                  </a:lnTo>
                  <a:lnTo>
                    <a:pt x="706" y="436"/>
                  </a:lnTo>
                  <a:lnTo>
                    <a:pt x="706" y="436"/>
                  </a:lnTo>
                  <a:lnTo>
                    <a:pt x="702" y="436"/>
                  </a:lnTo>
                  <a:lnTo>
                    <a:pt x="695" y="436"/>
                  </a:lnTo>
                  <a:lnTo>
                    <a:pt x="692" y="439"/>
                  </a:lnTo>
                  <a:lnTo>
                    <a:pt x="692" y="439"/>
                  </a:lnTo>
                  <a:close/>
                  <a:moveTo>
                    <a:pt x="706" y="410"/>
                  </a:moveTo>
                  <a:lnTo>
                    <a:pt x="702" y="414"/>
                  </a:lnTo>
                  <a:lnTo>
                    <a:pt x="702" y="420"/>
                  </a:lnTo>
                  <a:lnTo>
                    <a:pt x="699" y="423"/>
                  </a:lnTo>
                  <a:lnTo>
                    <a:pt x="699" y="427"/>
                  </a:lnTo>
                  <a:lnTo>
                    <a:pt x="706" y="427"/>
                  </a:lnTo>
                  <a:lnTo>
                    <a:pt x="706" y="427"/>
                  </a:lnTo>
                  <a:lnTo>
                    <a:pt x="709" y="427"/>
                  </a:lnTo>
                  <a:lnTo>
                    <a:pt x="713" y="430"/>
                  </a:lnTo>
                  <a:lnTo>
                    <a:pt x="716" y="430"/>
                  </a:lnTo>
                  <a:lnTo>
                    <a:pt x="716" y="427"/>
                  </a:lnTo>
                  <a:lnTo>
                    <a:pt x="713" y="420"/>
                  </a:lnTo>
                  <a:lnTo>
                    <a:pt x="713" y="417"/>
                  </a:lnTo>
                  <a:lnTo>
                    <a:pt x="709" y="414"/>
                  </a:lnTo>
                  <a:lnTo>
                    <a:pt x="706" y="410"/>
                  </a:lnTo>
                  <a:lnTo>
                    <a:pt x="706" y="410"/>
                  </a:lnTo>
                  <a:close/>
                  <a:moveTo>
                    <a:pt x="682" y="355"/>
                  </a:moveTo>
                  <a:lnTo>
                    <a:pt x="678" y="352"/>
                  </a:lnTo>
                  <a:lnTo>
                    <a:pt x="678" y="349"/>
                  </a:lnTo>
                  <a:lnTo>
                    <a:pt x="678" y="349"/>
                  </a:lnTo>
                  <a:lnTo>
                    <a:pt x="671" y="349"/>
                  </a:lnTo>
                  <a:lnTo>
                    <a:pt x="671" y="352"/>
                  </a:lnTo>
                  <a:lnTo>
                    <a:pt x="675" y="352"/>
                  </a:lnTo>
                  <a:lnTo>
                    <a:pt x="675" y="355"/>
                  </a:lnTo>
                  <a:lnTo>
                    <a:pt x="678" y="355"/>
                  </a:lnTo>
                  <a:lnTo>
                    <a:pt x="682" y="355"/>
                  </a:lnTo>
                  <a:lnTo>
                    <a:pt x="682" y="355"/>
                  </a:lnTo>
                  <a:close/>
                  <a:moveTo>
                    <a:pt x="692" y="313"/>
                  </a:moveTo>
                  <a:lnTo>
                    <a:pt x="688" y="313"/>
                  </a:lnTo>
                  <a:lnTo>
                    <a:pt x="688" y="310"/>
                  </a:lnTo>
                  <a:lnTo>
                    <a:pt x="688" y="317"/>
                  </a:lnTo>
                  <a:lnTo>
                    <a:pt x="692" y="320"/>
                  </a:lnTo>
                  <a:lnTo>
                    <a:pt x="692" y="317"/>
                  </a:lnTo>
                  <a:lnTo>
                    <a:pt x="695" y="317"/>
                  </a:lnTo>
                  <a:lnTo>
                    <a:pt x="695" y="323"/>
                  </a:lnTo>
                  <a:lnTo>
                    <a:pt x="695" y="323"/>
                  </a:lnTo>
                  <a:lnTo>
                    <a:pt x="699" y="320"/>
                  </a:lnTo>
                  <a:lnTo>
                    <a:pt x="695" y="317"/>
                  </a:lnTo>
                  <a:lnTo>
                    <a:pt x="699" y="313"/>
                  </a:lnTo>
                  <a:lnTo>
                    <a:pt x="699" y="313"/>
                  </a:lnTo>
                  <a:lnTo>
                    <a:pt x="695" y="310"/>
                  </a:lnTo>
                  <a:lnTo>
                    <a:pt x="695" y="310"/>
                  </a:lnTo>
                  <a:lnTo>
                    <a:pt x="695" y="307"/>
                  </a:lnTo>
                  <a:lnTo>
                    <a:pt x="692" y="307"/>
                  </a:lnTo>
                  <a:lnTo>
                    <a:pt x="692" y="307"/>
                  </a:lnTo>
                  <a:lnTo>
                    <a:pt x="688" y="310"/>
                  </a:lnTo>
                  <a:lnTo>
                    <a:pt x="692" y="310"/>
                  </a:lnTo>
                  <a:lnTo>
                    <a:pt x="692" y="313"/>
                  </a:lnTo>
                  <a:lnTo>
                    <a:pt x="692" y="313"/>
                  </a:lnTo>
                  <a:close/>
                  <a:moveTo>
                    <a:pt x="685" y="294"/>
                  </a:moveTo>
                  <a:lnTo>
                    <a:pt x="682" y="294"/>
                  </a:lnTo>
                  <a:lnTo>
                    <a:pt x="678" y="291"/>
                  </a:lnTo>
                  <a:lnTo>
                    <a:pt x="678" y="291"/>
                  </a:lnTo>
                  <a:lnTo>
                    <a:pt x="675" y="291"/>
                  </a:lnTo>
                  <a:lnTo>
                    <a:pt x="675" y="294"/>
                  </a:lnTo>
                  <a:lnTo>
                    <a:pt x="682" y="297"/>
                  </a:lnTo>
                  <a:lnTo>
                    <a:pt x="685" y="297"/>
                  </a:lnTo>
                  <a:lnTo>
                    <a:pt x="685" y="294"/>
                  </a:lnTo>
                  <a:lnTo>
                    <a:pt x="685" y="294"/>
                  </a:lnTo>
                  <a:close/>
                  <a:moveTo>
                    <a:pt x="685" y="291"/>
                  </a:moveTo>
                  <a:lnTo>
                    <a:pt x="685" y="291"/>
                  </a:lnTo>
                  <a:lnTo>
                    <a:pt x="688" y="291"/>
                  </a:lnTo>
                  <a:lnTo>
                    <a:pt x="692" y="291"/>
                  </a:lnTo>
                  <a:lnTo>
                    <a:pt x="695" y="291"/>
                  </a:lnTo>
                  <a:lnTo>
                    <a:pt x="699" y="291"/>
                  </a:lnTo>
                  <a:lnTo>
                    <a:pt x="699" y="288"/>
                  </a:lnTo>
                  <a:lnTo>
                    <a:pt x="692" y="288"/>
                  </a:lnTo>
                  <a:lnTo>
                    <a:pt x="692" y="288"/>
                  </a:lnTo>
                  <a:lnTo>
                    <a:pt x="688" y="288"/>
                  </a:lnTo>
                  <a:lnTo>
                    <a:pt x="685" y="291"/>
                  </a:lnTo>
                  <a:lnTo>
                    <a:pt x="685" y="291"/>
                  </a:lnTo>
                  <a:close/>
                  <a:moveTo>
                    <a:pt x="730" y="372"/>
                  </a:moveTo>
                  <a:lnTo>
                    <a:pt x="733" y="365"/>
                  </a:lnTo>
                  <a:lnTo>
                    <a:pt x="733" y="365"/>
                  </a:lnTo>
                  <a:lnTo>
                    <a:pt x="730" y="365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30" y="372"/>
                  </a:lnTo>
                  <a:lnTo>
                    <a:pt x="730" y="372"/>
                  </a:lnTo>
                  <a:close/>
                  <a:moveTo>
                    <a:pt x="740" y="368"/>
                  </a:moveTo>
                  <a:lnTo>
                    <a:pt x="744" y="365"/>
                  </a:lnTo>
                  <a:lnTo>
                    <a:pt x="744" y="362"/>
                  </a:lnTo>
                  <a:lnTo>
                    <a:pt x="740" y="362"/>
                  </a:lnTo>
                  <a:lnTo>
                    <a:pt x="740" y="365"/>
                  </a:lnTo>
                  <a:lnTo>
                    <a:pt x="737" y="365"/>
                  </a:lnTo>
                  <a:lnTo>
                    <a:pt x="737" y="365"/>
                  </a:lnTo>
                  <a:lnTo>
                    <a:pt x="740" y="368"/>
                  </a:lnTo>
                  <a:lnTo>
                    <a:pt x="740" y="368"/>
                  </a:lnTo>
                  <a:close/>
                  <a:moveTo>
                    <a:pt x="757" y="368"/>
                  </a:moveTo>
                  <a:lnTo>
                    <a:pt x="761" y="368"/>
                  </a:lnTo>
                  <a:lnTo>
                    <a:pt x="757" y="368"/>
                  </a:lnTo>
                  <a:lnTo>
                    <a:pt x="750" y="368"/>
                  </a:lnTo>
                  <a:lnTo>
                    <a:pt x="754" y="368"/>
                  </a:lnTo>
                  <a:lnTo>
                    <a:pt x="757" y="368"/>
                  </a:lnTo>
                  <a:lnTo>
                    <a:pt x="757" y="368"/>
                  </a:lnTo>
                  <a:close/>
                  <a:moveTo>
                    <a:pt x="788" y="362"/>
                  </a:moveTo>
                  <a:lnTo>
                    <a:pt x="788" y="365"/>
                  </a:lnTo>
                  <a:lnTo>
                    <a:pt x="792" y="368"/>
                  </a:lnTo>
                  <a:lnTo>
                    <a:pt x="792" y="365"/>
                  </a:lnTo>
                  <a:lnTo>
                    <a:pt x="788" y="362"/>
                  </a:lnTo>
                  <a:lnTo>
                    <a:pt x="788" y="362"/>
                  </a:lnTo>
                  <a:lnTo>
                    <a:pt x="788" y="362"/>
                  </a:lnTo>
                  <a:close/>
                  <a:moveTo>
                    <a:pt x="771" y="359"/>
                  </a:moveTo>
                  <a:lnTo>
                    <a:pt x="774" y="359"/>
                  </a:lnTo>
                  <a:lnTo>
                    <a:pt x="778" y="359"/>
                  </a:lnTo>
                  <a:lnTo>
                    <a:pt x="774" y="355"/>
                  </a:lnTo>
                  <a:lnTo>
                    <a:pt x="771" y="355"/>
                  </a:lnTo>
                  <a:lnTo>
                    <a:pt x="771" y="359"/>
                  </a:lnTo>
                  <a:lnTo>
                    <a:pt x="771" y="359"/>
                  </a:lnTo>
                  <a:lnTo>
                    <a:pt x="771" y="359"/>
                  </a:lnTo>
                  <a:close/>
                  <a:moveTo>
                    <a:pt x="757" y="346"/>
                  </a:moveTo>
                  <a:lnTo>
                    <a:pt x="757" y="346"/>
                  </a:lnTo>
                  <a:lnTo>
                    <a:pt x="757" y="346"/>
                  </a:lnTo>
                  <a:lnTo>
                    <a:pt x="750" y="346"/>
                  </a:lnTo>
                  <a:lnTo>
                    <a:pt x="750" y="349"/>
                  </a:lnTo>
                  <a:lnTo>
                    <a:pt x="754" y="349"/>
                  </a:lnTo>
                  <a:lnTo>
                    <a:pt x="757" y="349"/>
                  </a:lnTo>
                  <a:lnTo>
                    <a:pt x="754" y="349"/>
                  </a:lnTo>
                  <a:lnTo>
                    <a:pt x="754" y="346"/>
                  </a:lnTo>
                  <a:lnTo>
                    <a:pt x="757" y="346"/>
                  </a:lnTo>
                  <a:lnTo>
                    <a:pt x="757" y="346"/>
                  </a:lnTo>
                  <a:close/>
                  <a:moveTo>
                    <a:pt x="768" y="343"/>
                  </a:moveTo>
                  <a:lnTo>
                    <a:pt x="768" y="343"/>
                  </a:lnTo>
                  <a:lnTo>
                    <a:pt x="764" y="343"/>
                  </a:lnTo>
                  <a:lnTo>
                    <a:pt x="761" y="343"/>
                  </a:lnTo>
                  <a:lnTo>
                    <a:pt x="764" y="346"/>
                  </a:lnTo>
                  <a:lnTo>
                    <a:pt x="764" y="346"/>
                  </a:lnTo>
                  <a:lnTo>
                    <a:pt x="768" y="346"/>
                  </a:lnTo>
                  <a:lnTo>
                    <a:pt x="768" y="343"/>
                  </a:lnTo>
                  <a:lnTo>
                    <a:pt x="768" y="343"/>
                  </a:lnTo>
                  <a:close/>
                  <a:moveTo>
                    <a:pt x="771" y="346"/>
                  </a:moveTo>
                  <a:lnTo>
                    <a:pt x="771" y="346"/>
                  </a:lnTo>
                  <a:lnTo>
                    <a:pt x="771" y="346"/>
                  </a:lnTo>
                  <a:lnTo>
                    <a:pt x="774" y="343"/>
                  </a:lnTo>
                  <a:lnTo>
                    <a:pt x="774" y="339"/>
                  </a:lnTo>
                  <a:lnTo>
                    <a:pt x="774" y="339"/>
                  </a:lnTo>
                  <a:lnTo>
                    <a:pt x="771" y="339"/>
                  </a:lnTo>
                  <a:lnTo>
                    <a:pt x="771" y="343"/>
                  </a:lnTo>
                  <a:lnTo>
                    <a:pt x="771" y="343"/>
                  </a:lnTo>
                  <a:lnTo>
                    <a:pt x="771" y="346"/>
                  </a:lnTo>
                  <a:lnTo>
                    <a:pt x="771" y="346"/>
                  </a:lnTo>
                  <a:close/>
                  <a:moveTo>
                    <a:pt x="757" y="336"/>
                  </a:moveTo>
                  <a:lnTo>
                    <a:pt x="761" y="333"/>
                  </a:lnTo>
                  <a:lnTo>
                    <a:pt x="761" y="330"/>
                  </a:lnTo>
                  <a:lnTo>
                    <a:pt x="757" y="330"/>
                  </a:lnTo>
                  <a:lnTo>
                    <a:pt x="754" y="333"/>
                  </a:lnTo>
                  <a:lnTo>
                    <a:pt x="750" y="333"/>
                  </a:lnTo>
                  <a:lnTo>
                    <a:pt x="750" y="333"/>
                  </a:lnTo>
                  <a:lnTo>
                    <a:pt x="757" y="333"/>
                  </a:lnTo>
                  <a:lnTo>
                    <a:pt x="757" y="336"/>
                  </a:lnTo>
                  <a:lnTo>
                    <a:pt x="757" y="336"/>
                  </a:lnTo>
                  <a:close/>
                  <a:moveTo>
                    <a:pt x="774" y="326"/>
                  </a:moveTo>
                  <a:lnTo>
                    <a:pt x="778" y="326"/>
                  </a:lnTo>
                  <a:lnTo>
                    <a:pt x="778" y="326"/>
                  </a:lnTo>
                  <a:lnTo>
                    <a:pt x="774" y="323"/>
                  </a:lnTo>
                  <a:lnTo>
                    <a:pt x="778" y="323"/>
                  </a:lnTo>
                  <a:lnTo>
                    <a:pt x="778" y="323"/>
                  </a:lnTo>
                  <a:lnTo>
                    <a:pt x="778" y="320"/>
                  </a:lnTo>
                  <a:lnTo>
                    <a:pt x="771" y="320"/>
                  </a:lnTo>
                  <a:lnTo>
                    <a:pt x="771" y="320"/>
                  </a:lnTo>
                  <a:lnTo>
                    <a:pt x="771" y="323"/>
                  </a:lnTo>
                  <a:lnTo>
                    <a:pt x="771" y="323"/>
                  </a:lnTo>
                  <a:lnTo>
                    <a:pt x="768" y="320"/>
                  </a:lnTo>
                  <a:lnTo>
                    <a:pt x="764" y="323"/>
                  </a:lnTo>
                  <a:lnTo>
                    <a:pt x="768" y="326"/>
                  </a:lnTo>
                  <a:lnTo>
                    <a:pt x="771" y="326"/>
                  </a:lnTo>
                  <a:lnTo>
                    <a:pt x="774" y="326"/>
                  </a:lnTo>
                  <a:lnTo>
                    <a:pt x="774" y="326"/>
                  </a:lnTo>
                  <a:lnTo>
                    <a:pt x="774" y="326"/>
                  </a:lnTo>
                  <a:close/>
                  <a:moveTo>
                    <a:pt x="761" y="188"/>
                  </a:moveTo>
                  <a:lnTo>
                    <a:pt x="764" y="188"/>
                  </a:lnTo>
                  <a:lnTo>
                    <a:pt x="764" y="184"/>
                  </a:lnTo>
                  <a:lnTo>
                    <a:pt x="761" y="184"/>
                  </a:lnTo>
                  <a:lnTo>
                    <a:pt x="761" y="184"/>
                  </a:lnTo>
                  <a:lnTo>
                    <a:pt x="761" y="188"/>
                  </a:lnTo>
                  <a:lnTo>
                    <a:pt x="761" y="188"/>
                  </a:lnTo>
                  <a:close/>
                  <a:moveTo>
                    <a:pt x="740" y="217"/>
                  </a:moveTo>
                  <a:lnTo>
                    <a:pt x="740" y="217"/>
                  </a:lnTo>
                  <a:lnTo>
                    <a:pt x="744" y="217"/>
                  </a:lnTo>
                  <a:lnTo>
                    <a:pt x="747" y="217"/>
                  </a:lnTo>
                  <a:lnTo>
                    <a:pt x="747" y="213"/>
                  </a:lnTo>
                  <a:lnTo>
                    <a:pt x="747" y="210"/>
                  </a:lnTo>
                  <a:lnTo>
                    <a:pt x="744" y="207"/>
                  </a:lnTo>
                  <a:lnTo>
                    <a:pt x="744" y="207"/>
                  </a:lnTo>
                  <a:lnTo>
                    <a:pt x="740" y="210"/>
                  </a:lnTo>
                  <a:lnTo>
                    <a:pt x="740" y="213"/>
                  </a:lnTo>
                  <a:lnTo>
                    <a:pt x="740" y="217"/>
                  </a:lnTo>
                  <a:lnTo>
                    <a:pt x="740" y="217"/>
                  </a:lnTo>
                  <a:close/>
                  <a:moveTo>
                    <a:pt x="826" y="210"/>
                  </a:moveTo>
                  <a:lnTo>
                    <a:pt x="830" y="210"/>
                  </a:lnTo>
                  <a:lnTo>
                    <a:pt x="833" y="207"/>
                  </a:lnTo>
                  <a:lnTo>
                    <a:pt x="833" y="207"/>
                  </a:lnTo>
                  <a:lnTo>
                    <a:pt x="836" y="207"/>
                  </a:lnTo>
                  <a:lnTo>
                    <a:pt x="836" y="207"/>
                  </a:lnTo>
                  <a:lnTo>
                    <a:pt x="836" y="210"/>
                  </a:lnTo>
                  <a:lnTo>
                    <a:pt x="840" y="207"/>
                  </a:lnTo>
                  <a:lnTo>
                    <a:pt x="843" y="204"/>
                  </a:lnTo>
                  <a:lnTo>
                    <a:pt x="843" y="200"/>
                  </a:lnTo>
                  <a:lnTo>
                    <a:pt x="847" y="200"/>
                  </a:lnTo>
                  <a:lnTo>
                    <a:pt x="843" y="194"/>
                  </a:lnTo>
                  <a:lnTo>
                    <a:pt x="843" y="194"/>
                  </a:lnTo>
                  <a:lnTo>
                    <a:pt x="843" y="194"/>
                  </a:lnTo>
                  <a:lnTo>
                    <a:pt x="840" y="197"/>
                  </a:lnTo>
                  <a:lnTo>
                    <a:pt x="836" y="200"/>
                  </a:lnTo>
                  <a:lnTo>
                    <a:pt x="833" y="200"/>
                  </a:lnTo>
                  <a:lnTo>
                    <a:pt x="830" y="207"/>
                  </a:lnTo>
                  <a:lnTo>
                    <a:pt x="826" y="210"/>
                  </a:lnTo>
                  <a:lnTo>
                    <a:pt x="826" y="210"/>
                  </a:lnTo>
                  <a:close/>
                  <a:moveTo>
                    <a:pt x="864" y="210"/>
                  </a:moveTo>
                  <a:lnTo>
                    <a:pt x="867" y="210"/>
                  </a:lnTo>
                  <a:lnTo>
                    <a:pt x="871" y="210"/>
                  </a:lnTo>
                  <a:lnTo>
                    <a:pt x="867" y="207"/>
                  </a:lnTo>
                  <a:lnTo>
                    <a:pt x="864" y="210"/>
                  </a:lnTo>
                  <a:lnTo>
                    <a:pt x="864" y="210"/>
                  </a:lnTo>
                  <a:lnTo>
                    <a:pt x="864" y="210"/>
                  </a:lnTo>
                  <a:lnTo>
                    <a:pt x="864" y="210"/>
                  </a:lnTo>
                  <a:close/>
                  <a:moveTo>
                    <a:pt x="871" y="220"/>
                  </a:moveTo>
                  <a:lnTo>
                    <a:pt x="871" y="220"/>
                  </a:lnTo>
                  <a:lnTo>
                    <a:pt x="874" y="217"/>
                  </a:lnTo>
                  <a:lnTo>
                    <a:pt x="874" y="217"/>
                  </a:lnTo>
                  <a:lnTo>
                    <a:pt x="871" y="217"/>
                  </a:lnTo>
                  <a:lnTo>
                    <a:pt x="871" y="213"/>
                  </a:lnTo>
                  <a:lnTo>
                    <a:pt x="867" y="213"/>
                  </a:lnTo>
                  <a:lnTo>
                    <a:pt x="867" y="213"/>
                  </a:lnTo>
                  <a:lnTo>
                    <a:pt x="871" y="217"/>
                  </a:lnTo>
                  <a:lnTo>
                    <a:pt x="871" y="220"/>
                  </a:lnTo>
                  <a:lnTo>
                    <a:pt x="871" y="220"/>
                  </a:lnTo>
                  <a:close/>
                  <a:moveTo>
                    <a:pt x="836" y="226"/>
                  </a:moveTo>
                  <a:lnTo>
                    <a:pt x="840" y="226"/>
                  </a:lnTo>
                  <a:lnTo>
                    <a:pt x="840" y="223"/>
                  </a:lnTo>
                  <a:lnTo>
                    <a:pt x="840" y="223"/>
                  </a:lnTo>
                  <a:lnTo>
                    <a:pt x="836" y="223"/>
                  </a:lnTo>
                  <a:lnTo>
                    <a:pt x="833" y="226"/>
                  </a:lnTo>
                  <a:lnTo>
                    <a:pt x="833" y="226"/>
                  </a:lnTo>
                  <a:lnTo>
                    <a:pt x="836" y="226"/>
                  </a:lnTo>
                  <a:lnTo>
                    <a:pt x="836" y="226"/>
                  </a:lnTo>
                  <a:close/>
                  <a:moveTo>
                    <a:pt x="857" y="226"/>
                  </a:moveTo>
                  <a:lnTo>
                    <a:pt x="857" y="226"/>
                  </a:lnTo>
                  <a:lnTo>
                    <a:pt x="857" y="223"/>
                  </a:lnTo>
                  <a:lnTo>
                    <a:pt x="857" y="223"/>
                  </a:lnTo>
                  <a:lnTo>
                    <a:pt x="857" y="220"/>
                  </a:lnTo>
                  <a:lnTo>
                    <a:pt x="854" y="220"/>
                  </a:lnTo>
                  <a:lnTo>
                    <a:pt x="854" y="220"/>
                  </a:lnTo>
                  <a:lnTo>
                    <a:pt x="854" y="223"/>
                  </a:lnTo>
                  <a:lnTo>
                    <a:pt x="850" y="223"/>
                  </a:lnTo>
                  <a:lnTo>
                    <a:pt x="850" y="226"/>
                  </a:lnTo>
                  <a:lnTo>
                    <a:pt x="850" y="226"/>
                  </a:lnTo>
                  <a:lnTo>
                    <a:pt x="854" y="223"/>
                  </a:lnTo>
                  <a:lnTo>
                    <a:pt x="854" y="223"/>
                  </a:lnTo>
                  <a:lnTo>
                    <a:pt x="857" y="226"/>
                  </a:lnTo>
                  <a:lnTo>
                    <a:pt x="857" y="226"/>
                  </a:lnTo>
                  <a:close/>
                  <a:moveTo>
                    <a:pt x="857" y="242"/>
                  </a:moveTo>
                  <a:lnTo>
                    <a:pt x="860" y="242"/>
                  </a:lnTo>
                  <a:lnTo>
                    <a:pt x="864" y="246"/>
                  </a:lnTo>
                  <a:lnTo>
                    <a:pt x="867" y="246"/>
                  </a:lnTo>
                  <a:lnTo>
                    <a:pt x="867" y="242"/>
                  </a:lnTo>
                  <a:lnTo>
                    <a:pt x="874" y="246"/>
                  </a:lnTo>
                  <a:lnTo>
                    <a:pt x="874" y="242"/>
                  </a:lnTo>
                  <a:lnTo>
                    <a:pt x="878" y="242"/>
                  </a:lnTo>
                  <a:lnTo>
                    <a:pt x="878" y="239"/>
                  </a:lnTo>
                  <a:lnTo>
                    <a:pt x="874" y="239"/>
                  </a:lnTo>
                  <a:lnTo>
                    <a:pt x="878" y="239"/>
                  </a:lnTo>
                  <a:lnTo>
                    <a:pt x="874" y="236"/>
                  </a:lnTo>
                  <a:lnTo>
                    <a:pt x="871" y="236"/>
                  </a:lnTo>
                  <a:lnTo>
                    <a:pt x="871" y="236"/>
                  </a:lnTo>
                  <a:lnTo>
                    <a:pt x="871" y="239"/>
                  </a:lnTo>
                  <a:lnTo>
                    <a:pt x="871" y="239"/>
                  </a:lnTo>
                  <a:lnTo>
                    <a:pt x="867" y="239"/>
                  </a:lnTo>
                  <a:lnTo>
                    <a:pt x="867" y="239"/>
                  </a:lnTo>
                  <a:lnTo>
                    <a:pt x="864" y="239"/>
                  </a:lnTo>
                  <a:lnTo>
                    <a:pt x="864" y="239"/>
                  </a:lnTo>
                  <a:lnTo>
                    <a:pt x="860" y="239"/>
                  </a:lnTo>
                  <a:lnTo>
                    <a:pt x="857" y="239"/>
                  </a:lnTo>
                  <a:lnTo>
                    <a:pt x="857" y="242"/>
                  </a:lnTo>
                  <a:lnTo>
                    <a:pt x="857" y="242"/>
                  </a:lnTo>
                  <a:lnTo>
                    <a:pt x="857" y="242"/>
                  </a:lnTo>
                  <a:close/>
                  <a:moveTo>
                    <a:pt x="510" y="146"/>
                  </a:moveTo>
                  <a:lnTo>
                    <a:pt x="513" y="146"/>
                  </a:lnTo>
                  <a:lnTo>
                    <a:pt x="516" y="149"/>
                  </a:lnTo>
                  <a:lnTo>
                    <a:pt x="520" y="149"/>
                  </a:lnTo>
                  <a:lnTo>
                    <a:pt x="523" y="146"/>
                  </a:lnTo>
                  <a:lnTo>
                    <a:pt x="523" y="146"/>
                  </a:lnTo>
                  <a:lnTo>
                    <a:pt x="523" y="146"/>
                  </a:lnTo>
                  <a:lnTo>
                    <a:pt x="516" y="146"/>
                  </a:lnTo>
                  <a:lnTo>
                    <a:pt x="513" y="146"/>
                  </a:lnTo>
                  <a:lnTo>
                    <a:pt x="513" y="142"/>
                  </a:lnTo>
                  <a:lnTo>
                    <a:pt x="510" y="142"/>
                  </a:lnTo>
                  <a:lnTo>
                    <a:pt x="510" y="146"/>
                  </a:lnTo>
                  <a:lnTo>
                    <a:pt x="510" y="146"/>
                  </a:lnTo>
                  <a:lnTo>
                    <a:pt x="510" y="146"/>
                  </a:lnTo>
                  <a:close/>
                  <a:moveTo>
                    <a:pt x="503" y="78"/>
                  </a:moveTo>
                  <a:lnTo>
                    <a:pt x="499" y="74"/>
                  </a:lnTo>
                  <a:lnTo>
                    <a:pt x="499" y="71"/>
                  </a:lnTo>
                  <a:lnTo>
                    <a:pt x="506" y="68"/>
                  </a:lnTo>
                  <a:lnTo>
                    <a:pt x="510" y="68"/>
                  </a:lnTo>
                  <a:lnTo>
                    <a:pt x="516" y="71"/>
                  </a:lnTo>
                  <a:lnTo>
                    <a:pt x="516" y="74"/>
                  </a:lnTo>
                  <a:lnTo>
                    <a:pt x="516" y="74"/>
                  </a:lnTo>
                  <a:lnTo>
                    <a:pt x="510" y="78"/>
                  </a:lnTo>
                  <a:lnTo>
                    <a:pt x="503" y="78"/>
                  </a:lnTo>
                  <a:lnTo>
                    <a:pt x="503" y="78"/>
                  </a:lnTo>
                  <a:lnTo>
                    <a:pt x="503" y="78"/>
                  </a:lnTo>
                  <a:lnTo>
                    <a:pt x="503" y="78"/>
                  </a:lnTo>
                  <a:close/>
                  <a:moveTo>
                    <a:pt x="623" y="23"/>
                  </a:moveTo>
                  <a:lnTo>
                    <a:pt x="627" y="20"/>
                  </a:lnTo>
                  <a:lnTo>
                    <a:pt x="627" y="16"/>
                  </a:lnTo>
                  <a:lnTo>
                    <a:pt x="633" y="16"/>
                  </a:lnTo>
                  <a:lnTo>
                    <a:pt x="637" y="20"/>
                  </a:lnTo>
                  <a:lnTo>
                    <a:pt x="637" y="20"/>
                  </a:lnTo>
                  <a:lnTo>
                    <a:pt x="637" y="23"/>
                  </a:lnTo>
                  <a:lnTo>
                    <a:pt x="633" y="26"/>
                  </a:lnTo>
                  <a:lnTo>
                    <a:pt x="627" y="26"/>
                  </a:lnTo>
                  <a:lnTo>
                    <a:pt x="623" y="26"/>
                  </a:lnTo>
                  <a:lnTo>
                    <a:pt x="623" y="23"/>
                  </a:lnTo>
                  <a:lnTo>
                    <a:pt x="623" y="23"/>
                  </a:lnTo>
                  <a:close/>
                  <a:moveTo>
                    <a:pt x="709" y="71"/>
                  </a:moveTo>
                  <a:lnTo>
                    <a:pt x="716" y="68"/>
                  </a:lnTo>
                  <a:lnTo>
                    <a:pt x="716" y="65"/>
                  </a:lnTo>
                  <a:lnTo>
                    <a:pt x="716" y="62"/>
                  </a:lnTo>
                  <a:lnTo>
                    <a:pt x="723" y="55"/>
                  </a:lnTo>
                  <a:lnTo>
                    <a:pt x="730" y="52"/>
                  </a:lnTo>
                  <a:lnTo>
                    <a:pt x="737" y="49"/>
                  </a:lnTo>
                  <a:lnTo>
                    <a:pt x="737" y="45"/>
                  </a:lnTo>
                  <a:lnTo>
                    <a:pt x="737" y="42"/>
                  </a:lnTo>
                  <a:lnTo>
                    <a:pt x="730" y="39"/>
                  </a:lnTo>
                  <a:lnTo>
                    <a:pt x="723" y="36"/>
                  </a:lnTo>
                  <a:lnTo>
                    <a:pt x="719" y="29"/>
                  </a:lnTo>
                  <a:lnTo>
                    <a:pt x="719" y="26"/>
                  </a:lnTo>
                  <a:lnTo>
                    <a:pt x="723" y="23"/>
                  </a:lnTo>
                  <a:lnTo>
                    <a:pt x="723" y="20"/>
                  </a:lnTo>
                  <a:lnTo>
                    <a:pt x="723" y="20"/>
                  </a:lnTo>
                  <a:lnTo>
                    <a:pt x="713" y="20"/>
                  </a:lnTo>
                  <a:lnTo>
                    <a:pt x="706" y="16"/>
                  </a:lnTo>
                  <a:lnTo>
                    <a:pt x="699" y="13"/>
                  </a:lnTo>
                  <a:lnTo>
                    <a:pt x="692" y="7"/>
                  </a:lnTo>
                  <a:lnTo>
                    <a:pt x="685" y="3"/>
                  </a:lnTo>
                  <a:lnTo>
                    <a:pt x="678" y="0"/>
                  </a:lnTo>
                  <a:lnTo>
                    <a:pt x="678" y="0"/>
                  </a:lnTo>
                  <a:lnTo>
                    <a:pt x="675" y="0"/>
                  </a:lnTo>
                  <a:lnTo>
                    <a:pt x="675" y="3"/>
                  </a:lnTo>
                  <a:lnTo>
                    <a:pt x="675" y="7"/>
                  </a:lnTo>
                  <a:lnTo>
                    <a:pt x="675" y="10"/>
                  </a:lnTo>
                  <a:lnTo>
                    <a:pt x="671" y="16"/>
                  </a:lnTo>
                  <a:lnTo>
                    <a:pt x="668" y="20"/>
                  </a:lnTo>
                  <a:lnTo>
                    <a:pt x="664" y="23"/>
                  </a:lnTo>
                  <a:lnTo>
                    <a:pt x="664" y="26"/>
                  </a:lnTo>
                  <a:lnTo>
                    <a:pt x="664" y="39"/>
                  </a:lnTo>
                  <a:lnTo>
                    <a:pt x="668" y="42"/>
                  </a:lnTo>
                  <a:lnTo>
                    <a:pt x="671" y="45"/>
                  </a:lnTo>
                  <a:lnTo>
                    <a:pt x="671" y="49"/>
                  </a:lnTo>
                  <a:lnTo>
                    <a:pt x="671" y="58"/>
                  </a:lnTo>
                  <a:lnTo>
                    <a:pt x="668" y="62"/>
                  </a:lnTo>
                  <a:lnTo>
                    <a:pt x="668" y="65"/>
                  </a:lnTo>
                  <a:lnTo>
                    <a:pt x="668" y="65"/>
                  </a:lnTo>
                  <a:lnTo>
                    <a:pt x="671" y="65"/>
                  </a:lnTo>
                  <a:lnTo>
                    <a:pt x="671" y="62"/>
                  </a:lnTo>
                  <a:lnTo>
                    <a:pt x="678" y="62"/>
                  </a:lnTo>
                  <a:lnTo>
                    <a:pt x="678" y="62"/>
                  </a:lnTo>
                  <a:lnTo>
                    <a:pt x="682" y="65"/>
                  </a:lnTo>
                  <a:lnTo>
                    <a:pt x="685" y="68"/>
                  </a:lnTo>
                  <a:lnTo>
                    <a:pt x="688" y="68"/>
                  </a:lnTo>
                  <a:lnTo>
                    <a:pt x="692" y="68"/>
                  </a:lnTo>
                  <a:lnTo>
                    <a:pt x="695" y="68"/>
                  </a:lnTo>
                  <a:lnTo>
                    <a:pt x="699" y="71"/>
                  </a:lnTo>
                  <a:lnTo>
                    <a:pt x="702" y="71"/>
                  </a:lnTo>
                  <a:lnTo>
                    <a:pt x="709" y="71"/>
                  </a:lnTo>
                  <a:lnTo>
                    <a:pt x="709" y="71"/>
                  </a:lnTo>
                  <a:close/>
                  <a:moveTo>
                    <a:pt x="688" y="94"/>
                  </a:moveTo>
                  <a:lnTo>
                    <a:pt x="692" y="94"/>
                  </a:lnTo>
                  <a:lnTo>
                    <a:pt x="695" y="97"/>
                  </a:lnTo>
                  <a:lnTo>
                    <a:pt x="699" y="97"/>
                  </a:lnTo>
                  <a:lnTo>
                    <a:pt x="702" y="94"/>
                  </a:lnTo>
                  <a:lnTo>
                    <a:pt x="706" y="91"/>
                  </a:lnTo>
                  <a:lnTo>
                    <a:pt x="709" y="91"/>
                  </a:lnTo>
                  <a:lnTo>
                    <a:pt x="709" y="84"/>
                  </a:lnTo>
                  <a:lnTo>
                    <a:pt x="713" y="81"/>
                  </a:lnTo>
                  <a:lnTo>
                    <a:pt x="713" y="78"/>
                  </a:lnTo>
                  <a:lnTo>
                    <a:pt x="702" y="74"/>
                  </a:lnTo>
                  <a:lnTo>
                    <a:pt x="695" y="74"/>
                  </a:lnTo>
                  <a:lnTo>
                    <a:pt x="692" y="74"/>
                  </a:lnTo>
                  <a:lnTo>
                    <a:pt x="688" y="74"/>
                  </a:lnTo>
                  <a:lnTo>
                    <a:pt x="685" y="74"/>
                  </a:lnTo>
                  <a:lnTo>
                    <a:pt x="682" y="74"/>
                  </a:lnTo>
                  <a:lnTo>
                    <a:pt x="678" y="78"/>
                  </a:lnTo>
                  <a:lnTo>
                    <a:pt x="675" y="78"/>
                  </a:lnTo>
                  <a:lnTo>
                    <a:pt x="671" y="78"/>
                  </a:lnTo>
                  <a:lnTo>
                    <a:pt x="675" y="81"/>
                  </a:lnTo>
                  <a:lnTo>
                    <a:pt x="678" y="81"/>
                  </a:lnTo>
                  <a:lnTo>
                    <a:pt x="682" y="84"/>
                  </a:lnTo>
                  <a:lnTo>
                    <a:pt x="685" y="84"/>
                  </a:lnTo>
                  <a:lnTo>
                    <a:pt x="688" y="87"/>
                  </a:lnTo>
                  <a:lnTo>
                    <a:pt x="692" y="91"/>
                  </a:lnTo>
                  <a:lnTo>
                    <a:pt x="699" y="91"/>
                  </a:lnTo>
                  <a:lnTo>
                    <a:pt x="702" y="91"/>
                  </a:lnTo>
                  <a:lnTo>
                    <a:pt x="699" y="91"/>
                  </a:lnTo>
                  <a:lnTo>
                    <a:pt x="695" y="94"/>
                  </a:lnTo>
                  <a:lnTo>
                    <a:pt x="688" y="94"/>
                  </a:lnTo>
                  <a:lnTo>
                    <a:pt x="688" y="94"/>
                  </a:lnTo>
                  <a:close/>
                  <a:moveTo>
                    <a:pt x="823" y="104"/>
                  </a:moveTo>
                  <a:lnTo>
                    <a:pt x="823" y="107"/>
                  </a:lnTo>
                  <a:lnTo>
                    <a:pt x="816" y="110"/>
                  </a:lnTo>
                  <a:lnTo>
                    <a:pt x="812" y="113"/>
                  </a:lnTo>
                  <a:lnTo>
                    <a:pt x="805" y="116"/>
                  </a:lnTo>
                  <a:lnTo>
                    <a:pt x="802" y="120"/>
                  </a:lnTo>
                  <a:lnTo>
                    <a:pt x="799" y="120"/>
                  </a:lnTo>
                  <a:lnTo>
                    <a:pt x="795" y="116"/>
                  </a:lnTo>
                  <a:lnTo>
                    <a:pt x="792" y="113"/>
                  </a:lnTo>
                  <a:lnTo>
                    <a:pt x="788" y="113"/>
                  </a:lnTo>
                  <a:lnTo>
                    <a:pt x="785" y="113"/>
                  </a:lnTo>
                  <a:lnTo>
                    <a:pt x="781" y="113"/>
                  </a:lnTo>
                  <a:lnTo>
                    <a:pt x="774" y="113"/>
                  </a:lnTo>
                  <a:lnTo>
                    <a:pt x="768" y="110"/>
                  </a:lnTo>
                  <a:lnTo>
                    <a:pt x="764" y="110"/>
                  </a:lnTo>
                  <a:lnTo>
                    <a:pt x="761" y="110"/>
                  </a:lnTo>
                  <a:lnTo>
                    <a:pt x="757" y="113"/>
                  </a:lnTo>
                  <a:lnTo>
                    <a:pt x="754" y="113"/>
                  </a:lnTo>
                  <a:lnTo>
                    <a:pt x="747" y="110"/>
                  </a:lnTo>
                  <a:lnTo>
                    <a:pt x="744" y="110"/>
                  </a:lnTo>
                  <a:lnTo>
                    <a:pt x="740" y="107"/>
                  </a:lnTo>
                  <a:lnTo>
                    <a:pt x="737" y="100"/>
                  </a:lnTo>
                  <a:lnTo>
                    <a:pt x="737" y="97"/>
                  </a:lnTo>
                  <a:lnTo>
                    <a:pt x="733" y="97"/>
                  </a:lnTo>
                  <a:lnTo>
                    <a:pt x="730" y="100"/>
                  </a:lnTo>
                  <a:lnTo>
                    <a:pt x="726" y="97"/>
                  </a:lnTo>
                  <a:lnTo>
                    <a:pt x="723" y="97"/>
                  </a:lnTo>
                  <a:lnTo>
                    <a:pt x="723" y="97"/>
                  </a:lnTo>
                  <a:lnTo>
                    <a:pt x="723" y="100"/>
                  </a:lnTo>
                  <a:lnTo>
                    <a:pt x="719" y="100"/>
                  </a:lnTo>
                  <a:lnTo>
                    <a:pt x="719" y="100"/>
                  </a:lnTo>
                  <a:lnTo>
                    <a:pt x="716" y="97"/>
                  </a:lnTo>
                  <a:lnTo>
                    <a:pt x="716" y="94"/>
                  </a:lnTo>
                  <a:lnTo>
                    <a:pt x="719" y="94"/>
                  </a:lnTo>
                  <a:lnTo>
                    <a:pt x="723" y="91"/>
                  </a:lnTo>
                  <a:lnTo>
                    <a:pt x="719" y="87"/>
                  </a:lnTo>
                  <a:lnTo>
                    <a:pt x="719" y="84"/>
                  </a:lnTo>
                  <a:lnTo>
                    <a:pt x="726" y="81"/>
                  </a:lnTo>
                  <a:lnTo>
                    <a:pt x="723" y="78"/>
                  </a:lnTo>
                  <a:lnTo>
                    <a:pt x="723" y="78"/>
                  </a:lnTo>
                  <a:lnTo>
                    <a:pt x="716" y="74"/>
                  </a:lnTo>
                  <a:lnTo>
                    <a:pt x="716" y="71"/>
                  </a:lnTo>
                  <a:lnTo>
                    <a:pt x="719" y="68"/>
                  </a:lnTo>
                  <a:lnTo>
                    <a:pt x="723" y="65"/>
                  </a:lnTo>
                  <a:lnTo>
                    <a:pt x="726" y="65"/>
                  </a:lnTo>
                  <a:lnTo>
                    <a:pt x="730" y="62"/>
                  </a:lnTo>
                  <a:lnTo>
                    <a:pt x="730" y="58"/>
                  </a:lnTo>
                  <a:lnTo>
                    <a:pt x="733" y="58"/>
                  </a:lnTo>
                  <a:lnTo>
                    <a:pt x="740" y="55"/>
                  </a:lnTo>
                  <a:lnTo>
                    <a:pt x="744" y="49"/>
                  </a:lnTo>
                  <a:lnTo>
                    <a:pt x="744" y="49"/>
                  </a:lnTo>
                  <a:lnTo>
                    <a:pt x="750" y="49"/>
                  </a:lnTo>
                  <a:lnTo>
                    <a:pt x="757" y="52"/>
                  </a:lnTo>
                  <a:lnTo>
                    <a:pt x="764" y="62"/>
                  </a:lnTo>
                  <a:lnTo>
                    <a:pt x="764" y="65"/>
                  </a:lnTo>
                  <a:lnTo>
                    <a:pt x="764" y="68"/>
                  </a:lnTo>
                  <a:lnTo>
                    <a:pt x="764" y="71"/>
                  </a:lnTo>
                  <a:lnTo>
                    <a:pt x="764" y="71"/>
                  </a:lnTo>
                  <a:lnTo>
                    <a:pt x="761" y="74"/>
                  </a:lnTo>
                  <a:lnTo>
                    <a:pt x="761" y="78"/>
                  </a:lnTo>
                  <a:lnTo>
                    <a:pt x="764" y="78"/>
                  </a:lnTo>
                  <a:lnTo>
                    <a:pt x="768" y="71"/>
                  </a:lnTo>
                  <a:lnTo>
                    <a:pt x="768" y="68"/>
                  </a:lnTo>
                  <a:lnTo>
                    <a:pt x="768" y="65"/>
                  </a:lnTo>
                  <a:lnTo>
                    <a:pt x="768" y="62"/>
                  </a:lnTo>
                  <a:lnTo>
                    <a:pt x="768" y="62"/>
                  </a:lnTo>
                  <a:lnTo>
                    <a:pt x="764" y="55"/>
                  </a:lnTo>
                  <a:lnTo>
                    <a:pt x="764" y="55"/>
                  </a:lnTo>
                  <a:lnTo>
                    <a:pt x="764" y="52"/>
                  </a:lnTo>
                  <a:lnTo>
                    <a:pt x="771" y="52"/>
                  </a:lnTo>
                  <a:lnTo>
                    <a:pt x="778" y="52"/>
                  </a:lnTo>
                  <a:lnTo>
                    <a:pt x="788" y="58"/>
                  </a:lnTo>
                  <a:lnTo>
                    <a:pt x="792" y="62"/>
                  </a:lnTo>
                  <a:lnTo>
                    <a:pt x="792" y="62"/>
                  </a:lnTo>
                  <a:lnTo>
                    <a:pt x="795" y="65"/>
                  </a:lnTo>
                  <a:lnTo>
                    <a:pt x="795" y="68"/>
                  </a:lnTo>
                  <a:lnTo>
                    <a:pt x="799" y="71"/>
                  </a:lnTo>
                  <a:lnTo>
                    <a:pt x="799" y="74"/>
                  </a:lnTo>
                  <a:lnTo>
                    <a:pt x="802" y="81"/>
                  </a:lnTo>
                  <a:lnTo>
                    <a:pt x="809" y="84"/>
                  </a:lnTo>
                  <a:lnTo>
                    <a:pt x="809" y="87"/>
                  </a:lnTo>
                  <a:lnTo>
                    <a:pt x="805" y="87"/>
                  </a:lnTo>
                  <a:lnTo>
                    <a:pt x="802" y="87"/>
                  </a:lnTo>
                  <a:lnTo>
                    <a:pt x="799" y="87"/>
                  </a:lnTo>
                  <a:lnTo>
                    <a:pt x="799" y="91"/>
                  </a:lnTo>
                  <a:lnTo>
                    <a:pt x="805" y="94"/>
                  </a:lnTo>
                  <a:lnTo>
                    <a:pt x="809" y="94"/>
                  </a:lnTo>
                  <a:lnTo>
                    <a:pt x="812" y="97"/>
                  </a:lnTo>
                  <a:lnTo>
                    <a:pt x="816" y="97"/>
                  </a:lnTo>
                  <a:lnTo>
                    <a:pt x="823" y="104"/>
                  </a:lnTo>
                  <a:lnTo>
                    <a:pt x="823" y="104"/>
                  </a:lnTo>
                  <a:close/>
                  <a:moveTo>
                    <a:pt x="1528" y="10"/>
                  </a:moveTo>
                  <a:lnTo>
                    <a:pt x="1531" y="3"/>
                  </a:lnTo>
                  <a:lnTo>
                    <a:pt x="1535" y="0"/>
                  </a:lnTo>
                  <a:lnTo>
                    <a:pt x="1538" y="0"/>
                  </a:lnTo>
                  <a:lnTo>
                    <a:pt x="1538" y="3"/>
                  </a:lnTo>
                  <a:lnTo>
                    <a:pt x="1538" y="7"/>
                  </a:lnTo>
                  <a:lnTo>
                    <a:pt x="1535" y="7"/>
                  </a:lnTo>
                  <a:lnTo>
                    <a:pt x="1535" y="10"/>
                  </a:lnTo>
                  <a:lnTo>
                    <a:pt x="1528" y="10"/>
                  </a:lnTo>
                  <a:lnTo>
                    <a:pt x="1528" y="10"/>
                  </a:lnTo>
                  <a:close/>
                  <a:moveTo>
                    <a:pt x="1573" y="68"/>
                  </a:moveTo>
                  <a:lnTo>
                    <a:pt x="1573" y="74"/>
                  </a:lnTo>
                  <a:lnTo>
                    <a:pt x="1579" y="81"/>
                  </a:lnTo>
                  <a:lnTo>
                    <a:pt x="1583" y="84"/>
                  </a:lnTo>
                  <a:lnTo>
                    <a:pt x="1593" y="87"/>
                  </a:lnTo>
                  <a:lnTo>
                    <a:pt x="1604" y="87"/>
                  </a:lnTo>
                  <a:lnTo>
                    <a:pt x="1610" y="91"/>
                  </a:lnTo>
                  <a:lnTo>
                    <a:pt x="1617" y="91"/>
                  </a:lnTo>
                  <a:lnTo>
                    <a:pt x="1624" y="91"/>
                  </a:lnTo>
                  <a:lnTo>
                    <a:pt x="1628" y="91"/>
                  </a:lnTo>
                  <a:lnTo>
                    <a:pt x="1631" y="91"/>
                  </a:lnTo>
                  <a:lnTo>
                    <a:pt x="1638" y="87"/>
                  </a:lnTo>
                  <a:lnTo>
                    <a:pt x="1641" y="81"/>
                  </a:lnTo>
                  <a:lnTo>
                    <a:pt x="1645" y="78"/>
                  </a:lnTo>
                  <a:lnTo>
                    <a:pt x="1641" y="74"/>
                  </a:lnTo>
                  <a:lnTo>
                    <a:pt x="1638" y="74"/>
                  </a:lnTo>
                  <a:lnTo>
                    <a:pt x="1638" y="74"/>
                  </a:lnTo>
                  <a:lnTo>
                    <a:pt x="1635" y="71"/>
                  </a:lnTo>
                  <a:lnTo>
                    <a:pt x="1635" y="68"/>
                  </a:lnTo>
                  <a:lnTo>
                    <a:pt x="1635" y="68"/>
                  </a:lnTo>
                  <a:lnTo>
                    <a:pt x="1631" y="68"/>
                  </a:lnTo>
                  <a:lnTo>
                    <a:pt x="1624" y="68"/>
                  </a:lnTo>
                  <a:lnTo>
                    <a:pt x="1614" y="68"/>
                  </a:lnTo>
                  <a:lnTo>
                    <a:pt x="1610" y="71"/>
                  </a:lnTo>
                  <a:lnTo>
                    <a:pt x="1607" y="74"/>
                  </a:lnTo>
                  <a:lnTo>
                    <a:pt x="1604" y="71"/>
                  </a:lnTo>
                  <a:lnTo>
                    <a:pt x="1604" y="68"/>
                  </a:lnTo>
                  <a:lnTo>
                    <a:pt x="1600" y="68"/>
                  </a:lnTo>
                  <a:lnTo>
                    <a:pt x="1597" y="71"/>
                  </a:lnTo>
                  <a:lnTo>
                    <a:pt x="1590" y="71"/>
                  </a:lnTo>
                  <a:lnTo>
                    <a:pt x="1586" y="68"/>
                  </a:lnTo>
                  <a:lnTo>
                    <a:pt x="1586" y="71"/>
                  </a:lnTo>
                  <a:lnTo>
                    <a:pt x="1583" y="74"/>
                  </a:lnTo>
                  <a:lnTo>
                    <a:pt x="1576" y="71"/>
                  </a:lnTo>
                  <a:lnTo>
                    <a:pt x="1576" y="71"/>
                  </a:lnTo>
                  <a:lnTo>
                    <a:pt x="1573" y="68"/>
                  </a:lnTo>
                  <a:lnTo>
                    <a:pt x="1573" y="68"/>
                  </a:lnTo>
                  <a:lnTo>
                    <a:pt x="1573" y="68"/>
                  </a:lnTo>
                  <a:close/>
                  <a:moveTo>
                    <a:pt x="1421" y="123"/>
                  </a:moveTo>
                  <a:lnTo>
                    <a:pt x="1418" y="116"/>
                  </a:lnTo>
                  <a:lnTo>
                    <a:pt x="1418" y="113"/>
                  </a:lnTo>
                  <a:lnTo>
                    <a:pt x="1414" y="110"/>
                  </a:lnTo>
                  <a:lnTo>
                    <a:pt x="1407" y="110"/>
                  </a:lnTo>
                  <a:lnTo>
                    <a:pt x="1404" y="104"/>
                  </a:lnTo>
                  <a:lnTo>
                    <a:pt x="1401" y="104"/>
                  </a:lnTo>
                  <a:lnTo>
                    <a:pt x="1397" y="104"/>
                  </a:lnTo>
                  <a:lnTo>
                    <a:pt x="1397" y="104"/>
                  </a:lnTo>
                  <a:lnTo>
                    <a:pt x="1401" y="110"/>
                  </a:lnTo>
                  <a:lnTo>
                    <a:pt x="1407" y="113"/>
                  </a:lnTo>
                  <a:lnTo>
                    <a:pt x="1414" y="120"/>
                  </a:lnTo>
                  <a:lnTo>
                    <a:pt x="1414" y="126"/>
                  </a:lnTo>
                  <a:lnTo>
                    <a:pt x="1421" y="129"/>
                  </a:lnTo>
                  <a:lnTo>
                    <a:pt x="1421" y="126"/>
                  </a:lnTo>
                  <a:lnTo>
                    <a:pt x="1421" y="123"/>
                  </a:lnTo>
                  <a:lnTo>
                    <a:pt x="1421" y="123"/>
                  </a:lnTo>
                  <a:close/>
                  <a:moveTo>
                    <a:pt x="1497" y="133"/>
                  </a:moveTo>
                  <a:lnTo>
                    <a:pt x="1493" y="133"/>
                  </a:lnTo>
                  <a:lnTo>
                    <a:pt x="1493" y="129"/>
                  </a:lnTo>
                  <a:lnTo>
                    <a:pt x="1493" y="126"/>
                  </a:lnTo>
                  <a:lnTo>
                    <a:pt x="1493" y="126"/>
                  </a:lnTo>
                  <a:lnTo>
                    <a:pt x="1493" y="126"/>
                  </a:lnTo>
                  <a:lnTo>
                    <a:pt x="1497" y="129"/>
                  </a:lnTo>
                  <a:lnTo>
                    <a:pt x="1500" y="129"/>
                  </a:lnTo>
                  <a:lnTo>
                    <a:pt x="1500" y="133"/>
                  </a:lnTo>
                  <a:lnTo>
                    <a:pt x="1500" y="133"/>
                  </a:lnTo>
                  <a:lnTo>
                    <a:pt x="1504" y="133"/>
                  </a:lnTo>
                  <a:lnTo>
                    <a:pt x="1507" y="129"/>
                  </a:lnTo>
                  <a:lnTo>
                    <a:pt x="1511" y="123"/>
                  </a:lnTo>
                  <a:lnTo>
                    <a:pt x="1518" y="116"/>
                  </a:lnTo>
                  <a:lnTo>
                    <a:pt x="1524" y="116"/>
                  </a:lnTo>
                  <a:lnTo>
                    <a:pt x="1528" y="113"/>
                  </a:lnTo>
                  <a:lnTo>
                    <a:pt x="1528" y="116"/>
                  </a:lnTo>
                  <a:lnTo>
                    <a:pt x="1528" y="116"/>
                  </a:lnTo>
                  <a:lnTo>
                    <a:pt x="1531" y="120"/>
                  </a:lnTo>
                  <a:lnTo>
                    <a:pt x="1535" y="120"/>
                  </a:lnTo>
                  <a:lnTo>
                    <a:pt x="1535" y="120"/>
                  </a:lnTo>
                  <a:lnTo>
                    <a:pt x="1535" y="116"/>
                  </a:lnTo>
                  <a:lnTo>
                    <a:pt x="1542" y="113"/>
                  </a:lnTo>
                  <a:lnTo>
                    <a:pt x="1545" y="110"/>
                  </a:lnTo>
                  <a:lnTo>
                    <a:pt x="1545" y="110"/>
                  </a:lnTo>
                  <a:lnTo>
                    <a:pt x="1538" y="110"/>
                  </a:lnTo>
                  <a:lnTo>
                    <a:pt x="1531" y="110"/>
                  </a:lnTo>
                  <a:lnTo>
                    <a:pt x="1528" y="107"/>
                  </a:lnTo>
                  <a:lnTo>
                    <a:pt x="1521" y="107"/>
                  </a:lnTo>
                  <a:lnTo>
                    <a:pt x="1518" y="104"/>
                  </a:lnTo>
                  <a:lnTo>
                    <a:pt x="1514" y="104"/>
                  </a:lnTo>
                  <a:lnTo>
                    <a:pt x="1514" y="104"/>
                  </a:lnTo>
                  <a:lnTo>
                    <a:pt x="1507" y="97"/>
                  </a:lnTo>
                  <a:lnTo>
                    <a:pt x="1504" y="97"/>
                  </a:lnTo>
                  <a:lnTo>
                    <a:pt x="1504" y="91"/>
                  </a:lnTo>
                  <a:lnTo>
                    <a:pt x="1500" y="87"/>
                  </a:lnTo>
                  <a:lnTo>
                    <a:pt x="1500" y="84"/>
                  </a:lnTo>
                  <a:lnTo>
                    <a:pt x="1497" y="81"/>
                  </a:lnTo>
                  <a:lnTo>
                    <a:pt x="1493" y="81"/>
                  </a:lnTo>
                  <a:lnTo>
                    <a:pt x="1493" y="78"/>
                  </a:lnTo>
                  <a:lnTo>
                    <a:pt x="1497" y="78"/>
                  </a:lnTo>
                  <a:lnTo>
                    <a:pt x="1493" y="74"/>
                  </a:lnTo>
                  <a:lnTo>
                    <a:pt x="1497" y="74"/>
                  </a:lnTo>
                  <a:lnTo>
                    <a:pt x="1497" y="74"/>
                  </a:lnTo>
                  <a:lnTo>
                    <a:pt x="1497" y="71"/>
                  </a:lnTo>
                  <a:lnTo>
                    <a:pt x="1497" y="71"/>
                  </a:lnTo>
                  <a:lnTo>
                    <a:pt x="1493" y="68"/>
                  </a:lnTo>
                  <a:lnTo>
                    <a:pt x="1487" y="68"/>
                  </a:lnTo>
                  <a:lnTo>
                    <a:pt x="1480" y="68"/>
                  </a:lnTo>
                  <a:lnTo>
                    <a:pt x="1476" y="65"/>
                  </a:lnTo>
                  <a:lnTo>
                    <a:pt x="1473" y="65"/>
                  </a:lnTo>
                  <a:lnTo>
                    <a:pt x="1469" y="62"/>
                  </a:lnTo>
                  <a:lnTo>
                    <a:pt x="1469" y="65"/>
                  </a:lnTo>
                  <a:lnTo>
                    <a:pt x="1473" y="68"/>
                  </a:lnTo>
                  <a:lnTo>
                    <a:pt x="1476" y="68"/>
                  </a:lnTo>
                  <a:lnTo>
                    <a:pt x="1480" y="71"/>
                  </a:lnTo>
                  <a:lnTo>
                    <a:pt x="1473" y="71"/>
                  </a:lnTo>
                  <a:lnTo>
                    <a:pt x="1473" y="71"/>
                  </a:lnTo>
                  <a:lnTo>
                    <a:pt x="1469" y="71"/>
                  </a:lnTo>
                  <a:lnTo>
                    <a:pt x="1466" y="71"/>
                  </a:lnTo>
                  <a:lnTo>
                    <a:pt x="1469" y="78"/>
                  </a:lnTo>
                  <a:lnTo>
                    <a:pt x="1469" y="81"/>
                  </a:lnTo>
                  <a:lnTo>
                    <a:pt x="1473" y="84"/>
                  </a:lnTo>
                  <a:lnTo>
                    <a:pt x="1476" y="91"/>
                  </a:lnTo>
                  <a:lnTo>
                    <a:pt x="1480" y="91"/>
                  </a:lnTo>
                  <a:lnTo>
                    <a:pt x="1476" y="94"/>
                  </a:lnTo>
                  <a:lnTo>
                    <a:pt x="1473" y="94"/>
                  </a:lnTo>
                  <a:lnTo>
                    <a:pt x="1469" y="91"/>
                  </a:lnTo>
                  <a:lnTo>
                    <a:pt x="1466" y="84"/>
                  </a:lnTo>
                  <a:lnTo>
                    <a:pt x="1463" y="84"/>
                  </a:lnTo>
                  <a:lnTo>
                    <a:pt x="1459" y="84"/>
                  </a:lnTo>
                  <a:lnTo>
                    <a:pt x="1459" y="84"/>
                  </a:lnTo>
                  <a:lnTo>
                    <a:pt x="1456" y="84"/>
                  </a:lnTo>
                  <a:lnTo>
                    <a:pt x="1452" y="84"/>
                  </a:lnTo>
                  <a:lnTo>
                    <a:pt x="1452" y="81"/>
                  </a:lnTo>
                  <a:lnTo>
                    <a:pt x="1452" y="78"/>
                  </a:lnTo>
                  <a:lnTo>
                    <a:pt x="1445" y="78"/>
                  </a:lnTo>
                  <a:lnTo>
                    <a:pt x="1442" y="74"/>
                  </a:lnTo>
                  <a:lnTo>
                    <a:pt x="1438" y="74"/>
                  </a:lnTo>
                  <a:lnTo>
                    <a:pt x="1435" y="71"/>
                  </a:lnTo>
                  <a:lnTo>
                    <a:pt x="1435" y="68"/>
                  </a:lnTo>
                  <a:lnTo>
                    <a:pt x="1428" y="71"/>
                  </a:lnTo>
                  <a:lnTo>
                    <a:pt x="1425" y="74"/>
                  </a:lnTo>
                  <a:lnTo>
                    <a:pt x="1425" y="78"/>
                  </a:lnTo>
                  <a:lnTo>
                    <a:pt x="1425" y="78"/>
                  </a:lnTo>
                  <a:lnTo>
                    <a:pt x="1425" y="84"/>
                  </a:lnTo>
                  <a:lnTo>
                    <a:pt x="1425" y="87"/>
                  </a:lnTo>
                  <a:lnTo>
                    <a:pt x="1421" y="91"/>
                  </a:lnTo>
                  <a:lnTo>
                    <a:pt x="1418" y="91"/>
                  </a:lnTo>
                  <a:lnTo>
                    <a:pt x="1425" y="97"/>
                  </a:lnTo>
                  <a:lnTo>
                    <a:pt x="1428" y="97"/>
                  </a:lnTo>
                  <a:lnTo>
                    <a:pt x="1428" y="100"/>
                  </a:lnTo>
                  <a:lnTo>
                    <a:pt x="1428" y="100"/>
                  </a:lnTo>
                  <a:lnTo>
                    <a:pt x="1425" y="100"/>
                  </a:lnTo>
                  <a:lnTo>
                    <a:pt x="1425" y="104"/>
                  </a:lnTo>
                  <a:lnTo>
                    <a:pt x="1428" y="107"/>
                  </a:lnTo>
                  <a:lnTo>
                    <a:pt x="1432" y="107"/>
                  </a:lnTo>
                  <a:lnTo>
                    <a:pt x="1432" y="110"/>
                  </a:lnTo>
                  <a:lnTo>
                    <a:pt x="1432" y="113"/>
                  </a:lnTo>
                  <a:lnTo>
                    <a:pt x="1438" y="113"/>
                  </a:lnTo>
                  <a:lnTo>
                    <a:pt x="1438" y="116"/>
                  </a:lnTo>
                  <a:lnTo>
                    <a:pt x="1438" y="116"/>
                  </a:lnTo>
                  <a:lnTo>
                    <a:pt x="1438" y="120"/>
                  </a:lnTo>
                  <a:lnTo>
                    <a:pt x="1442" y="116"/>
                  </a:lnTo>
                  <a:lnTo>
                    <a:pt x="1445" y="116"/>
                  </a:lnTo>
                  <a:lnTo>
                    <a:pt x="1445" y="120"/>
                  </a:lnTo>
                  <a:lnTo>
                    <a:pt x="1442" y="120"/>
                  </a:lnTo>
                  <a:lnTo>
                    <a:pt x="1442" y="120"/>
                  </a:lnTo>
                  <a:lnTo>
                    <a:pt x="1438" y="120"/>
                  </a:lnTo>
                  <a:lnTo>
                    <a:pt x="1438" y="123"/>
                  </a:lnTo>
                  <a:lnTo>
                    <a:pt x="1438" y="126"/>
                  </a:lnTo>
                  <a:lnTo>
                    <a:pt x="1452" y="133"/>
                  </a:lnTo>
                  <a:lnTo>
                    <a:pt x="1456" y="133"/>
                  </a:lnTo>
                  <a:lnTo>
                    <a:pt x="1463" y="133"/>
                  </a:lnTo>
                  <a:lnTo>
                    <a:pt x="1466" y="136"/>
                  </a:lnTo>
                  <a:lnTo>
                    <a:pt x="1469" y="139"/>
                  </a:lnTo>
                  <a:lnTo>
                    <a:pt x="1469" y="142"/>
                  </a:lnTo>
                  <a:lnTo>
                    <a:pt x="1473" y="142"/>
                  </a:lnTo>
                  <a:lnTo>
                    <a:pt x="1480" y="142"/>
                  </a:lnTo>
                  <a:lnTo>
                    <a:pt x="1487" y="142"/>
                  </a:lnTo>
                  <a:lnTo>
                    <a:pt x="1490" y="142"/>
                  </a:lnTo>
                  <a:lnTo>
                    <a:pt x="1493" y="146"/>
                  </a:lnTo>
                  <a:lnTo>
                    <a:pt x="1497" y="142"/>
                  </a:lnTo>
                  <a:lnTo>
                    <a:pt x="1500" y="139"/>
                  </a:lnTo>
                  <a:lnTo>
                    <a:pt x="1500" y="139"/>
                  </a:lnTo>
                  <a:lnTo>
                    <a:pt x="1497" y="133"/>
                  </a:lnTo>
                  <a:lnTo>
                    <a:pt x="1497" y="133"/>
                  </a:lnTo>
                  <a:lnTo>
                    <a:pt x="1497" y="133"/>
                  </a:lnTo>
                  <a:close/>
                  <a:moveTo>
                    <a:pt x="1500" y="68"/>
                  </a:moveTo>
                  <a:lnTo>
                    <a:pt x="1504" y="68"/>
                  </a:lnTo>
                  <a:lnTo>
                    <a:pt x="1511" y="68"/>
                  </a:lnTo>
                  <a:lnTo>
                    <a:pt x="1514" y="68"/>
                  </a:lnTo>
                  <a:lnTo>
                    <a:pt x="1524" y="71"/>
                  </a:lnTo>
                  <a:lnTo>
                    <a:pt x="1528" y="71"/>
                  </a:lnTo>
                  <a:lnTo>
                    <a:pt x="1531" y="71"/>
                  </a:lnTo>
                  <a:lnTo>
                    <a:pt x="1542" y="71"/>
                  </a:lnTo>
                  <a:lnTo>
                    <a:pt x="1552" y="74"/>
                  </a:lnTo>
                  <a:lnTo>
                    <a:pt x="1552" y="78"/>
                  </a:lnTo>
                  <a:lnTo>
                    <a:pt x="1549" y="78"/>
                  </a:lnTo>
                  <a:lnTo>
                    <a:pt x="1545" y="81"/>
                  </a:lnTo>
                  <a:lnTo>
                    <a:pt x="1545" y="84"/>
                  </a:lnTo>
                  <a:lnTo>
                    <a:pt x="1549" y="87"/>
                  </a:lnTo>
                  <a:lnTo>
                    <a:pt x="1552" y="87"/>
                  </a:lnTo>
                  <a:lnTo>
                    <a:pt x="1552" y="91"/>
                  </a:lnTo>
                  <a:lnTo>
                    <a:pt x="1555" y="94"/>
                  </a:lnTo>
                  <a:lnTo>
                    <a:pt x="1552" y="97"/>
                  </a:lnTo>
                  <a:lnTo>
                    <a:pt x="1552" y="100"/>
                  </a:lnTo>
                  <a:lnTo>
                    <a:pt x="1549" y="104"/>
                  </a:lnTo>
                  <a:lnTo>
                    <a:pt x="1545" y="107"/>
                  </a:lnTo>
                  <a:lnTo>
                    <a:pt x="1542" y="104"/>
                  </a:lnTo>
                  <a:lnTo>
                    <a:pt x="1542" y="104"/>
                  </a:lnTo>
                  <a:lnTo>
                    <a:pt x="1535" y="107"/>
                  </a:lnTo>
                  <a:lnTo>
                    <a:pt x="1531" y="107"/>
                  </a:lnTo>
                  <a:lnTo>
                    <a:pt x="1524" y="104"/>
                  </a:lnTo>
                  <a:lnTo>
                    <a:pt x="1518" y="100"/>
                  </a:lnTo>
                  <a:lnTo>
                    <a:pt x="1511" y="94"/>
                  </a:lnTo>
                  <a:lnTo>
                    <a:pt x="1511" y="91"/>
                  </a:lnTo>
                  <a:lnTo>
                    <a:pt x="1511" y="87"/>
                  </a:lnTo>
                  <a:lnTo>
                    <a:pt x="1511" y="84"/>
                  </a:lnTo>
                  <a:lnTo>
                    <a:pt x="1511" y="81"/>
                  </a:lnTo>
                  <a:lnTo>
                    <a:pt x="1511" y="78"/>
                  </a:lnTo>
                  <a:lnTo>
                    <a:pt x="1507" y="78"/>
                  </a:lnTo>
                  <a:lnTo>
                    <a:pt x="1507" y="74"/>
                  </a:lnTo>
                  <a:lnTo>
                    <a:pt x="1504" y="74"/>
                  </a:lnTo>
                  <a:lnTo>
                    <a:pt x="1500" y="71"/>
                  </a:lnTo>
                  <a:lnTo>
                    <a:pt x="1500" y="68"/>
                  </a:lnTo>
                  <a:lnTo>
                    <a:pt x="1500" y="68"/>
                  </a:lnTo>
                  <a:close/>
                  <a:moveTo>
                    <a:pt x="854" y="152"/>
                  </a:moveTo>
                  <a:lnTo>
                    <a:pt x="854" y="152"/>
                  </a:lnTo>
                  <a:lnTo>
                    <a:pt x="860" y="152"/>
                  </a:lnTo>
                  <a:lnTo>
                    <a:pt x="864" y="146"/>
                  </a:lnTo>
                  <a:lnTo>
                    <a:pt x="867" y="142"/>
                  </a:lnTo>
                  <a:lnTo>
                    <a:pt x="871" y="139"/>
                  </a:lnTo>
                  <a:lnTo>
                    <a:pt x="871" y="139"/>
                  </a:lnTo>
                  <a:lnTo>
                    <a:pt x="871" y="136"/>
                  </a:lnTo>
                  <a:lnTo>
                    <a:pt x="878" y="129"/>
                  </a:lnTo>
                  <a:lnTo>
                    <a:pt x="881" y="129"/>
                  </a:lnTo>
                  <a:lnTo>
                    <a:pt x="885" y="133"/>
                  </a:lnTo>
                  <a:lnTo>
                    <a:pt x="888" y="133"/>
                  </a:lnTo>
                  <a:lnTo>
                    <a:pt x="888" y="129"/>
                  </a:lnTo>
                  <a:lnTo>
                    <a:pt x="891" y="126"/>
                  </a:lnTo>
                  <a:lnTo>
                    <a:pt x="895" y="126"/>
                  </a:lnTo>
                  <a:lnTo>
                    <a:pt x="902" y="120"/>
                  </a:lnTo>
                  <a:lnTo>
                    <a:pt x="902" y="116"/>
                  </a:lnTo>
                  <a:lnTo>
                    <a:pt x="905" y="116"/>
                  </a:lnTo>
                  <a:lnTo>
                    <a:pt x="909" y="110"/>
                  </a:lnTo>
                  <a:lnTo>
                    <a:pt x="905" y="107"/>
                  </a:lnTo>
                  <a:lnTo>
                    <a:pt x="902" y="100"/>
                  </a:lnTo>
                  <a:lnTo>
                    <a:pt x="898" y="97"/>
                  </a:lnTo>
                  <a:lnTo>
                    <a:pt x="898" y="94"/>
                  </a:lnTo>
                  <a:lnTo>
                    <a:pt x="891" y="91"/>
                  </a:lnTo>
                  <a:lnTo>
                    <a:pt x="888" y="91"/>
                  </a:lnTo>
                  <a:lnTo>
                    <a:pt x="888" y="91"/>
                  </a:lnTo>
                  <a:lnTo>
                    <a:pt x="885" y="91"/>
                  </a:lnTo>
                  <a:lnTo>
                    <a:pt x="881" y="87"/>
                  </a:lnTo>
                  <a:lnTo>
                    <a:pt x="874" y="84"/>
                  </a:lnTo>
                  <a:lnTo>
                    <a:pt x="874" y="84"/>
                  </a:lnTo>
                  <a:lnTo>
                    <a:pt x="871" y="84"/>
                  </a:lnTo>
                  <a:lnTo>
                    <a:pt x="871" y="84"/>
                  </a:lnTo>
                  <a:lnTo>
                    <a:pt x="867" y="81"/>
                  </a:lnTo>
                  <a:lnTo>
                    <a:pt x="864" y="78"/>
                  </a:lnTo>
                  <a:lnTo>
                    <a:pt x="864" y="81"/>
                  </a:lnTo>
                  <a:lnTo>
                    <a:pt x="860" y="81"/>
                  </a:lnTo>
                  <a:lnTo>
                    <a:pt x="860" y="81"/>
                  </a:lnTo>
                  <a:lnTo>
                    <a:pt x="857" y="78"/>
                  </a:lnTo>
                  <a:lnTo>
                    <a:pt x="854" y="78"/>
                  </a:lnTo>
                  <a:lnTo>
                    <a:pt x="854" y="78"/>
                  </a:lnTo>
                  <a:lnTo>
                    <a:pt x="857" y="81"/>
                  </a:lnTo>
                  <a:lnTo>
                    <a:pt x="857" y="84"/>
                  </a:lnTo>
                  <a:lnTo>
                    <a:pt x="854" y="84"/>
                  </a:lnTo>
                  <a:lnTo>
                    <a:pt x="854" y="87"/>
                  </a:lnTo>
                  <a:lnTo>
                    <a:pt x="854" y="87"/>
                  </a:lnTo>
                  <a:lnTo>
                    <a:pt x="850" y="84"/>
                  </a:lnTo>
                  <a:lnTo>
                    <a:pt x="850" y="74"/>
                  </a:lnTo>
                  <a:lnTo>
                    <a:pt x="847" y="74"/>
                  </a:lnTo>
                  <a:lnTo>
                    <a:pt x="843" y="71"/>
                  </a:lnTo>
                  <a:lnTo>
                    <a:pt x="836" y="71"/>
                  </a:lnTo>
                  <a:lnTo>
                    <a:pt x="836" y="71"/>
                  </a:lnTo>
                  <a:lnTo>
                    <a:pt x="833" y="74"/>
                  </a:lnTo>
                  <a:lnTo>
                    <a:pt x="833" y="78"/>
                  </a:lnTo>
                  <a:lnTo>
                    <a:pt x="836" y="78"/>
                  </a:lnTo>
                  <a:lnTo>
                    <a:pt x="840" y="81"/>
                  </a:lnTo>
                  <a:lnTo>
                    <a:pt x="840" y="84"/>
                  </a:lnTo>
                  <a:lnTo>
                    <a:pt x="836" y="84"/>
                  </a:lnTo>
                  <a:lnTo>
                    <a:pt x="833" y="81"/>
                  </a:lnTo>
                  <a:lnTo>
                    <a:pt x="833" y="78"/>
                  </a:lnTo>
                  <a:lnTo>
                    <a:pt x="830" y="78"/>
                  </a:lnTo>
                  <a:lnTo>
                    <a:pt x="830" y="81"/>
                  </a:lnTo>
                  <a:lnTo>
                    <a:pt x="833" y="84"/>
                  </a:lnTo>
                  <a:lnTo>
                    <a:pt x="830" y="84"/>
                  </a:lnTo>
                  <a:lnTo>
                    <a:pt x="830" y="87"/>
                  </a:lnTo>
                  <a:lnTo>
                    <a:pt x="833" y="91"/>
                  </a:lnTo>
                  <a:lnTo>
                    <a:pt x="836" y="91"/>
                  </a:lnTo>
                  <a:lnTo>
                    <a:pt x="836" y="94"/>
                  </a:lnTo>
                  <a:lnTo>
                    <a:pt x="836" y="97"/>
                  </a:lnTo>
                  <a:lnTo>
                    <a:pt x="840" y="104"/>
                  </a:lnTo>
                  <a:lnTo>
                    <a:pt x="843" y="107"/>
                  </a:lnTo>
                  <a:lnTo>
                    <a:pt x="847" y="107"/>
                  </a:lnTo>
                  <a:lnTo>
                    <a:pt x="843" y="107"/>
                  </a:lnTo>
                  <a:lnTo>
                    <a:pt x="840" y="110"/>
                  </a:lnTo>
                  <a:lnTo>
                    <a:pt x="840" y="113"/>
                  </a:lnTo>
                  <a:lnTo>
                    <a:pt x="843" y="120"/>
                  </a:lnTo>
                  <a:lnTo>
                    <a:pt x="843" y="123"/>
                  </a:lnTo>
                  <a:lnTo>
                    <a:pt x="843" y="129"/>
                  </a:lnTo>
                  <a:lnTo>
                    <a:pt x="847" y="129"/>
                  </a:lnTo>
                  <a:lnTo>
                    <a:pt x="847" y="133"/>
                  </a:lnTo>
                  <a:lnTo>
                    <a:pt x="847" y="136"/>
                  </a:lnTo>
                  <a:lnTo>
                    <a:pt x="847" y="139"/>
                  </a:lnTo>
                  <a:lnTo>
                    <a:pt x="850" y="146"/>
                  </a:lnTo>
                  <a:lnTo>
                    <a:pt x="854" y="149"/>
                  </a:lnTo>
                  <a:lnTo>
                    <a:pt x="854" y="152"/>
                  </a:lnTo>
                  <a:lnTo>
                    <a:pt x="854" y="152"/>
                  </a:lnTo>
                  <a:lnTo>
                    <a:pt x="854" y="152"/>
                  </a:lnTo>
                  <a:close/>
                  <a:moveTo>
                    <a:pt x="929" y="116"/>
                  </a:moveTo>
                  <a:lnTo>
                    <a:pt x="933" y="113"/>
                  </a:lnTo>
                  <a:lnTo>
                    <a:pt x="933" y="113"/>
                  </a:lnTo>
                  <a:lnTo>
                    <a:pt x="933" y="110"/>
                  </a:lnTo>
                  <a:lnTo>
                    <a:pt x="933" y="110"/>
                  </a:lnTo>
                  <a:lnTo>
                    <a:pt x="936" y="110"/>
                  </a:lnTo>
                  <a:lnTo>
                    <a:pt x="933" y="107"/>
                  </a:lnTo>
                  <a:lnTo>
                    <a:pt x="933" y="107"/>
                  </a:lnTo>
                  <a:lnTo>
                    <a:pt x="929" y="110"/>
                  </a:lnTo>
                  <a:lnTo>
                    <a:pt x="929" y="113"/>
                  </a:lnTo>
                  <a:lnTo>
                    <a:pt x="926" y="113"/>
                  </a:lnTo>
                  <a:lnTo>
                    <a:pt x="926" y="116"/>
                  </a:lnTo>
                  <a:lnTo>
                    <a:pt x="929" y="116"/>
                  </a:lnTo>
                  <a:lnTo>
                    <a:pt x="929" y="116"/>
                  </a:lnTo>
                  <a:lnTo>
                    <a:pt x="929" y="116"/>
                  </a:lnTo>
                  <a:close/>
                  <a:moveTo>
                    <a:pt x="936" y="116"/>
                  </a:moveTo>
                  <a:lnTo>
                    <a:pt x="936" y="113"/>
                  </a:lnTo>
                  <a:lnTo>
                    <a:pt x="943" y="113"/>
                  </a:lnTo>
                  <a:lnTo>
                    <a:pt x="943" y="110"/>
                  </a:lnTo>
                  <a:lnTo>
                    <a:pt x="946" y="110"/>
                  </a:lnTo>
                  <a:lnTo>
                    <a:pt x="950" y="110"/>
                  </a:lnTo>
                  <a:lnTo>
                    <a:pt x="950" y="110"/>
                  </a:lnTo>
                  <a:lnTo>
                    <a:pt x="953" y="113"/>
                  </a:lnTo>
                  <a:lnTo>
                    <a:pt x="950" y="116"/>
                  </a:lnTo>
                  <a:lnTo>
                    <a:pt x="946" y="116"/>
                  </a:lnTo>
                  <a:lnTo>
                    <a:pt x="946" y="116"/>
                  </a:lnTo>
                  <a:lnTo>
                    <a:pt x="940" y="120"/>
                  </a:lnTo>
                  <a:lnTo>
                    <a:pt x="936" y="120"/>
                  </a:lnTo>
                  <a:lnTo>
                    <a:pt x="936" y="116"/>
                  </a:lnTo>
                  <a:lnTo>
                    <a:pt x="936" y="116"/>
                  </a:lnTo>
                  <a:close/>
                  <a:moveTo>
                    <a:pt x="974" y="149"/>
                  </a:moveTo>
                  <a:lnTo>
                    <a:pt x="974" y="149"/>
                  </a:lnTo>
                  <a:lnTo>
                    <a:pt x="977" y="155"/>
                  </a:lnTo>
                  <a:lnTo>
                    <a:pt x="977" y="155"/>
                  </a:lnTo>
                  <a:lnTo>
                    <a:pt x="977" y="155"/>
                  </a:lnTo>
                  <a:lnTo>
                    <a:pt x="981" y="155"/>
                  </a:lnTo>
                  <a:lnTo>
                    <a:pt x="981" y="152"/>
                  </a:lnTo>
                  <a:lnTo>
                    <a:pt x="981" y="149"/>
                  </a:lnTo>
                  <a:lnTo>
                    <a:pt x="977" y="146"/>
                  </a:lnTo>
                  <a:lnTo>
                    <a:pt x="974" y="149"/>
                  </a:lnTo>
                  <a:lnTo>
                    <a:pt x="974" y="149"/>
                  </a:lnTo>
                  <a:close/>
                  <a:moveTo>
                    <a:pt x="1335" y="246"/>
                  </a:moveTo>
                  <a:lnTo>
                    <a:pt x="1335" y="246"/>
                  </a:lnTo>
                  <a:lnTo>
                    <a:pt x="1339" y="242"/>
                  </a:lnTo>
                  <a:lnTo>
                    <a:pt x="1335" y="239"/>
                  </a:lnTo>
                  <a:lnTo>
                    <a:pt x="1332" y="242"/>
                  </a:lnTo>
                  <a:lnTo>
                    <a:pt x="1332" y="242"/>
                  </a:lnTo>
                  <a:lnTo>
                    <a:pt x="1332" y="246"/>
                  </a:lnTo>
                  <a:lnTo>
                    <a:pt x="1332" y="246"/>
                  </a:lnTo>
                  <a:lnTo>
                    <a:pt x="1335" y="246"/>
                  </a:lnTo>
                  <a:lnTo>
                    <a:pt x="1335" y="246"/>
                  </a:lnTo>
                  <a:close/>
                  <a:moveTo>
                    <a:pt x="1287" y="291"/>
                  </a:moveTo>
                  <a:lnTo>
                    <a:pt x="1291" y="291"/>
                  </a:lnTo>
                  <a:lnTo>
                    <a:pt x="1294" y="291"/>
                  </a:lnTo>
                  <a:lnTo>
                    <a:pt x="1294" y="291"/>
                  </a:lnTo>
                  <a:lnTo>
                    <a:pt x="1294" y="291"/>
                  </a:lnTo>
                  <a:lnTo>
                    <a:pt x="1294" y="288"/>
                  </a:lnTo>
                  <a:lnTo>
                    <a:pt x="1287" y="284"/>
                  </a:lnTo>
                  <a:lnTo>
                    <a:pt x="1287" y="284"/>
                  </a:lnTo>
                  <a:lnTo>
                    <a:pt x="1284" y="288"/>
                  </a:lnTo>
                  <a:lnTo>
                    <a:pt x="1284" y="288"/>
                  </a:lnTo>
                  <a:lnTo>
                    <a:pt x="1287" y="291"/>
                  </a:lnTo>
                  <a:lnTo>
                    <a:pt x="1287" y="291"/>
                  </a:lnTo>
                  <a:lnTo>
                    <a:pt x="1287" y="291"/>
                  </a:lnTo>
                  <a:lnTo>
                    <a:pt x="1287" y="291"/>
                  </a:lnTo>
                  <a:close/>
                  <a:moveTo>
                    <a:pt x="1153" y="271"/>
                  </a:moveTo>
                  <a:lnTo>
                    <a:pt x="1156" y="271"/>
                  </a:lnTo>
                  <a:lnTo>
                    <a:pt x="1160" y="275"/>
                  </a:lnTo>
                  <a:lnTo>
                    <a:pt x="1160" y="271"/>
                  </a:lnTo>
                  <a:lnTo>
                    <a:pt x="1163" y="271"/>
                  </a:lnTo>
                  <a:lnTo>
                    <a:pt x="1163" y="268"/>
                  </a:lnTo>
                  <a:lnTo>
                    <a:pt x="1163" y="265"/>
                  </a:lnTo>
                  <a:lnTo>
                    <a:pt x="1163" y="265"/>
                  </a:lnTo>
                  <a:lnTo>
                    <a:pt x="1163" y="259"/>
                  </a:lnTo>
                  <a:lnTo>
                    <a:pt x="1160" y="259"/>
                  </a:lnTo>
                  <a:lnTo>
                    <a:pt x="1156" y="252"/>
                  </a:lnTo>
                  <a:lnTo>
                    <a:pt x="1156" y="252"/>
                  </a:lnTo>
                  <a:lnTo>
                    <a:pt x="1153" y="252"/>
                  </a:lnTo>
                  <a:lnTo>
                    <a:pt x="1146" y="252"/>
                  </a:lnTo>
                  <a:lnTo>
                    <a:pt x="1139" y="255"/>
                  </a:lnTo>
                  <a:lnTo>
                    <a:pt x="1136" y="255"/>
                  </a:lnTo>
                  <a:lnTo>
                    <a:pt x="1136" y="259"/>
                  </a:lnTo>
                  <a:lnTo>
                    <a:pt x="1136" y="262"/>
                  </a:lnTo>
                  <a:lnTo>
                    <a:pt x="1139" y="262"/>
                  </a:lnTo>
                  <a:lnTo>
                    <a:pt x="1143" y="265"/>
                  </a:lnTo>
                  <a:lnTo>
                    <a:pt x="1139" y="268"/>
                  </a:lnTo>
                  <a:lnTo>
                    <a:pt x="1136" y="268"/>
                  </a:lnTo>
                  <a:lnTo>
                    <a:pt x="1136" y="268"/>
                  </a:lnTo>
                  <a:lnTo>
                    <a:pt x="1136" y="271"/>
                  </a:lnTo>
                  <a:lnTo>
                    <a:pt x="1143" y="271"/>
                  </a:lnTo>
                  <a:lnTo>
                    <a:pt x="1153" y="271"/>
                  </a:lnTo>
                  <a:lnTo>
                    <a:pt x="1153" y="271"/>
                  </a:lnTo>
                  <a:close/>
                  <a:moveTo>
                    <a:pt x="1545" y="171"/>
                  </a:moveTo>
                  <a:lnTo>
                    <a:pt x="1549" y="171"/>
                  </a:lnTo>
                  <a:lnTo>
                    <a:pt x="1549" y="171"/>
                  </a:lnTo>
                  <a:lnTo>
                    <a:pt x="1549" y="168"/>
                  </a:lnTo>
                  <a:lnTo>
                    <a:pt x="1552" y="165"/>
                  </a:lnTo>
                  <a:lnTo>
                    <a:pt x="1549" y="162"/>
                  </a:lnTo>
                  <a:lnTo>
                    <a:pt x="1545" y="155"/>
                  </a:lnTo>
                  <a:lnTo>
                    <a:pt x="1542" y="152"/>
                  </a:lnTo>
                  <a:lnTo>
                    <a:pt x="1542" y="152"/>
                  </a:lnTo>
                  <a:lnTo>
                    <a:pt x="1535" y="152"/>
                  </a:lnTo>
                  <a:lnTo>
                    <a:pt x="1531" y="155"/>
                  </a:lnTo>
                  <a:lnTo>
                    <a:pt x="1531" y="158"/>
                  </a:lnTo>
                  <a:lnTo>
                    <a:pt x="1535" y="162"/>
                  </a:lnTo>
                  <a:lnTo>
                    <a:pt x="1535" y="165"/>
                  </a:lnTo>
                  <a:lnTo>
                    <a:pt x="1535" y="165"/>
                  </a:lnTo>
                  <a:lnTo>
                    <a:pt x="1538" y="168"/>
                  </a:lnTo>
                  <a:lnTo>
                    <a:pt x="1542" y="171"/>
                  </a:lnTo>
                  <a:lnTo>
                    <a:pt x="1545" y="171"/>
                  </a:lnTo>
                  <a:lnTo>
                    <a:pt x="1545" y="171"/>
                  </a:lnTo>
                  <a:close/>
                  <a:moveTo>
                    <a:pt x="1559" y="197"/>
                  </a:moveTo>
                  <a:lnTo>
                    <a:pt x="1559" y="197"/>
                  </a:lnTo>
                  <a:lnTo>
                    <a:pt x="1562" y="191"/>
                  </a:lnTo>
                  <a:lnTo>
                    <a:pt x="1569" y="188"/>
                  </a:lnTo>
                  <a:lnTo>
                    <a:pt x="1576" y="191"/>
                  </a:lnTo>
                  <a:lnTo>
                    <a:pt x="1583" y="191"/>
                  </a:lnTo>
                  <a:lnTo>
                    <a:pt x="1586" y="191"/>
                  </a:lnTo>
                  <a:lnTo>
                    <a:pt x="1597" y="191"/>
                  </a:lnTo>
                  <a:lnTo>
                    <a:pt x="1600" y="188"/>
                  </a:lnTo>
                  <a:lnTo>
                    <a:pt x="1607" y="188"/>
                  </a:lnTo>
                  <a:lnTo>
                    <a:pt x="1610" y="188"/>
                  </a:lnTo>
                  <a:lnTo>
                    <a:pt x="1614" y="184"/>
                  </a:lnTo>
                  <a:lnTo>
                    <a:pt x="1610" y="181"/>
                  </a:lnTo>
                  <a:lnTo>
                    <a:pt x="1607" y="181"/>
                  </a:lnTo>
                  <a:lnTo>
                    <a:pt x="1604" y="175"/>
                  </a:lnTo>
                  <a:lnTo>
                    <a:pt x="1597" y="168"/>
                  </a:lnTo>
                  <a:lnTo>
                    <a:pt x="1590" y="168"/>
                  </a:lnTo>
                  <a:lnTo>
                    <a:pt x="1586" y="168"/>
                  </a:lnTo>
                  <a:lnTo>
                    <a:pt x="1583" y="165"/>
                  </a:lnTo>
                  <a:lnTo>
                    <a:pt x="1579" y="165"/>
                  </a:lnTo>
                  <a:lnTo>
                    <a:pt x="1576" y="165"/>
                  </a:lnTo>
                  <a:lnTo>
                    <a:pt x="1569" y="165"/>
                  </a:lnTo>
                  <a:lnTo>
                    <a:pt x="1569" y="165"/>
                  </a:lnTo>
                  <a:lnTo>
                    <a:pt x="1566" y="168"/>
                  </a:lnTo>
                  <a:lnTo>
                    <a:pt x="1559" y="171"/>
                  </a:lnTo>
                  <a:lnTo>
                    <a:pt x="1562" y="175"/>
                  </a:lnTo>
                  <a:lnTo>
                    <a:pt x="1562" y="184"/>
                  </a:lnTo>
                  <a:lnTo>
                    <a:pt x="1559" y="191"/>
                  </a:lnTo>
                  <a:lnTo>
                    <a:pt x="1555" y="194"/>
                  </a:lnTo>
                  <a:lnTo>
                    <a:pt x="1555" y="197"/>
                  </a:lnTo>
                  <a:lnTo>
                    <a:pt x="1559" y="197"/>
                  </a:lnTo>
                  <a:lnTo>
                    <a:pt x="1559" y="197"/>
                  </a:lnTo>
                  <a:close/>
                  <a:moveTo>
                    <a:pt x="1466" y="181"/>
                  </a:moveTo>
                  <a:lnTo>
                    <a:pt x="1466" y="184"/>
                  </a:lnTo>
                  <a:lnTo>
                    <a:pt x="1469" y="188"/>
                  </a:lnTo>
                  <a:lnTo>
                    <a:pt x="1473" y="188"/>
                  </a:lnTo>
                  <a:lnTo>
                    <a:pt x="1476" y="188"/>
                  </a:lnTo>
                  <a:lnTo>
                    <a:pt x="1480" y="188"/>
                  </a:lnTo>
                  <a:lnTo>
                    <a:pt x="1483" y="191"/>
                  </a:lnTo>
                  <a:lnTo>
                    <a:pt x="1487" y="191"/>
                  </a:lnTo>
                  <a:lnTo>
                    <a:pt x="1487" y="191"/>
                  </a:lnTo>
                  <a:lnTo>
                    <a:pt x="1483" y="184"/>
                  </a:lnTo>
                  <a:lnTo>
                    <a:pt x="1480" y="184"/>
                  </a:lnTo>
                  <a:lnTo>
                    <a:pt x="1473" y="184"/>
                  </a:lnTo>
                  <a:lnTo>
                    <a:pt x="1469" y="181"/>
                  </a:lnTo>
                  <a:lnTo>
                    <a:pt x="1466" y="181"/>
                  </a:lnTo>
                  <a:lnTo>
                    <a:pt x="1466" y="181"/>
                  </a:lnTo>
                  <a:lnTo>
                    <a:pt x="1466" y="181"/>
                  </a:lnTo>
                  <a:close/>
                  <a:moveTo>
                    <a:pt x="1590" y="284"/>
                  </a:moveTo>
                  <a:lnTo>
                    <a:pt x="1593" y="288"/>
                  </a:lnTo>
                  <a:lnTo>
                    <a:pt x="1593" y="291"/>
                  </a:lnTo>
                  <a:lnTo>
                    <a:pt x="1597" y="288"/>
                  </a:lnTo>
                  <a:lnTo>
                    <a:pt x="1600" y="288"/>
                  </a:lnTo>
                  <a:lnTo>
                    <a:pt x="1600" y="284"/>
                  </a:lnTo>
                  <a:lnTo>
                    <a:pt x="1600" y="281"/>
                  </a:lnTo>
                  <a:lnTo>
                    <a:pt x="1600" y="278"/>
                  </a:lnTo>
                  <a:lnTo>
                    <a:pt x="1597" y="281"/>
                  </a:lnTo>
                  <a:lnTo>
                    <a:pt x="1597" y="281"/>
                  </a:lnTo>
                  <a:lnTo>
                    <a:pt x="1593" y="284"/>
                  </a:lnTo>
                  <a:lnTo>
                    <a:pt x="1593" y="284"/>
                  </a:lnTo>
                  <a:lnTo>
                    <a:pt x="1590" y="284"/>
                  </a:lnTo>
                  <a:lnTo>
                    <a:pt x="1590" y="284"/>
                  </a:lnTo>
                  <a:close/>
                  <a:moveTo>
                    <a:pt x="2020" y="255"/>
                  </a:moveTo>
                  <a:lnTo>
                    <a:pt x="2023" y="255"/>
                  </a:lnTo>
                  <a:lnTo>
                    <a:pt x="2023" y="252"/>
                  </a:lnTo>
                  <a:lnTo>
                    <a:pt x="2023" y="252"/>
                  </a:lnTo>
                  <a:lnTo>
                    <a:pt x="2020" y="252"/>
                  </a:lnTo>
                  <a:lnTo>
                    <a:pt x="2020" y="252"/>
                  </a:lnTo>
                  <a:lnTo>
                    <a:pt x="2020" y="255"/>
                  </a:lnTo>
                  <a:lnTo>
                    <a:pt x="2020" y="255"/>
                  </a:lnTo>
                  <a:close/>
                  <a:moveTo>
                    <a:pt x="2016" y="259"/>
                  </a:moveTo>
                  <a:lnTo>
                    <a:pt x="2020" y="259"/>
                  </a:lnTo>
                  <a:lnTo>
                    <a:pt x="2020" y="259"/>
                  </a:lnTo>
                  <a:lnTo>
                    <a:pt x="2016" y="255"/>
                  </a:lnTo>
                  <a:lnTo>
                    <a:pt x="2016" y="255"/>
                  </a:lnTo>
                  <a:lnTo>
                    <a:pt x="2016" y="255"/>
                  </a:lnTo>
                  <a:lnTo>
                    <a:pt x="2016" y="259"/>
                  </a:lnTo>
                  <a:lnTo>
                    <a:pt x="2016" y="259"/>
                  </a:lnTo>
                  <a:close/>
                  <a:moveTo>
                    <a:pt x="2013" y="262"/>
                  </a:moveTo>
                  <a:lnTo>
                    <a:pt x="2016" y="265"/>
                  </a:lnTo>
                  <a:lnTo>
                    <a:pt x="2020" y="268"/>
                  </a:lnTo>
                  <a:lnTo>
                    <a:pt x="2020" y="265"/>
                  </a:lnTo>
                  <a:lnTo>
                    <a:pt x="2020" y="262"/>
                  </a:lnTo>
                  <a:lnTo>
                    <a:pt x="2016" y="259"/>
                  </a:lnTo>
                  <a:lnTo>
                    <a:pt x="2013" y="259"/>
                  </a:lnTo>
                  <a:lnTo>
                    <a:pt x="2013" y="262"/>
                  </a:lnTo>
                  <a:lnTo>
                    <a:pt x="2013" y="262"/>
                  </a:lnTo>
                  <a:close/>
                  <a:moveTo>
                    <a:pt x="2006" y="259"/>
                  </a:moveTo>
                  <a:lnTo>
                    <a:pt x="2006" y="262"/>
                  </a:lnTo>
                  <a:lnTo>
                    <a:pt x="2009" y="262"/>
                  </a:lnTo>
                  <a:lnTo>
                    <a:pt x="2009" y="262"/>
                  </a:lnTo>
                  <a:lnTo>
                    <a:pt x="2013" y="262"/>
                  </a:lnTo>
                  <a:lnTo>
                    <a:pt x="2009" y="259"/>
                  </a:lnTo>
                  <a:lnTo>
                    <a:pt x="2009" y="255"/>
                  </a:lnTo>
                  <a:lnTo>
                    <a:pt x="2006" y="259"/>
                  </a:lnTo>
                  <a:lnTo>
                    <a:pt x="2006" y="259"/>
                  </a:lnTo>
                  <a:lnTo>
                    <a:pt x="2006" y="259"/>
                  </a:lnTo>
                  <a:close/>
                  <a:moveTo>
                    <a:pt x="2113" y="220"/>
                  </a:moveTo>
                  <a:lnTo>
                    <a:pt x="2116" y="223"/>
                  </a:lnTo>
                  <a:lnTo>
                    <a:pt x="2120" y="223"/>
                  </a:lnTo>
                  <a:lnTo>
                    <a:pt x="2123" y="220"/>
                  </a:lnTo>
                  <a:lnTo>
                    <a:pt x="2123" y="213"/>
                  </a:lnTo>
                  <a:lnTo>
                    <a:pt x="2120" y="213"/>
                  </a:lnTo>
                  <a:lnTo>
                    <a:pt x="2120" y="210"/>
                  </a:lnTo>
                  <a:lnTo>
                    <a:pt x="2120" y="207"/>
                  </a:lnTo>
                  <a:lnTo>
                    <a:pt x="2116" y="207"/>
                  </a:lnTo>
                  <a:lnTo>
                    <a:pt x="2116" y="207"/>
                  </a:lnTo>
                  <a:lnTo>
                    <a:pt x="2113" y="207"/>
                  </a:lnTo>
                  <a:lnTo>
                    <a:pt x="2109" y="204"/>
                  </a:lnTo>
                  <a:lnTo>
                    <a:pt x="2102" y="204"/>
                  </a:lnTo>
                  <a:lnTo>
                    <a:pt x="2102" y="207"/>
                  </a:lnTo>
                  <a:lnTo>
                    <a:pt x="2102" y="207"/>
                  </a:lnTo>
                  <a:lnTo>
                    <a:pt x="2102" y="207"/>
                  </a:lnTo>
                  <a:lnTo>
                    <a:pt x="2099" y="207"/>
                  </a:lnTo>
                  <a:lnTo>
                    <a:pt x="2099" y="210"/>
                  </a:lnTo>
                  <a:lnTo>
                    <a:pt x="2099" y="217"/>
                  </a:lnTo>
                  <a:lnTo>
                    <a:pt x="2099" y="217"/>
                  </a:lnTo>
                  <a:lnTo>
                    <a:pt x="2102" y="217"/>
                  </a:lnTo>
                  <a:lnTo>
                    <a:pt x="2109" y="217"/>
                  </a:lnTo>
                  <a:lnTo>
                    <a:pt x="2113" y="220"/>
                  </a:lnTo>
                  <a:lnTo>
                    <a:pt x="2113" y="220"/>
                  </a:lnTo>
                  <a:close/>
                  <a:moveTo>
                    <a:pt x="2137" y="213"/>
                  </a:moveTo>
                  <a:lnTo>
                    <a:pt x="2140" y="210"/>
                  </a:lnTo>
                  <a:lnTo>
                    <a:pt x="2140" y="210"/>
                  </a:lnTo>
                  <a:lnTo>
                    <a:pt x="2137" y="210"/>
                  </a:lnTo>
                  <a:lnTo>
                    <a:pt x="2133" y="210"/>
                  </a:lnTo>
                  <a:lnTo>
                    <a:pt x="2137" y="213"/>
                  </a:lnTo>
                  <a:lnTo>
                    <a:pt x="2137" y="213"/>
                  </a:lnTo>
                  <a:close/>
                  <a:moveTo>
                    <a:pt x="2164" y="1095"/>
                  </a:moveTo>
                  <a:lnTo>
                    <a:pt x="2161" y="1092"/>
                  </a:lnTo>
                  <a:lnTo>
                    <a:pt x="2164" y="1089"/>
                  </a:lnTo>
                  <a:lnTo>
                    <a:pt x="2161" y="1086"/>
                  </a:lnTo>
                  <a:lnTo>
                    <a:pt x="2161" y="1079"/>
                  </a:lnTo>
                  <a:lnTo>
                    <a:pt x="2161" y="1076"/>
                  </a:lnTo>
                  <a:lnTo>
                    <a:pt x="2164" y="1073"/>
                  </a:lnTo>
                  <a:lnTo>
                    <a:pt x="2168" y="1073"/>
                  </a:lnTo>
                  <a:lnTo>
                    <a:pt x="2168" y="1076"/>
                  </a:lnTo>
                  <a:lnTo>
                    <a:pt x="2168" y="1076"/>
                  </a:lnTo>
                  <a:lnTo>
                    <a:pt x="2175" y="1076"/>
                  </a:lnTo>
                  <a:lnTo>
                    <a:pt x="2178" y="1076"/>
                  </a:lnTo>
                  <a:lnTo>
                    <a:pt x="2178" y="1076"/>
                  </a:lnTo>
                  <a:lnTo>
                    <a:pt x="2181" y="1076"/>
                  </a:lnTo>
                  <a:lnTo>
                    <a:pt x="2178" y="1076"/>
                  </a:lnTo>
                  <a:lnTo>
                    <a:pt x="2178" y="1079"/>
                  </a:lnTo>
                  <a:lnTo>
                    <a:pt x="2185" y="1082"/>
                  </a:lnTo>
                  <a:lnTo>
                    <a:pt x="2185" y="1086"/>
                  </a:lnTo>
                  <a:lnTo>
                    <a:pt x="2185" y="1089"/>
                  </a:lnTo>
                  <a:lnTo>
                    <a:pt x="2185" y="1086"/>
                  </a:lnTo>
                  <a:lnTo>
                    <a:pt x="2185" y="1086"/>
                  </a:lnTo>
                  <a:lnTo>
                    <a:pt x="2185" y="1082"/>
                  </a:lnTo>
                  <a:lnTo>
                    <a:pt x="2185" y="1076"/>
                  </a:lnTo>
                  <a:lnTo>
                    <a:pt x="2181" y="1076"/>
                  </a:lnTo>
                  <a:lnTo>
                    <a:pt x="2181" y="1069"/>
                  </a:lnTo>
                  <a:lnTo>
                    <a:pt x="2181" y="1066"/>
                  </a:lnTo>
                  <a:lnTo>
                    <a:pt x="2178" y="1069"/>
                  </a:lnTo>
                  <a:lnTo>
                    <a:pt x="2175" y="1069"/>
                  </a:lnTo>
                  <a:lnTo>
                    <a:pt x="2168" y="1066"/>
                  </a:lnTo>
                  <a:lnTo>
                    <a:pt x="2168" y="1060"/>
                  </a:lnTo>
                  <a:lnTo>
                    <a:pt x="2164" y="1056"/>
                  </a:lnTo>
                  <a:lnTo>
                    <a:pt x="2161" y="1053"/>
                  </a:lnTo>
                  <a:lnTo>
                    <a:pt x="2157" y="1053"/>
                  </a:lnTo>
                  <a:lnTo>
                    <a:pt x="2154" y="1050"/>
                  </a:lnTo>
                  <a:lnTo>
                    <a:pt x="2154" y="1044"/>
                  </a:lnTo>
                  <a:lnTo>
                    <a:pt x="2151" y="1040"/>
                  </a:lnTo>
                  <a:lnTo>
                    <a:pt x="2151" y="1037"/>
                  </a:lnTo>
                  <a:lnTo>
                    <a:pt x="2151" y="1031"/>
                  </a:lnTo>
                  <a:lnTo>
                    <a:pt x="2147" y="1024"/>
                  </a:lnTo>
                  <a:lnTo>
                    <a:pt x="2147" y="1021"/>
                  </a:lnTo>
                  <a:lnTo>
                    <a:pt x="2147" y="1014"/>
                  </a:lnTo>
                  <a:lnTo>
                    <a:pt x="2147" y="1011"/>
                  </a:lnTo>
                  <a:lnTo>
                    <a:pt x="2144" y="1008"/>
                  </a:lnTo>
                  <a:lnTo>
                    <a:pt x="2147" y="1005"/>
                  </a:lnTo>
                  <a:lnTo>
                    <a:pt x="2147" y="1005"/>
                  </a:lnTo>
                  <a:lnTo>
                    <a:pt x="2147" y="1002"/>
                  </a:lnTo>
                  <a:lnTo>
                    <a:pt x="2147" y="1002"/>
                  </a:lnTo>
                  <a:lnTo>
                    <a:pt x="2151" y="1002"/>
                  </a:lnTo>
                  <a:lnTo>
                    <a:pt x="2154" y="1002"/>
                  </a:lnTo>
                  <a:lnTo>
                    <a:pt x="2161" y="1002"/>
                  </a:lnTo>
                  <a:lnTo>
                    <a:pt x="2164" y="1005"/>
                  </a:lnTo>
                  <a:lnTo>
                    <a:pt x="2168" y="1008"/>
                  </a:lnTo>
                  <a:lnTo>
                    <a:pt x="2171" y="1008"/>
                  </a:lnTo>
                  <a:lnTo>
                    <a:pt x="2175" y="1011"/>
                  </a:lnTo>
                  <a:lnTo>
                    <a:pt x="2178" y="1018"/>
                  </a:lnTo>
                  <a:lnTo>
                    <a:pt x="2178" y="1018"/>
                  </a:lnTo>
                  <a:lnTo>
                    <a:pt x="2178" y="1011"/>
                  </a:lnTo>
                  <a:lnTo>
                    <a:pt x="2175" y="1008"/>
                  </a:lnTo>
                  <a:lnTo>
                    <a:pt x="2168" y="1005"/>
                  </a:lnTo>
                  <a:lnTo>
                    <a:pt x="2164" y="1002"/>
                  </a:lnTo>
                  <a:lnTo>
                    <a:pt x="2161" y="995"/>
                  </a:lnTo>
                  <a:lnTo>
                    <a:pt x="2161" y="995"/>
                  </a:lnTo>
                  <a:lnTo>
                    <a:pt x="2161" y="992"/>
                  </a:lnTo>
                  <a:lnTo>
                    <a:pt x="2157" y="989"/>
                  </a:lnTo>
                  <a:lnTo>
                    <a:pt x="2154" y="982"/>
                  </a:lnTo>
                  <a:lnTo>
                    <a:pt x="2151" y="982"/>
                  </a:lnTo>
                  <a:lnTo>
                    <a:pt x="2151" y="979"/>
                  </a:lnTo>
                  <a:lnTo>
                    <a:pt x="2147" y="972"/>
                  </a:lnTo>
                  <a:lnTo>
                    <a:pt x="2140" y="966"/>
                  </a:lnTo>
                  <a:lnTo>
                    <a:pt x="2140" y="960"/>
                  </a:lnTo>
                  <a:lnTo>
                    <a:pt x="2133" y="953"/>
                  </a:lnTo>
                  <a:lnTo>
                    <a:pt x="2130" y="947"/>
                  </a:lnTo>
                  <a:lnTo>
                    <a:pt x="2126" y="947"/>
                  </a:lnTo>
                  <a:lnTo>
                    <a:pt x="2126" y="943"/>
                  </a:lnTo>
                  <a:lnTo>
                    <a:pt x="2123" y="940"/>
                  </a:lnTo>
                  <a:lnTo>
                    <a:pt x="2120" y="940"/>
                  </a:lnTo>
                  <a:lnTo>
                    <a:pt x="2120" y="940"/>
                  </a:lnTo>
                  <a:lnTo>
                    <a:pt x="2120" y="940"/>
                  </a:lnTo>
                  <a:lnTo>
                    <a:pt x="2116" y="937"/>
                  </a:lnTo>
                  <a:lnTo>
                    <a:pt x="2120" y="937"/>
                  </a:lnTo>
                  <a:lnTo>
                    <a:pt x="2116" y="934"/>
                  </a:lnTo>
                  <a:lnTo>
                    <a:pt x="2113" y="930"/>
                  </a:lnTo>
                  <a:lnTo>
                    <a:pt x="2109" y="927"/>
                  </a:lnTo>
                  <a:lnTo>
                    <a:pt x="2109" y="924"/>
                  </a:lnTo>
                  <a:lnTo>
                    <a:pt x="2106" y="921"/>
                  </a:lnTo>
                  <a:lnTo>
                    <a:pt x="2106" y="918"/>
                  </a:lnTo>
                  <a:lnTo>
                    <a:pt x="2106" y="914"/>
                  </a:lnTo>
                  <a:lnTo>
                    <a:pt x="2109" y="914"/>
                  </a:lnTo>
                  <a:lnTo>
                    <a:pt x="2106" y="911"/>
                  </a:lnTo>
                  <a:lnTo>
                    <a:pt x="2106" y="905"/>
                  </a:lnTo>
                  <a:lnTo>
                    <a:pt x="2106" y="901"/>
                  </a:lnTo>
                  <a:lnTo>
                    <a:pt x="2102" y="901"/>
                  </a:lnTo>
                  <a:lnTo>
                    <a:pt x="2095" y="895"/>
                  </a:lnTo>
                  <a:lnTo>
                    <a:pt x="2095" y="895"/>
                  </a:lnTo>
                  <a:lnTo>
                    <a:pt x="2095" y="892"/>
                  </a:lnTo>
                  <a:lnTo>
                    <a:pt x="2095" y="892"/>
                  </a:lnTo>
                  <a:lnTo>
                    <a:pt x="2095" y="892"/>
                  </a:lnTo>
                  <a:lnTo>
                    <a:pt x="2099" y="895"/>
                  </a:lnTo>
                  <a:lnTo>
                    <a:pt x="2102" y="898"/>
                  </a:lnTo>
                  <a:lnTo>
                    <a:pt x="2102" y="895"/>
                  </a:lnTo>
                  <a:lnTo>
                    <a:pt x="2095" y="889"/>
                  </a:lnTo>
                  <a:lnTo>
                    <a:pt x="2092" y="885"/>
                  </a:lnTo>
                  <a:lnTo>
                    <a:pt x="2092" y="885"/>
                  </a:lnTo>
                  <a:lnTo>
                    <a:pt x="2089" y="882"/>
                  </a:lnTo>
                  <a:lnTo>
                    <a:pt x="2082" y="876"/>
                  </a:lnTo>
                  <a:lnTo>
                    <a:pt x="2078" y="872"/>
                  </a:lnTo>
                  <a:lnTo>
                    <a:pt x="2078" y="866"/>
                  </a:lnTo>
                  <a:lnTo>
                    <a:pt x="2078" y="866"/>
                  </a:lnTo>
                  <a:lnTo>
                    <a:pt x="2071" y="863"/>
                  </a:lnTo>
                  <a:lnTo>
                    <a:pt x="2068" y="859"/>
                  </a:lnTo>
                  <a:lnTo>
                    <a:pt x="2068" y="856"/>
                  </a:lnTo>
                  <a:lnTo>
                    <a:pt x="2065" y="859"/>
                  </a:lnTo>
                  <a:lnTo>
                    <a:pt x="2068" y="859"/>
                  </a:lnTo>
                  <a:lnTo>
                    <a:pt x="2068" y="863"/>
                  </a:lnTo>
                  <a:lnTo>
                    <a:pt x="2065" y="863"/>
                  </a:lnTo>
                  <a:lnTo>
                    <a:pt x="2061" y="863"/>
                  </a:lnTo>
                  <a:lnTo>
                    <a:pt x="2061" y="863"/>
                  </a:lnTo>
                  <a:lnTo>
                    <a:pt x="2065" y="866"/>
                  </a:lnTo>
                  <a:lnTo>
                    <a:pt x="2071" y="869"/>
                  </a:lnTo>
                  <a:lnTo>
                    <a:pt x="2075" y="872"/>
                  </a:lnTo>
                  <a:lnTo>
                    <a:pt x="2071" y="876"/>
                  </a:lnTo>
                  <a:lnTo>
                    <a:pt x="2075" y="876"/>
                  </a:lnTo>
                  <a:lnTo>
                    <a:pt x="2078" y="876"/>
                  </a:lnTo>
                  <a:lnTo>
                    <a:pt x="2078" y="876"/>
                  </a:lnTo>
                  <a:lnTo>
                    <a:pt x="2075" y="879"/>
                  </a:lnTo>
                  <a:lnTo>
                    <a:pt x="2075" y="879"/>
                  </a:lnTo>
                  <a:lnTo>
                    <a:pt x="2075" y="882"/>
                  </a:lnTo>
                  <a:lnTo>
                    <a:pt x="2078" y="882"/>
                  </a:lnTo>
                  <a:lnTo>
                    <a:pt x="2078" y="885"/>
                  </a:lnTo>
                  <a:lnTo>
                    <a:pt x="2075" y="885"/>
                  </a:lnTo>
                  <a:lnTo>
                    <a:pt x="2071" y="885"/>
                  </a:lnTo>
                  <a:lnTo>
                    <a:pt x="2068" y="882"/>
                  </a:lnTo>
                  <a:lnTo>
                    <a:pt x="2068" y="885"/>
                  </a:lnTo>
                  <a:lnTo>
                    <a:pt x="2065" y="889"/>
                  </a:lnTo>
                  <a:lnTo>
                    <a:pt x="2068" y="892"/>
                  </a:lnTo>
                  <a:lnTo>
                    <a:pt x="2068" y="895"/>
                  </a:lnTo>
                  <a:lnTo>
                    <a:pt x="2075" y="901"/>
                  </a:lnTo>
                  <a:lnTo>
                    <a:pt x="2078" y="905"/>
                  </a:lnTo>
                  <a:lnTo>
                    <a:pt x="2078" y="911"/>
                  </a:lnTo>
                  <a:lnTo>
                    <a:pt x="2078" y="914"/>
                  </a:lnTo>
                  <a:lnTo>
                    <a:pt x="2078" y="921"/>
                  </a:lnTo>
                  <a:lnTo>
                    <a:pt x="2082" y="927"/>
                  </a:lnTo>
                  <a:lnTo>
                    <a:pt x="2085" y="934"/>
                  </a:lnTo>
                  <a:lnTo>
                    <a:pt x="2089" y="934"/>
                  </a:lnTo>
                  <a:lnTo>
                    <a:pt x="2089" y="937"/>
                  </a:lnTo>
                  <a:lnTo>
                    <a:pt x="2089" y="937"/>
                  </a:lnTo>
                  <a:lnTo>
                    <a:pt x="2099" y="943"/>
                  </a:lnTo>
                  <a:lnTo>
                    <a:pt x="2099" y="947"/>
                  </a:lnTo>
                  <a:lnTo>
                    <a:pt x="2106" y="950"/>
                  </a:lnTo>
                  <a:lnTo>
                    <a:pt x="2106" y="956"/>
                  </a:lnTo>
                  <a:lnTo>
                    <a:pt x="2106" y="960"/>
                  </a:lnTo>
                  <a:lnTo>
                    <a:pt x="2109" y="966"/>
                  </a:lnTo>
                  <a:lnTo>
                    <a:pt x="2109" y="969"/>
                  </a:lnTo>
                  <a:lnTo>
                    <a:pt x="2113" y="969"/>
                  </a:lnTo>
                  <a:lnTo>
                    <a:pt x="2116" y="972"/>
                  </a:lnTo>
                  <a:lnTo>
                    <a:pt x="2116" y="976"/>
                  </a:lnTo>
                  <a:lnTo>
                    <a:pt x="2116" y="979"/>
                  </a:lnTo>
                  <a:lnTo>
                    <a:pt x="2120" y="982"/>
                  </a:lnTo>
                  <a:lnTo>
                    <a:pt x="2120" y="985"/>
                  </a:lnTo>
                  <a:lnTo>
                    <a:pt x="2123" y="992"/>
                  </a:lnTo>
                  <a:lnTo>
                    <a:pt x="2123" y="998"/>
                  </a:lnTo>
                  <a:lnTo>
                    <a:pt x="2123" y="998"/>
                  </a:lnTo>
                  <a:lnTo>
                    <a:pt x="2123" y="1002"/>
                  </a:lnTo>
                  <a:lnTo>
                    <a:pt x="2123" y="1008"/>
                  </a:lnTo>
                  <a:lnTo>
                    <a:pt x="2126" y="1014"/>
                  </a:lnTo>
                  <a:lnTo>
                    <a:pt x="2126" y="1018"/>
                  </a:lnTo>
                  <a:lnTo>
                    <a:pt x="2126" y="1021"/>
                  </a:lnTo>
                  <a:lnTo>
                    <a:pt x="2130" y="1024"/>
                  </a:lnTo>
                  <a:lnTo>
                    <a:pt x="2137" y="1031"/>
                  </a:lnTo>
                  <a:lnTo>
                    <a:pt x="2137" y="1034"/>
                  </a:lnTo>
                  <a:lnTo>
                    <a:pt x="2140" y="1040"/>
                  </a:lnTo>
                  <a:lnTo>
                    <a:pt x="2140" y="1047"/>
                  </a:lnTo>
                  <a:lnTo>
                    <a:pt x="2140" y="1053"/>
                  </a:lnTo>
                  <a:lnTo>
                    <a:pt x="2144" y="1056"/>
                  </a:lnTo>
                  <a:lnTo>
                    <a:pt x="2147" y="1060"/>
                  </a:lnTo>
                  <a:lnTo>
                    <a:pt x="2151" y="1066"/>
                  </a:lnTo>
                  <a:lnTo>
                    <a:pt x="2151" y="1069"/>
                  </a:lnTo>
                  <a:lnTo>
                    <a:pt x="2151" y="1073"/>
                  </a:lnTo>
                  <a:lnTo>
                    <a:pt x="2151" y="1079"/>
                  </a:lnTo>
                  <a:lnTo>
                    <a:pt x="2151" y="1086"/>
                  </a:lnTo>
                  <a:lnTo>
                    <a:pt x="2154" y="1089"/>
                  </a:lnTo>
                  <a:lnTo>
                    <a:pt x="2157" y="1092"/>
                  </a:lnTo>
                  <a:lnTo>
                    <a:pt x="2164" y="1095"/>
                  </a:lnTo>
                  <a:lnTo>
                    <a:pt x="2164" y="1095"/>
                  </a:lnTo>
                  <a:close/>
                  <a:moveTo>
                    <a:pt x="1965" y="863"/>
                  </a:moveTo>
                  <a:lnTo>
                    <a:pt x="1968" y="863"/>
                  </a:lnTo>
                  <a:lnTo>
                    <a:pt x="1968" y="859"/>
                  </a:lnTo>
                  <a:lnTo>
                    <a:pt x="1968" y="859"/>
                  </a:lnTo>
                  <a:lnTo>
                    <a:pt x="1972" y="859"/>
                  </a:lnTo>
                  <a:lnTo>
                    <a:pt x="1972" y="863"/>
                  </a:lnTo>
                  <a:lnTo>
                    <a:pt x="1975" y="863"/>
                  </a:lnTo>
                  <a:lnTo>
                    <a:pt x="1979" y="859"/>
                  </a:lnTo>
                  <a:lnTo>
                    <a:pt x="1979" y="859"/>
                  </a:lnTo>
                  <a:lnTo>
                    <a:pt x="1979" y="856"/>
                  </a:lnTo>
                  <a:lnTo>
                    <a:pt x="1979" y="856"/>
                  </a:lnTo>
                  <a:lnTo>
                    <a:pt x="1979" y="853"/>
                  </a:lnTo>
                  <a:lnTo>
                    <a:pt x="1982" y="853"/>
                  </a:lnTo>
                  <a:lnTo>
                    <a:pt x="1979" y="853"/>
                  </a:lnTo>
                  <a:lnTo>
                    <a:pt x="1979" y="853"/>
                  </a:lnTo>
                  <a:lnTo>
                    <a:pt x="1975" y="853"/>
                  </a:lnTo>
                  <a:lnTo>
                    <a:pt x="1975" y="853"/>
                  </a:lnTo>
                  <a:lnTo>
                    <a:pt x="1975" y="850"/>
                  </a:lnTo>
                  <a:lnTo>
                    <a:pt x="1975" y="850"/>
                  </a:lnTo>
                  <a:lnTo>
                    <a:pt x="1975" y="850"/>
                  </a:lnTo>
                  <a:lnTo>
                    <a:pt x="1972" y="850"/>
                  </a:lnTo>
                  <a:lnTo>
                    <a:pt x="1968" y="850"/>
                  </a:lnTo>
                  <a:lnTo>
                    <a:pt x="1965" y="850"/>
                  </a:lnTo>
                  <a:lnTo>
                    <a:pt x="1965" y="853"/>
                  </a:lnTo>
                  <a:lnTo>
                    <a:pt x="1961" y="856"/>
                  </a:lnTo>
                  <a:lnTo>
                    <a:pt x="1961" y="856"/>
                  </a:lnTo>
                  <a:lnTo>
                    <a:pt x="1965" y="863"/>
                  </a:lnTo>
                  <a:lnTo>
                    <a:pt x="1965" y="863"/>
                  </a:lnTo>
                  <a:close/>
                  <a:moveTo>
                    <a:pt x="1954" y="859"/>
                  </a:moveTo>
                  <a:lnTo>
                    <a:pt x="1954" y="859"/>
                  </a:lnTo>
                  <a:lnTo>
                    <a:pt x="1954" y="859"/>
                  </a:lnTo>
                  <a:lnTo>
                    <a:pt x="1954" y="856"/>
                  </a:lnTo>
                  <a:lnTo>
                    <a:pt x="1958" y="859"/>
                  </a:lnTo>
                  <a:lnTo>
                    <a:pt x="1958" y="856"/>
                  </a:lnTo>
                  <a:lnTo>
                    <a:pt x="1958" y="856"/>
                  </a:lnTo>
                  <a:lnTo>
                    <a:pt x="1958" y="853"/>
                  </a:lnTo>
                  <a:lnTo>
                    <a:pt x="1958" y="850"/>
                  </a:lnTo>
                  <a:lnTo>
                    <a:pt x="1958" y="850"/>
                  </a:lnTo>
                  <a:lnTo>
                    <a:pt x="1954" y="853"/>
                  </a:lnTo>
                  <a:lnTo>
                    <a:pt x="1951" y="856"/>
                  </a:lnTo>
                  <a:lnTo>
                    <a:pt x="1951" y="856"/>
                  </a:lnTo>
                  <a:lnTo>
                    <a:pt x="1954" y="859"/>
                  </a:lnTo>
                  <a:lnTo>
                    <a:pt x="1954" y="859"/>
                  </a:lnTo>
                  <a:close/>
                  <a:moveTo>
                    <a:pt x="1979" y="869"/>
                  </a:moveTo>
                  <a:lnTo>
                    <a:pt x="1979" y="872"/>
                  </a:lnTo>
                  <a:lnTo>
                    <a:pt x="1982" y="869"/>
                  </a:lnTo>
                  <a:lnTo>
                    <a:pt x="1982" y="869"/>
                  </a:lnTo>
                  <a:lnTo>
                    <a:pt x="1982" y="866"/>
                  </a:lnTo>
                  <a:lnTo>
                    <a:pt x="1982" y="866"/>
                  </a:lnTo>
                  <a:lnTo>
                    <a:pt x="1982" y="869"/>
                  </a:lnTo>
                  <a:lnTo>
                    <a:pt x="1979" y="869"/>
                  </a:lnTo>
                  <a:lnTo>
                    <a:pt x="1979" y="869"/>
                  </a:lnTo>
                  <a:close/>
                  <a:moveTo>
                    <a:pt x="1975" y="866"/>
                  </a:moveTo>
                  <a:lnTo>
                    <a:pt x="1975" y="869"/>
                  </a:lnTo>
                  <a:lnTo>
                    <a:pt x="1975" y="869"/>
                  </a:lnTo>
                  <a:lnTo>
                    <a:pt x="1979" y="869"/>
                  </a:lnTo>
                  <a:lnTo>
                    <a:pt x="1979" y="866"/>
                  </a:lnTo>
                  <a:lnTo>
                    <a:pt x="1975" y="866"/>
                  </a:lnTo>
                  <a:lnTo>
                    <a:pt x="1975" y="866"/>
                  </a:lnTo>
                  <a:lnTo>
                    <a:pt x="1975" y="866"/>
                  </a:lnTo>
                  <a:close/>
                  <a:moveTo>
                    <a:pt x="1975" y="882"/>
                  </a:moveTo>
                  <a:lnTo>
                    <a:pt x="1979" y="879"/>
                  </a:lnTo>
                  <a:lnTo>
                    <a:pt x="1982" y="879"/>
                  </a:lnTo>
                  <a:lnTo>
                    <a:pt x="1982" y="876"/>
                  </a:lnTo>
                  <a:lnTo>
                    <a:pt x="1982" y="876"/>
                  </a:lnTo>
                  <a:lnTo>
                    <a:pt x="1982" y="872"/>
                  </a:lnTo>
                  <a:lnTo>
                    <a:pt x="1975" y="872"/>
                  </a:lnTo>
                  <a:lnTo>
                    <a:pt x="1972" y="879"/>
                  </a:lnTo>
                  <a:lnTo>
                    <a:pt x="1975" y="879"/>
                  </a:lnTo>
                  <a:lnTo>
                    <a:pt x="1975" y="882"/>
                  </a:lnTo>
                  <a:lnTo>
                    <a:pt x="1975" y="882"/>
                  </a:lnTo>
                  <a:close/>
                  <a:moveTo>
                    <a:pt x="2123" y="688"/>
                  </a:moveTo>
                  <a:lnTo>
                    <a:pt x="2126" y="688"/>
                  </a:lnTo>
                  <a:lnTo>
                    <a:pt x="2130" y="685"/>
                  </a:lnTo>
                  <a:lnTo>
                    <a:pt x="2130" y="685"/>
                  </a:lnTo>
                  <a:lnTo>
                    <a:pt x="2126" y="685"/>
                  </a:lnTo>
                  <a:lnTo>
                    <a:pt x="2126" y="688"/>
                  </a:lnTo>
                  <a:lnTo>
                    <a:pt x="2123" y="688"/>
                  </a:lnTo>
                  <a:lnTo>
                    <a:pt x="2123" y="688"/>
                  </a:lnTo>
                  <a:close/>
                  <a:moveTo>
                    <a:pt x="2360" y="669"/>
                  </a:moveTo>
                  <a:lnTo>
                    <a:pt x="2364" y="669"/>
                  </a:lnTo>
                  <a:lnTo>
                    <a:pt x="2360" y="666"/>
                  </a:lnTo>
                  <a:lnTo>
                    <a:pt x="2360" y="662"/>
                  </a:lnTo>
                  <a:lnTo>
                    <a:pt x="2360" y="659"/>
                  </a:lnTo>
                  <a:lnTo>
                    <a:pt x="2360" y="659"/>
                  </a:lnTo>
                  <a:lnTo>
                    <a:pt x="2364" y="656"/>
                  </a:lnTo>
                  <a:lnTo>
                    <a:pt x="2367" y="653"/>
                  </a:lnTo>
                  <a:lnTo>
                    <a:pt x="2371" y="649"/>
                  </a:lnTo>
                  <a:lnTo>
                    <a:pt x="2374" y="646"/>
                  </a:lnTo>
                  <a:lnTo>
                    <a:pt x="2371" y="643"/>
                  </a:lnTo>
                  <a:lnTo>
                    <a:pt x="2371" y="640"/>
                  </a:lnTo>
                  <a:lnTo>
                    <a:pt x="2364" y="637"/>
                  </a:lnTo>
                  <a:lnTo>
                    <a:pt x="2364" y="637"/>
                  </a:lnTo>
                  <a:lnTo>
                    <a:pt x="2360" y="637"/>
                  </a:lnTo>
                  <a:lnTo>
                    <a:pt x="2360" y="640"/>
                  </a:lnTo>
                  <a:lnTo>
                    <a:pt x="2360" y="640"/>
                  </a:lnTo>
                  <a:lnTo>
                    <a:pt x="2353" y="643"/>
                  </a:lnTo>
                  <a:lnTo>
                    <a:pt x="2353" y="646"/>
                  </a:lnTo>
                  <a:lnTo>
                    <a:pt x="2350" y="649"/>
                  </a:lnTo>
                  <a:lnTo>
                    <a:pt x="2353" y="649"/>
                  </a:lnTo>
                  <a:lnTo>
                    <a:pt x="2357" y="646"/>
                  </a:lnTo>
                  <a:lnTo>
                    <a:pt x="2357" y="646"/>
                  </a:lnTo>
                  <a:lnTo>
                    <a:pt x="2357" y="649"/>
                  </a:lnTo>
                  <a:lnTo>
                    <a:pt x="2357" y="656"/>
                  </a:lnTo>
                  <a:lnTo>
                    <a:pt x="2357" y="659"/>
                  </a:lnTo>
                  <a:lnTo>
                    <a:pt x="2360" y="662"/>
                  </a:lnTo>
                  <a:lnTo>
                    <a:pt x="2357" y="662"/>
                  </a:lnTo>
                  <a:lnTo>
                    <a:pt x="2357" y="666"/>
                  </a:lnTo>
                  <a:lnTo>
                    <a:pt x="2360" y="669"/>
                  </a:lnTo>
                  <a:lnTo>
                    <a:pt x="2360" y="669"/>
                  </a:lnTo>
                  <a:close/>
                  <a:moveTo>
                    <a:pt x="2501" y="772"/>
                  </a:moveTo>
                  <a:lnTo>
                    <a:pt x="2501" y="775"/>
                  </a:lnTo>
                  <a:lnTo>
                    <a:pt x="2505" y="775"/>
                  </a:lnTo>
                  <a:lnTo>
                    <a:pt x="2512" y="779"/>
                  </a:lnTo>
                  <a:lnTo>
                    <a:pt x="2515" y="779"/>
                  </a:lnTo>
                  <a:lnTo>
                    <a:pt x="2519" y="782"/>
                  </a:lnTo>
                  <a:lnTo>
                    <a:pt x="2522" y="782"/>
                  </a:lnTo>
                  <a:lnTo>
                    <a:pt x="2522" y="779"/>
                  </a:lnTo>
                  <a:lnTo>
                    <a:pt x="2515" y="779"/>
                  </a:lnTo>
                  <a:lnTo>
                    <a:pt x="2515" y="775"/>
                  </a:lnTo>
                  <a:lnTo>
                    <a:pt x="2508" y="775"/>
                  </a:lnTo>
                  <a:lnTo>
                    <a:pt x="2508" y="772"/>
                  </a:lnTo>
                  <a:lnTo>
                    <a:pt x="2501" y="772"/>
                  </a:lnTo>
                  <a:lnTo>
                    <a:pt x="2501" y="772"/>
                  </a:lnTo>
                  <a:lnTo>
                    <a:pt x="2501" y="772"/>
                  </a:lnTo>
                  <a:close/>
                  <a:moveTo>
                    <a:pt x="2460" y="766"/>
                  </a:moveTo>
                  <a:lnTo>
                    <a:pt x="2464" y="766"/>
                  </a:lnTo>
                  <a:lnTo>
                    <a:pt x="2467" y="766"/>
                  </a:lnTo>
                  <a:lnTo>
                    <a:pt x="2470" y="766"/>
                  </a:lnTo>
                  <a:lnTo>
                    <a:pt x="2467" y="769"/>
                  </a:lnTo>
                  <a:lnTo>
                    <a:pt x="2474" y="772"/>
                  </a:lnTo>
                  <a:lnTo>
                    <a:pt x="2474" y="772"/>
                  </a:lnTo>
                  <a:lnTo>
                    <a:pt x="2477" y="775"/>
                  </a:lnTo>
                  <a:lnTo>
                    <a:pt x="2481" y="775"/>
                  </a:lnTo>
                  <a:lnTo>
                    <a:pt x="2481" y="775"/>
                  </a:lnTo>
                  <a:lnTo>
                    <a:pt x="2484" y="779"/>
                  </a:lnTo>
                  <a:lnTo>
                    <a:pt x="2491" y="779"/>
                  </a:lnTo>
                  <a:lnTo>
                    <a:pt x="2491" y="779"/>
                  </a:lnTo>
                  <a:lnTo>
                    <a:pt x="2488" y="775"/>
                  </a:lnTo>
                  <a:lnTo>
                    <a:pt x="2484" y="772"/>
                  </a:lnTo>
                  <a:lnTo>
                    <a:pt x="2477" y="769"/>
                  </a:lnTo>
                  <a:lnTo>
                    <a:pt x="2477" y="766"/>
                  </a:lnTo>
                  <a:lnTo>
                    <a:pt x="2474" y="766"/>
                  </a:lnTo>
                  <a:lnTo>
                    <a:pt x="2470" y="763"/>
                  </a:lnTo>
                  <a:lnTo>
                    <a:pt x="2470" y="759"/>
                  </a:lnTo>
                  <a:lnTo>
                    <a:pt x="2470" y="759"/>
                  </a:lnTo>
                  <a:lnTo>
                    <a:pt x="2467" y="759"/>
                  </a:lnTo>
                  <a:lnTo>
                    <a:pt x="2467" y="759"/>
                  </a:lnTo>
                  <a:lnTo>
                    <a:pt x="2464" y="759"/>
                  </a:lnTo>
                  <a:lnTo>
                    <a:pt x="2460" y="763"/>
                  </a:lnTo>
                  <a:lnTo>
                    <a:pt x="2460" y="766"/>
                  </a:lnTo>
                  <a:lnTo>
                    <a:pt x="2460" y="766"/>
                  </a:lnTo>
                  <a:close/>
                  <a:moveTo>
                    <a:pt x="2364" y="934"/>
                  </a:moveTo>
                  <a:lnTo>
                    <a:pt x="2367" y="934"/>
                  </a:lnTo>
                  <a:lnTo>
                    <a:pt x="2367" y="934"/>
                  </a:lnTo>
                  <a:lnTo>
                    <a:pt x="2367" y="930"/>
                  </a:lnTo>
                  <a:lnTo>
                    <a:pt x="2364" y="927"/>
                  </a:lnTo>
                  <a:lnTo>
                    <a:pt x="2364" y="930"/>
                  </a:lnTo>
                  <a:lnTo>
                    <a:pt x="2364" y="930"/>
                  </a:lnTo>
                  <a:lnTo>
                    <a:pt x="2364" y="934"/>
                  </a:lnTo>
                  <a:lnTo>
                    <a:pt x="2364" y="934"/>
                  </a:lnTo>
                  <a:close/>
                  <a:moveTo>
                    <a:pt x="2343" y="930"/>
                  </a:moveTo>
                  <a:lnTo>
                    <a:pt x="2343" y="934"/>
                  </a:lnTo>
                  <a:lnTo>
                    <a:pt x="2347" y="934"/>
                  </a:lnTo>
                  <a:lnTo>
                    <a:pt x="2350" y="934"/>
                  </a:lnTo>
                  <a:lnTo>
                    <a:pt x="2350" y="930"/>
                  </a:lnTo>
                  <a:lnTo>
                    <a:pt x="2347" y="927"/>
                  </a:lnTo>
                  <a:lnTo>
                    <a:pt x="2343" y="930"/>
                  </a:lnTo>
                  <a:lnTo>
                    <a:pt x="2343" y="930"/>
                  </a:lnTo>
                  <a:close/>
                  <a:moveTo>
                    <a:pt x="2357" y="956"/>
                  </a:moveTo>
                  <a:lnTo>
                    <a:pt x="2357" y="956"/>
                  </a:lnTo>
                  <a:lnTo>
                    <a:pt x="2357" y="953"/>
                  </a:lnTo>
                  <a:lnTo>
                    <a:pt x="2357" y="950"/>
                  </a:lnTo>
                  <a:lnTo>
                    <a:pt x="2360" y="950"/>
                  </a:lnTo>
                  <a:lnTo>
                    <a:pt x="2364" y="947"/>
                  </a:lnTo>
                  <a:lnTo>
                    <a:pt x="2364" y="943"/>
                  </a:lnTo>
                  <a:lnTo>
                    <a:pt x="2364" y="940"/>
                  </a:lnTo>
                  <a:lnTo>
                    <a:pt x="2364" y="940"/>
                  </a:lnTo>
                  <a:lnTo>
                    <a:pt x="2364" y="937"/>
                  </a:lnTo>
                  <a:lnTo>
                    <a:pt x="2357" y="930"/>
                  </a:lnTo>
                  <a:lnTo>
                    <a:pt x="2357" y="934"/>
                  </a:lnTo>
                  <a:lnTo>
                    <a:pt x="2357" y="940"/>
                  </a:lnTo>
                  <a:lnTo>
                    <a:pt x="2357" y="943"/>
                  </a:lnTo>
                  <a:lnTo>
                    <a:pt x="2353" y="943"/>
                  </a:lnTo>
                  <a:lnTo>
                    <a:pt x="2353" y="947"/>
                  </a:lnTo>
                  <a:lnTo>
                    <a:pt x="2350" y="947"/>
                  </a:lnTo>
                  <a:lnTo>
                    <a:pt x="2350" y="947"/>
                  </a:lnTo>
                  <a:lnTo>
                    <a:pt x="2353" y="950"/>
                  </a:lnTo>
                  <a:lnTo>
                    <a:pt x="2353" y="953"/>
                  </a:lnTo>
                  <a:lnTo>
                    <a:pt x="2350" y="953"/>
                  </a:lnTo>
                  <a:lnTo>
                    <a:pt x="2350" y="956"/>
                  </a:lnTo>
                  <a:lnTo>
                    <a:pt x="2353" y="956"/>
                  </a:lnTo>
                  <a:lnTo>
                    <a:pt x="2357" y="956"/>
                  </a:lnTo>
                  <a:lnTo>
                    <a:pt x="2357" y="956"/>
                  </a:lnTo>
                  <a:close/>
                  <a:moveTo>
                    <a:pt x="2353" y="976"/>
                  </a:moveTo>
                  <a:lnTo>
                    <a:pt x="2353" y="976"/>
                  </a:lnTo>
                  <a:lnTo>
                    <a:pt x="2353" y="976"/>
                  </a:lnTo>
                  <a:lnTo>
                    <a:pt x="2353" y="972"/>
                  </a:lnTo>
                  <a:lnTo>
                    <a:pt x="2353" y="969"/>
                  </a:lnTo>
                  <a:lnTo>
                    <a:pt x="2350" y="969"/>
                  </a:lnTo>
                  <a:lnTo>
                    <a:pt x="2350" y="972"/>
                  </a:lnTo>
                  <a:lnTo>
                    <a:pt x="2350" y="976"/>
                  </a:lnTo>
                  <a:lnTo>
                    <a:pt x="2353" y="976"/>
                  </a:lnTo>
                  <a:lnTo>
                    <a:pt x="2353" y="976"/>
                  </a:lnTo>
                  <a:close/>
                  <a:moveTo>
                    <a:pt x="2353" y="982"/>
                  </a:moveTo>
                  <a:lnTo>
                    <a:pt x="2353" y="982"/>
                  </a:lnTo>
                  <a:lnTo>
                    <a:pt x="2353" y="982"/>
                  </a:lnTo>
                  <a:lnTo>
                    <a:pt x="2350" y="979"/>
                  </a:lnTo>
                  <a:lnTo>
                    <a:pt x="2350" y="982"/>
                  </a:lnTo>
                  <a:lnTo>
                    <a:pt x="2350" y="982"/>
                  </a:lnTo>
                  <a:lnTo>
                    <a:pt x="2353" y="982"/>
                  </a:lnTo>
                  <a:lnTo>
                    <a:pt x="2353" y="982"/>
                  </a:lnTo>
                  <a:close/>
                  <a:moveTo>
                    <a:pt x="2347" y="989"/>
                  </a:moveTo>
                  <a:lnTo>
                    <a:pt x="2347" y="989"/>
                  </a:lnTo>
                  <a:lnTo>
                    <a:pt x="2347" y="985"/>
                  </a:lnTo>
                  <a:lnTo>
                    <a:pt x="2343" y="985"/>
                  </a:lnTo>
                  <a:lnTo>
                    <a:pt x="2343" y="989"/>
                  </a:lnTo>
                  <a:lnTo>
                    <a:pt x="2347" y="989"/>
                  </a:lnTo>
                  <a:lnTo>
                    <a:pt x="2347" y="989"/>
                  </a:lnTo>
                  <a:close/>
                  <a:moveTo>
                    <a:pt x="2350" y="995"/>
                  </a:moveTo>
                  <a:lnTo>
                    <a:pt x="2350" y="995"/>
                  </a:lnTo>
                  <a:lnTo>
                    <a:pt x="2350" y="995"/>
                  </a:lnTo>
                  <a:lnTo>
                    <a:pt x="2350" y="992"/>
                  </a:lnTo>
                  <a:lnTo>
                    <a:pt x="2350" y="989"/>
                  </a:lnTo>
                  <a:lnTo>
                    <a:pt x="2350" y="992"/>
                  </a:lnTo>
                  <a:lnTo>
                    <a:pt x="2350" y="995"/>
                  </a:lnTo>
                  <a:lnTo>
                    <a:pt x="2350" y="995"/>
                  </a:lnTo>
                  <a:close/>
                  <a:moveTo>
                    <a:pt x="2343" y="1018"/>
                  </a:moveTo>
                  <a:lnTo>
                    <a:pt x="2347" y="1014"/>
                  </a:lnTo>
                  <a:lnTo>
                    <a:pt x="2343" y="1014"/>
                  </a:lnTo>
                  <a:lnTo>
                    <a:pt x="2343" y="1014"/>
                  </a:lnTo>
                  <a:lnTo>
                    <a:pt x="2343" y="1018"/>
                  </a:lnTo>
                  <a:lnTo>
                    <a:pt x="2343" y="1018"/>
                  </a:lnTo>
                  <a:close/>
                  <a:moveTo>
                    <a:pt x="2343" y="1027"/>
                  </a:moveTo>
                  <a:lnTo>
                    <a:pt x="2343" y="1024"/>
                  </a:lnTo>
                  <a:lnTo>
                    <a:pt x="2343" y="1024"/>
                  </a:lnTo>
                  <a:lnTo>
                    <a:pt x="2340" y="1024"/>
                  </a:lnTo>
                  <a:lnTo>
                    <a:pt x="2343" y="1027"/>
                  </a:lnTo>
                  <a:lnTo>
                    <a:pt x="2343" y="1027"/>
                  </a:lnTo>
                  <a:close/>
                  <a:moveTo>
                    <a:pt x="2340" y="1031"/>
                  </a:moveTo>
                  <a:lnTo>
                    <a:pt x="2343" y="1034"/>
                  </a:lnTo>
                  <a:lnTo>
                    <a:pt x="2343" y="1031"/>
                  </a:lnTo>
                  <a:lnTo>
                    <a:pt x="2340" y="1031"/>
                  </a:lnTo>
                  <a:lnTo>
                    <a:pt x="2340" y="1031"/>
                  </a:lnTo>
                  <a:close/>
                  <a:moveTo>
                    <a:pt x="2336" y="1037"/>
                  </a:moveTo>
                  <a:lnTo>
                    <a:pt x="2340" y="1037"/>
                  </a:lnTo>
                  <a:lnTo>
                    <a:pt x="2340" y="1037"/>
                  </a:lnTo>
                  <a:lnTo>
                    <a:pt x="2340" y="1037"/>
                  </a:lnTo>
                  <a:lnTo>
                    <a:pt x="2340" y="1034"/>
                  </a:lnTo>
                  <a:lnTo>
                    <a:pt x="2336" y="1037"/>
                  </a:lnTo>
                  <a:lnTo>
                    <a:pt x="2336" y="1037"/>
                  </a:lnTo>
                  <a:close/>
                  <a:moveTo>
                    <a:pt x="2336" y="1050"/>
                  </a:moveTo>
                  <a:lnTo>
                    <a:pt x="2336" y="1047"/>
                  </a:lnTo>
                  <a:lnTo>
                    <a:pt x="2336" y="1044"/>
                  </a:lnTo>
                  <a:lnTo>
                    <a:pt x="2336" y="1044"/>
                  </a:lnTo>
                  <a:lnTo>
                    <a:pt x="2336" y="1047"/>
                  </a:lnTo>
                  <a:lnTo>
                    <a:pt x="2333" y="1050"/>
                  </a:lnTo>
                  <a:lnTo>
                    <a:pt x="2336" y="1050"/>
                  </a:lnTo>
                  <a:lnTo>
                    <a:pt x="2336" y="1050"/>
                  </a:lnTo>
                  <a:close/>
                  <a:moveTo>
                    <a:pt x="2302" y="1086"/>
                  </a:moveTo>
                  <a:lnTo>
                    <a:pt x="2302" y="1089"/>
                  </a:lnTo>
                  <a:lnTo>
                    <a:pt x="2309" y="1086"/>
                  </a:lnTo>
                  <a:lnTo>
                    <a:pt x="2309" y="1079"/>
                  </a:lnTo>
                  <a:lnTo>
                    <a:pt x="2312" y="1079"/>
                  </a:lnTo>
                  <a:lnTo>
                    <a:pt x="2312" y="1076"/>
                  </a:lnTo>
                  <a:lnTo>
                    <a:pt x="2312" y="1073"/>
                  </a:lnTo>
                  <a:lnTo>
                    <a:pt x="2319" y="1066"/>
                  </a:lnTo>
                  <a:lnTo>
                    <a:pt x="2316" y="1069"/>
                  </a:lnTo>
                  <a:lnTo>
                    <a:pt x="2312" y="1069"/>
                  </a:lnTo>
                  <a:lnTo>
                    <a:pt x="2309" y="1073"/>
                  </a:lnTo>
                  <a:lnTo>
                    <a:pt x="2309" y="1073"/>
                  </a:lnTo>
                  <a:lnTo>
                    <a:pt x="2309" y="1076"/>
                  </a:lnTo>
                  <a:lnTo>
                    <a:pt x="2305" y="1079"/>
                  </a:lnTo>
                  <a:lnTo>
                    <a:pt x="2305" y="1079"/>
                  </a:lnTo>
                  <a:lnTo>
                    <a:pt x="2302" y="1082"/>
                  </a:lnTo>
                  <a:lnTo>
                    <a:pt x="2302" y="1086"/>
                  </a:lnTo>
                  <a:lnTo>
                    <a:pt x="2302" y="1086"/>
                  </a:lnTo>
                  <a:close/>
                  <a:moveTo>
                    <a:pt x="2264" y="1124"/>
                  </a:moveTo>
                  <a:lnTo>
                    <a:pt x="2267" y="1121"/>
                  </a:lnTo>
                  <a:lnTo>
                    <a:pt x="2267" y="1118"/>
                  </a:lnTo>
                  <a:lnTo>
                    <a:pt x="2271" y="1118"/>
                  </a:lnTo>
                  <a:lnTo>
                    <a:pt x="2271" y="1111"/>
                  </a:lnTo>
                  <a:lnTo>
                    <a:pt x="2271" y="1111"/>
                  </a:lnTo>
                  <a:lnTo>
                    <a:pt x="2271" y="1108"/>
                  </a:lnTo>
                  <a:lnTo>
                    <a:pt x="2274" y="1108"/>
                  </a:lnTo>
                  <a:lnTo>
                    <a:pt x="2274" y="1108"/>
                  </a:lnTo>
                  <a:lnTo>
                    <a:pt x="2278" y="1108"/>
                  </a:lnTo>
                  <a:lnTo>
                    <a:pt x="2281" y="1102"/>
                  </a:lnTo>
                  <a:lnTo>
                    <a:pt x="2285" y="1098"/>
                  </a:lnTo>
                  <a:lnTo>
                    <a:pt x="2288" y="1098"/>
                  </a:lnTo>
                  <a:lnTo>
                    <a:pt x="2292" y="1095"/>
                  </a:lnTo>
                  <a:lnTo>
                    <a:pt x="2292" y="1092"/>
                  </a:lnTo>
                  <a:lnTo>
                    <a:pt x="2292" y="1089"/>
                  </a:lnTo>
                  <a:lnTo>
                    <a:pt x="2288" y="1092"/>
                  </a:lnTo>
                  <a:lnTo>
                    <a:pt x="2285" y="1095"/>
                  </a:lnTo>
                  <a:lnTo>
                    <a:pt x="2285" y="1098"/>
                  </a:lnTo>
                  <a:lnTo>
                    <a:pt x="2281" y="1098"/>
                  </a:lnTo>
                  <a:lnTo>
                    <a:pt x="2278" y="1098"/>
                  </a:lnTo>
                  <a:lnTo>
                    <a:pt x="2278" y="1098"/>
                  </a:lnTo>
                  <a:lnTo>
                    <a:pt x="2274" y="1095"/>
                  </a:lnTo>
                  <a:lnTo>
                    <a:pt x="2274" y="1095"/>
                  </a:lnTo>
                  <a:lnTo>
                    <a:pt x="2274" y="1098"/>
                  </a:lnTo>
                  <a:lnTo>
                    <a:pt x="2274" y="1102"/>
                  </a:lnTo>
                  <a:lnTo>
                    <a:pt x="2274" y="1102"/>
                  </a:lnTo>
                  <a:lnTo>
                    <a:pt x="2271" y="1105"/>
                  </a:lnTo>
                  <a:lnTo>
                    <a:pt x="2267" y="1105"/>
                  </a:lnTo>
                  <a:lnTo>
                    <a:pt x="2267" y="1108"/>
                  </a:lnTo>
                  <a:lnTo>
                    <a:pt x="2267" y="1111"/>
                  </a:lnTo>
                  <a:lnTo>
                    <a:pt x="2264" y="1111"/>
                  </a:lnTo>
                  <a:lnTo>
                    <a:pt x="2264" y="1115"/>
                  </a:lnTo>
                  <a:lnTo>
                    <a:pt x="2267" y="1115"/>
                  </a:lnTo>
                  <a:lnTo>
                    <a:pt x="2264" y="1118"/>
                  </a:lnTo>
                  <a:lnTo>
                    <a:pt x="2264" y="1121"/>
                  </a:lnTo>
                  <a:lnTo>
                    <a:pt x="2264" y="1124"/>
                  </a:lnTo>
                  <a:lnTo>
                    <a:pt x="2264" y="1124"/>
                  </a:lnTo>
                  <a:close/>
                  <a:moveTo>
                    <a:pt x="2250" y="1144"/>
                  </a:moveTo>
                  <a:lnTo>
                    <a:pt x="2250" y="1144"/>
                  </a:lnTo>
                  <a:lnTo>
                    <a:pt x="2250" y="1140"/>
                  </a:lnTo>
                  <a:lnTo>
                    <a:pt x="2250" y="1134"/>
                  </a:lnTo>
                  <a:lnTo>
                    <a:pt x="2254" y="1131"/>
                  </a:lnTo>
                  <a:lnTo>
                    <a:pt x="2257" y="1128"/>
                  </a:lnTo>
                  <a:lnTo>
                    <a:pt x="2257" y="1124"/>
                  </a:lnTo>
                  <a:lnTo>
                    <a:pt x="2257" y="1124"/>
                  </a:lnTo>
                  <a:lnTo>
                    <a:pt x="2254" y="1124"/>
                  </a:lnTo>
                  <a:lnTo>
                    <a:pt x="2254" y="1124"/>
                  </a:lnTo>
                  <a:lnTo>
                    <a:pt x="2250" y="1124"/>
                  </a:lnTo>
                  <a:lnTo>
                    <a:pt x="2250" y="1124"/>
                  </a:lnTo>
                  <a:lnTo>
                    <a:pt x="2247" y="1128"/>
                  </a:lnTo>
                  <a:lnTo>
                    <a:pt x="2247" y="1131"/>
                  </a:lnTo>
                  <a:lnTo>
                    <a:pt x="2247" y="1137"/>
                  </a:lnTo>
                  <a:lnTo>
                    <a:pt x="2243" y="1140"/>
                  </a:lnTo>
                  <a:lnTo>
                    <a:pt x="2247" y="1140"/>
                  </a:lnTo>
                  <a:lnTo>
                    <a:pt x="2250" y="1144"/>
                  </a:lnTo>
                  <a:lnTo>
                    <a:pt x="2250" y="1144"/>
                  </a:lnTo>
                  <a:close/>
                  <a:moveTo>
                    <a:pt x="42" y="882"/>
                  </a:moveTo>
                  <a:lnTo>
                    <a:pt x="42" y="882"/>
                  </a:lnTo>
                  <a:lnTo>
                    <a:pt x="38" y="885"/>
                  </a:lnTo>
                  <a:lnTo>
                    <a:pt x="42" y="885"/>
                  </a:lnTo>
                  <a:lnTo>
                    <a:pt x="45" y="885"/>
                  </a:lnTo>
                  <a:lnTo>
                    <a:pt x="42" y="8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6457951" y="1678642"/>
              <a:ext cx="436563" cy="450850"/>
            </a:xfrm>
            <a:custGeom>
              <a:avLst/>
              <a:gdLst>
                <a:gd name="T0" fmla="*/ 261 w 275"/>
                <a:gd name="T1" fmla="*/ 25 h 284"/>
                <a:gd name="T2" fmla="*/ 206 w 275"/>
                <a:gd name="T3" fmla="*/ 25 h 284"/>
                <a:gd name="T4" fmla="*/ 96 w 275"/>
                <a:gd name="T5" fmla="*/ 29 h 284"/>
                <a:gd name="T6" fmla="*/ 113 w 275"/>
                <a:gd name="T7" fmla="*/ 55 h 284"/>
                <a:gd name="T8" fmla="*/ 127 w 275"/>
                <a:gd name="T9" fmla="*/ 55 h 284"/>
                <a:gd name="T10" fmla="*/ 110 w 275"/>
                <a:gd name="T11" fmla="*/ 58 h 284"/>
                <a:gd name="T12" fmla="*/ 148 w 275"/>
                <a:gd name="T13" fmla="*/ 71 h 284"/>
                <a:gd name="T14" fmla="*/ 175 w 275"/>
                <a:gd name="T15" fmla="*/ 67 h 284"/>
                <a:gd name="T16" fmla="*/ 206 w 275"/>
                <a:gd name="T17" fmla="*/ 42 h 284"/>
                <a:gd name="T18" fmla="*/ 175 w 275"/>
                <a:gd name="T19" fmla="*/ 25 h 284"/>
                <a:gd name="T20" fmla="*/ 161 w 275"/>
                <a:gd name="T21" fmla="*/ 19 h 284"/>
                <a:gd name="T22" fmla="*/ 151 w 275"/>
                <a:gd name="T23" fmla="*/ 22 h 284"/>
                <a:gd name="T24" fmla="*/ 144 w 275"/>
                <a:gd name="T25" fmla="*/ 22 h 284"/>
                <a:gd name="T26" fmla="*/ 134 w 275"/>
                <a:gd name="T27" fmla="*/ 25 h 284"/>
                <a:gd name="T28" fmla="*/ 110 w 275"/>
                <a:gd name="T29" fmla="*/ 19 h 284"/>
                <a:gd name="T30" fmla="*/ 103 w 275"/>
                <a:gd name="T31" fmla="*/ 25 h 284"/>
                <a:gd name="T32" fmla="*/ 93 w 275"/>
                <a:gd name="T33" fmla="*/ 38 h 284"/>
                <a:gd name="T34" fmla="*/ 113 w 275"/>
                <a:gd name="T35" fmla="*/ 55 h 284"/>
                <a:gd name="T36" fmla="*/ 227 w 275"/>
                <a:gd name="T37" fmla="*/ 87 h 284"/>
                <a:gd name="T38" fmla="*/ 213 w 275"/>
                <a:gd name="T39" fmla="*/ 96 h 284"/>
                <a:gd name="T40" fmla="*/ 168 w 275"/>
                <a:gd name="T41" fmla="*/ 122 h 284"/>
                <a:gd name="T42" fmla="*/ 186 w 275"/>
                <a:gd name="T43" fmla="*/ 142 h 284"/>
                <a:gd name="T44" fmla="*/ 168 w 275"/>
                <a:gd name="T45" fmla="*/ 151 h 284"/>
                <a:gd name="T46" fmla="*/ 141 w 275"/>
                <a:gd name="T47" fmla="*/ 155 h 284"/>
                <a:gd name="T48" fmla="*/ 120 w 275"/>
                <a:gd name="T49" fmla="*/ 84 h 284"/>
                <a:gd name="T50" fmla="*/ 137 w 275"/>
                <a:gd name="T51" fmla="*/ 116 h 284"/>
                <a:gd name="T52" fmla="*/ 155 w 275"/>
                <a:gd name="T53" fmla="*/ 109 h 284"/>
                <a:gd name="T54" fmla="*/ 134 w 275"/>
                <a:gd name="T55" fmla="*/ 106 h 284"/>
                <a:gd name="T56" fmla="*/ 3 w 275"/>
                <a:gd name="T57" fmla="*/ 103 h 284"/>
                <a:gd name="T58" fmla="*/ 24 w 275"/>
                <a:gd name="T59" fmla="*/ 122 h 284"/>
                <a:gd name="T60" fmla="*/ 86 w 275"/>
                <a:gd name="T61" fmla="*/ 193 h 284"/>
                <a:gd name="T62" fmla="*/ 75 w 275"/>
                <a:gd name="T63" fmla="*/ 180 h 284"/>
                <a:gd name="T64" fmla="*/ 55 w 275"/>
                <a:gd name="T65" fmla="*/ 164 h 284"/>
                <a:gd name="T66" fmla="*/ 62 w 275"/>
                <a:gd name="T67" fmla="*/ 155 h 284"/>
                <a:gd name="T68" fmla="*/ 69 w 275"/>
                <a:gd name="T69" fmla="*/ 148 h 284"/>
                <a:gd name="T70" fmla="*/ 75 w 275"/>
                <a:gd name="T71" fmla="*/ 138 h 284"/>
                <a:gd name="T72" fmla="*/ 44 w 275"/>
                <a:gd name="T73" fmla="*/ 145 h 284"/>
                <a:gd name="T74" fmla="*/ 62 w 275"/>
                <a:gd name="T75" fmla="*/ 129 h 284"/>
                <a:gd name="T76" fmla="*/ 82 w 275"/>
                <a:gd name="T77" fmla="*/ 116 h 284"/>
                <a:gd name="T78" fmla="*/ 65 w 275"/>
                <a:gd name="T79" fmla="*/ 109 h 284"/>
                <a:gd name="T80" fmla="*/ 58 w 275"/>
                <a:gd name="T81" fmla="*/ 106 h 284"/>
                <a:gd name="T82" fmla="*/ 51 w 275"/>
                <a:gd name="T83" fmla="*/ 126 h 284"/>
                <a:gd name="T84" fmla="*/ 34 w 275"/>
                <a:gd name="T85" fmla="*/ 109 h 284"/>
                <a:gd name="T86" fmla="*/ 10 w 275"/>
                <a:gd name="T87" fmla="*/ 93 h 284"/>
                <a:gd name="T88" fmla="*/ 14 w 275"/>
                <a:gd name="T89" fmla="*/ 87 h 284"/>
                <a:gd name="T90" fmla="*/ 7 w 275"/>
                <a:gd name="T91" fmla="*/ 84 h 284"/>
                <a:gd name="T92" fmla="*/ 14 w 275"/>
                <a:gd name="T93" fmla="*/ 58 h 284"/>
                <a:gd name="T94" fmla="*/ 38 w 275"/>
                <a:gd name="T95" fmla="*/ 51 h 284"/>
                <a:gd name="T96" fmla="*/ 34 w 275"/>
                <a:gd name="T97" fmla="*/ 61 h 284"/>
                <a:gd name="T98" fmla="*/ 44 w 275"/>
                <a:gd name="T99" fmla="*/ 80 h 284"/>
                <a:gd name="T100" fmla="*/ 62 w 275"/>
                <a:gd name="T101" fmla="*/ 74 h 284"/>
                <a:gd name="T102" fmla="*/ 69 w 275"/>
                <a:gd name="T103" fmla="*/ 87 h 284"/>
                <a:gd name="T104" fmla="*/ 69 w 275"/>
                <a:gd name="T105" fmla="*/ 38 h 284"/>
                <a:gd name="T106" fmla="*/ 86 w 275"/>
                <a:gd name="T107" fmla="*/ 71 h 284"/>
                <a:gd name="T108" fmla="*/ 110 w 275"/>
                <a:gd name="T109" fmla="*/ 77 h 284"/>
                <a:gd name="T110" fmla="*/ 130 w 275"/>
                <a:gd name="T111" fmla="*/ 100 h 284"/>
                <a:gd name="T112" fmla="*/ 117 w 275"/>
                <a:gd name="T113" fmla="*/ 132 h 284"/>
                <a:gd name="T114" fmla="*/ 103 w 275"/>
                <a:gd name="T115" fmla="*/ 158 h 284"/>
                <a:gd name="T116" fmla="*/ 96 w 275"/>
                <a:gd name="T117" fmla="*/ 20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5" h="284">
                  <a:moveTo>
                    <a:pt x="254" y="22"/>
                  </a:moveTo>
                  <a:lnTo>
                    <a:pt x="254" y="22"/>
                  </a:lnTo>
                  <a:lnTo>
                    <a:pt x="258" y="22"/>
                  </a:lnTo>
                  <a:lnTo>
                    <a:pt x="261" y="22"/>
                  </a:lnTo>
                  <a:lnTo>
                    <a:pt x="265" y="19"/>
                  </a:lnTo>
                  <a:lnTo>
                    <a:pt x="268" y="16"/>
                  </a:lnTo>
                  <a:lnTo>
                    <a:pt x="272" y="13"/>
                  </a:lnTo>
                  <a:lnTo>
                    <a:pt x="275" y="13"/>
                  </a:lnTo>
                  <a:lnTo>
                    <a:pt x="275" y="16"/>
                  </a:lnTo>
                  <a:lnTo>
                    <a:pt x="275" y="16"/>
                  </a:lnTo>
                  <a:lnTo>
                    <a:pt x="268" y="19"/>
                  </a:lnTo>
                  <a:lnTo>
                    <a:pt x="268" y="22"/>
                  </a:lnTo>
                  <a:lnTo>
                    <a:pt x="261" y="25"/>
                  </a:lnTo>
                  <a:lnTo>
                    <a:pt x="258" y="25"/>
                  </a:lnTo>
                  <a:lnTo>
                    <a:pt x="254" y="25"/>
                  </a:lnTo>
                  <a:lnTo>
                    <a:pt x="254" y="22"/>
                  </a:lnTo>
                  <a:lnTo>
                    <a:pt x="254" y="22"/>
                  </a:lnTo>
                  <a:close/>
                  <a:moveTo>
                    <a:pt x="206" y="25"/>
                  </a:moveTo>
                  <a:lnTo>
                    <a:pt x="206" y="29"/>
                  </a:lnTo>
                  <a:lnTo>
                    <a:pt x="210" y="29"/>
                  </a:lnTo>
                  <a:lnTo>
                    <a:pt x="213" y="29"/>
                  </a:lnTo>
                  <a:lnTo>
                    <a:pt x="210" y="25"/>
                  </a:lnTo>
                  <a:lnTo>
                    <a:pt x="210" y="25"/>
                  </a:lnTo>
                  <a:lnTo>
                    <a:pt x="206" y="25"/>
                  </a:lnTo>
                  <a:lnTo>
                    <a:pt x="206" y="25"/>
                  </a:lnTo>
                  <a:lnTo>
                    <a:pt x="206" y="25"/>
                  </a:lnTo>
                  <a:close/>
                  <a:moveTo>
                    <a:pt x="113" y="3"/>
                  </a:moveTo>
                  <a:lnTo>
                    <a:pt x="120" y="6"/>
                  </a:lnTo>
                  <a:lnTo>
                    <a:pt x="124" y="6"/>
                  </a:lnTo>
                  <a:lnTo>
                    <a:pt x="124" y="6"/>
                  </a:lnTo>
                  <a:lnTo>
                    <a:pt x="127" y="3"/>
                  </a:lnTo>
                  <a:lnTo>
                    <a:pt x="124" y="3"/>
                  </a:lnTo>
                  <a:lnTo>
                    <a:pt x="120" y="3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3" y="3"/>
                  </a:lnTo>
                  <a:lnTo>
                    <a:pt x="113" y="3"/>
                  </a:lnTo>
                  <a:close/>
                  <a:moveTo>
                    <a:pt x="96" y="29"/>
                  </a:moveTo>
                  <a:lnTo>
                    <a:pt x="93" y="29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2"/>
                  </a:lnTo>
                  <a:lnTo>
                    <a:pt x="96" y="22"/>
                  </a:lnTo>
                  <a:lnTo>
                    <a:pt x="100" y="25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close/>
                  <a:moveTo>
                    <a:pt x="113" y="55"/>
                  </a:moveTo>
                  <a:lnTo>
                    <a:pt x="113" y="55"/>
                  </a:lnTo>
                  <a:lnTo>
                    <a:pt x="113" y="55"/>
                  </a:lnTo>
                  <a:lnTo>
                    <a:pt x="117" y="51"/>
                  </a:lnTo>
                  <a:lnTo>
                    <a:pt x="120" y="51"/>
                  </a:lnTo>
                  <a:lnTo>
                    <a:pt x="127" y="51"/>
                  </a:lnTo>
                  <a:lnTo>
                    <a:pt x="134" y="51"/>
                  </a:lnTo>
                  <a:lnTo>
                    <a:pt x="137" y="48"/>
                  </a:lnTo>
                  <a:lnTo>
                    <a:pt x="137" y="48"/>
                  </a:lnTo>
                  <a:lnTo>
                    <a:pt x="141" y="51"/>
                  </a:lnTo>
                  <a:lnTo>
                    <a:pt x="141" y="51"/>
                  </a:lnTo>
                  <a:lnTo>
                    <a:pt x="137" y="51"/>
                  </a:lnTo>
                  <a:lnTo>
                    <a:pt x="137" y="55"/>
                  </a:lnTo>
                  <a:lnTo>
                    <a:pt x="134" y="55"/>
                  </a:lnTo>
                  <a:lnTo>
                    <a:pt x="130" y="55"/>
                  </a:lnTo>
                  <a:lnTo>
                    <a:pt x="127" y="55"/>
                  </a:lnTo>
                  <a:lnTo>
                    <a:pt x="124" y="55"/>
                  </a:lnTo>
                  <a:lnTo>
                    <a:pt x="124" y="55"/>
                  </a:lnTo>
                  <a:lnTo>
                    <a:pt x="124" y="55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61"/>
                  </a:lnTo>
                  <a:lnTo>
                    <a:pt x="130" y="61"/>
                  </a:lnTo>
                  <a:lnTo>
                    <a:pt x="127" y="58"/>
                  </a:lnTo>
                  <a:lnTo>
                    <a:pt x="124" y="61"/>
                  </a:lnTo>
                  <a:lnTo>
                    <a:pt x="124" y="61"/>
                  </a:lnTo>
                  <a:lnTo>
                    <a:pt x="120" y="58"/>
                  </a:lnTo>
                  <a:lnTo>
                    <a:pt x="113" y="58"/>
                  </a:lnTo>
                  <a:lnTo>
                    <a:pt x="110" y="58"/>
                  </a:lnTo>
                  <a:lnTo>
                    <a:pt x="110" y="61"/>
                  </a:lnTo>
                  <a:lnTo>
                    <a:pt x="113" y="61"/>
                  </a:lnTo>
                  <a:lnTo>
                    <a:pt x="120" y="67"/>
                  </a:lnTo>
                  <a:lnTo>
                    <a:pt x="124" y="67"/>
                  </a:lnTo>
                  <a:lnTo>
                    <a:pt x="124" y="64"/>
                  </a:lnTo>
                  <a:lnTo>
                    <a:pt x="127" y="67"/>
                  </a:lnTo>
                  <a:lnTo>
                    <a:pt x="127" y="71"/>
                  </a:lnTo>
                  <a:lnTo>
                    <a:pt x="127" y="71"/>
                  </a:lnTo>
                  <a:lnTo>
                    <a:pt x="130" y="74"/>
                  </a:lnTo>
                  <a:lnTo>
                    <a:pt x="134" y="71"/>
                  </a:lnTo>
                  <a:lnTo>
                    <a:pt x="141" y="71"/>
                  </a:lnTo>
                  <a:lnTo>
                    <a:pt x="144" y="71"/>
                  </a:lnTo>
                  <a:lnTo>
                    <a:pt x="148" y="71"/>
                  </a:lnTo>
                  <a:lnTo>
                    <a:pt x="155" y="67"/>
                  </a:lnTo>
                  <a:lnTo>
                    <a:pt x="155" y="71"/>
                  </a:lnTo>
                  <a:lnTo>
                    <a:pt x="155" y="74"/>
                  </a:lnTo>
                  <a:lnTo>
                    <a:pt x="155" y="77"/>
                  </a:lnTo>
                  <a:lnTo>
                    <a:pt x="158" y="77"/>
                  </a:lnTo>
                  <a:lnTo>
                    <a:pt x="165" y="80"/>
                  </a:lnTo>
                  <a:lnTo>
                    <a:pt x="168" y="77"/>
                  </a:lnTo>
                  <a:lnTo>
                    <a:pt x="172" y="77"/>
                  </a:lnTo>
                  <a:lnTo>
                    <a:pt x="168" y="74"/>
                  </a:lnTo>
                  <a:lnTo>
                    <a:pt x="168" y="74"/>
                  </a:lnTo>
                  <a:lnTo>
                    <a:pt x="172" y="71"/>
                  </a:lnTo>
                  <a:lnTo>
                    <a:pt x="175" y="67"/>
                  </a:lnTo>
                  <a:lnTo>
                    <a:pt x="175" y="67"/>
                  </a:lnTo>
                  <a:lnTo>
                    <a:pt x="179" y="67"/>
                  </a:lnTo>
                  <a:lnTo>
                    <a:pt x="182" y="71"/>
                  </a:lnTo>
                  <a:lnTo>
                    <a:pt x="186" y="71"/>
                  </a:lnTo>
                  <a:lnTo>
                    <a:pt x="189" y="67"/>
                  </a:lnTo>
                  <a:lnTo>
                    <a:pt x="192" y="67"/>
                  </a:lnTo>
                  <a:lnTo>
                    <a:pt x="189" y="61"/>
                  </a:lnTo>
                  <a:lnTo>
                    <a:pt x="189" y="61"/>
                  </a:lnTo>
                  <a:lnTo>
                    <a:pt x="192" y="58"/>
                  </a:lnTo>
                  <a:lnTo>
                    <a:pt x="192" y="55"/>
                  </a:lnTo>
                  <a:lnTo>
                    <a:pt x="196" y="51"/>
                  </a:lnTo>
                  <a:lnTo>
                    <a:pt x="199" y="48"/>
                  </a:lnTo>
                  <a:lnTo>
                    <a:pt x="203" y="45"/>
                  </a:lnTo>
                  <a:lnTo>
                    <a:pt x="206" y="42"/>
                  </a:lnTo>
                  <a:lnTo>
                    <a:pt x="203" y="38"/>
                  </a:lnTo>
                  <a:lnTo>
                    <a:pt x="203" y="35"/>
                  </a:lnTo>
                  <a:lnTo>
                    <a:pt x="203" y="35"/>
                  </a:lnTo>
                  <a:lnTo>
                    <a:pt x="203" y="32"/>
                  </a:lnTo>
                  <a:lnTo>
                    <a:pt x="203" y="29"/>
                  </a:lnTo>
                  <a:lnTo>
                    <a:pt x="203" y="29"/>
                  </a:lnTo>
                  <a:lnTo>
                    <a:pt x="196" y="29"/>
                  </a:lnTo>
                  <a:lnTo>
                    <a:pt x="196" y="25"/>
                  </a:lnTo>
                  <a:lnTo>
                    <a:pt x="192" y="25"/>
                  </a:lnTo>
                  <a:lnTo>
                    <a:pt x="186" y="25"/>
                  </a:lnTo>
                  <a:lnTo>
                    <a:pt x="182" y="25"/>
                  </a:lnTo>
                  <a:lnTo>
                    <a:pt x="179" y="25"/>
                  </a:lnTo>
                  <a:lnTo>
                    <a:pt x="175" y="25"/>
                  </a:lnTo>
                  <a:lnTo>
                    <a:pt x="172" y="22"/>
                  </a:lnTo>
                  <a:lnTo>
                    <a:pt x="172" y="22"/>
                  </a:lnTo>
                  <a:lnTo>
                    <a:pt x="172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19"/>
                  </a:lnTo>
                  <a:lnTo>
                    <a:pt x="168" y="19"/>
                  </a:lnTo>
                  <a:lnTo>
                    <a:pt x="165" y="19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1" y="19"/>
                  </a:lnTo>
                  <a:lnTo>
                    <a:pt x="161" y="19"/>
                  </a:lnTo>
                  <a:lnTo>
                    <a:pt x="161" y="19"/>
                  </a:lnTo>
                  <a:lnTo>
                    <a:pt x="161" y="22"/>
                  </a:lnTo>
                  <a:lnTo>
                    <a:pt x="161" y="22"/>
                  </a:lnTo>
                  <a:lnTo>
                    <a:pt x="158" y="25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5" y="29"/>
                  </a:lnTo>
                  <a:lnTo>
                    <a:pt x="155" y="25"/>
                  </a:lnTo>
                  <a:lnTo>
                    <a:pt x="151" y="25"/>
                  </a:lnTo>
                  <a:lnTo>
                    <a:pt x="151" y="29"/>
                  </a:lnTo>
                  <a:lnTo>
                    <a:pt x="151" y="32"/>
                  </a:lnTo>
                  <a:lnTo>
                    <a:pt x="151" y="29"/>
                  </a:lnTo>
                  <a:lnTo>
                    <a:pt x="151" y="25"/>
                  </a:lnTo>
                  <a:lnTo>
                    <a:pt x="151" y="22"/>
                  </a:lnTo>
                  <a:lnTo>
                    <a:pt x="151" y="19"/>
                  </a:lnTo>
                  <a:lnTo>
                    <a:pt x="151" y="16"/>
                  </a:lnTo>
                  <a:lnTo>
                    <a:pt x="148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6"/>
                  </a:lnTo>
                  <a:lnTo>
                    <a:pt x="144" y="19"/>
                  </a:lnTo>
                  <a:lnTo>
                    <a:pt x="144" y="16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1" y="19"/>
                  </a:lnTo>
                  <a:lnTo>
                    <a:pt x="144" y="22"/>
                  </a:lnTo>
                  <a:lnTo>
                    <a:pt x="144" y="25"/>
                  </a:lnTo>
                  <a:lnTo>
                    <a:pt x="141" y="29"/>
                  </a:lnTo>
                  <a:lnTo>
                    <a:pt x="141" y="32"/>
                  </a:lnTo>
                  <a:lnTo>
                    <a:pt x="144" y="35"/>
                  </a:lnTo>
                  <a:lnTo>
                    <a:pt x="144" y="38"/>
                  </a:lnTo>
                  <a:lnTo>
                    <a:pt x="141" y="38"/>
                  </a:lnTo>
                  <a:lnTo>
                    <a:pt x="141" y="35"/>
                  </a:lnTo>
                  <a:lnTo>
                    <a:pt x="137" y="35"/>
                  </a:lnTo>
                  <a:lnTo>
                    <a:pt x="134" y="32"/>
                  </a:lnTo>
                  <a:lnTo>
                    <a:pt x="134" y="29"/>
                  </a:lnTo>
                  <a:lnTo>
                    <a:pt x="134" y="29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0" y="25"/>
                  </a:lnTo>
                  <a:lnTo>
                    <a:pt x="127" y="25"/>
                  </a:lnTo>
                  <a:lnTo>
                    <a:pt x="127" y="29"/>
                  </a:lnTo>
                  <a:lnTo>
                    <a:pt x="124" y="29"/>
                  </a:lnTo>
                  <a:lnTo>
                    <a:pt x="120" y="29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17" y="25"/>
                  </a:lnTo>
                  <a:lnTo>
                    <a:pt x="117" y="22"/>
                  </a:lnTo>
                  <a:lnTo>
                    <a:pt x="113" y="19"/>
                  </a:lnTo>
                  <a:lnTo>
                    <a:pt x="113" y="19"/>
                  </a:lnTo>
                  <a:lnTo>
                    <a:pt x="110" y="19"/>
                  </a:lnTo>
                  <a:lnTo>
                    <a:pt x="110" y="19"/>
                  </a:lnTo>
                  <a:lnTo>
                    <a:pt x="110" y="16"/>
                  </a:lnTo>
                  <a:lnTo>
                    <a:pt x="106" y="13"/>
                  </a:lnTo>
                  <a:lnTo>
                    <a:pt x="106" y="13"/>
                  </a:lnTo>
                  <a:lnTo>
                    <a:pt x="103" y="13"/>
                  </a:lnTo>
                  <a:lnTo>
                    <a:pt x="103" y="19"/>
                  </a:lnTo>
                  <a:lnTo>
                    <a:pt x="106" y="22"/>
                  </a:lnTo>
                  <a:lnTo>
                    <a:pt x="106" y="25"/>
                  </a:lnTo>
                  <a:lnTo>
                    <a:pt x="106" y="29"/>
                  </a:lnTo>
                  <a:lnTo>
                    <a:pt x="106" y="29"/>
                  </a:lnTo>
                  <a:lnTo>
                    <a:pt x="103" y="29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103" y="35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3" y="32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9" y="35"/>
                  </a:lnTo>
                  <a:lnTo>
                    <a:pt x="93" y="35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42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6" y="51"/>
                  </a:lnTo>
                  <a:lnTo>
                    <a:pt x="100" y="51"/>
                  </a:lnTo>
                  <a:lnTo>
                    <a:pt x="103" y="55"/>
                  </a:lnTo>
                  <a:lnTo>
                    <a:pt x="106" y="55"/>
                  </a:lnTo>
                  <a:lnTo>
                    <a:pt x="110" y="55"/>
                  </a:lnTo>
                  <a:lnTo>
                    <a:pt x="113" y="55"/>
                  </a:lnTo>
                  <a:lnTo>
                    <a:pt x="113" y="55"/>
                  </a:lnTo>
                  <a:close/>
                  <a:moveTo>
                    <a:pt x="223" y="90"/>
                  </a:moveTo>
                  <a:lnTo>
                    <a:pt x="223" y="87"/>
                  </a:lnTo>
                  <a:lnTo>
                    <a:pt x="227" y="84"/>
                  </a:lnTo>
                  <a:lnTo>
                    <a:pt x="230" y="84"/>
                  </a:lnTo>
                  <a:lnTo>
                    <a:pt x="234" y="84"/>
                  </a:lnTo>
                  <a:lnTo>
                    <a:pt x="234" y="84"/>
                  </a:lnTo>
                  <a:lnTo>
                    <a:pt x="241" y="87"/>
                  </a:lnTo>
                  <a:lnTo>
                    <a:pt x="241" y="87"/>
                  </a:lnTo>
                  <a:lnTo>
                    <a:pt x="241" y="87"/>
                  </a:lnTo>
                  <a:lnTo>
                    <a:pt x="237" y="90"/>
                  </a:lnTo>
                  <a:lnTo>
                    <a:pt x="234" y="87"/>
                  </a:lnTo>
                  <a:lnTo>
                    <a:pt x="230" y="87"/>
                  </a:lnTo>
                  <a:lnTo>
                    <a:pt x="227" y="87"/>
                  </a:lnTo>
                  <a:lnTo>
                    <a:pt x="227" y="87"/>
                  </a:lnTo>
                  <a:lnTo>
                    <a:pt x="223" y="90"/>
                  </a:lnTo>
                  <a:lnTo>
                    <a:pt x="223" y="90"/>
                  </a:lnTo>
                  <a:lnTo>
                    <a:pt x="223" y="90"/>
                  </a:lnTo>
                  <a:close/>
                  <a:moveTo>
                    <a:pt x="206" y="103"/>
                  </a:moveTo>
                  <a:lnTo>
                    <a:pt x="206" y="100"/>
                  </a:lnTo>
                  <a:lnTo>
                    <a:pt x="206" y="96"/>
                  </a:lnTo>
                  <a:lnTo>
                    <a:pt x="206" y="93"/>
                  </a:lnTo>
                  <a:lnTo>
                    <a:pt x="206" y="93"/>
                  </a:lnTo>
                  <a:lnTo>
                    <a:pt x="206" y="93"/>
                  </a:lnTo>
                  <a:lnTo>
                    <a:pt x="210" y="93"/>
                  </a:lnTo>
                  <a:lnTo>
                    <a:pt x="210" y="96"/>
                  </a:lnTo>
                  <a:lnTo>
                    <a:pt x="213" y="96"/>
                  </a:lnTo>
                  <a:lnTo>
                    <a:pt x="213" y="100"/>
                  </a:lnTo>
                  <a:lnTo>
                    <a:pt x="210" y="103"/>
                  </a:lnTo>
                  <a:lnTo>
                    <a:pt x="206" y="103"/>
                  </a:lnTo>
                  <a:lnTo>
                    <a:pt x="206" y="103"/>
                  </a:lnTo>
                  <a:close/>
                  <a:moveTo>
                    <a:pt x="137" y="129"/>
                  </a:moveTo>
                  <a:lnTo>
                    <a:pt x="141" y="126"/>
                  </a:lnTo>
                  <a:lnTo>
                    <a:pt x="144" y="122"/>
                  </a:lnTo>
                  <a:lnTo>
                    <a:pt x="151" y="122"/>
                  </a:lnTo>
                  <a:lnTo>
                    <a:pt x="155" y="122"/>
                  </a:lnTo>
                  <a:lnTo>
                    <a:pt x="161" y="119"/>
                  </a:lnTo>
                  <a:lnTo>
                    <a:pt x="165" y="116"/>
                  </a:lnTo>
                  <a:lnTo>
                    <a:pt x="168" y="119"/>
                  </a:lnTo>
                  <a:lnTo>
                    <a:pt x="168" y="122"/>
                  </a:lnTo>
                  <a:lnTo>
                    <a:pt x="168" y="126"/>
                  </a:lnTo>
                  <a:lnTo>
                    <a:pt x="168" y="126"/>
                  </a:lnTo>
                  <a:lnTo>
                    <a:pt x="165" y="126"/>
                  </a:lnTo>
                  <a:lnTo>
                    <a:pt x="165" y="132"/>
                  </a:lnTo>
                  <a:lnTo>
                    <a:pt x="172" y="135"/>
                  </a:lnTo>
                  <a:lnTo>
                    <a:pt x="175" y="138"/>
                  </a:lnTo>
                  <a:lnTo>
                    <a:pt x="179" y="135"/>
                  </a:lnTo>
                  <a:lnTo>
                    <a:pt x="182" y="132"/>
                  </a:lnTo>
                  <a:lnTo>
                    <a:pt x="186" y="135"/>
                  </a:lnTo>
                  <a:lnTo>
                    <a:pt x="186" y="135"/>
                  </a:lnTo>
                  <a:lnTo>
                    <a:pt x="192" y="138"/>
                  </a:lnTo>
                  <a:lnTo>
                    <a:pt x="189" y="138"/>
                  </a:lnTo>
                  <a:lnTo>
                    <a:pt x="186" y="142"/>
                  </a:lnTo>
                  <a:lnTo>
                    <a:pt x="182" y="145"/>
                  </a:lnTo>
                  <a:lnTo>
                    <a:pt x="182" y="148"/>
                  </a:lnTo>
                  <a:lnTo>
                    <a:pt x="179" y="155"/>
                  </a:lnTo>
                  <a:lnTo>
                    <a:pt x="175" y="155"/>
                  </a:lnTo>
                  <a:lnTo>
                    <a:pt x="172" y="158"/>
                  </a:lnTo>
                  <a:lnTo>
                    <a:pt x="172" y="161"/>
                  </a:lnTo>
                  <a:lnTo>
                    <a:pt x="172" y="161"/>
                  </a:lnTo>
                  <a:lnTo>
                    <a:pt x="168" y="164"/>
                  </a:lnTo>
                  <a:lnTo>
                    <a:pt x="165" y="164"/>
                  </a:lnTo>
                  <a:lnTo>
                    <a:pt x="165" y="161"/>
                  </a:lnTo>
                  <a:lnTo>
                    <a:pt x="165" y="158"/>
                  </a:lnTo>
                  <a:lnTo>
                    <a:pt x="165" y="155"/>
                  </a:lnTo>
                  <a:lnTo>
                    <a:pt x="168" y="151"/>
                  </a:lnTo>
                  <a:lnTo>
                    <a:pt x="168" y="148"/>
                  </a:lnTo>
                  <a:lnTo>
                    <a:pt x="165" y="148"/>
                  </a:lnTo>
                  <a:lnTo>
                    <a:pt x="161" y="148"/>
                  </a:lnTo>
                  <a:lnTo>
                    <a:pt x="161" y="148"/>
                  </a:lnTo>
                  <a:lnTo>
                    <a:pt x="158" y="151"/>
                  </a:lnTo>
                  <a:lnTo>
                    <a:pt x="155" y="155"/>
                  </a:lnTo>
                  <a:lnTo>
                    <a:pt x="151" y="155"/>
                  </a:lnTo>
                  <a:lnTo>
                    <a:pt x="148" y="158"/>
                  </a:lnTo>
                  <a:lnTo>
                    <a:pt x="144" y="158"/>
                  </a:lnTo>
                  <a:lnTo>
                    <a:pt x="141" y="158"/>
                  </a:lnTo>
                  <a:lnTo>
                    <a:pt x="141" y="158"/>
                  </a:lnTo>
                  <a:lnTo>
                    <a:pt x="141" y="158"/>
                  </a:lnTo>
                  <a:lnTo>
                    <a:pt x="141" y="155"/>
                  </a:lnTo>
                  <a:lnTo>
                    <a:pt x="141" y="151"/>
                  </a:lnTo>
                  <a:lnTo>
                    <a:pt x="144" y="151"/>
                  </a:lnTo>
                  <a:lnTo>
                    <a:pt x="144" y="145"/>
                  </a:lnTo>
                  <a:lnTo>
                    <a:pt x="148" y="142"/>
                  </a:lnTo>
                  <a:lnTo>
                    <a:pt x="148" y="138"/>
                  </a:lnTo>
                  <a:lnTo>
                    <a:pt x="148" y="135"/>
                  </a:lnTo>
                  <a:lnTo>
                    <a:pt x="148" y="135"/>
                  </a:lnTo>
                  <a:lnTo>
                    <a:pt x="144" y="135"/>
                  </a:lnTo>
                  <a:lnTo>
                    <a:pt x="141" y="132"/>
                  </a:lnTo>
                  <a:lnTo>
                    <a:pt x="137" y="129"/>
                  </a:lnTo>
                  <a:lnTo>
                    <a:pt x="137" y="129"/>
                  </a:lnTo>
                  <a:close/>
                  <a:moveTo>
                    <a:pt x="120" y="84"/>
                  </a:moveTo>
                  <a:lnTo>
                    <a:pt x="120" y="84"/>
                  </a:lnTo>
                  <a:lnTo>
                    <a:pt x="124" y="87"/>
                  </a:lnTo>
                  <a:lnTo>
                    <a:pt x="127" y="87"/>
                  </a:lnTo>
                  <a:lnTo>
                    <a:pt x="130" y="87"/>
                  </a:lnTo>
                  <a:lnTo>
                    <a:pt x="130" y="84"/>
                  </a:lnTo>
                  <a:lnTo>
                    <a:pt x="127" y="80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0" y="84"/>
                  </a:lnTo>
                  <a:lnTo>
                    <a:pt x="120" y="84"/>
                  </a:lnTo>
                  <a:close/>
                  <a:moveTo>
                    <a:pt x="127" y="109"/>
                  </a:moveTo>
                  <a:lnTo>
                    <a:pt x="130" y="113"/>
                  </a:lnTo>
                  <a:lnTo>
                    <a:pt x="134" y="113"/>
                  </a:lnTo>
                  <a:lnTo>
                    <a:pt x="137" y="116"/>
                  </a:lnTo>
                  <a:lnTo>
                    <a:pt x="137" y="116"/>
                  </a:lnTo>
                  <a:lnTo>
                    <a:pt x="137" y="119"/>
                  </a:lnTo>
                  <a:lnTo>
                    <a:pt x="137" y="119"/>
                  </a:lnTo>
                  <a:lnTo>
                    <a:pt x="137" y="122"/>
                  </a:lnTo>
                  <a:lnTo>
                    <a:pt x="141" y="122"/>
                  </a:lnTo>
                  <a:lnTo>
                    <a:pt x="141" y="122"/>
                  </a:lnTo>
                  <a:lnTo>
                    <a:pt x="144" y="122"/>
                  </a:lnTo>
                  <a:lnTo>
                    <a:pt x="148" y="119"/>
                  </a:lnTo>
                  <a:lnTo>
                    <a:pt x="151" y="119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55" y="109"/>
                  </a:lnTo>
                  <a:lnTo>
                    <a:pt x="155" y="109"/>
                  </a:lnTo>
                  <a:lnTo>
                    <a:pt x="158" y="106"/>
                  </a:lnTo>
                  <a:lnTo>
                    <a:pt x="155" y="103"/>
                  </a:lnTo>
                  <a:lnTo>
                    <a:pt x="151" y="103"/>
                  </a:lnTo>
                  <a:lnTo>
                    <a:pt x="151" y="103"/>
                  </a:lnTo>
                  <a:lnTo>
                    <a:pt x="151" y="103"/>
                  </a:lnTo>
                  <a:lnTo>
                    <a:pt x="148" y="103"/>
                  </a:lnTo>
                  <a:lnTo>
                    <a:pt x="141" y="106"/>
                  </a:lnTo>
                  <a:lnTo>
                    <a:pt x="141" y="103"/>
                  </a:lnTo>
                  <a:lnTo>
                    <a:pt x="141" y="103"/>
                  </a:lnTo>
                  <a:lnTo>
                    <a:pt x="137" y="106"/>
                  </a:lnTo>
                  <a:lnTo>
                    <a:pt x="137" y="106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0" y="109"/>
                  </a:lnTo>
                  <a:lnTo>
                    <a:pt x="127" y="109"/>
                  </a:lnTo>
                  <a:lnTo>
                    <a:pt x="127" y="109"/>
                  </a:lnTo>
                  <a:close/>
                  <a:moveTo>
                    <a:pt x="20" y="126"/>
                  </a:moveTo>
                  <a:lnTo>
                    <a:pt x="17" y="122"/>
                  </a:lnTo>
                  <a:lnTo>
                    <a:pt x="17" y="122"/>
                  </a:lnTo>
                  <a:lnTo>
                    <a:pt x="17" y="119"/>
                  </a:lnTo>
                  <a:lnTo>
                    <a:pt x="14" y="116"/>
                  </a:lnTo>
                  <a:lnTo>
                    <a:pt x="10" y="116"/>
                  </a:lnTo>
                  <a:lnTo>
                    <a:pt x="7" y="113"/>
                  </a:lnTo>
                  <a:lnTo>
                    <a:pt x="7" y="106"/>
                  </a:lnTo>
                  <a:lnTo>
                    <a:pt x="7" y="103"/>
                  </a:lnTo>
                  <a:lnTo>
                    <a:pt x="3" y="103"/>
                  </a:lnTo>
                  <a:lnTo>
                    <a:pt x="3" y="100"/>
                  </a:lnTo>
                  <a:lnTo>
                    <a:pt x="3" y="96"/>
                  </a:lnTo>
                  <a:lnTo>
                    <a:pt x="7" y="96"/>
                  </a:lnTo>
                  <a:lnTo>
                    <a:pt x="10" y="100"/>
                  </a:lnTo>
                  <a:lnTo>
                    <a:pt x="10" y="103"/>
                  </a:lnTo>
                  <a:lnTo>
                    <a:pt x="10" y="106"/>
                  </a:lnTo>
                  <a:lnTo>
                    <a:pt x="14" y="109"/>
                  </a:lnTo>
                  <a:lnTo>
                    <a:pt x="14" y="113"/>
                  </a:lnTo>
                  <a:lnTo>
                    <a:pt x="17" y="113"/>
                  </a:lnTo>
                  <a:lnTo>
                    <a:pt x="17" y="113"/>
                  </a:lnTo>
                  <a:lnTo>
                    <a:pt x="17" y="113"/>
                  </a:lnTo>
                  <a:lnTo>
                    <a:pt x="20" y="116"/>
                  </a:lnTo>
                  <a:lnTo>
                    <a:pt x="24" y="122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20" y="126"/>
                  </a:lnTo>
                  <a:close/>
                  <a:moveTo>
                    <a:pt x="93" y="200"/>
                  </a:moveTo>
                  <a:lnTo>
                    <a:pt x="89" y="197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6" y="200"/>
                  </a:lnTo>
                  <a:lnTo>
                    <a:pt x="86" y="197"/>
                  </a:lnTo>
                  <a:lnTo>
                    <a:pt x="86" y="193"/>
                  </a:lnTo>
                  <a:lnTo>
                    <a:pt x="86" y="193"/>
                  </a:lnTo>
                  <a:lnTo>
                    <a:pt x="82" y="190"/>
                  </a:lnTo>
                  <a:lnTo>
                    <a:pt x="75" y="187"/>
                  </a:lnTo>
                  <a:lnTo>
                    <a:pt x="75" y="184"/>
                  </a:lnTo>
                  <a:lnTo>
                    <a:pt x="79" y="184"/>
                  </a:lnTo>
                  <a:lnTo>
                    <a:pt x="82" y="184"/>
                  </a:lnTo>
                  <a:lnTo>
                    <a:pt x="82" y="180"/>
                  </a:lnTo>
                  <a:lnTo>
                    <a:pt x="82" y="180"/>
                  </a:lnTo>
                  <a:lnTo>
                    <a:pt x="82" y="177"/>
                  </a:lnTo>
                  <a:lnTo>
                    <a:pt x="82" y="177"/>
                  </a:lnTo>
                  <a:lnTo>
                    <a:pt x="79" y="177"/>
                  </a:lnTo>
                  <a:lnTo>
                    <a:pt x="79" y="177"/>
                  </a:lnTo>
                  <a:lnTo>
                    <a:pt x="75" y="180"/>
                  </a:lnTo>
                  <a:lnTo>
                    <a:pt x="72" y="180"/>
                  </a:lnTo>
                  <a:lnTo>
                    <a:pt x="69" y="177"/>
                  </a:lnTo>
                  <a:lnTo>
                    <a:pt x="69" y="174"/>
                  </a:lnTo>
                  <a:lnTo>
                    <a:pt x="65" y="174"/>
                  </a:lnTo>
                  <a:lnTo>
                    <a:pt x="65" y="174"/>
                  </a:lnTo>
                  <a:lnTo>
                    <a:pt x="62" y="171"/>
                  </a:lnTo>
                  <a:lnTo>
                    <a:pt x="62" y="171"/>
                  </a:lnTo>
                  <a:lnTo>
                    <a:pt x="58" y="171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55" y="168"/>
                  </a:lnTo>
                  <a:lnTo>
                    <a:pt x="55" y="168"/>
                  </a:lnTo>
                  <a:lnTo>
                    <a:pt x="55" y="164"/>
                  </a:lnTo>
                  <a:lnTo>
                    <a:pt x="51" y="164"/>
                  </a:lnTo>
                  <a:lnTo>
                    <a:pt x="51" y="161"/>
                  </a:lnTo>
                  <a:lnTo>
                    <a:pt x="51" y="161"/>
                  </a:lnTo>
                  <a:lnTo>
                    <a:pt x="51" y="161"/>
                  </a:lnTo>
                  <a:lnTo>
                    <a:pt x="51" y="158"/>
                  </a:lnTo>
                  <a:lnTo>
                    <a:pt x="51" y="158"/>
                  </a:lnTo>
                  <a:lnTo>
                    <a:pt x="51" y="155"/>
                  </a:lnTo>
                  <a:lnTo>
                    <a:pt x="51" y="155"/>
                  </a:lnTo>
                  <a:lnTo>
                    <a:pt x="55" y="151"/>
                  </a:lnTo>
                  <a:lnTo>
                    <a:pt x="55" y="151"/>
                  </a:lnTo>
                  <a:lnTo>
                    <a:pt x="58" y="155"/>
                  </a:lnTo>
                  <a:lnTo>
                    <a:pt x="62" y="155"/>
                  </a:lnTo>
                  <a:lnTo>
                    <a:pt x="62" y="155"/>
                  </a:lnTo>
                  <a:lnTo>
                    <a:pt x="62" y="155"/>
                  </a:lnTo>
                  <a:lnTo>
                    <a:pt x="65" y="155"/>
                  </a:lnTo>
                  <a:lnTo>
                    <a:pt x="69" y="155"/>
                  </a:lnTo>
                  <a:lnTo>
                    <a:pt x="69" y="155"/>
                  </a:lnTo>
                  <a:lnTo>
                    <a:pt x="75" y="155"/>
                  </a:lnTo>
                  <a:lnTo>
                    <a:pt x="75" y="151"/>
                  </a:lnTo>
                  <a:lnTo>
                    <a:pt x="72" y="151"/>
                  </a:lnTo>
                  <a:lnTo>
                    <a:pt x="69" y="151"/>
                  </a:lnTo>
                  <a:lnTo>
                    <a:pt x="65" y="151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5" y="148"/>
                  </a:lnTo>
                  <a:lnTo>
                    <a:pt x="69" y="148"/>
                  </a:lnTo>
                  <a:lnTo>
                    <a:pt x="72" y="145"/>
                  </a:lnTo>
                  <a:lnTo>
                    <a:pt x="75" y="142"/>
                  </a:lnTo>
                  <a:lnTo>
                    <a:pt x="82" y="142"/>
                  </a:lnTo>
                  <a:lnTo>
                    <a:pt x="86" y="142"/>
                  </a:lnTo>
                  <a:lnTo>
                    <a:pt x="86" y="142"/>
                  </a:lnTo>
                  <a:lnTo>
                    <a:pt x="86" y="142"/>
                  </a:lnTo>
                  <a:lnTo>
                    <a:pt x="86" y="142"/>
                  </a:lnTo>
                  <a:lnTo>
                    <a:pt x="89" y="138"/>
                  </a:lnTo>
                  <a:lnTo>
                    <a:pt x="89" y="138"/>
                  </a:lnTo>
                  <a:lnTo>
                    <a:pt x="86" y="135"/>
                  </a:lnTo>
                  <a:lnTo>
                    <a:pt x="86" y="138"/>
                  </a:lnTo>
                  <a:lnTo>
                    <a:pt x="82" y="138"/>
                  </a:lnTo>
                  <a:lnTo>
                    <a:pt x="75" y="138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2" y="145"/>
                  </a:lnTo>
                  <a:lnTo>
                    <a:pt x="58" y="145"/>
                  </a:lnTo>
                  <a:lnTo>
                    <a:pt x="58" y="145"/>
                  </a:lnTo>
                  <a:lnTo>
                    <a:pt x="51" y="145"/>
                  </a:lnTo>
                  <a:lnTo>
                    <a:pt x="51" y="145"/>
                  </a:lnTo>
                  <a:lnTo>
                    <a:pt x="48" y="145"/>
                  </a:lnTo>
                  <a:lnTo>
                    <a:pt x="44" y="145"/>
                  </a:lnTo>
                  <a:lnTo>
                    <a:pt x="44" y="142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1" y="132"/>
                  </a:lnTo>
                  <a:lnTo>
                    <a:pt x="51" y="132"/>
                  </a:lnTo>
                  <a:lnTo>
                    <a:pt x="51" y="135"/>
                  </a:lnTo>
                  <a:lnTo>
                    <a:pt x="55" y="135"/>
                  </a:lnTo>
                  <a:lnTo>
                    <a:pt x="55" y="132"/>
                  </a:lnTo>
                  <a:lnTo>
                    <a:pt x="58" y="129"/>
                  </a:lnTo>
                  <a:lnTo>
                    <a:pt x="58" y="132"/>
                  </a:lnTo>
                  <a:lnTo>
                    <a:pt x="62" y="129"/>
                  </a:lnTo>
                  <a:lnTo>
                    <a:pt x="65" y="126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69" y="119"/>
                  </a:lnTo>
                  <a:lnTo>
                    <a:pt x="75" y="119"/>
                  </a:lnTo>
                  <a:lnTo>
                    <a:pt x="79" y="119"/>
                  </a:lnTo>
                  <a:lnTo>
                    <a:pt x="82" y="116"/>
                  </a:lnTo>
                  <a:lnTo>
                    <a:pt x="86" y="116"/>
                  </a:lnTo>
                  <a:lnTo>
                    <a:pt x="89" y="113"/>
                  </a:lnTo>
                  <a:lnTo>
                    <a:pt x="89" y="113"/>
                  </a:lnTo>
                  <a:lnTo>
                    <a:pt x="86" y="113"/>
                  </a:lnTo>
                  <a:lnTo>
                    <a:pt x="82" y="113"/>
                  </a:lnTo>
                  <a:lnTo>
                    <a:pt x="82" y="116"/>
                  </a:lnTo>
                  <a:lnTo>
                    <a:pt x="79" y="113"/>
                  </a:lnTo>
                  <a:lnTo>
                    <a:pt x="79" y="109"/>
                  </a:lnTo>
                  <a:lnTo>
                    <a:pt x="79" y="106"/>
                  </a:lnTo>
                  <a:lnTo>
                    <a:pt x="79" y="103"/>
                  </a:lnTo>
                  <a:lnTo>
                    <a:pt x="79" y="103"/>
                  </a:lnTo>
                  <a:lnTo>
                    <a:pt x="75" y="103"/>
                  </a:lnTo>
                  <a:lnTo>
                    <a:pt x="75" y="103"/>
                  </a:lnTo>
                  <a:lnTo>
                    <a:pt x="75" y="106"/>
                  </a:lnTo>
                  <a:lnTo>
                    <a:pt x="75" y="109"/>
                  </a:lnTo>
                  <a:lnTo>
                    <a:pt x="69" y="116"/>
                  </a:lnTo>
                  <a:lnTo>
                    <a:pt x="65" y="116"/>
                  </a:lnTo>
                  <a:lnTo>
                    <a:pt x="65" y="116"/>
                  </a:lnTo>
                  <a:lnTo>
                    <a:pt x="65" y="109"/>
                  </a:lnTo>
                  <a:lnTo>
                    <a:pt x="65" y="109"/>
                  </a:lnTo>
                  <a:lnTo>
                    <a:pt x="65" y="106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5" y="100"/>
                  </a:lnTo>
                  <a:lnTo>
                    <a:pt x="62" y="96"/>
                  </a:lnTo>
                  <a:lnTo>
                    <a:pt x="62" y="96"/>
                  </a:lnTo>
                  <a:lnTo>
                    <a:pt x="62" y="100"/>
                  </a:lnTo>
                  <a:lnTo>
                    <a:pt x="62" y="103"/>
                  </a:lnTo>
                  <a:lnTo>
                    <a:pt x="62" y="106"/>
                  </a:lnTo>
                  <a:lnTo>
                    <a:pt x="58" y="109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5" y="103"/>
                  </a:lnTo>
                  <a:lnTo>
                    <a:pt x="55" y="103"/>
                  </a:lnTo>
                  <a:lnTo>
                    <a:pt x="55" y="103"/>
                  </a:lnTo>
                  <a:lnTo>
                    <a:pt x="51" y="106"/>
                  </a:lnTo>
                  <a:lnTo>
                    <a:pt x="55" y="106"/>
                  </a:lnTo>
                  <a:lnTo>
                    <a:pt x="55" y="109"/>
                  </a:lnTo>
                  <a:lnTo>
                    <a:pt x="55" y="113"/>
                  </a:lnTo>
                  <a:lnTo>
                    <a:pt x="58" y="116"/>
                  </a:lnTo>
                  <a:lnTo>
                    <a:pt x="58" y="119"/>
                  </a:lnTo>
                  <a:lnTo>
                    <a:pt x="55" y="119"/>
                  </a:lnTo>
                  <a:lnTo>
                    <a:pt x="51" y="119"/>
                  </a:lnTo>
                  <a:lnTo>
                    <a:pt x="51" y="122"/>
                  </a:lnTo>
                  <a:lnTo>
                    <a:pt x="51" y="126"/>
                  </a:lnTo>
                  <a:lnTo>
                    <a:pt x="48" y="126"/>
                  </a:lnTo>
                  <a:lnTo>
                    <a:pt x="41" y="129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2"/>
                  </a:lnTo>
                  <a:lnTo>
                    <a:pt x="34" y="119"/>
                  </a:lnTo>
                  <a:lnTo>
                    <a:pt x="31" y="116"/>
                  </a:lnTo>
                  <a:lnTo>
                    <a:pt x="27" y="119"/>
                  </a:lnTo>
                  <a:lnTo>
                    <a:pt x="27" y="116"/>
                  </a:lnTo>
                  <a:lnTo>
                    <a:pt x="27" y="113"/>
                  </a:lnTo>
                  <a:lnTo>
                    <a:pt x="31" y="113"/>
                  </a:lnTo>
                  <a:lnTo>
                    <a:pt x="34" y="109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27" y="109"/>
                  </a:lnTo>
                  <a:lnTo>
                    <a:pt x="24" y="109"/>
                  </a:lnTo>
                  <a:lnTo>
                    <a:pt x="24" y="106"/>
                  </a:lnTo>
                  <a:lnTo>
                    <a:pt x="20" y="106"/>
                  </a:lnTo>
                  <a:lnTo>
                    <a:pt x="17" y="103"/>
                  </a:lnTo>
                  <a:lnTo>
                    <a:pt x="17" y="103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7" y="96"/>
                  </a:lnTo>
                  <a:lnTo>
                    <a:pt x="14" y="96"/>
                  </a:lnTo>
                  <a:lnTo>
                    <a:pt x="10" y="93"/>
                  </a:lnTo>
                  <a:lnTo>
                    <a:pt x="10" y="90"/>
                  </a:lnTo>
                  <a:lnTo>
                    <a:pt x="14" y="90"/>
                  </a:lnTo>
                  <a:lnTo>
                    <a:pt x="17" y="93"/>
                  </a:lnTo>
                  <a:lnTo>
                    <a:pt x="17" y="96"/>
                  </a:lnTo>
                  <a:lnTo>
                    <a:pt x="17" y="96"/>
                  </a:lnTo>
                  <a:lnTo>
                    <a:pt x="20" y="96"/>
                  </a:lnTo>
                  <a:lnTo>
                    <a:pt x="24" y="93"/>
                  </a:lnTo>
                  <a:lnTo>
                    <a:pt x="24" y="93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4" y="87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7" y="80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10" y="77"/>
                  </a:lnTo>
                  <a:lnTo>
                    <a:pt x="10" y="80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7" y="87"/>
                  </a:lnTo>
                  <a:lnTo>
                    <a:pt x="7" y="84"/>
                  </a:lnTo>
                  <a:lnTo>
                    <a:pt x="3" y="77"/>
                  </a:lnTo>
                  <a:lnTo>
                    <a:pt x="3" y="74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3" y="67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58"/>
                  </a:lnTo>
                  <a:lnTo>
                    <a:pt x="10" y="55"/>
                  </a:lnTo>
                  <a:lnTo>
                    <a:pt x="14" y="55"/>
                  </a:lnTo>
                  <a:lnTo>
                    <a:pt x="14" y="58"/>
                  </a:lnTo>
                  <a:lnTo>
                    <a:pt x="17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17" y="55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20" y="51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4" y="55"/>
                  </a:lnTo>
                  <a:lnTo>
                    <a:pt x="31" y="48"/>
                  </a:lnTo>
                  <a:lnTo>
                    <a:pt x="38" y="48"/>
                  </a:lnTo>
                  <a:lnTo>
                    <a:pt x="38" y="51"/>
                  </a:lnTo>
                  <a:lnTo>
                    <a:pt x="41" y="55"/>
                  </a:lnTo>
                  <a:lnTo>
                    <a:pt x="41" y="58"/>
                  </a:lnTo>
                  <a:lnTo>
                    <a:pt x="38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1" y="58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4" y="64"/>
                  </a:lnTo>
                  <a:lnTo>
                    <a:pt x="27" y="64"/>
                  </a:lnTo>
                  <a:lnTo>
                    <a:pt x="31" y="64"/>
                  </a:lnTo>
                  <a:lnTo>
                    <a:pt x="34" y="61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8" y="67"/>
                  </a:lnTo>
                  <a:lnTo>
                    <a:pt x="38" y="67"/>
                  </a:lnTo>
                  <a:lnTo>
                    <a:pt x="38" y="71"/>
                  </a:lnTo>
                  <a:lnTo>
                    <a:pt x="41" y="71"/>
                  </a:lnTo>
                  <a:lnTo>
                    <a:pt x="41" y="74"/>
                  </a:lnTo>
                  <a:lnTo>
                    <a:pt x="41" y="77"/>
                  </a:lnTo>
                  <a:lnTo>
                    <a:pt x="44" y="77"/>
                  </a:lnTo>
                  <a:lnTo>
                    <a:pt x="44" y="80"/>
                  </a:lnTo>
                  <a:lnTo>
                    <a:pt x="44" y="74"/>
                  </a:lnTo>
                  <a:lnTo>
                    <a:pt x="41" y="71"/>
                  </a:lnTo>
                  <a:lnTo>
                    <a:pt x="41" y="67"/>
                  </a:lnTo>
                  <a:lnTo>
                    <a:pt x="41" y="64"/>
                  </a:lnTo>
                  <a:lnTo>
                    <a:pt x="44" y="58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51" y="55"/>
                  </a:lnTo>
                  <a:lnTo>
                    <a:pt x="55" y="58"/>
                  </a:lnTo>
                  <a:lnTo>
                    <a:pt x="58" y="61"/>
                  </a:lnTo>
                  <a:lnTo>
                    <a:pt x="58" y="61"/>
                  </a:lnTo>
                  <a:lnTo>
                    <a:pt x="58" y="67"/>
                  </a:lnTo>
                  <a:lnTo>
                    <a:pt x="62" y="74"/>
                  </a:lnTo>
                  <a:lnTo>
                    <a:pt x="62" y="77"/>
                  </a:lnTo>
                  <a:lnTo>
                    <a:pt x="62" y="80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62" y="84"/>
                  </a:lnTo>
                  <a:lnTo>
                    <a:pt x="65" y="84"/>
                  </a:lnTo>
                  <a:lnTo>
                    <a:pt x="65" y="87"/>
                  </a:lnTo>
                  <a:lnTo>
                    <a:pt x="69" y="90"/>
                  </a:lnTo>
                  <a:lnTo>
                    <a:pt x="72" y="93"/>
                  </a:lnTo>
                  <a:lnTo>
                    <a:pt x="72" y="93"/>
                  </a:lnTo>
                  <a:lnTo>
                    <a:pt x="75" y="90"/>
                  </a:lnTo>
                  <a:lnTo>
                    <a:pt x="69" y="87"/>
                  </a:lnTo>
                  <a:lnTo>
                    <a:pt x="69" y="84"/>
                  </a:lnTo>
                  <a:lnTo>
                    <a:pt x="65" y="77"/>
                  </a:lnTo>
                  <a:lnTo>
                    <a:pt x="65" y="74"/>
                  </a:lnTo>
                  <a:lnTo>
                    <a:pt x="65" y="71"/>
                  </a:lnTo>
                  <a:lnTo>
                    <a:pt x="65" y="61"/>
                  </a:lnTo>
                  <a:lnTo>
                    <a:pt x="65" y="58"/>
                  </a:lnTo>
                  <a:lnTo>
                    <a:pt x="62" y="58"/>
                  </a:lnTo>
                  <a:lnTo>
                    <a:pt x="62" y="55"/>
                  </a:lnTo>
                  <a:lnTo>
                    <a:pt x="62" y="51"/>
                  </a:lnTo>
                  <a:lnTo>
                    <a:pt x="65" y="48"/>
                  </a:lnTo>
                  <a:lnTo>
                    <a:pt x="65" y="45"/>
                  </a:lnTo>
                  <a:lnTo>
                    <a:pt x="65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72" y="45"/>
                  </a:lnTo>
                  <a:lnTo>
                    <a:pt x="75" y="48"/>
                  </a:lnTo>
                  <a:lnTo>
                    <a:pt x="75" y="48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82" y="45"/>
                  </a:lnTo>
                  <a:lnTo>
                    <a:pt x="86" y="51"/>
                  </a:lnTo>
                  <a:lnTo>
                    <a:pt x="89" y="55"/>
                  </a:lnTo>
                  <a:lnTo>
                    <a:pt x="89" y="58"/>
                  </a:lnTo>
                  <a:lnTo>
                    <a:pt x="89" y="61"/>
                  </a:lnTo>
                  <a:lnTo>
                    <a:pt x="86" y="67"/>
                  </a:lnTo>
                  <a:lnTo>
                    <a:pt x="86" y="71"/>
                  </a:lnTo>
                  <a:lnTo>
                    <a:pt x="86" y="74"/>
                  </a:lnTo>
                  <a:lnTo>
                    <a:pt x="89" y="74"/>
                  </a:lnTo>
                  <a:lnTo>
                    <a:pt x="89" y="71"/>
                  </a:lnTo>
                  <a:lnTo>
                    <a:pt x="89" y="67"/>
                  </a:lnTo>
                  <a:lnTo>
                    <a:pt x="89" y="61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100" y="61"/>
                  </a:lnTo>
                  <a:lnTo>
                    <a:pt x="103" y="67"/>
                  </a:lnTo>
                  <a:lnTo>
                    <a:pt x="103" y="74"/>
                  </a:lnTo>
                  <a:lnTo>
                    <a:pt x="103" y="77"/>
                  </a:lnTo>
                  <a:lnTo>
                    <a:pt x="106" y="77"/>
                  </a:lnTo>
                  <a:lnTo>
                    <a:pt x="110" y="77"/>
                  </a:lnTo>
                  <a:lnTo>
                    <a:pt x="113" y="80"/>
                  </a:lnTo>
                  <a:lnTo>
                    <a:pt x="117" y="84"/>
                  </a:lnTo>
                  <a:lnTo>
                    <a:pt x="120" y="87"/>
                  </a:lnTo>
                  <a:lnTo>
                    <a:pt x="124" y="90"/>
                  </a:lnTo>
                  <a:lnTo>
                    <a:pt x="127" y="93"/>
                  </a:lnTo>
                  <a:lnTo>
                    <a:pt x="137" y="93"/>
                  </a:lnTo>
                  <a:lnTo>
                    <a:pt x="141" y="93"/>
                  </a:lnTo>
                  <a:lnTo>
                    <a:pt x="141" y="96"/>
                  </a:lnTo>
                  <a:lnTo>
                    <a:pt x="137" y="100"/>
                  </a:lnTo>
                  <a:lnTo>
                    <a:pt x="137" y="103"/>
                  </a:lnTo>
                  <a:lnTo>
                    <a:pt x="137" y="103"/>
                  </a:lnTo>
                  <a:lnTo>
                    <a:pt x="134" y="100"/>
                  </a:lnTo>
                  <a:lnTo>
                    <a:pt x="130" y="100"/>
                  </a:lnTo>
                  <a:lnTo>
                    <a:pt x="127" y="100"/>
                  </a:lnTo>
                  <a:lnTo>
                    <a:pt x="124" y="103"/>
                  </a:lnTo>
                  <a:lnTo>
                    <a:pt x="117" y="103"/>
                  </a:lnTo>
                  <a:lnTo>
                    <a:pt x="117" y="106"/>
                  </a:lnTo>
                  <a:lnTo>
                    <a:pt x="120" y="106"/>
                  </a:lnTo>
                  <a:lnTo>
                    <a:pt x="120" y="109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9"/>
                  </a:lnTo>
                  <a:lnTo>
                    <a:pt x="117" y="122"/>
                  </a:lnTo>
                  <a:lnTo>
                    <a:pt x="113" y="126"/>
                  </a:lnTo>
                  <a:lnTo>
                    <a:pt x="113" y="129"/>
                  </a:lnTo>
                  <a:lnTo>
                    <a:pt x="117" y="132"/>
                  </a:lnTo>
                  <a:lnTo>
                    <a:pt x="113" y="135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5"/>
                  </a:lnTo>
                  <a:lnTo>
                    <a:pt x="110" y="142"/>
                  </a:lnTo>
                  <a:lnTo>
                    <a:pt x="110" y="145"/>
                  </a:lnTo>
                  <a:lnTo>
                    <a:pt x="110" y="148"/>
                  </a:lnTo>
                  <a:lnTo>
                    <a:pt x="110" y="151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03" y="155"/>
                  </a:lnTo>
                  <a:lnTo>
                    <a:pt x="100" y="158"/>
                  </a:lnTo>
                  <a:lnTo>
                    <a:pt x="103" y="158"/>
                  </a:lnTo>
                  <a:lnTo>
                    <a:pt x="103" y="161"/>
                  </a:lnTo>
                  <a:lnTo>
                    <a:pt x="103" y="161"/>
                  </a:lnTo>
                  <a:lnTo>
                    <a:pt x="103" y="164"/>
                  </a:lnTo>
                  <a:lnTo>
                    <a:pt x="100" y="168"/>
                  </a:lnTo>
                  <a:lnTo>
                    <a:pt x="100" y="177"/>
                  </a:lnTo>
                  <a:lnTo>
                    <a:pt x="100" y="180"/>
                  </a:lnTo>
                  <a:lnTo>
                    <a:pt x="96" y="184"/>
                  </a:lnTo>
                  <a:lnTo>
                    <a:pt x="96" y="187"/>
                  </a:lnTo>
                  <a:lnTo>
                    <a:pt x="100" y="190"/>
                  </a:lnTo>
                  <a:lnTo>
                    <a:pt x="100" y="193"/>
                  </a:lnTo>
                  <a:lnTo>
                    <a:pt x="100" y="193"/>
                  </a:lnTo>
                  <a:lnTo>
                    <a:pt x="100" y="197"/>
                  </a:lnTo>
                  <a:lnTo>
                    <a:pt x="96" y="200"/>
                  </a:lnTo>
                  <a:lnTo>
                    <a:pt x="93" y="200"/>
                  </a:lnTo>
                  <a:lnTo>
                    <a:pt x="93" y="200"/>
                  </a:lnTo>
                  <a:close/>
                  <a:moveTo>
                    <a:pt x="137" y="284"/>
                  </a:moveTo>
                  <a:lnTo>
                    <a:pt x="137" y="281"/>
                  </a:lnTo>
                  <a:lnTo>
                    <a:pt x="137" y="277"/>
                  </a:lnTo>
                  <a:lnTo>
                    <a:pt x="134" y="274"/>
                  </a:lnTo>
                  <a:lnTo>
                    <a:pt x="130" y="274"/>
                  </a:lnTo>
                  <a:lnTo>
                    <a:pt x="130" y="277"/>
                  </a:lnTo>
                  <a:lnTo>
                    <a:pt x="130" y="281"/>
                  </a:lnTo>
                  <a:lnTo>
                    <a:pt x="134" y="281"/>
                  </a:lnTo>
                  <a:lnTo>
                    <a:pt x="134" y="284"/>
                  </a:lnTo>
                  <a:lnTo>
                    <a:pt x="137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" name="Freeform 13"/>
            <p:cNvSpPr>
              <a:spLocks noEditPoints="1"/>
            </p:cNvSpPr>
            <p:nvPr/>
          </p:nvSpPr>
          <p:spPr bwMode="auto">
            <a:xfrm>
              <a:off x="10034588" y="3155017"/>
              <a:ext cx="485775" cy="795337"/>
            </a:xfrm>
            <a:custGeom>
              <a:avLst/>
              <a:gdLst>
                <a:gd name="T0" fmla="*/ 127 w 306"/>
                <a:gd name="T1" fmla="*/ 242 h 501"/>
                <a:gd name="T2" fmla="*/ 10 w 306"/>
                <a:gd name="T3" fmla="*/ 494 h 501"/>
                <a:gd name="T4" fmla="*/ 69 w 306"/>
                <a:gd name="T5" fmla="*/ 455 h 501"/>
                <a:gd name="T6" fmla="*/ 69 w 306"/>
                <a:gd name="T7" fmla="*/ 455 h 501"/>
                <a:gd name="T8" fmla="*/ 89 w 306"/>
                <a:gd name="T9" fmla="*/ 417 h 501"/>
                <a:gd name="T10" fmla="*/ 93 w 306"/>
                <a:gd name="T11" fmla="*/ 417 h 501"/>
                <a:gd name="T12" fmla="*/ 213 w 306"/>
                <a:gd name="T13" fmla="*/ 103 h 501"/>
                <a:gd name="T14" fmla="*/ 203 w 306"/>
                <a:gd name="T15" fmla="*/ 71 h 501"/>
                <a:gd name="T16" fmla="*/ 220 w 306"/>
                <a:gd name="T17" fmla="*/ 61 h 501"/>
                <a:gd name="T18" fmla="*/ 220 w 306"/>
                <a:gd name="T19" fmla="*/ 39 h 501"/>
                <a:gd name="T20" fmla="*/ 217 w 306"/>
                <a:gd name="T21" fmla="*/ 0 h 501"/>
                <a:gd name="T22" fmla="*/ 268 w 306"/>
                <a:gd name="T23" fmla="*/ 35 h 501"/>
                <a:gd name="T24" fmla="*/ 289 w 306"/>
                <a:gd name="T25" fmla="*/ 39 h 501"/>
                <a:gd name="T26" fmla="*/ 299 w 306"/>
                <a:gd name="T27" fmla="*/ 52 h 501"/>
                <a:gd name="T28" fmla="*/ 268 w 306"/>
                <a:gd name="T29" fmla="*/ 74 h 501"/>
                <a:gd name="T30" fmla="*/ 237 w 306"/>
                <a:gd name="T31" fmla="*/ 74 h 501"/>
                <a:gd name="T32" fmla="*/ 220 w 306"/>
                <a:gd name="T33" fmla="*/ 84 h 501"/>
                <a:gd name="T34" fmla="*/ 217 w 306"/>
                <a:gd name="T35" fmla="*/ 107 h 501"/>
                <a:gd name="T36" fmla="*/ 213 w 306"/>
                <a:gd name="T37" fmla="*/ 191 h 501"/>
                <a:gd name="T38" fmla="*/ 69 w 306"/>
                <a:gd name="T39" fmla="*/ 310 h 501"/>
                <a:gd name="T40" fmla="*/ 62 w 306"/>
                <a:gd name="T41" fmla="*/ 317 h 501"/>
                <a:gd name="T42" fmla="*/ 58 w 306"/>
                <a:gd name="T43" fmla="*/ 323 h 501"/>
                <a:gd name="T44" fmla="*/ 86 w 306"/>
                <a:gd name="T45" fmla="*/ 329 h 501"/>
                <a:gd name="T46" fmla="*/ 83 w 306"/>
                <a:gd name="T47" fmla="*/ 320 h 501"/>
                <a:gd name="T48" fmla="*/ 155 w 306"/>
                <a:gd name="T49" fmla="*/ 278 h 501"/>
                <a:gd name="T50" fmla="*/ 141 w 306"/>
                <a:gd name="T51" fmla="*/ 310 h 501"/>
                <a:gd name="T52" fmla="*/ 169 w 306"/>
                <a:gd name="T53" fmla="*/ 291 h 501"/>
                <a:gd name="T54" fmla="*/ 138 w 306"/>
                <a:gd name="T55" fmla="*/ 291 h 501"/>
                <a:gd name="T56" fmla="*/ 138 w 306"/>
                <a:gd name="T57" fmla="*/ 310 h 501"/>
                <a:gd name="T58" fmla="*/ 114 w 306"/>
                <a:gd name="T59" fmla="*/ 365 h 501"/>
                <a:gd name="T60" fmla="*/ 110 w 306"/>
                <a:gd name="T61" fmla="*/ 346 h 501"/>
                <a:gd name="T62" fmla="*/ 120 w 306"/>
                <a:gd name="T63" fmla="*/ 310 h 501"/>
                <a:gd name="T64" fmla="*/ 107 w 306"/>
                <a:gd name="T65" fmla="*/ 300 h 501"/>
                <a:gd name="T66" fmla="*/ 120 w 306"/>
                <a:gd name="T67" fmla="*/ 281 h 501"/>
                <a:gd name="T68" fmla="*/ 155 w 306"/>
                <a:gd name="T69" fmla="*/ 275 h 501"/>
                <a:gd name="T70" fmla="*/ 172 w 306"/>
                <a:gd name="T71" fmla="*/ 287 h 501"/>
                <a:gd name="T72" fmla="*/ 203 w 306"/>
                <a:gd name="T73" fmla="*/ 278 h 501"/>
                <a:gd name="T74" fmla="*/ 203 w 306"/>
                <a:gd name="T75" fmla="*/ 268 h 501"/>
                <a:gd name="T76" fmla="*/ 217 w 306"/>
                <a:gd name="T77" fmla="*/ 268 h 501"/>
                <a:gd name="T78" fmla="*/ 244 w 306"/>
                <a:gd name="T79" fmla="*/ 265 h 501"/>
                <a:gd name="T80" fmla="*/ 255 w 306"/>
                <a:gd name="T81" fmla="*/ 252 h 501"/>
                <a:gd name="T82" fmla="*/ 268 w 306"/>
                <a:gd name="T83" fmla="*/ 236 h 501"/>
                <a:gd name="T84" fmla="*/ 268 w 306"/>
                <a:gd name="T85" fmla="*/ 181 h 501"/>
                <a:gd name="T86" fmla="*/ 268 w 306"/>
                <a:gd name="T87" fmla="*/ 152 h 501"/>
                <a:gd name="T88" fmla="*/ 241 w 306"/>
                <a:gd name="T89" fmla="*/ 103 h 501"/>
                <a:gd name="T90" fmla="*/ 241 w 306"/>
                <a:gd name="T91" fmla="*/ 113 h 501"/>
                <a:gd name="T92" fmla="*/ 224 w 306"/>
                <a:gd name="T93" fmla="*/ 110 h 501"/>
                <a:gd name="T94" fmla="*/ 217 w 306"/>
                <a:gd name="T95" fmla="*/ 142 h 501"/>
                <a:gd name="T96" fmla="*/ 220 w 306"/>
                <a:gd name="T97" fmla="*/ 197 h 501"/>
                <a:gd name="T98" fmla="*/ 193 w 306"/>
                <a:gd name="T99" fmla="*/ 207 h 501"/>
                <a:gd name="T100" fmla="*/ 179 w 306"/>
                <a:gd name="T101" fmla="*/ 233 h 501"/>
                <a:gd name="T102" fmla="*/ 169 w 306"/>
                <a:gd name="T103" fmla="*/ 252 h 501"/>
                <a:gd name="T104" fmla="*/ 131 w 306"/>
                <a:gd name="T105" fmla="*/ 252 h 501"/>
                <a:gd name="T106" fmla="*/ 93 w 306"/>
                <a:gd name="T107" fmla="*/ 284 h 501"/>
                <a:gd name="T108" fmla="*/ 72 w 306"/>
                <a:gd name="T109" fmla="*/ 307 h 501"/>
                <a:gd name="T110" fmla="*/ 79 w 306"/>
                <a:gd name="T111" fmla="*/ 320 h 501"/>
                <a:gd name="T112" fmla="*/ 83 w 306"/>
                <a:gd name="T113" fmla="*/ 313 h 501"/>
                <a:gd name="T114" fmla="*/ 93 w 306"/>
                <a:gd name="T115" fmla="*/ 342 h 501"/>
                <a:gd name="T116" fmla="*/ 103 w 306"/>
                <a:gd name="T117" fmla="*/ 342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6" h="501">
                  <a:moveTo>
                    <a:pt x="124" y="239"/>
                  </a:moveTo>
                  <a:lnTo>
                    <a:pt x="124" y="242"/>
                  </a:lnTo>
                  <a:lnTo>
                    <a:pt x="124" y="242"/>
                  </a:lnTo>
                  <a:lnTo>
                    <a:pt x="120" y="242"/>
                  </a:lnTo>
                  <a:lnTo>
                    <a:pt x="124" y="239"/>
                  </a:lnTo>
                  <a:lnTo>
                    <a:pt x="124" y="239"/>
                  </a:lnTo>
                  <a:close/>
                  <a:moveTo>
                    <a:pt x="127" y="239"/>
                  </a:moveTo>
                  <a:lnTo>
                    <a:pt x="124" y="239"/>
                  </a:lnTo>
                  <a:lnTo>
                    <a:pt x="127" y="236"/>
                  </a:lnTo>
                  <a:lnTo>
                    <a:pt x="127" y="236"/>
                  </a:lnTo>
                  <a:lnTo>
                    <a:pt x="131" y="239"/>
                  </a:lnTo>
                  <a:lnTo>
                    <a:pt x="127" y="242"/>
                  </a:lnTo>
                  <a:lnTo>
                    <a:pt x="127" y="239"/>
                  </a:lnTo>
                  <a:lnTo>
                    <a:pt x="127" y="239"/>
                  </a:lnTo>
                  <a:close/>
                  <a:moveTo>
                    <a:pt x="3" y="497"/>
                  </a:moveTo>
                  <a:lnTo>
                    <a:pt x="3" y="497"/>
                  </a:lnTo>
                  <a:lnTo>
                    <a:pt x="0" y="497"/>
                  </a:lnTo>
                  <a:lnTo>
                    <a:pt x="0" y="501"/>
                  </a:lnTo>
                  <a:lnTo>
                    <a:pt x="3" y="501"/>
                  </a:lnTo>
                  <a:lnTo>
                    <a:pt x="3" y="497"/>
                  </a:lnTo>
                  <a:lnTo>
                    <a:pt x="3" y="497"/>
                  </a:lnTo>
                  <a:close/>
                  <a:moveTo>
                    <a:pt x="7" y="497"/>
                  </a:moveTo>
                  <a:lnTo>
                    <a:pt x="10" y="494"/>
                  </a:lnTo>
                  <a:lnTo>
                    <a:pt x="10" y="494"/>
                  </a:lnTo>
                  <a:lnTo>
                    <a:pt x="10" y="497"/>
                  </a:lnTo>
                  <a:lnTo>
                    <a:pt x="7" y="497"/>
                  </a:lnTo>
                  <a:lnTo>
                    <a:pt x="7" y="497"/>
                  </a:lnTo>
                  <a:lnTo>
                    <a:pt x="7" y="497"/>
                  </a:lnTo>
                  <a:close/>
                  <a:moveTo>
                    <a:pt x="24" y="484"/>
                  </a:moveTo>
                  <a:lnTo>
                    <a:pt x="24" y="488"/>
                  </a:lnTo>
                  <a:lnTo>
                    <a:pt x="28" y="491"/>
                  </a:lnTo>
                  <a:lnTo>
                    <a:pt x="28" y="491"/>
                  </a:lnTo>
                  <a:lnTo>
                    <a:pt x="31" y="488"/>
                  </a:lnTo>
                  <a:lnTo>
                    <a:pt x="24" y="484"/>
                  </a:lnTo>
                  <a:lnTo>
                    <a:pt x="24" y="484"/>
                  </a:lnTo>
                  <a:close/>
                  <a:moveTo>
                    <a:pt x="69" y="455"/>
                  </a:moveTo>
                  <a:lnTo>
                    <a:pt x="65" y="452"/>
                  </a:lnTo>
                  <a:lnTo>
                    <a:pt x="69" y="449"/>
                  </a:lnTo>
                  <a:lnTo>
                    <a:pt x="69" y="449"/>
                  </a:lnTo>
                  <a:lnTo>
                    <a:pt x="69" y="446"/>
                  </a:lnTo>
                  <a:lnTo>
                    <a:pt x="72" y="446"/>
                  </a:lnTo>
                  <a:lnTo>
                    <a:pt x="76" y="442"/>
                  </a:lnTo>
                  <a:lnTo>
                    <a:pt x="76" y="446"/>
                  </a:lnTo>
                  <a:lnTo>
                    <a:pt x="76" y="446"/>
                  </a:lnTo>
                  <a:lnTo>
                    <a:pt x="76" y="449"/>
                  </a:lnTo>
                  <a:lnTo>
                    <a:pt x="69" y="452"/>
                  </a:lnTo>
                  <a:lnTo>
                    <a:pt x="69" y="455"/>
                  </a:lnTo>
                  <a:lnTo>
                    <a:pt x="69" y="455"/>
                  </a:lnTo>
                  <a:lnTo>
                    <a:pt x="69" y="455"/>
                  </a:lnTo>
                  <a:close/>
                  <a:moveTo>
                    <a:pt x="86" y="423"/>
                  </a:moveTo>
                  <a:lnTo>
                    <a:pt x="86" y="423"/>
                  </a:lnTo>
                  <a:lnTo>
                    <a:pt x="89" y="426"/>
                  </a:lnTo>
                  <a:lnTo>
                    <a:pt x="86" y="426"/>
                  </a:lnTo>
                  <a:lnTo>
                    <a:pt x="83" y="426"/>
                  </a:lnTo>
                  <a:lnTo>
                    <a:pt x="83" y="423"/>
                  </a:lnTo>
                  <a:lnTo>
                    <a:pt x="86" y="423"/>
                  </a:lnTo>
                  <a:lnTo>
                    <a:pt x="86" y="423"/>
                  </a:lnTo>
                  <a:close/>
                  <a:moveTo>
                    <a:pt x="93" y="417"/>
                  </a:moveTo>
                  <a:lnTo>
                    <a:pt x="93" y="417"/>
                  </a:lnTo>
                  <a:lnTo>
                    <a:pt x="89" y="417"/>
                  </a:lnTo>
                  <a:lnTo>
                    <a:pt x="86" y="413"/>
                  </a:lnTo>
                  <a:lnTo>
                    <a:pt x="89" y="413"/>
                  </a:lnTo>
                  <a:lnTo>
                    <a:pt x="93" y="410"/>
                  </a:lnTo>
                  <a:lnTo>
                    <a:pt x="93" y="410"/>
                  </a:lnTo>
                  <a:lnTo>
                    <a:pt x="93" y="410"/>
                  </a:lnTo>
                  <a:lnTo>
                    <a:pt x="96" y="410"/>
                  </a:lnTo>
                  <a:lnTo>
                    <a:pt x="96" y="410"/>
                  </a:lnTo>
                  <a:lnTo>
                    <a:pt x="100" y="407"/>
                  </a:lnTo>
                  <a:lnTo>
                    <a:pt x="96" y="413"/>
                  </a:lnTo>
                  <a:lnTo>
                    <a:pt x="93" y="413"/>
                  </a:lnTo>
                  <a:lnTo>
                    <a:pt x="93" y="417"/>
                  </a:lnTo>
                  <a:lnTo>
                    <a:pt x="93" y="417"/>
                  </a:lnTo>
                  <a:lnTo>
                    <a:pt x="93" y="417"/>
                  </a:lnTo>
                  <a:close/>
                  <a:moveTo>
                    <a:pt x="193" y="90"/>
                  </a:moveTo>
                  <a:lnTo>
                    <a:pt x="193" y="87"/>
                  </a:lnTo>
                  <a:lnTo>
                    <a:pt x="193" y="87"/>
                  </a:lnTo>
                  <a:lnTo>
                    <a:pt x="193" y="84"/>
                  </a:lnTo>
                  <a:lnTo>
                    <a:pt x="196" y="84"/>
                  </a:lnTo>
                  <a:lnTo>
                    <a:pt x="196" y="87"/>
                  </a:lnTo>
                  <a:lnTo>
                    <a:pt x="196" y="90"/>
                  </a:lnTo>
                  <a:lnTo>
                    <a:pt x="193" y="90"/>
                  </a:lnTo>
                  <a:lnTo>
                    <a:pt x="193" y="90"/>
                  </a:lnTo>
                  <a:close/>
                  <a:moveTo>
                    <a:pt x="217" y="107"/>
                  </a:moveTo>
                  <a:lnTo>
                    <a:pt x="213" y="103"/>
                  </a:lnTo>
                  <a:lnTo>
                    <a:pt x="213" y="103"/>
                  </a:lnTo>
                  <a:lnTo>
                    <a:pt x="213" y="100"/>
                  </a:lnTo>
                  <a:lnTo>
                    <a:pt x="213" y="97"/>
                  </a:lnTo>
                  <a:lnTo>
                    <a:pt x="210" y="90"/>
                  </a:lnTo>
                  <a:lnTo>
                    <a:pt x="206" y="87"/>
                  </a:lnTo>
                  <a:lnTo>
                    <a:pt x="203" y="87"/>
                  </a:lnTo>
                  <a:lnTo>
                    <a:pt x="200" y="84"/>
                  </a:lnTo>
                  <a:lnTo>
                    <a:pt x="200" y="84"/>
                  </a:lnTo>
                  <a:lnTo>
                    <a:pt x="200" y="77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203" y="71"/>
                  </a:lnTo>
                  <a:lnTo>
                    <a:pt x="203" y="71"/>
                  </a:lnTo>
                  <a:lnTo>
                    <a:pt x="206" y="71"/>
                  </a:lnTo>
                  <a:lnTo>
                    <a:pt x="210" y="68"/>
                  </a:lnTo>
                  <a:lnTo>
                    <a:pt x="210" y="65"/>
                  </a:lnTo>
                  <a:lnTo>
                    <a:pt x="210" y="65"/>
                  </a:lnTo>
                  <a:lnTo>
                    <a:pt x="206" y="61"/>
                  </a:lnTo>
                  <a:lnTo>
                    <a:pt x="203" y="61"/>
                  </a:lnTo>
                  <a:lnTo>
                    <a:pt x="203" y="61"/>
                  </a:lnTo>
                  <a:lnTo>
                    <a:pt x="203" y="58"/>
                  </a:lnTo>
                  <a:lnTo>
                    <a:pt x="206" y="58"/>
                  </a:lnTo>
                  <a:lnTo>
                    <a:pt x="213" y="58"/>
                  </a:lnTo>
                  <a:lnTo>
                    <a:pt x="220" y="61"/>
                  </a:lnTo>
                  <a:lnTo>
                    <a:pt x="220" y="58"/>
                  </a:lnTo>
                  <a:lnTo>
                    <a:pt x="224" y="58"/>
                  </a:lnTo>
                  <a:lnTo>
                    <a:pt x="224" y="55"/>
                  </a:lnTo>
                  <a:lnTo>
                    <a:pt x="224" y="52"/>
                  </a:lnTo>
                  <a:lnTo>
                    <a:pt x="220" y="52"/>
                  </a:lnTo>
                  <a:lnTo>
                    <a:pt x="220" y="52"/>
                  </a:lnTo>
                  <a:lnTo>
                    <a:pt x="217" y="48"/>
                  </a:lnTo>
                  <a:lnTo>
                    <a:pt x="217" y="45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0" y="39"/>
                  </a:lnTo>
                  <a:lnTo>
                    <a:pt x="217" y="32"/>
                  </a:lnTo>
                  <a:lnTo>
                    <a:pt x="220" y="29"/>
                  </a:lnTo>
                  <a:lnTo>
                    <a:pt x="217" y="23"/>
                  </a:lnTo>
                  <a:lnTo>
                    <a:pt x="217" y="19"/>
                  </a:lnTo>
                  <a:lnTo>
                    <a:pt x="210" y="10"/>
                  </a:lnTo>
                  <a:lnTo>
                    <a:pt x="210" y="6"/>
                  </a:lnTo>
                  <a:lnTo>
                    <a:pt x="206" y="6"/>
                  </a:lnTo>
                  <a:lnTo>
                    <a:pt x="206" y="3"/>
                  </a:lnTo>
                  <a:lnTo>
                    <a:pt x="210" y="3"/>
                  </a:lnTo>
                  <a:lnTo>
                    <a:pt x="213" y="3"/>
                  </a:lnTo>
                  <a:lnTo>
                    <a:pt x="210" y="0"/>
                  </a:lnTo>
                  <a:lnTo>
                    <a:pt x="217" y="0"/>
                  </a:lnTo>
                  <a:lnTo>
                    <a:pt x="217" y="3"/>
                  </a:lnTo>
                  <a:lnTo>
                    <a:pt x="224" y="6"/>
                  </a:lnTo>
                  <a:lnTo>
                    <a:pt x="227" y="10"/>
                  </a:lnTo>
                  <a:lnTo>
                    <a:pt x="230" y="13"/>
                  </a:lnTo>
                  <a:lnTo>
                    <a:pt x="241" y="19"/>
                  </a:lnTo>
                  <a:lnTo>
                    <a:pt x="244" y="23"/>
                  </a:lnTo>
                  <a:lnTo>
                    <a:pt x="248" y="26"/>
                  </a:lnTo>
                  <a:lnTo>
                    <a:pt x="251" y="26"/>
                  </a:lnTo>
                  <a:lnTo>
                    <a:pt x="255" y="29"/>
                  </a:lnTo>
                  <a:lnTo>
                    <a:pt x="258" y="32"/>
                  </a:lnTo>
                  <a:lnTo>
                    <a:pt x="265" y="32"/>
                  </a:lnTo>
                  <a:lnTo>
                    <a:pt x="268" y="35"/>
                  </a:lnTo>
                  <a:lnTo>
                    <a:pt x="272" y="35"/>
                  </a:lnTo>
                  <a:lnTo>
                    <a:pt x="272" y="35"/>
                  </a:lnTo>
                  <a:lnTo>
                    <a:pt x="279" y="35"/>
                  </a:lnTo>
                  <a:lnTo>
                    <a:pt x="282" y="32"/>
                  </a:lnTo>
                  <a:lnTo>
                    <a:pt x="286" y="29"/>
                  </a:lnTo>
                  <a:lnTo>
                    <a:pt x="289" y="26"/>
                  </a:lnTo>
                  <a:lnTo>
                    <a:pt x="289" y="23"/>
                  </a:lnTo>
                  <a:lnTo>
                    <a:pt x="289" y="26"/>
                  </a:lnTo>
                  <a:lnTo>
                    <a:pt x="289" y="29"/>
                  </a:lnTo>
                  <a:lnTo>
                    <a:pt x="286" y="32"/>
                  </a:lnTo>
                  <a:lnTo>
                    <a:pt x="286" y="39"/>
                  </a:lnTo>
                  <a:lnTo>
                    <a:pt x="289" y="39"/>
                  </a:lnTo>
                  <a:lnTo>
                    <a:pt x="292" y="42"/>
                  </a:lnTo>
                  <a:lnTo>
                    <a:pt x="296" y="45"/>
                  </a:lnTo>
                  <a:lnTo>
                    <a:pt x="296" y="48"/>
                  </a:lnTo>
                  <a:lnTo>
                    <a:pt x="296" y="48"/>
                  </a:lnTo>
                  <a:lnTo>
                    <a:pt x="299" y="48"/>
                  </a:lnTo>
                  <a:lnTo>
                    <a:pt x="299" y="45"/>
                  </a:lnTo>
                  <a:lnTo>
                    <a:pt x="303" y="45"/>
                  </a:lnTo>
                  <a:lnTo>
                    <a:pt x="306" y="45"/>
                  </a:lnTo>
                  <a:lnTo>
                    <a:pt x="306" y="45"/>
                  </a:lnTo>
                  <a:lnTo>
                    <a:pt x="303" y="48"/>
                  </a:lnTo>
                  <a:lnTo>
                    <a:pt x="303" y="52"/>
                  </a:lnTo>
                  <a:lnTo>
                    <a:pt x="299" y="52"/>
                  </a:lnTo>
                  <a:lnTo>
                    <a:pt x="296" y="55"/>
                  </a:lnTo>
                  <a:lnTo>
                    <a:pt x="296" y="55"/>
                  </a:lnTo>
                  <a:lnTo>
                    <a:pt x="296" y="58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89" y="58"/>
                  </a:lnTo>
                  <a:lnTo>
                    <a:pt x="289" y="61"/>
                  </a:lnTo>
                  <a:lnTo>
                    <a:pt x="282" y="61"/>
                  </a:lnTo>
                  <a:lnTo>
                    <a:pt x="279" y="58"/>
                  </a:lnTo>
                  <a:lnTo>
                    <a:pt x="275" y="61"/>
                  </a:lnTo>
                  <a:lnTo>
                    <a:pt x="272" y="68"/>
                  </a:lnTo>
                  <a:lnTo>
                    <a:pt x="268" y="74"/>
                  </a:lnTo>
                  <a:lnTo>
                    <a:pt x="268" y="77"/>
                  </a:lnTo>
                  <a:lnTo>
                    <a:pt x="268" y="81"/>
                  </a:lnTo>
                  <a:lnTo>
                    <a:pt x="268" y="84"/>
                  </a:lnTo>
                  <a:lnTo>
                    <a:pt x="268" y="87"/>
                  </a:lnTo>
                  <a:lnTo>
                    <a:pt x="265" y="87"/>
                  </a:lnTo>
                  <a:lnTo>
                    <a:pt x="265" y="84"/>
                  </a:lnTo>
                  <a:lnTo>
                    <a:pt x="258" y="84"/>
                  </a:lnTo>
                  <a:lnTo>
                    <a:pt x="251" y="81"/>
                  </a:lnTo>
                  <a:lnTo>
                    <a:pt x="248" y="77"/>
                  </a:lnTo>
                  <a:lnTo>
                    <a:pt x="244" y="74"/>
                  </a:lnTo>
                  <a:lnTo>
                    <a:pt x="241" y="74"/>
                  </a:lnTo>
                  <a:lnTo>
                    <a:pt x="237" y="74"/>
                  </a:lnTo>
                  <a:lnTo>
                    <a:pt x="237" y="71"/>
                  </a:lnTo>
                  <a:lnTo>
                    <a:pt x="230" y="71"/>
                  </a:lnTo>
                  <a:lnTo>
                    <a:pt x="227" y="74"/>
                  </a:lnTo>
                  <a:lnTo>
                    <a:pt x="224" y="81"/>
                  </a:lnTo>
                  <a:lnTo>
                    <a:pt x="220" y="77"/>
                  </a:lnTo>
                  <a:lnTo>
                    <a:pt x="217" y="74"/>
                  </a:lnTo>
                  <a:lnTo>
                    <a:pt x="213" y="77"/>
                  </a:lnTo>
                  <a:lnTo>
                    <a:pt x="210" y="77"/>
                  </a:lnTo>
                  <a:lnTo>
                    <a:pt x="210" y="81"/>
                  </a:lnTo>
                  <a:lnTo>
                    <a:pt x="213" y="84"/>
                  </a:lnTo>
                  <a:lnTo>
                    <a:pt x="217" y="84"/>
                  </a:lnTo>
                  <a:lnTo>
                    <a:pt x="220" y="84"/>
                  </a:lnTo>
                  <a:lnTo>
                    <a:pt x="227" y="90"/>
                  </a:lnTo>
                  <a:lnTo>
                    <a:pt x="230" y="90"/>
                  </a:lnTo>
                  <a:lnTo>
                    <a:pt x="234" y="90"/>
                  </a:lnTo>
                  <a:lnTo>
                    <a:pt x="237" y="94"/>
                  </a:lnTo>
                  <a:lnTo>
                    <a:pt x="234" y="97"/>
                  </a:lnTo>
                  <a:lnTo>
                    <a:pt x="230" y="97"/>
                  </a:lnTo>
                  <a:lnTo>
                    <a:pt x="230" y="97"/>
                  </a:lnTo>
                  <a:lnTo>
                    <a:pt x="224" y="97"/>
                  </a:lnTo>
                  <a:lnTo>
                    <a:pt x="224" y="97"/>
                  </a:lnTo>
                  <a:lnTo>
                    <a:pt x="224" y="100"/>
                  </a:lnTo>
                  <a:lnTo>
                    <a:pt x="220" y="103"/>
                  </a:lnTo>
                  <a:lnTo>
                    <a:pt x="217" y="107"/>
                  </a:lnTo>
                  <a:lnTo>
                    <a:pt x="217" y="107"/>
                  </a:lnTo>
                  <a:close/>
                  <a:moveTo>
                    <a:pt x="210" y="197"/>
                  </a:moveTo>
                  <a:lnTo>
                    <a:pt x="210" y="194"/>
                  </a:lnTo>
                  <a:lnTo>
                    <a:pt x="213" y="194"/>
                  </a:lnTo>
                  <a:lnTo>
                    <a:pt x="210" y="191"/>
                  </a:lnTo>
                  <a:lnTo>
                    <a:pt x="210" y="194"/>
                  </a:lnTo>
                  <a:lnTo>
                    <a:pt x="206" y="191"/>
                  </a:lnTo>
                  <a:lnTo>
                    <a:pt x="210" y="184"/>
                  </a:lnTo>
                  <a:lnTo>
                    <a:pt x="210" y="184"/>
                  </a:lnTo>
                  <a:lnTo>
                    <a:pt x="213" y="187"/>
                  </a:lnTo>
                  <a:lnTo>
                    <a:pt x="210" y="191"/>
                  </a:lnTo>
                  <a:lnTo>
                    <a:pt x="213" y="191"/>
                  </a:lnTo>
                  <a:lnTo>
                    <a:pt x="213" y="191"/>
                  </a:lnTo>
                  <a:lnTo>
                    <a:pt x="213" y="194"/>
                  </a:lnTo>
                  <a:lnTo>
                    <a:pt x="213" y="197"/>
                  </a:lnTo>
                  <a:lnTo>
                    <a:pt x="210" y="197"/>
                  </a:lnTo>
                  <a:lnTo>
                    <a:pt x="210" y="197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lnTo>
                    <a:pt x="72" y="310"/>
                  </a:lnTo>
                  <a:lnTo>
                    <a:pt x="69" y="307"/>
                  </a:lnTo>
                  <a:lnTo>
                    <a:pt x="69" y="307"/>
                  </a:lnTo>
                  <a:lnTo>
                    <a:pt x="69" y="310"/>
                  </a:lnTo>
                  <a:lnTo>
                    <a:pt x="69" y="310"/>
                  </a:lnTo>
                  <a:close/>
                  <a:moveTo>
                    <a:pt x="65" y="310"/>
                  </a:moveTo>
                  <a:lnTo>
                    <a:pt x="69" y="313"/>
                  </a:lnTo>
                  <a:lnTo>
                    <a:pt x="69" y="310"/>
                  </a:lnTo>
                  <a:lnTo>
                    <a:pt x="65" y="310"/>
                  </a:lnTo>
                  <a:lnTo>
                    <a:pt x="65" y="310"/>
                  </a:lnTo>
                  <a:close/>
                  <a:moveTo>
                    <a:pt x="65" y="313"/>
                  </a:moveTo>
                  <a:lnTo>
                    <a:pt x="65" y="313"/>
                  </a:lnTo>
                  <a:lnTo>
                    <a:pt x="65" y="313"/>
                  </a:lnTo>
                  <a:lnTo>
                    <a:pt x="65" y="313"/>
                  </a:lnTo>
                  <a:lnTo>
                    <a:pt x="65" y="313"/>
                  </a:lnTo>
                  <a:close/>
                  <a:moveTo>
                    <a:pt x="62" y="313"/>
                  </a:moveTo>
                  <a:lnTo>
                    <a:pt x="62" y="317"/>
                  </a:lnTo>
                  <a:lnTo>
                    <a:pt x="65" y="313"/>
                  </a:lnTo>
                  <a:lnTo>
                    <a:pt x="62" y="313"/>
                  </a:lnTo>
                  <a:lnTo>
                    <a:pt x="62" y="313"/>
                  </a:lnTo>
                  <a:close/>
                  <a:moveTo>
                    <a:pt x="58" y="323"/>
                  </a:moveTo>
                  <a:lnTo>
                    <a:pt x="58" y="320"/>
                  </a:lnTo>
                  <a:lnTo>
                    <a:pt x="58" y="317"/>
                  </a:lnTo>
                  <a:lnTo>
                    <a:pt x="58" y="317"/>
                  </a:lnTo>
                  <a:lnTo>
                    <a:pt x="62" y="317"/>
                  </a:lnTo>
                  <a:lnTo>
                    <a:pt x="62" y="320"/>
                  </a:lnTo>
                  <a:lnTo>
                    <a:pt x="65" y="320"/>
                  </a:lnTo>
                  <a:lnTo>
                    <a:pt x="62" y="323"/>
                  </a:lnTo>
                  <a:lnTo>
                    <a:pt x="58" y="323"/>
                  </a:lnTo>
                  <a:lnTo>
                    <a:pt x="58" y="323"/>
                  </a:lnTo>
                  <a:close/>
                  <a:moveTo>
                    <a:pt x="89" y="326"/>
                  </a:moveTo>
                  <a:lnTo>
                    <a:pt x="89" y="323"/>
                  </a:lnTo>
                  <a:lnTo>
                    <a:pt x="89" y="323"/>
                  </a:lnTo>
                  <a:lnTo>
                    <a:pt x="89" y="323"/>
                  </a:lnTo>
                  <a:lnTo>
                    <a:pt x="89" y="323"/>
                  </a:lnTo>
                  <a:lnTo>
                    <a:pt x="89" y="326"/>
                  </a:lnTo>
                  <a:lnTo>
                    <a:pt x="89" y="326"/>
                  </a:lnTo>
                  <a:close/>
                  <a:moveTo>
                    <a:pt x="86" y="329"/>
                  </a:moveTo>
                  <a:lnTo>
                    <a:pt x="86" y="329"/>
                  </a:lnTo>
                  <a:lnTo>
                    <a:pt x="89" y="329"/>
                  </a:lnTo>
                  <a:lnTo>
                    <a:pt x="86" y="329"/>
                  </a:lnTo>
                  <a:lnTo>
                    <a:pt x="86" y="329"/>
                  </a:lnTo>
                  <a:lnTo>
                    <a:pt x="86" y="329"/>
                  </a:lnTo>
                  <a:close/>
                  <a:moveTo>
                    <a:pt x="83" y="320"/>
                  </a:moveTo>
                  <a:lnTo>
                    <a:pt x="83" y="323"/>
                  </a:lnTo>
                  <a:lnTo>
                    <a:pt x="83" y="326"/>
                  </a:lnTo>
                  <a:lnTo>
                    <a:pt x="83" y="329"/>
                  </a:lnTo>
                  <a:lnTo>
                    <a:pt x="86" y="329"/>
                  </a:lnTo>
                  <a:lnTo>
                    <a:pt x="86" y="326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3" y="320"/>
                  </a:lnTo>
                  <a:lnTo>
                    <a:pt x="83" y="320"/>
                  </a:lnTo>
                  <a:close/>
                  <a:moveTo>
                    <a:pt x="169" y="281"/>
                  </a:moveTo>
                  <a:lnTo>
                    <a:pt x="165" y="278"/>
                  </a:lnTo>
                  <a:lnTo>
                    <a:pt x="165" y="275"/>
                  </a:lnTo>
                  <a:lnTo>
                    <a:pt x="165" y="275"/>
                  </a:lnTo>
                  <a:lnTo>
                    <a:pt x="169" y="275"/>
                  </a:lnTo>
                  <a:lnTo>
                    <a:pt x="169" y="275"/>
                  </a:lnTo>
                  <a:lnTo>
                    <a:pt x="169" y="278"/>
                  </a:lnTo>
                  <a:lnTo>
                    <a:pt x="169" y="281"/>
                  </a:lnTo>
                  <a:lnTo>
                    <a:pt x="169" y="281"/>
                  </a:lnTo>
                  <a:lnTo>
                    <a:pt x="169" y="281"/>
                  </a:lnTo>
                  <a:lnTo>
                    <a:pt x="169" y="281"/>
                  </a:lnTo>
                  <a:close/>
                  <a:moveTo>
                    <a:pt x="155" y="278"/>
                  </a:moveTo>
                  <a:lnTo>
                    <a:pt x="155" y="275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5" y="278"/>
                  </a:lnTo>
                  <a:lnTo>
                    <a:pt x="155" y="278"/>
                  </a:lnTo>
                  <a:lnTo>
                    <a:pt x="155" y="278"/>
                  </a:lnTo>
                  <a:close/>
                  <a:moveTo>
                    <a:pt x="134" y="313"/>
                  </a:moveTo>
                  <a:lnTo>
                    <a:pt x="138" y="313"/>
                  </a:lnTo>
                  <a:lnTo>
                    <a:pt x="138" y="313"/>
                  </a:lnTo>
                  <a:lnTo>
                    <a:pt x="141" y="313"/>
                  </a:lnTo>
                  <a:lnTo>
                    <a:pt x="141" y="313"/>
                  </a:lnTo>
                  <a:lnTo>
                    <a:pt x="141" y="310"/>
                  </a:lnTo>
                  <a:lnTo>
                    <a:pt x="138" y="307"/>
                  </a:lnTo>
                  <a:lnTo>
                    <a:pt x="141" y="304"/>
                  </a:lnTo>
                  <a:lnTo>
                    <a:pt x="141" y="300"/>
                  </a:lnTo>
                  <a:lnTo>
                    <a:pt x="148" y="297"/>
                  </a:lnTo>
                  <a:lnTo>
                    <a:pt x="148" y="297"/>
                  </a:lnTo>
                  <a:lnTo>
                    <a:pt x="151" y="297"/>
                  </a:lnTo>
                  <a:lnTo>
                    <a:pt x="158" y="300"/>
                  </a:lnTo>
                  <a:lnTo>
                    <a:pt x="158" y="300"/>
                  </a:lnTo>
                  <a:lnTo>
                    <a:pt x="162" y="300"/>
                  </a:lnTo>
                  <a:lnTo>
                    <a:pt x="165" y="294"/>
                  </a:lnTo>
                  <a:lnTo>
                    <a:pt x="169" y="291"/>
                  </a:lnTo>
                  <a:lnTo>
                    <a:pt x="169" y="291"/>
                  </a:lnTo>
                  <a:lnTo>
                    <a:pt x="169" y="287"/>
                  </a:lnTo>
                  <a:lnTo>
                    <a:pt x="165" y="287"/>
                  </a:lnTo>
                  <a:lnTo>
                    <a:pt x="162" y="284"/>
                  </a:lnTo>
                  <a:lnTo>
                    <a:pt x="158" y="284"/>
                  </a:lnTo>
                  <a:lnTo>
                    <a:pt x="155" y="281"/>
                  </a:lnTo>
                  <a:lnTo>
                    <a:pt x="151" y="281"/>
                  </a:lnTo>
                  <a:lnTo>
                    <a:pt x="148" y="284"/>
                  </a:lnTo>
                  <a:lnTo>
                    <a:pt x="148" y="287"/>
                  </a:lnTo>
                  <a:lnTo>
                    <a:pt x="144" y="287"/>
                  </a:lnTo>
                  <a:lnTo>
                    <a:pt x="141" y="291"/>
                  </a:lnTo>
                  <a:lnTo>
                    <a:pt x="138" y="291"/>
                  </a:lnTo>
                  <a:lnTo>
                    <a:pt x="138" y="291"/>
                  </a:lnTo>
                  <a:lnTo>
                    <a:pt x="134" y="287"/>
                  </a:lnTo>
                  <a:lnTo>
                    <a:pt x="131" y="287"/>
                  </a:lnTo>
                  <a:lnTo>
                    <a:pt x="127" y="291"/>
                  </a:lnTo>
                  <a:lnTo>
                    <a:pt x="127" y="294"/>
                  </a:lnTo>
                  <a:lnTo>
                    <a:pt x="124" y="297"/>
                  </a:lnTo>
                  <a:lnTo>
                    <a:pt x="124" y="300"/>
                  </a:lnTo>
                  <a:lnTo>
                    <a:pt x="127" y="300"/>
                  </a:lnTo>
                  <a:lnTo>
                    <a:pt x="131" y="304"/>
                  </a:lnTo>
                  <a:lnTo>
                    <a:pt x="127" y="304"/>
                  </a:lnTo>
                  <a:lnTo>
                    <a:pt x="127" y="307"/>
                  </a:lnTo>
                  <a:lnTo>
                    <a:pt x="131" y="310"/>
                  </a:lnTo>
                  <a:lnTo>
                    <a:pt x="138" y="310"/>
                  </a:lnTo>
                  <a:lnTo>
                    <a:pt x="134" y="313"/>
                  </a:lnTo>
                  <a:lnTo>
                    <a:pt x="134" y="313"/>
                  </a:lnTo>
                  <a:close/>
                  <a:moveTo>
                    <a:pt x="110" y="368"/>
                  </a:moveTo>
                  <a:lnTo>
                    <a:pt x="107" y="365"/>
                  </a:lnTo>
                  <a:lnTo>
                    <a:pt x="107" y="368"/>
                  </a:lnTo>
                  <a:lnTo>
                    <a:pt x="103" y="368"/>
                  </a:lnTo>
                  <a:lnTo>
                    <a:pt x="107" y="371"/>
                  </a:lnTo>
                  <a:lnTo>
                    <a:pt x="110" y="371"/>
                  </a:lnTo>
                  <a:lnTo>
                    <a:pt x="110" y="371"/>
                  </a:lnTo>
                  <a:lnTo>
                    <a:pt x="110" y="368"/>
                  </a:lnTo>
                  <a:lnTo>
                    <a:pt x="110" y="368"/>
                  </a:lnTo>
                  <a:close/>
                  <a:moveTo>
                    <a:pt x="114" y="365"/>
                  </a:moveTo>
                  <a:lnTo>
                    <a:pt x="114" y="359"/>
                  </a:lnTo>
                  <a:lnTo>
                    <a:pt x="114" y="359"/>
                  </a:lnTo>
                  <a:lnTo>
                    <a:pt x="114" y="359"/>
                  </a:lnTo>
                  <a:lnTo>
                    <a:pt x="117" y="362"/>
                  </a:lnTo>
                  <a:lnTo>
                    <a:pt x="114" y="365"/>
                  </a:lnTo>
                  <a:lnTo>
                    <a:pt x="114" y="365"/>
                  </a:lnTo>
                  <a:lnTo>
                    <a:pt x="114" y="365"/>
                  </a:lnTo>
                  <a:close/>
                  <a:moveTo>
                    <a:pt x="107" y="355"/>
                  </a:moveTo>
                  <a:lnTo>
                    <a:pt x="110" y="355"/>
                  </a:lnTo>
                  <a:lnTo>
                    <a:pt x="114" y="349"/>
                  </a:lnTo>
                  <a:lnTo>
                    <a:pt x="110" y="346"/>
                  </a:lnTo>
                  <a:lnTo>
                    <a:pt x="110" y="346"/>
                  </a:lnTo>
                  <a:lnTo>
                    <a:pt x="114" y="346"/>
                  </a:lnTo>
                  <a:lnTo>
                    <a:pt x="114" y="346"/>
                  </a:lnTo>
                  <a:lnTo>
                    <a:pt x="117" y="346"/>
                  </a:lnTo>
                  <a:lnTo>
                    <a:pt x="117" y="342"/>
                  </a:lnTo>
                  <a:lnTo>
                    <a:pt x="117" y="336"/>
                  </a:lnTo>
                  <a:lnTo>
                    <a:pt x="117" y="336"/>
                  </a:lnTo>
                  <a:lnTo>
                    <a:pt x="117" y="326"/>
                  </a:lnTo>
                  <a:lnTo>
                    <a:pt x="117" y="320"/>
                  </a:lnTo>
                  <a:lnTo>
                    <a:pt x="117" y="317"/>
                  </a:lnTo>
                  <a:lnTo>
                    <a:pt x="124" y="313"/>
                  </a:lnTo>
                  <a:lnTo>
                    <a:pt x="120" y="313"/>
                  </a:lnTo>
                  <a:lnTo>
                    <a:pt x="120" y="310"/>
                  </a:lnTo>
                  <a:lnTo>
                    <a:pt x="120" y="310"/>
                  </a:lnTo>
                  <a:lnTo>
                    <a:pt x="117" y="307"/>
                  </a:lnTo>
                  <a:lnTo>
                    <a:pt x="117" y="307"/>
                  </a:lnTo>
                  <a:lnTo>
                    <a:pt x="110" y="307"/>
                  </a:lnTo>
                  <a:lnTo>
                    <a:pt x="110" y="304"/>
                  </a:lnTo>
                  <a:lnTo>
                    <a:pt x="114" y="304"/>
                  </a:lnTo>
                  <a:lnTo>
                    <a:pt x="114" y="300"/>
                  </a:lnTo>
                  <a:lnTo>
                    <a:pt x="114" y="297"/>
                  </a:lnTo>
                  <a:lnTo>
                    <a:pt x="110" y="297"/>
                  </a:lnTo>
                  <a:lnTo>
                    <a:pt x="107" y="297"/>
                  </a:lnTo>
                  <a:lnTo>
                    <a:pt x="107" y="297"/>
                  </a:lnTo>
                  <a:lnTo>
                    <a:pt x="107" y="300"/>
                  </a:lnTo>
                  <a:lnTo>
                    <a:pt x="103" y="297"/>
                  </a:lnTo>
                  <a:lnTo>
                    <a:pt x="100" y="294"/>
                  </a:lnTo>
                  <a:lnTo>
                    <a:pt x="100" y="291"/>
                  </a:lnTo>
                  <a:lnTo>
                    <a:pt x="107" y="291"/>
                  </a:lnTo>
                  <a:lnTo>
                    <a:pt x="110" y="287"/>
                  </a:lnTo>
                  <a:lnTo>
                    <a:pt x="117" y="291"/>
                  </a:lnTo>
                  <a:lnTo>
                    <a:pt x="120" y="291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4"/>
                  </a:lnTo>
                  <a:lnTo>
                    <a:pt x="120" y="281"/>
                  </a:lnTo>
                  <a:lnTo>
                    <a:pt x="120" y="281"/>
                  </a:lnTo>
                  <a:lnTo>
                    <a:pt x="124" y="281"/>
                  </a:lnTo>
                  <a:lnTo>
                    <a:pt x="124" y="281"/>
                  </a:lnTo>
                  <a:lnTo>
                    <a:pt x="127" y="281"/>
                  </a:lnTo>
                  <a:lnTo>
                    <a:pt x="131" y="281"/>
                  </a:lnTo>
                  <a:lnTo>
                    <a:pt x="138" y="281"/>
                  </a:lnTo>
                  <a:lnTo>
                    <a:pt x="141" y="278"/>
                  </a:lnTo>
                  <a:lnTo>
                    <a:pt x="148" y="278"/>
                  </a:lnTo>
                  <a:lnTo>
                    <a:pt x="148" y="278"/>
                  </a:lnTo>
                  <a:lnTo>
                    <a:pt x="151" y="278"/>
                  </a:lnTo>
                  <a:lnTo>
                    <a:pt x="151" y="278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8" y="271"/>
                  </a:lnTo>
                  <a:lnTo>
                    <a:pt x="165" y="268"/>
                  </a:lnTo>
                  <a:lnTo>
                    <a:pt x="169" y="268"/>
                  </a:lnTo>
                  <a:lnTo>
                    <a:pt x="172" y="268"/>
                  </a:lnTo>
                  <a:lnTo>
                    <a:pt x="175" y="271"/>
                  </a:lnTo>
                  <a:lnTo>
                    <a:pt x="175" y="271"/>
                  </a:lnTo>
                  <a:lnTo>
                    <a:pt x="172" y="278"/>
                  </a:lnTo>
                  <a:lnTo>
                    <a:pt x="172" y="278"/>
                  </a:lnTo>
                  <a:lnTo>
                    <a:pt x="172" y="281"/>
                  </a:lnTo>
                  <a:lnTo>
                    <a:pt x="172" y="284"/>
                  </a:lnTo>
                  <a:lnTo>
                    <a:pt x="175" y="287"/>
                  </a:lnTo>
                  <a:lnTo>
                    <a:pt x="172" y="287"/>
                  </a:lnTo>
                  <a:lnTo>
                    <a:pt x="175" y="291"/>
                  </a:lnTo>
                  <a:lnTo>
                    <a:pt x="179" y="291"/>
                  </a:lnTo>
                  <a:lnTo>
                    <a:pt x="182" y="297"/>
                  </a:lnTo>
                  <a:lnTo>
                    <a:pt x="186" y="297"/>
                  </a:lnTo>
                  <a:lnTo>
                    <a:pt x="189" y="297"/>
                  </a:lnTo>
                  <a:lnTo>
                    <a:pt x="193" y="291"/>
                  </a:lnTo>
                  <a:lnTo>
                    <a:pt x="193" y="287"/>
                  </a:lnTo>
                  <a:lnTo>
                    <a:pt x="196" y="287"/>
                  </a:lnTo>
                  <a:lnTo>
                    <a:pt x="196" y="284"/>
                  </a:lnTo>
                  <a:lnTo>
                    <a:pt x="196" y="284"/>
                  </a:lnTo>
                  <a:lnTo>
                    <a:pt x="200" y="278"/>
                  </a:lnTo>
                  <a:lnTo>
                    <a:pt x="203" y="278"/>
                  </a:lnTo>
                  <a:lnTo>
                    <a:pt x="203" y="278"/>
                  </a:lnTo>
                  <a:lnTo>
                    <a:pt x="206" y="278"/>
                  </a:lnTo>
                  <a:lnTo>
                    <a:pt x="203" y="275"/>
                  </a:lnTo>
                  <a:lnTo>
                    <a:pt x="203" y="271"/>
                  </a:lnTo>
                  <a:lnTo>
                    <a:pt x="196" y="271"/>
                  </a:lnTo>
                  <a:lnTo>
                    <a:pt x="196" y="268"/>
                  </a:lnTo>
                  <a:lnTo>
                    <a:pt x="196" y="265"/>
                  </a:lnTo>
                  <a:lnTo>
                    <a:pt x="200" y="262"/>
                  </a:lnTo>
                  <a:lnTo>
                    <a:pt x="200" y="262"/>
                  </a:lnTo>
                  <a:lnTo>
                    <a:pt x="200" y="265"/>
                  </a:lnTo>
                  <a:lnTo>
                    <a:pt x="200" y="268"/>
                  </a:lnTo>
                  <a:lnTo>
                    <a:pt x="203" y="268"/>
                  </a:lnTo>
                  <a:lnTo>
                    <a:pt x="203" y="268"/>
                  </a:lnTo>
                  <a:lnTo>
                    <a:pt x="206" y="265"/>
                  </a:lnTo>
                  <a:lnTo>
                    <a:pt x="206" y="265"/>
                  </a:lnTo>
                  <a:lnTo>
                    <a:pt x="210" y="268"/>
                  </a:lnTo>
                  <a:lnTo>
                    <a:pt x="210" y="268"/>
                  </a:lnTo>
                  <a:lnTo>
                    <a:pt x="213" y="268"/>
                  </a:lnTo>
                  <a:lnTo>
                    <a:pt x="213" y="268"/>
                  </a:lnTo>
                  <a:lnTo>
                    <a:pt x="210" y="268"/>
                  </a:lnTo>
                  <a:lnTo>
                    <a:pt x="206" y="271"/>
                  </a:lnTo>
                  <a:lnTo>
                    <a:pt x="210" y="271"/>
                  </a:lnTo>
                  <a:lnTo>
                    <a:pt x="213" y="271"/>
                  </a:lnTo>
                  <a:lnTo>
                    <a:pt x="217" y="268"/>
                  </a:lnTo>
                  <a:lnTo>
                    <a:pt x="227" y="268"/>
                  </a:lnTo>
                  <a:lnTo>
                    <a:pt x="230" y="268"/>
                  </a:lnTo>
                  <a:lnTo>
                    <a:pt x="230" y="268"/>
                  </a:lnTo>
                  <a:lnTo>
                    <a:pt x="230" y="265"/>
                  </a:lnTo>
                  <a:lnTo>
                    <a:pt x="230" y="258"/>
                  </a:lnTo>
                  <a:lnTo>
                    <a:pt x="234" y="258"/>
                  </a:lnTo>
                  <a:lnTo>
                    <a:pt x="237" y="258"/>
                  </a:lnTo>
                  <a:lnTo>
                    <a:pt x="237" y="262"/>
                  </a:lnTo>
                  <a:lnTo>
                    <a:pt x="237" y="265"/>
                  </a:lnTo>
                  <a:lnTo>
                    <a:pt x="237" y="268"/>
                  </a:lnTo>
                  <a:lnTo>
                    <a:pt x="241" y="268"/>
                  </a:lnTo>
                  <a:lnTo>
                    <a:pt x="244" y="265"/>
                  </a:lnTo>
                  <a:lnTo>
                    <a:pt x="241" y="258"/>
                  </a:lnTo>
                  <a:lnTo>
                    <a:pt x="244" y="255"/>
                  </a:lnTo>
                  <a:lnTo>
                    <a:pt x="248" y="252"/>
                  </a:lnTo>
                  <a:lnTo>
                    <a:pt x="251" y="252"/>
                  </a:lnTo>
                  <a:lnTo>
                    <a:pt x="251" y="249"/>
                  </a:lnTo>
                  <a:lnTo>
                    <a:pt x="251" y="249"/>
                  </a:lnTo>
                  <a:lnTo>
                    <a:pt x="251" y="245"/>
                  </a:lnTo>
                  <a:lnTo>
                    <a:pt x="255" y="242"/>
                  </a:lnTo>
                  <a:lnTo>
                    <a:pt x="258" y="242"/>
                  </a:lnTo>
                  <a:lnTo>
                    <a:pt x="258" y="245"/>
                  </a:lnTo>
                  <a:lnTo>
                    <a:pt x="255" y="249"/>
                  </a:lnTo>
                  <a:lnTo>
                    <a:pt x="255" y="252"/>
                  </a:lnTo>
                  <a:lnTo>
                    <a:pt x="255" y="262"/>
                  </a:lnTo>
                  <a:lnTo>
                    <a:pt x="258" y="262"/>
                  </a:lnTo>
                  <a:lnTo>
                    <a:pt x="261" y="262"/>
                  </a:lnTo>
                  <a:lnTo>
                    <a:pt x="261" y="258"/>
                  </a:lnTo>
                  <a:lnTo>
                    <a:pt x="265" y="258"/>
                  </a:lnTo>
                  <a:lnTo>
                    <a:pt x="268" y="255"/>
                  </a:lnTo>
                  <a:lnTo>
                    <a:pt x="272" y="249"/>
                  </a:lnTo>
                  <a:lnTo>
                    <a:pt x="268" y="245"/>
                  </a:lnTo>
                  <a:lnTo>
                    <a:pt x="275" y="242"/>
                  </a:lnTo>
                  <a:lnTo>
                    <a:pt x="272" y="242"/>
                  </a:lnTo>
                  <a:lnTo>
                    <a:pt x="272" y="239"/>
                  </a:lnTo>
                  <a:lnTo>
                    <a:pt x="268" y="236"/>
                  </a:lnTo>
                  <a:lnTo>
                    <a:pt x="265" y="229"/>
                  </a:lnTo>
                  <a:lnTo>
                    <a:pt x="265" y="223"/>
                  </a:lnTo>
                  <a:lnTo>
                    <a:pt x="265" y="213"/>
                  </a:lnTo>
                  <a:lnTo>
                    <a:pt x="265" y="207"/>
                  </a:lnTo>
                  <a:lnTo>
                    <a:pt x="261" y="197"/>
                  </a:lnTo>
                  <a:lnTo>
                    <a:pt x="258" y="191"/>
                  </a:lnTo>
                  <a:lnTo>
                    <a:pt x="258" y="187"/>
                  </a:lnTo>
                  <a:lnTo>
                    <a:pt x="258" y="181"/>
                  </a:lnTo>
                  <a:lnTo>
                    <a:pt x="265" y="178"/>
                  </a:lnTo>
                  <a:lnTo>
                    <a:pt x="268" y="178"/>
                  </a:lnTo>
                  <a:lnTo>
                    <a:pt x="268" y="181"/>
                  </a:lnTo>
                  <a:lnTo>
                    <a:pt x="268" y="181"/>
                  </a:lnTo>
                  <a:lnTo>
                    <a:pt x="268" y="174"/>
                  </a:lnTo>
                  <a:lnTo>
                    <a:pt x="268" y="174"/>
                  </a:lnTo>
                  <a:lnTo>
                    <a:pt x="268" y="171"/>
                  </a:lnTo>
                  <a:lnTo>
                    <a:pt x="265" y="168"/>
                  </a:lnTo>
                  <a:lnTo>
                    <a:pt x="265" y="168"/>
                  </a:lnTo>
                  <a:lnTo>
                    <a:pt x="265" y="165"/>
                  </a:lnTo>
                  <a:lnTo>
                    <a:pt x="268" y="161"/>
                  </a:lnTo>
                  <a:lnTo>
                    <a:pt x="268" y="161"/>
                  </a:lnTo>
                  <a:lnTo>
                    <a:pt x="268" y="158"/>
                  </a:lnTo>
                  <a:lnTo>
                    <a:pt x="268" y="158"/>
                  </a:lnTo>
                  <a:lnTo>
                    <a:pt x="265" y="152"/>
                  </a:lnTo>
                  <a:lnTo>
                    <a:pt x="268" y="152"/>
                  </a:lnTo>
                  <a:lnTo>
                    <a:pt x="265" y="149"/>
                  </a:lnTo>
                  <a:lnTo>
                    <a:pt x="265" y="142"/>
                  </a:lnTo>
                  <a:lnTo>
                    <a:pt x="261" y="139"/>
                  </a:lnTo>
                  <a:lnTo>
                    <a:pt x="258" y="139"/>
                  </a:lnTo>
                  <a:lnTo>
                    <a:pt x="258" y="136"/>
                  </a:lnTo>
                  <a:lnTo>
                    <a:pt x="258" y="129"/>
                  </a:lnTo>
                  <a:lnTo>
                    <a:pt x="255" y="126"/>
                  </a:lnTo>
                  <a:lnTo>
                    <a:pt x="244" y="119"/>
                  </a:lnTo>
                  <a:lnTo>
                    <a:pt x="244" y="116"/>
                  </a:lnTo>
                  <a:lnTo>
                    <a:pt x="241" y="110"/>
                  </a:lnTo>
                  <a:lnTo>
                    <a:pt x="241" y="107"/>
                  </a:lnTo>
                  <a:lnTo>
                    <a:pt x="241" y="103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3"/>
                  </a:lnTo>
                  <a:lnTo>
                    <a:pt x="234" y="103"/>
                  </a:lnTo>
                  <a:lnTo>
                    <a:pt x="230" y="103"/>
                  </a:lnTo>
                  <a:lnTo>
                    <a:pt x="230" y="103"/>
                  </a:lnTo>
                  <a:lnTo>
                    <a:pt x="230" y="107"/>
                  </a:lnTo>
                  <a:lnTo>
                    <a:pt x="230" y="110"/>
                  </a:lnTo>
                  <a:lnTo>
                    <a:pt x="230" y="113"/>
                  </a:lnTo>
                  <a:lnTo>
                    <a:pt x="234" y="110"/>
                  </a:lnTo>
                  <a:lnTo>
                    <a:pt x="237" y="107"/>
                  </a:lnTo>
                  <a:lnTo>
                    <a:pt x="241" y="113"/>
                  </a:lnTo>
                  <a:lnTo>
                    <a:pt x="237" y="116"/>
                  </a:lnTo>
                  <a:lnTo>
                    <a:pt x="234" y="116"/>
                  </a:lnTo>
                  <a:lnTo>
                    <a:pt x="234" y="116"/>
                  </a:lnTo>
                  <a:lnTo>
                    <a:pt x="230" y="116"/>
                  </a:lnTo>
                  <a:lnTo>
                    <a:pt x="234" y="119"/>
                  </a:lnTo>
                  <a:lnTo>
                    <a:pt x="230" y="119"/>
                  </a:lnTo>
                  <a:lnTo>
                    <a:pt x="230" y="119"/>
                  </a:lnTo>
                  <a:lnTo>
                    <a:pt x="227" y="116"/>
                  </a:lnTo>
                  <a:lnTo>
                    <a:pt x="227" y="113"/>
                  </a:lnTo>
                  <a:lnTo>
                    <a:pt x="227" y="113"/>
                  </a:lnTo>
                  <a:lnTo>
                    <a:pt x="224" y="113"/>
                  </a:lnTo>
                  <a:lnTo>
                    <a:pt x="224" y="110"/>
                  </a:lnTo>
                  <a:lnTo>
                    <a:pt x="220" y="113"/>
                  </a:lnTo>
                  <a:lnTo>
                    <a:pt x="224" y="119"/>
                  </a:lnTo>
                  <a:lnTo>
                    <a:pt x="224" y="123"/>
                  </a:lnTo>
                  <a:lnTo>
                    <a:pt x="220" y="123"/>
                  </a:lnTo>
                  <a:lnTo>
                    <a:pt x="217" y="126"/>
                  </a:lnTo>
                  <a:lnTo>
                    <a:pt x="217" y="126"/>
                  </a:lnTo>
                  <a:lnTo>
                    <a:pt x="224" y="132"/>
                  </a:lnTo>
                  <a:lnTo>
                    <a:pt x="224" y="136"/>
                  </a:lnTo>
                  <a:lnTo>
                    <a:pt x="224" y="139"/>
                  </a:lnTo>
                  <a:lnTo>
                    <a:pt x="220" y="139"/>
                  </a:lnTo>
                  <a:lnTo>
                    <a:pt x="217" y="139"/>
                  </a:lnTo>
                  <a:lnTo>
                    <a:pt x="217" y="142"/>
                  </a:lnTo>
                  <a:lnTo>
                    <a:pt x="220" y="145"/>
                  </a:lnTo>
                  <a:lnTo>
                    <a:pt x="224" y="142"/>
                  </a:lnTo>
                  <a:lnTo>
                    <a:pt x="224" y="142"/>
                  </a:lnTo>
                  <a:lnTo>
                    <a:pt x="227" y="149"/>
                  </a:lnTo>
                  <a:lnTo>
                    <a:pt x="230" y="155"/>
                  </a:lnTo>
                  <a:lnTo>
                    <a:pt x="230" y="161"/>
                  </a:lnTo>
                  <a:lnTo>
                    <a:pt x="230" y="168"/>
                  </a:lnTo>
                  <a:lnTo>
                    <a:pt x="227" y="181"/>
                  </a:lnTo>
                  <a:lnTo>
                    <a:pt x="227" y="184"/>
                  </a:lnTo>
                  <a:lnTo>
                    <a:pt x="227" y="191"/>
                  </a:lnTo>
                  <a:lnTo>
                    <a:pt x="220" y="191"/>
                  </a:lnTo>
                  <a:lnTo>
                    <a:pt x="220" y="197"/>
                  </a:lnTo>
                  <a:lnTo>
                    <a:pt x="220" y="200"/>
                  </a:lnTo>
                  <a:lnTo>
                    <a:pt x="217" y="203"/>
                  </a:lnTo>
                  <a:lnTo>
                    <a:pt x="217" y="210"/>
                  </a:lnTo>
                  <a:lnTo>
                    <a:pt x="210" y="213"/>
                  </a:lnTo>
                  <a:lnTo>
                    <a:pt x="203" y="216"/>
                  </a:lnTo>
                  <a:lnTo>
                    <a:pt x="200" y="216"/>
                  </a:lnTo>
                  <a:lnTo>
                    <a:pt x="196" y="220"/>
                  </a:lnTo>
                  <a:lnTo>
                    <a:pt x="193" y="220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0"/>
                  </a:lnTo>
                  <a:lnTo>
                    <a:pt x="193" y="207"/>
                  </a:lnTo>
                  <a:lnTo>
                    <a:pt x="193" y="207"/>
                  </a:lnTo>
                  <a:lnTo>
                    <a:pt x="193" y="203"/>
                  </a:lnTo>
                  <a:lnTo>
                    <a:pt x="193" y="203"/>
                  </a:lnTo>
                  <a:lnTo>
                    <a:pt x="189" y="203"/>
                  </a:lnTo>
                  <a:lnTo>
                    <a:pt x="186" y="207"/>
                  </a:lnTo>
                  <a:lnTo>
                    <a:pt x="182" y="207"/>
                  </a:lnTo>
                  <a:lnTo>
                    <a:pt x="182" y="210"/>
                  </a:lnTo>
                  <a:lnTo>
                    <a:pt x="182" y="216"/>
                  </a:lnTo>
                  <a:lnTo>
                    <a:pt x="186" y="223"/>
                  </a:lnTo>
                  <a:lnTo>
                    <a:pt x="182" y="226"/>
                  </a:lnTo>
                  <a:lnTo>
                    <a:pt x="179" y="229"/>
                  </a:lnTo>
                  <a:lnTo>
                    <a:pt x="179" y="233"/>
                  </a:lnTo>
                  <a:lnTo>
                    <a:pt x="179" y="236"/>
                  </a:lnTo>
                  <a:lnTo>
                    <a:pt x="175" y="239"/>
                  </a:lnTo>
                  <a:lnTo>
                    <a:pt x="179" y="242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79" y="249"/>
                  </a:lnTo>
                  <a:lnTo>
                    <a:pt x="175" y="249"/>
                  </a:lnTo>
                  <a:lnTo>
                    <a:pt x="175" y="249"/>
                  </a:lnTo>
                  <a:lnTo>
                    <a:pt x="175" y="252"/>
                  </a:lnTo>
                  <a:lnTo>
                    <a:pt x="172" y="249"/>
                  </a:lnTo>
                  <a:lnTo>
                    <a:pt x="169" y="252"/>
                  </a:lnTo>
                  <a:lnTo>
                    <a:pt x="169" y="252"/>
                  </a:lnTo>
                  <a:lnTo>
                    <a:pt x="165" y="249"/>
                  </a:lnTo>
                  <a:lnTo>
                    <a:pt x="165" y="245"/>
                  </a:lnTo>
                  <a:lnTo>
                    <a:pt x="162" y="249"/>
                  </a:lnTo>
                  <a:lnTo>
                    <a:pt x="162" y="249"/>
                  </a:lnTo>
                  <a:lnTo>
                    <a:pt x="158" y="249"/>
                  </a:lnTo>
                  <a:lnTo>
                    <a:pt x="151" y="249"/>
                  </a:lnTo>
                  <a:lnTo>
                    <a:pt x="148" y="252"/>
                  </a:lnTo>
                  <a:lnTo>
                    <a:pt x="141" y="252"/>
                  </a:lnTo>
                  <a:lnTo>
                    <a:pt x="138" y="252"/>
                  </a:lnTo>
                  <a:lnTo>
                    <a:pt x="134" y="255"/>
                  </a:lnTo>
                  <a:lnTo>
                    <a:pt x="131" y="252"/>
                  </a:lnTo>
                  <a:lnTo>
                    <a:pt x="127" y="255"/>
                  </a:lnTo>
                  <a:lnTo>
                    <a:pt x="120" y="258"/>
                  </a:lnTo>
                  <a:lnTo>
                    <a:pt x="117" y="262"/>
                  </a:lnTo>
                  <a:lnTo>
                    <a:pt x="117" y="265"/>
                  </a:lnTo>
                  <a:lnTo>
                    <a:pt x="114" y="265"/>
                  </a:lnTo>
                  <a:lnTo>
                    <a:pt x="110" y="271"/>
                  </a:lnTo>
                  <a:lnTo>
                    <a:pt x="107" y="271"/>
                  </a:lnTo>
                  <a:lnTo>
                    <a:pt x="103" y="275"/>
                  </a:lnTo>
                  <a:lnTo>
                    <a:pt x="103" y="278"/>
                  </a:lnTo>
                  <a:lnTo>
                    <a:pt x="100" y="281"/>
                  </a:lnTo>
                  <a:lnTo>
                    <a:pt x="96" y="281"/>
                  </a:lnTo>
                  <a:lnTo>
                    <a:pt x="93" y="284"/>
                  </a:lnTo>
                  <a:lnTo>
                    <a:pt x="93" y="287"/>
                  </a:lnTo>
                  <a:lnTo>
                    <a:pt x="96" y="291"/>
                  </a:lnTo>
                  <a:lnTo>
                    <a:pt x="96" y="291"/>
                  </a:lnTo>
                  <a:lnTo>
                    <a:pt x="96" y="294"/>
                  </a:lnTo>
                  <a:lnTo>
                    <a:pt x="93" y="294"/>
                  </a:lnTo>
                  <a:lnTo>
                    <a:pt x="89" y="297"/>
                  </a:lnTo>
                  <a:lnTo>
                    <a:pt x="86" y="297"/>
                  </a:lnTo>
                  <a:lnTo>
                    <a:pt x="86" y="300"/>
                  </a:lnTo>
                  <a:lnTo>
                    <a:pt x="83" y="304"/>
                  </a:lnTo>
                  <a:lnTo>
                    <a:pt x="79" y="304"/>
                  </a:lnTo>
                  <a:lnTo>
                    <a:pt x="76" y="307"/>
                  </a:lnTo>
                  <a:lnTo>
                    <a:pt x="72" y="307"/>
                  </a:lnTo>
                  <a:lnTo>
                    <a:pt x="76" y="307"/>
                  </a:lnTo>
                  <a:lnTo>
                    <a:pt x="76" y="307"/>
                  </a:lnTo>
                  <a:lnTo>
                    <a:pt x="79" y="310"/>
                  </a:lnTo>
                  <a:lnTo>
                    <a:pt x="79" y="313"/>
                  </a:lnTo>
                  <a:lnTo>
                    <a:pt x="79" y="317"/>
                  </a:lnTo>
                  <a:lnTo>
                    <a:pt x="79" y="313"/>
                  </a:lnTo>
                  <a:lnTo>
                    <a:pt x="76" y="310"/>
                  </a:lnTo>
                  <a:lnTo>
                    <a:pt x="76" y="313"/>
                  </a:lnTo>
                  <a:lnTo>
                    <a:pt x="76" y="317"/>
                  </a:lnTo>
                  <a:lnTo>
                    <a:pt x="79" y="317"/>
                  </a:lnTo>
                  <a:lnTo>
                    <a:pt x="79" y="320"/>
                  </a:lnTo>
                  <a:lnTo>
                    <a:pt x="79" y="320"/>
                  </a:lnTo>
                  <a:lnTo>
                    <a:pt x="79" y="320"/>
                  </a:lnTo>
                  <a:lnTo>
                    <a:pt x="83" y="317"/>
                  </a:lnTo>
                  <a:lnTo>
                    <a:pt x="83" y="317"/>
                  </a:lnTo>
                  <a:lnTo>
                    <a:pt x="86" y="317"/>
                  </a:lnTo>
                  <a:lnTo>
                    <a:pt x="86" y="320"/>
                  </a:lnTo>
                  <a:lnTo>
                    <a:pt x="86" y="320"/>
                  </a:lnTo>
                  <a:lnTo>
                    <a:pt x="89" y="320"/>
                  </a:lnTo>
                  <a:lnTo>
                    <a:pt x="89" y="317"/>
                  </a:lnTo>
                  <a:lnTo>
                    <a:pt x="86" y="313"/>
                  </a:lnTo>
                  <a:lnTo>
                    <a:pt x="83" y="317"/>
                  </a:lnTo>
                  <a:lnTo>
                    <a:pt x="83" y="313"/>
                  </a:lnTo>
                  <a:lnTo>
                    <a:pt x="83" y="313"/>
                  </a:lnTo>
                  <a:lnTo>
                    <a:pt x="83" y="310"/>
                  </a:lnTo>
                  <a:lnTo>
                    <a:pt x="86" y="307"/>
                  </a:lnTo>
                  <a:lnTo>
                    <a:pt x="89" y="310"/>
                  </a:lnTo>
                  <a:lnTo>
                    <a:pt x="93" y="313"/>
                  </a:lnTo>
                  <a:lnTo>
                    <a:pt x="93" y="317"/>
                  </a:lnTo>
                  <a:lnTo>
                    <a:pt x="93" y="320"/>
                  </a:lnTo>
                  <a:lnTo>
                    <a:pt x="93" y="326"/>
                  </a:lnTo>
                  <a:lnTo>
                    <a:pt x="89" y="329"/>
                  </a:lnTo>
                  <a:lnTo>
                    <a:pt x="86" y="329"/>
                  </a:lnTo>
                  <a:lnTo>
                    <a:pt x="89" y="333"/>
                  </a:lnTo>
                  <a:lnTo>
                    <a:pt x="93" y="336"/>
                  </a:lnTo>
                  <a:lnTo>
                    <a:pt x="93" y="342"/>
                  </a:lnTo>
                  <a:lnTo>
                    <a:pt x="96" y="346"/>
                  </a:lnTo>
                  <a:lnTo>
                    <a:pt x="96" y="349"/>
                  </a:lnTo>
                  <a:lnTo>
                    <a:pt x="93" y="349"/>
                  </a:lnTo>
                  <a:lnTo>
                    <a:pt x="96" y="352"/>
                  </a:lnTo>
                  <a:lnTo>
                    <a:pt x="100" y="352"/>
                  </a:lnTo>
                  <a:lnTo>
                    <a:pt x="103" y="352"/>
                  </a:lnTo>
                  <a:lnTo>
                    <a:pt x="103" y="352"/>
                  </a:lnTo>
                  <a:lnTo>
                    <a:pt x="103" y="352"/>
                  </a:lnTo>
                  <a:lnTo>
                    <a:pt x="100" y="346"/>
                  </a:lnTo>
                  <a:lnTo>
                    <a:pt x="100" y="342"/>
                  </a:lnTo>
                  <a:lnTo>
                    <a:pt x="103" y="339"/>
                  </a:lnTo>
                  <a:lnTo>
                    <a:pt x="103" y="342"/>
                  </a:lnTo>
                  <a:lnTo>
                    <a:pt x="103" y="342"/>
                  </a:lnTo>
                  <a:lnTo>
                    <a:pt x="103" y="346"/>
                  </a:lnTo>
                  <a:lnTo>
                    <a:pt x="107" y="346"/>
                  </a:lnTo>
                  <a:lnTo>
                    <a:pt x="107" y="352"/>
                  </a:lnTo>
                  <a:lnTo>
                    <a:pt x="107" y="355"/>
                  </a:lnTo>
                  <a:lnTo>
                    <a:pt x="107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3" name="Freeform 14"/>
            <p:cNvSpPr>
              <a:spLocks noEditPoints="1"/>
            </p:cNvSpPr>
            <p:nvPr/>
          </p:nvSpPr>
          <p:spPr bwMode="auto">
            <a:xfrm>
              <a:off x="9996488" y="3458230"/>
              <a:ext cx="141288" cy="188912"/>
            </a:xfrm>
            <a:custGeom>
              <a:avLst/>
              <a:gdLst>
                <a:gd name="T0" fmla="*/ 55 w 89"/>
                <a:gd name="T1" fmla="*/ 84 h 119"/>
                <a:gd name="T2" fmla="*/ 55 w 89"/>
                <a:gd name="T3" fmla="*/ 87 h 119"/>
                <a:gd name="T4" fmla="*/ 55 w 89"/>
                <a:gd name="T5" fmla="*/ 84 h 119"/>
                <a:gd name="T6" fmla="*/ 24 w 89"/>
                <a:gd name="T7" fmla="*/ 93 h 119"/>
                <a:gd name="T8" fmla="*/ 27 w 89"/>
                <a:gd name="T9" fmla="*/ 93 h 119"/>
                <a:gd name="T10" fmla="*/ 31 w 89"/>
                <a:gd name="T11" fmla="*/ 93 h 119"/>
                <a:gd name="T12" fmla="*/ 27 w 89"/>
                <a:gd name="T13" fmla="*/ 96 h 119"/>
                <a:gd name="T14" fmla="*/ 27 w 89"/>
                <a:gd name="T15" fmla="*/ 96 h 119"/>
                <a:gd name="T16" fmla="*/ 69 w 89"/>
                <a:gd name="T17" fmla="*/ 80 h 119"/>
                <a:gd name="T18" fmla="*/ 69 w 89"/>
                <a:gd name="T19" fmla="*/ 84 h 119"/>
                <a:gd name="T20" fmla="*/ 72 w 89"/>
                <a:gd name="T21" fmla="*/ 84 h 119"/>
                <a:gd name="T22" fmla="*/ 72 w 89"/>
                <a:gd name="T23" fmla="*/ 77 h 119"/>
                <a:gd name="T24" fmla="*/ 82 w 89"/>
                <a:gd name="T25" fmla="*/ 100 h 119"/>
                <a:gd name="T26" fmla="*/ 86 w 89"/>
                <a:gd name="T27" fmla="*/ 96 h 119"/>
                <a:gd name="T28" fmla="*/ 86 w 89"/>
                <a:gd name="T29" fmla="*/ 100 h 119"/>
                <a:gd name="T30" fmla="*/ 82 w 89"/>
                <a:gd name="T31" fmla="*/ 100 h 119"/>
                <a:gd name="T32" fmla="*/ 86 w 89"/>
                <a:gd name="T33" fmla="*/ 93 h 119"/>
                <a:gd name="T34" fmla="*/ 86 w 89"/>
                <a:gd name="T35" fmla="*/ 93 h 119"/>
                <a:gd name="T36" fmla="*/ 86 w 89"/>
                <a:gd name="T37" fmla="*/ 87 h 119"/>
                <a:gd name="T38" fmla="*/ 89 w 89"/>
                <a:gd name="T39" fmla="*/ 87 h 119"/>
                <a:gd name="T40" fmla="*/ 86 w 89"/>
                <a:gd name="T41" fmla="*/ 93 h 119"/>
                <a:gd name="T42" fmla="*/ 31 w 89"/>
                <a:gd name="T43" fmla="*/ 119 h 119"/>
                <a:gd name="T44" fmla="*/ 34 w 89"/>
                <a:gd name="T45" fmla="*/ 113 h 119"/>
                <a:gd name="T46" fmla="*/ 45 w 89"/>
                <a:gd name="T47" fmla="*/ 113 h 119"/>
                <a:gd name="T48" fmla="*/ 41 w 89"/>
                <a:gd name="T49" fmla="*/ 116 h 119"/>
                <a:gd name="T50" fmla="*/ 31 w 89"/>
                <a:gd name="T51" fmla="*/ 119 h 119"/>
                <a:gd name="T52" fmla="*/ 0 w 89"/>
                <a:gd name="T53" fmla="*/ 19 h 119"/>
                <a:gd name="T54" fmla="*/ 3 w 89"/>
                <a:gd name="T55" fmla="*/ 19 h 119"/>
                <a:gd name="T56" fmla="*/ 7 w 89"/>
                <a:gd name="T57" fmla="*/ 19 h 119"/>
                <a:gd name="T58" fmla="*/ 21 w 89"/>
                <a:gd name="T59" fmla="*/ 32 h 119"/>
                <a:gd name="T60" fmla="*/ 21 w 89"/>
                <a:gd name="T61" fmla="*/ 32 h 119"/>
                <a:gd name="T62" fmla="*/ 27 w 89"/>
                <a:gd name="T63" fmla="*/ 38 h 119"/>
                <a:gd name="T64" fmla="*/ 17 w 89"/>
                <a:gd name="T65" fmla="*/ 35 h 119"/>
                <a:gd name="T66" fmla="*/ 14 w 89"/>
                <a:gd name="T67" fmla="*/ 38 h 119"/>
                <a:gd name="T68" fmla="*/ 17 w 89"/>
                <a:gd name="T69" fmla="*/ 45 h 119"/>
                <a:gd name="T70" fmla="*/ 24 w 89"/>
                <a:gd name="T71" fmla="*/ 48 h 119"/>
                <a:gd name="T72" fmla="*/ 24 w 89"/>
                <a:gd name="T73" fmla="*/ 58 h 119"/>
                <a:gd name="T74" fmla="*/ 31 w 89"/>
                <a:gd name="T75" fmla="*/ 61 h 119"/>
                <a:gd name="T76" fmla="*/ 24 w 89"/>
                <a:gd name="T77" fmla="*/ 67 h 119"/>
                <a:gd name="T78" fmla="*/ 27 w 89"/>
                <a:gd name="T79" fmla="*/ 71 h 119"/>
                <a:gd name="T80" fmla="*/ 24 w 89"/>
                <a:gd name="T81" fmla="*/ 77 h 119"/>
                <a:gd name="T82" fmla="*/ 24 w 89"/>
                <a:gd name="T83" fmla="*/ 80 h 119"/>
                <a:gd name="T84" fmla="*/ 31 w 89"/>
                <a:gd name="T85" fmla="*/ 87 h 119"/>
                <a:gd name="T86" fmla="*/ 34 w 89"/>
                <a:gd name="T87" fmla="*/ 93 h 119"/>
                <a:gd name="T88" fmla="*/ 34 w 89"/>
                <a:gd name="T89" fmla="*/ 93 h 119"/>
                <a:gd name="T90" fmla="*/ 38 w 89"/>
                <a:gd name="T91" fmla="*/ 90 h 119"/>
                <a:gd name="T92" fmla="*/ 48 w 89"/>
                <a:gd name="T93" fmla="*/ 80 h 119"/>
                <a:gd name="T94" fmla="*/ 55 w 89"/>
                <a:gd name="T95" fmla="*/ 84 h 119"/>
                <a:gd name="T96" fmla="*/ 58 w 89"/>
                <a:gd name="T97" fmla="*/ 80 h 119"/>
                <a:gd name="T98" fmla="*/ 62 w 89"/>
                <a:gd name="T99" fmla="*/ 80 h 119"/>
                <a:gd name="T100" fmla="*/ 65 w 89"/>
                <a:gd name="T101" fmla="*/ 80 h 119"/>
                <a:gd name="T102" fmla="*/ 69 w 89"/>
                <a:gd name="T103" fmla="*/ 77 h 119"/>
                <a:gd name="T104" fmla="*/ 79 w 89"/>
                <a:gd name="T105" fmla="*/ 71 h 119"/>
                <a:gd name="T106" fmla="*/ 82 w 89"/>
                <a:gd name="T107" fmla="*/ 67 h 119"/>
                <a:gd name="T108" fmla="*/ 79 w 89"/>
                <a:gd name="T109" fmla="*/ 54 h 119"/>
                <a:gd name="T110" fmla="*/ 79 w 89"/>
                <a:gd name="T111" fmla="*/ 51 h 119"/>
                <a:gd name="T112" fmla="*/ 72 w 89"/>
                <a:gd name="T113" fmla="*/ 38 h 119"/>
                <a:gd name="T114" fmla="*/ 62 w 89"/>
                <a:gd name="T115" fmla="*/ 19 h 119"/>
                <a:gd name="T116" fmla="*/ 41 w 89"/>
                <a:gd name="T117" fmla="*/ 0 h 119"/>
                <a:gd name="T118" fmla="*/ 21 w 89"/>
                <a:gd name="T119" fmla="*/ 3 h 119"/>
                <a:gd name="T120" fmla="*/ 7 w 89"/>
                <a:gd name="T121" fmla="*/ 9 h 119"/>
                <a:gd name="T122" fmla="*/ 0 w 89"/>
                <a:gd name="T123" fmla="*/ 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9" h="119">
                  <a:moveTo>
                    <a:pt x="55" y="84"/>
                  </a:moveTo>
                  <a:lnTo>
                    <a:pt x="55" y="84"/>
                  </a:lnTo>
                  <a:lnTo>
                    <a:pt x="58" y="84"/>
                  </a:lnTo>
                  <a:lnTo>
                    <a:pt x="55" y="87"/>
                  </a:lnTo>
                  <a:lnTo>
                    <a:pt x="55" y="84"/>
                  </a:lnTo>
                  <a:lnTo>
                    <a:pt x="55" y="84"/>
                  </a:lnTo>
                  <a:close/>
                  <a:moveTo>
                    <a:pt x="27" y="96"/>
                  </a:moveTo>
                  <a:lnTo>
                    <a:pt x="24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0"/>
                  </a:lnTo>
                  <a:lnTo>
                    <a:pt x="31" y="93"/>
                  </a:lnTo>
                  <a:lnTo>
                    <a:pt x="31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7" y="96"/>
                  </a:lnTo>
                  <a:close/>
                  <a:moveTo>
                    <a:pt x="72" y="77"/>
                  </a:moveTo>
                  <a:lnTo>
                    <a:pt x="69" y="80"/>
                  </a:lnTo>
                  <a:lnTo>
                    <a:pt x="69" y="84"/>
                  </a:lnTo>
                  <a:lnTo>
                    <a:pt x="69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77"/>
                  </a:lnTo>
                  <a:lnTo>
                    <a:pt x="72" y="77"/>
                  </a:lnTo>
                  <a:close/>
                  <a:moveTo>
                    <a:pt x="82" y="100"/>
                  </a:moveTo>
                  <a:lnTo>
                    <a:pt x="82" y="100"/>
                  </a:lnTo>
                  <a:lnTo>
                    <a:pt x="86" y="96"/>
                  </a:lnTo>
                  <a:lnTo>
                    <a:pt x="89" y="96"/>
                  </a:lnTo>
                  <a:lnTo>
                    <a:pt x="86" y="100"/>
                  </a:lnTo>
                  <a:lnTo>
                    <a:pt x="86" y="100"/>
                  </a:lnTo>
                  <a:lnTo>
                    <a:pt x="82" y="100"/>
                  </a:lnTo>
                  <a:lnTo>
                    <a:pt x="82" y="100"/>
                  </a:lnTo>
                  <a:close/>
                  <a:moveTo>
                    <a:pt x="86" y="93"/>
                  </a:moveTo>
                  <a:lnTo>
                    <a:pt x="86" y="93"/>
                  </a:lnTo>
                  <a:lnTo>
                    <a:pt x="86" y="93"/>
                  </a:lnTo>
                  <a:lnTo>
                    <a:pt x="86" y="90"/>
                  </a:lnTo>
                  <a:lnTo>
                    <a:pt x="86" y="87"/>
                  </a:lnTo>
                  <a:lnTo>
                    <a:pt x="86" y="87"/>
                  </a:lnTo>
                  <a:lnTo>
                    <a:pt x="89" y="87"/>
                  </a:lnTo>
                  <a:lnTo>
                    <a:pt x="89" y="90"/>
                  </a:lnTo>
                  <a:lnTo>
                    <a:pt x="86" y="93"/>
                  </a:lnTo>
                  <a:lnTo>
                    <a:pt x="86" y="93"/>
                  </a:lnTo>
                  <a:close/>
                  <a:moveTo>
                    <a:pt x="31" y="119"/>
                  </a:moveTo>
                  <a:lnTo>
                    <a:pt x="31" y="116"/>
                  </a:lnTo>
                  <a:lnTo>
                    <a:pt x="34" y="113"/>
                  </a:lnTo>
                  <a:lnTo>
                    <a:pt x="41" y="109"/>
                  </a:lnTo>
                  <a:lnTo>
                    <a:pt x="45" y="113"/>
                  </a:lnTo>
                  <a:lnTo>
                    <a:pt x="45" y="113"/>
                  </a:lnTo>
                  <a:lnTo>
                    <a:pt x="41" y="116"/>
                  </a:lnTo>
                  <a:lnTo>
                    <a:pt x="34" y="119"/>
                  </a:lnTo>
                  <a:lnTo>
                    <a:pt x="31" y="119"/>
                  </a:lnTo>
                  <a:lnTo>
                    <a:pt x="31" y="119"/>
                  </a:lnTo>
                  <a:close/>
                  <a:moveTo>
                    <a:pt x="0" y="19"/>
                  </a:moveTo>
                  <a:lnTo>
                    <a:pt x="0" y="19"/>
                  </a:lnTo>
                  <a:lnTo>
                    <a:pt x="3" y="19"/>
                  </a:lnTo>
                  <a:lnTo>
                    <a:pt x="10" y="19"/>
                  </a:lnTo>
                  <a:lnTo>
                    <a:pt x="7" y="19"/>
                  </a:lnTo>
                  <a:lnTo>
                    <a:pt x="14" y="25"/>
                  </a:lnTo>
                  <a:lnTo>
                    <a:pt x="21" y="32"/>
                  </a:lnTo>
                  <a:lnTo>
                    <a:pt x="24" y="32"/>
                  </a:lnTo>
                  <a:lnTo>
                    <a:pt x="21" y="32"/>
                  </a:lnTo>
                  <a:lnTo>
                    <a:pt x="24" y="35"/>
                  </a:lnTo>
                  <a:lnTo>
                    <a:pt x="27" y="38"/>
                  </a:lnTo>
                  <a:lnTo>
                    <a:pt x="21" y="38"/>
                  </a:lnTo>
                  <a:lnTo>
                    <a:pt x="17" y="35"/>
                  </a:lnTo>
                  <a:lnTo>
                    <a:pt x="17" y="38"/>
                  </a:lnTo>
                  <a:lnTo>
                    <a:pt x="14" y="38"/>
                  </a:lnTo>
                  <a:lnTo>
                    <a:pt x="10" y="42"/>
                  </a:lnTo>
                  <a:lnTo>
                    <a:pt x="17" y="45"/>
                  </a:lnTo>
                  <a:lnTo>
                    <a:pt x="21" y="45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24" y="58"/>
                  </a:lnTo>
                  <a:lnTo>
                    <a:pt x="27" y="54"/>
                  </a:lnTo>
                  <a:lnTo>
                    <a:pt x="31" y="61"/>
                  </a:lnTo>
                  <a:lnTo>
                    <a:pt x="24" y="64"/>
                  </a:lnTo>
                  <a:lnTo>
                    <a:pt x="24" y="67"/>
                  </a:lnTo>
                  <a:lnTo>
                    <a:pt x="27" y="67"/>
                  </a:lnTo>
                  <a:lnTo>
                    <a:pt x="27" y="71"/>
                  </a:lnTo>
                  <a:lnTo>
                    <a:pt x="24" y="74"/>
                  </a:lnTo>
                  <a:lnTo>
                    <a:pt x="24" y="77"/>
                  </a:lnTo>
                  <a:lnTo>
                    <a:pt x="27" y="80"/>
                  </a:lnTo>
                  <a:lnTo>
                    <a:pt x="24" y="80"/>
                  </a:lnTo>
                  <a:lnTo>
                    <a:pt x="27" y="87"/>
                  </a:lnTo>
                  <a:lnTo>
                    <a:pt x="31" y="87"/>
                  </a:lnTo>
                  <a:lnTo>
                    <a:pt x="31" y="90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0"/>
                  </a:lnTo>
                  <a:lnTo>
                    <a:pt x="38" y="90"/>
                  </a:lnTo>
                  <a:lnTo>
                    <a:pt x="41" y="87"/>
                  </a:lnTo>
                  <a:lnTo>
                    <a:pt x="48" y="80"/>
                  </a:lnTo>
                  <a:lnTo>
                    <a:pt x="52" y="80"/>
                  </a:lnTo>
                  <a:lnTo>
                    <a:pt x="55" y="84"/>
                  </a:lnTo>
                  <a:lnTo>
                    <a:pt x="55" y="80"/>
                  </a:lnTo>
                  <a:lnTo>
                    <a:pt x="58" y="80"/>
                  </a:lnTo>
                  <a:lnTo>
                    <a:pt x="58" y="84"/>
                  </a:lnTo>
                  <a:lnTo>
                    <a:pt x="62" y="80"/>
                  </a:lnTo>
                  <a:lnTo>
                    <a:pt x="65" y="84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9" y="77"/>
                  </a:lnTo>
                  <a:lnTo>
                    <a:pt x="76" y="77"/>
                  </a:lnTo>
                  <a:lnTo>
                    <a:pt x="79" y="71"/>
                  </a:lnTo>
                  <a:lnTo>
                    <a:pt x="79" y="71"/>
                  </a:lnTo>
                  <a:lnTo>
                    <a:pt x="82" y="67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8"/>
                  </a:lnTo>
                  <a:lnTo>
                    <a:pt x="79" y="51"/>
                  </a:lnTo>
                  <a:lnTo>
                    <a:pt x="76" y="42"/>
                  </a:lnTo>
                  <a:lnTo>
                    <a:pt x="72" y="38"/>
                  </a:lnTo>
                  <a:lnTo>
                    <a:pt x="72" y="32"/>
                  </a:lnTo>
                  <a:lnTo>
                    <a:pt x="62" y="19"/>
                  </a:lnTo>
                  <a:lnTo>
                    <a:pt x="48" y="9"/>
                  </a:lnTo>
                  <a:lnTo>
                    <a:pt x="41" y="0"/>
                  </a:lnTo>
                  <a:lnTo>
                    <a:pt x="34" y="3"/>
                  </a:lnTo>
                  <a:lnTo>
                    <a:pt x="21" y="3"/>
                  </a:lnTo>
                  <a:lnTo>
                    <a:pt x="14" y="9"/>
                  </a:lnTo>
                  <a:lnTo>
                    <a:pt x="7" y="9"/>
                  </a:lnTo>
                  <a:lnTo>
                    <a:pt x="3" y="16"/>
                  </a:lnTo>
                  <a:lnTo>
                    <a:pt x="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4" name="Freeform 15"/>
            <p:cNvSpPr>
              <a:spLocks/>
            </p:cNvSpPr>
            <p:nvPr/>
          </p:nvSpPr>
          <p:spPr bwMode="auto">
            <a:xfrm>
              <a:off x="9936163" y="3283605"/>
              <a:ext cx="147638" cy="209550"/>
            </a:xfrm>
            <a:custGeom>
              <a:avLst/>
              <a:gdLst>
                <a:gd name="T0" fmla="*/ 0 w 93"/>
                <a:gd name="T1" fmla="*/ 74 h 132"/>
                <a:gd name="T2" fmla="*/ 7 w 93"/>
                <a:gd name="T3" fmla="*/ 68 h 132"/>
                <a:gd name="T4" fmla="*/ 10 w 93"/>
                <a:gd name="T5" fmla="*/ 61 h 132"/>
                <a:gd name="T6" fmla="*/ 17 w 93"/>
                <a:gd name="T7" fmla="*/ 55 h 132"/>
                <a:gd name="T8" fmla="*/ 24 w 93"/>
                <a:gd name="T9" fmla="*/ 42 h 132"/>
                <a:gd name="T10" fmla="*/ 24 w 93"/>
                <a:gd name="T11" fmla="*/ 35 h 132"/>
                <a:gd name="T12" fmla="*/ 31 w 93"/>
                <a:gd name="T13" fmla="*/ 35 h 132"/>
                <a:gd name="T14" fmla="*/ 38 w 93"/>
                <a:gd name="T15" fmla="*/ 42 h 132"/>
                <a:gd name="T16" fmla="*/ 45 w 93"/>
                <a:gd name="T17" fmla="*/ 42 h 132"/>
                <a:gd name="T18" fmla="*/ 55 w 93"/>
                <a:gd name="T19" fmla="*/ 42 h 132"/>
                <a:gd name="T20" fmla="*/ 59 w 93"/>
                <a:gd name="T21" fmla="*/ 32 h 132"/>
                <a:gd name="T22" fmla="*/ 52 w 93"/>
                <a:gd name="T23" fmla="*/ 29 h 132"/>
                <a:gd name="T24" fmla="*/ 59 w 93"/>
                <a:gd name="T25" fmla="*/ 26 h 132"/>
                <a:gd name="T26" fmla="*/ 65 w 93"/>
                <a:gd name="T27" fmla="*/ 16 h 132"/>
                <a:gd name="T28" fmla="*/ 72 w 93"/>
                <a:gd name="T29" fmla="*/ 13 h 132"/>
                <a:gd name="T30" fmla="*/ 72 w 93"/>
                <a:gd name="T31" fmla="*/ 6 h 132"/>
                <a:gd name="T32" fmla="*/ 72 w 93"/>
                <a:gd name="T33" fmla="*/ 0 h 132"/>
                <a:gd name="T34" fmla="*/ 79 w 93"/>
                <a:gd name="T35" fmla="*/ 3 h 132"/>
                <a:gd name="T36" fmla="*/ 79 w 93"/>
                <a:gd name="T37" fmla="*/ 6 h 132"/>
                <a:gd name="T38" fmla="*/ 93 w 93"/>
                <a:gd name="T39" fmla="*/ 13 h 132"/>
                <a:gd name="T40" fmla="*/ 83 w 93"/>
                <a:gd name="T41" fmla="*/ 19 h 132"/>
                <a:gd name="T42" fmla="*/ 83 w 93"/>
                <a:gd name="T43" fmla="*/ 22 h 132"/>
                <a:gd name="T44" fmla="*/ 79 w 93"/>
                <a:gd name="T45" fmla="*/ 35 h 132"/>
                <a:gd name="T46" fmla="*/ 83 w 93"/>
                <a:gd name="T47" fmla="*/ 45 h 132"/>
                <a:gd name="T48" fmla="*/ 86 w 93"/>
                <a:gd name="T49" fmla="*/ 51 h 132"/>
                <a:gd name="T50" fmla="*/ 83 w 93"/>
                <a:gd name="T51" fmla="*/ 58 h 132"/>
                <a:gd name="T52" fmla="*/ 72 w 93"/>
                <a:gd name="T53" fmla="*/ 68 h 132"/>
                <a:gd name="T54" fmla="*/ 69 w 93"/>
                <a:gd name="T55" fmla="*/ 71 h 132"/>
                <a:gd name="T56" fmla="*/ 62 w 93"/>
                <a:gd name="T57" fmla="*/ 74 h 132"/>
                <a:gd name="T58" fmla="*/ 55 w 93"/>
                <a:gd name="T59" fmla="*/ 80 h 132"/>
                <a:gd name="T60" fmla="*/ 55 w 93"/>
                <a:gd name="T61" fmla="*/ 87 h 132"/>
                <a:gd name="T62" fmla="*/ 55 w 93"/>
                <a:gd name="T63" fmla="*/ 93 h 132"/>
                <a:gd name="T64" fmla="*/ 65 w 93"/>
                <a:gd name="T65" fmla="*/ 97 h 132"/>
                <a:gd name="T66" fmla="*/ 79 w 93"/>
                <a:gd name="T67" fmla="*/ 110 h 132"/>
                <a:gd name="T68" fmla="*/ 59 w 93"/>
                <a:gd name="T69" fmla="*/ 113 h 132"/>
                <a:gd name="T70" fmla="*/ 45 w 93"/>
                <a:gd name="T71" fmla="*/ 119 h 132"/>
                <a:gd name="T72" fmla="*/ 38 w 93"/>
                <a:gd name="T73" fmla="*/ 129 h 132"/>
                <a:gd name="T74" fmla="*/ 31 w 93"/>
                <a:gd name="T75" fmla="*/ 126 h 132"/>
                <a:gd name="T76" fmla="*/ 31 w 93"/>
                <a:gd name="T77" fmla="*/ 132 h 132"/>
                <a:gd name="T78" fmla="*/ 24 w 93"/>
                <a:gd name="T79" fmla="*/ 132 h 132"/>
                <a:gd name="T80" fmla="*/ 24 w 93"/>
                <a:gd name="T81" fmla="*/ 126 h 132"/>
                <a:gd name="T82" fmla="*/ 17 w 93"/>
                <a:gd name="T83" fmla="*/ 126 h 132"/>
                <a:gd name="T84" fmla="*/ 17 w 93"/>
                <a:gd name="T85" fmla="*/ 122 h 132"/>
                <a:gd name="T86" fmla="*/ 21 w 93"/>
                <a:gd name="T87" fmla="*/ 113 h 132"/>
                <a:gd name="T88" fmla="*/ 28 w 93"/>
                <a:gd name="T89" fmla="*/ 110 h 132"/>
                <a:gd name="T90" fmla="*/ 17 w 93"/>
                <a:gd name="T91" fmla="*/ 110 h 132"/>
                <a:gd name="T92" fmla="*/ 17 w 93"/>
                <a:gd name="T93" fmla="*/ 100 h 132"/>
                <a:gd name="T94" fmla="*/ 17 w 93"/>
                <a:gd name="T95" fmla="*/ 90 h 132"/>
                <a:gd name="T96" fmla="*/ 21 w 93"/>
                <a:gd name="T97" fmla="*/ 87 h 132"/>
                <a:gd name="T98" fmla="*/ 17 w 93"/>
                <a:gd name="T99" fmla="*/ 90 h 132"/>
                <a:gd name="T100" fmla="*/ 10 w 93"/>
                <a:gd name="T101" fmla="*/ 87 h 132"/>
                <a:gd name="T102" fmla="*/ 4 w 93"/>
                <a:gd name="T103" fmla="*/ 87 h 132"/>
                <a:gd name="T104" fmla="*/ 0 w 93"/>
                <a:gd name="T105" fmla="*/ 84 h 132"/>
                <a:gd name="T106" fmla="*/ 0 w 93"/>
                <a:gd name="T107" fmla="*/ 8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3" h="132">
                  <a:moveTo>
                    <a:pt x="0" y="84"/>
                  </a:moveTo>
                  <a:lnTo>
                    <a:pt x="0" y="74"/>
                  </a:lnTo>
                  <a:lnTo>
                    <a:pt x="4" y="71"/>
                  </a:lnTo>
                  <a:lnTo>
                    <a:pt x="7" y="68"/>
                  </a:lnTo>
                  <a:lnTo>
                    <a:pt x="7" y="64"/>
                  </a:lnTo>
                  <a:lnTo>
                    <a:pt x="10" y="61"/>
                  </a:lnTo>
                  <a:lnTo>
                    <a:pt x="14" y="55"/>
                  </a:lnTo>
                  <a:lnTo>
                    <a:pt x="17" y="55"/>
                  </a:lnTo>
                  <a:lnTo>
                    <a:pt x="21" y="45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35"/>
                  </a:lnTo>
                  <a:lnTo>
                    <a:pt x="28" y="32"/>
                  </a:lnTo>
                  <a:lnTo>
                    <a:pt x="31" y="35"/>
                  </a:lnTo>
                  <a:lnTo>
                    <a:pt x="34" y="38"/>
                  </a:lnTo>
                  <a:lnTo>
                    <a:pt x="38" y="42"/>
                  </a:lnTo>
                  <a:lnTo>
                    <a:pt x="41" y="38"/>
                  </a:lnTo>
                  <a:lnTo>
                    <a:pt x="45" y="42"/>
                  </a:lnTo>
                  <a:lnTo>
                    <a:pt x="52" y="38"/>
                  </a:lnTo>
                  <a:lnTo>
                    <a:pt x="55" y="42"/>
                  </a:lnTo>
                  <a:lnTo>
                    <a:pt x="59" y="35"/>
                  </a:lnTo>
                  <a:lnTo>
                    <a:pt x="59" y="32"/>
                  </a:lnTo>
                  <a:lnTo>
                    <a:pt x="55" y="29"/>
                  </a:lnTo>
                  <a:lnTo>
                    <a:pt x="52" y="29"/>
                  </a:lnTo>
                  <a:lnTo>
                    <a:pt x="55" y="26"/>
                  </a:lnTo>
                  <a:lnTo>
                    <a:pt x="59" y="26"/>
                  </a:lnTo>
                  <a:lnTo>
                    <a:pt x="65" y="19"/>
                  </a:lnTo>
                  <a:lnTo>
                    <a:pt x="65" y="16"/>
                  </a:lnTo>
                  <a:lnTo>
                    <a:pt x="69" y="13"/>
                  </a:lnTo>
                  <a:lnTo>
                    <a:pt x="72" y="13"/>
                  </a:lnTo>
                  <a:lnTo>
                    <a:pt x="76" y="9"/>
                  </a:lnTo>
                  <a:lnTo>
                    <a:pt x="72" y="6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9" y="3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86" y="6"/>
                  </a:lnTo>
                  <a:lnTo>
                    <a:pt x="93" y="13"/>
                  </a:lnTo>
                  <a:lnTo>
                    <a:pt x="90" y="13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22"/>
                  </a:lnTo>
                  <a:lnTo>
                    <a:pt x="79" y="32"/>
                  </a:lnTo>
                  <a:lnTo>
                    <a:pt x="79" y="35"/>
                  </a:lnTo>
                  <a:lnTo>
                    <a:pt x="83" y="38"/>
                  </a:lnTo>
                  <a:lnTo>
                    <a:pt x="83" y="45"/>
                  </a:lnTo>
                  <a:lnTo>
                    <a:pt x="86" y="48"/>
                  </a:lnTo>
                  <a:lnTo>
                    <a:pt x="86" y="51"/>
                  </a:lnTo>
                  <a:lnTo>
                    <a:pt x="79" y="55"/>
                  </a:lnTo>
                  <a:lnTo>
                    <a:pt x="83" y="58"/>
                  </a:lnTo>
                  <a:lnTo>
                    <a:pt x="72" y="64"/>
                  </a:lnTo>
                  <a:lnTo>
                    <a:pt x="72" y="68"/>
                  </a:lnTo>
                  <a:lnTo>
                    <a:pt x="69" y="71"/>
                  </a:lnTo>
                  <a:lnTo>
                    <a:pt x="69" y="71"/>
                  </a:lnTo>
                  <a:lnTo>
                    <a:pt x="65" y="71"/>
                  </a:lnTo>
                  <a:lnTo>
                    <a:pt x="62" y="74"/>
                  </a:lnTo>
                  <a:lnTo>
                    <a:pt x="59" y="77"/>
                  </a:lnTo>
                  <a:lnTo>
                    <a:pt x="55" y="80"/>
                  </a:lnTo>
                  <a:lnTo>
                    <a:pt x="55" y="84"/>
                  </a:lnTo>
                  <a:lnTo>
                    <a:pt x="55" y="87"/>
                  </a:lnTo>
                  <a:lnTo>
                    <a:pt x="55" y="90"/>
                  </a:lnTo>
                  <a:lnTo>
                    <a:pt x="55" y="93"/>
                  </a:lnTo>
                  <a:lnTo>
                    <a:pt x="62" y="97"/>
                  </a:lnTo>
                  <a:lnTo>
                    <a:pt x="65" y="97"/>
                  </a:lnTo>
                  <a:lnTo>
                    <a:pt x="79" y="106"/>
                  </a:lnTo>
                  <a:lnTo>
                    <a:pt x="79" y="110"/>
                  </a:lnTo>
                  <a:lnTo>
                    <a:pt x="72" y="113"/>
                  </a:lnTo>
                  <a:lnTo>
                    <a:pt x="59" y="113"/>
                  </a:lnTo>
                  <a:lnTo>
                    <a:pt x="52" y="119"/>
                  </a:lnTo>
                  <a:lnTo>
                    <a:pt x="45" y="119"/>
                  </a:lnTo>
                  <a:lnTo>
                    <a:pt x="41" y="126"/>
                  </a:lnTo>
                  <a:lnTo>
                    <a:pt x="38" y="129"/>
                  </a:lnTo>
                  <a:lnTo>
                    <a:pt x="34" y="126"/>
                  </a:lnTo>
                  <a:lnTo>
                    <a:pt x="31" y="126"/>
                  </a:lnTo>
                  <a:lnTo>
                    <a:pt x="34" y="129"/>
                  </a:lnTo>
                  <a:lnTo>
                    <a:pt x="31" y="132"/>
                  </a:lnTo>
                  <a:lnTo>
                    <a:pt x="28" y="132"/>
                  </a:lnTo>
                  <a:lnTo>
                    <a:pt x="24" y="132"/>
                  </a:lnTo>
                  <a:lnTo>
                    <a:pt x="21" y="132"/>
                  </a:lnTo>
                  <a:lnTo>
                    <a:pt x="24" y="126"/>
                  </a:lnTo>
                  <a:lnTo>
                    <a:pt x="21" y="126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17" y="122"/>
                  </a:lnTo>
                  <a:lnTo>
                    <a:pt x="17" y="116"/>
                  </a:lnTo>
                  <a:lnTo>
                    <a:pt x="21" y="113"/>
                  </a:lnTo>
                  <a:lnTo>
                    <a:pt x="24" y="113"/>
                  </a:lnTo>
                  <a:lnTo>
                    <a:pt x="28" y="110"/>
                  </a:lnTo>
                  <a:lnTo>
                    <a:pt x="24" y="110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17" y="100"/>
                  </a:lnTo>
                  <a:lnTo>
                    <a:pt x="21" y="93"/>
                  </a:lnTo>
                  <a:lnTo>
                    <a:pt x="17" y="90"/>
                  </a:lnTo>
                  <a:lnTo>
                    <a:pt x="21" y="90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17" y="90"/>
                  </a:lnTo>
                  <a:lnTo>
                    <a:pt x="10" y="90"/>
                  </a:lnTo>
                  <a:lnTo>
                    <a:pt x="10" y="87"/>
                  </a:lnTo>
                  <a:lnTo>
                    <a:pt x="7" y="87"/>
                  </a:lnTo>
                  <a:lnTo>
                    <a:pt x="4" y="87"/>
                  </a:lnTo>
                  <a:lnTo>
                    <a:pt x="4" y="90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auto">
            <a:xfrm>
              <a:off x="8751888" y="3005792"/>
              <a:ext cx="949325" cy="379412"/>
            </a:xfrm>
            <a:custGeom>
              <a:avLst/>
              <a:gdLst>
                <a:gd name="T0" fmla="*/ 20 w 598"/>
                <a:gd name="T1" fmla="*/ 75 h 239"/>
                <a:gd name="T2" fmla="*/ 37 w 598"/>
                <a:gd name="T3" fmla="*/ 58 h 239"/>
                <a:gd name="T4" fmla="*/ 44 w 598"/>
                <a:gd name="T5" fmla="*/ 49 h 239"/>
                <a:gd name="T6" fmla="*/ 68 w 598"/>
                <a:gd name="T7" fmla="*/ 42 h 239"/>
                <a:gd name="T8" fmla="*/ 82 w 598"/>
                <a:gd name="T9" fmla="*/ 45 h 239"/>
                <a:gd name="T10" fmla="*/ 103 w 598"/>
                <a:gd name="T11" fmla="*/ 42 h 239"/>
                <a:gd name="T12" fmla="*/ 127 w 598"/>
                <a:gd name="T13" fmla="*/ 62 h 239"/>
                <a:gd name="T14" fmla="*/ 148 w 598"/>
                <a:gd name="T15" fmla="*/ 58 h 239"/>
                <a:gd name="T16" fmla="*/ 168 w 598"/>
                <a:gd name="T17" fmla="*/ 58 h 239"/>
                <a:gd name="T18" fmla="*/ 175 w 598"/>
                <a:gd name="T19" fmla="*/ 39 h 239"/>
                <a:gd name="T20" fmla="*/ 161 w 598"/>
                <a:gd name="T21" fmla="*/ 20 h 239"/>
                <a:gd name="T22" fmla="*/ 175 w 598"/>
                <a:gd name="T23" fmla="*/ 7 h 239"/>
                <a:gd name="T24" fmla="*/ 185 w 598"/>
                <a:gd name="T25" fmla="*/ 3 h 239"/>
                <a:gd name="T26" fmla="*/ 213 w 598"/>
                <a:gd name="T27" fmla="*/ 10 h 239"/>
                <a:gd name="T28" fmla="*/ 237 w 598"/>
                <a:gd name="T29" fmla="*/ 13 h 239"/>
                <a:gd name="T30" fmla="*/ 244 w 598"/>
                <a:gd name="T31" fmla="*/ 29 h 239"/>
                <a:gd name="T32" fmla="*/ 258 w 598"/>
                <a:gd name="T33" fmla="*/ 39 h 239"/>
                <a:gd name="T34" fmla="*/ 278 w 598"/>
                <a:gd name="T35" fmla="*/ 39 h 239"/>
                <a:gd name="T36" fmla="*/ 306 w 598"/>
                <a:gd name="T37" fmla="*/ 33 h 239"/>
                <a:gd name="T38" fmla="*/ 337 w 598"/>
                <a:gd name="T39" fmla="*/ 39 h 239"/>
                <a:gd name="T40" fmla="*/ 361 w 598"/>
                <a:gd name="T41" fmla="*/ 49 h 239"/>
                <a:gd name="T42" fmla="*/ 388 w 598"/>
                <a:gd name="T43" fmla="*/ 55 h 239"/>
                <a:gd name="T44" fmla="*/ 416 w 598"/>
                <a:gd name="T45" fmla="*/ 55 h 239"/>
                <a:gd name="T46" fmla="*/ 447 w 598"/>
                <a:gd name="T47" fmla="*/ 42 h 239"/>
                <a:gd name="T48" fmla="*/ 461 w 598"/>
                <a:gd name="T49" fmla="*/ 29 h 239"/>
                <a:gd name="T50" fmla="*/ 481 w 598"/>
                <a:gd name="T51" fmla="*/ 23 h 239"/>
                <a:gd name="T52" fmla="*/ 498 w 598"/>
                <a:gd name="T53" fmla="*/ 29 h 239"/>
                <a:gd name="T54" fmla="*/ 516 w 598"/>
                <a:gd name="T55" fmla="*/ 52 h 239"/>
                <a:gd name="T56" fmla="*/ 522 w 598"/>
                <a:gd name="T57" fmla="*/ 81 h 239"/>
                <a:gd name="T58" fmla="*/ 553 w 598"/>
                <a:gd name="T59" fmla="*/ 75 h 239"/>
                <a:gd name="T60" fmla="*/ 581 w 598"/>
                <a:gd name="T61" fmla="*/ 81 h 239"/>
                <a:gd name="T62" fmla="*/ 595 w 598"/>
                <a:gd name="T63" fmla="*/ 100 h 239"/>
                <a:gd name="T64" fmla="*/ 584 w 598"/>
                <a:gd name="T65" fmla="*/ 104 h 239"/>
                <a:gd name="T66" fmla="*/ 560 w 598"/>
                <a:gd name="T67" fmla="*/ 110 h 239"/>
                <a:gd name="T68" fmla="*/ 550 w 598"/>
                <a:gd name="T69" fmla="*/ 117 h 239"/>
                <a:gd name="T70" fmla="*/ 529 w 598"/>
                <a:gd name="T71" fmla="*/ 136 h 239"/>
                <a:gd name="T72" fmla="*/ 509 w 598"/>
                <a:gd name="T73" fmla="*/ 149 h 239"/>
                <a:gd name="T74" fmla="*/ 488 w 598"/>
                <a:gd name="T75" fmla="*/ 152 h 239"/>
                <a:gd name="T76" fmla="*/ 464 w 598"/>
                <a:gd name="T77" fmla="*/ 162 h 239"/>
                <a:gd name="T78" fmla="*/ 478 w 598"/>
                <a:gd name="T79" fmla="*/ 181 h 239"/>
                <a:gd name="T80" fmla="*/ 450 w 598"/>
                <a:gd name="T81" fmla="*/ 207 h 239"/>
                <a:gd name="T82" fmla="*/ 416 w 598"/>
                <a:gd name="T83" fmla="*/ 217 h 239"/>
                <a:gd name="T84" fmla="*/ 368 w 598"/>
                <a:gd name="T85" fmla="*/ 239 h 239"/>
                <a:gd name="T86" fmla="*/ 340 w 598"/>
                <a:gd name="T87" fmla="*/ 236 h 239"/>
                <a:gd name="T88" fmla="*/ 292 w 598"/>
                <a:gd name="T89" fmla="*/ 220 h 239"/>
                <a:gd name="T90" fmla="*/ 254 w 598"/>
                <a:gd name="T91" fmla="*/ 223 h 239"/>
                <a:gd name="T92" fmla="*/ 196 w 598"/>
                <a:gd name="T93" fmla="*/ 223 h 239"/>
                <a:gd name="T94" fmla="*/ 178 w 598"/>
                <a:gd name="T95" fmla="*/ 197 h 239"/>
                <a:gd name="T96" fmla="*/ 168 w 598"/>
                <a:gd name="T97" fmla="*/ 188 h 239"/>
                <a:gd name="T98" fmla="*/ 144 w 598"/>
                <a:gd name="T99" fmla="*/ 181 h 239"/>
                <a:gd name="T100" fmla="*/ 120 w 598"/>
                <a:gd name="T101" fmla="*/ 171 h 239"/>
                <a:gd name="T102" fmla="*/ 75 w 598"/>
                <a:gd name="T103" fmla="*/ 162 h 239"/>
                <a:gd name="T104" fmla="*/ 79 w 598"/>
                <a:gd name="T105" fmla="*/ 149 h 239"/>
                <a:gd name="T106" fmla="*/ 72 w 598"/>
                <a:gd name="T107" fmla="*/ 133 h 239"/>
                <a:gd name="T108" fmla="*/ 62 w 598"/>
                <a:gd name="T109" fmla="*/ 117 h 239"/>
                <a:gd name="T110" fmla="*/ 44 w 598"/>
                <a:gd name="T111" fmla="*/ 113 h 239"/>
                <a:gd name="T112" fmla="*/ 31 w 598"/>
                <a:gd name="T113" fmla="*/ 110 h 239"/>
                <a:gd name="T114" fmla="*/ 20 w 598"/>
                <a:gd name="T115" fmla="*/ 107 h 239"/>
                <a:gd name="T116" fmla="*/ 6 w 598"/>
                <a:gd name="T117" fmla="*/ 97 h 239"/>
                <a:gd name="T118" fmla="*/ 0 w 598"/>
                <a:gd name="T119" fmla="*/ 9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8" h="239">
                  <a:moveTo>
                    <a:pt x="0" y="84"/>
                  </a:moveTo>
                  <a:lnTo>
                    <a:pt x="3" y="78"/>
                  </a:lnTo>
                  <a:lnTo>
                    <a:pt x="6" y="78"/>
                  </a:lnTo>
                  <a:lnTo>
                    <a:pt x="17" y="78"/>
                  </a:lnTo>
                  <a:lnTo>
                    <a:pt x="17" y="75"/>
                  </a:lnTo>
                  <a:lnTo>
                    <a:pt x="20" y="75"/>
                  </a:lnTo>
                  <a:lnTo>
                    <a:pt x="27" y="71"/>
                  </a:lnTo>
                  <a:lnTo>
                    <a:pt x="27" y="68"/>
                  </a:lnTo>
                  <a:lnTo>
                    <a:pt x="27" y="65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7" y="58"/>
                  </a:lnTo>
                  <a:lnTo>
                    <a:pt x="41" y="58"/>
                  </a:lnTo>
                  <a:lnTo>
                    <a:pt x="41" y="55"/>
                  </a:lnTo>
                  <a:lnTo>
                    <a:pt x="44" y="52"/>
                  </a:lnTo>
                  <a:lnTo>
                    <a:pt x="41" y="52"/>
                  </a:lnTo>
                  <a:lnTo>
                    <a:pt x="41" y="49"/>
                  </a:lnTo>
                  <a:lnTo>
                    <a:pt x="44" y="49"/>
                  </a:lnTo>
                  <a:lnTo>
                    <a:pt x="48" y="49"/>
                  </a:lnTo>
                  <a:lnTo>
                    <a:pt x="51" y="49"/>
                  </a:lnTo>
                  <a:lnTo>
                    <a:pt x="55" y="42"/>
                  </a:lnTo>
                  <a:lnTo>
                    <a:pt x="58" y="42"/>
                  </a:lnTo>
                  <a:lnTo>
                    <a:pt x="65" y="42"/>
                  </a:lnTo>
                  <a:lnTo>
                    <a:pt x="68" y="42"/>
                  </a:lnTo>
                  <a:lnTo>
                    <a:pt x="72" y="42"/>
                  </a:lnTo>
                  <a:lnTo>
                    <a:pt x="75" y="42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82" y="42"/>
                  </a:lnTo>
                  <a:lnTo>
                    <a:pt x="82" y="45"/>
                  </a:lnTo>
                  <a:lnTo>
                    <a:pt x="82" y="45"/>
                  </a:lnTo>
                  <a:lnTo>
                    <a:pt x="89" y="45"/>
                  </a:lnTo>
                  <a:lnTo>
                    <a:pt x="89" y="45"/>
                  </a:lnTo>
                  <a:lnTo>
                    <a:pt x="92" y="45"/>
                  </a:lnTo>
                  <a:lnTo>
                    <a:pt x="96" y="42"/>
                  </a:lnTo>
                  <a:lnTo>
                    <a:pt x="103" y="42"/>
                  </a:lnTo>
                  <a:lnTo>
                    <a:pt x="103" y="45"/>
                  </a:lnTo>
                  <a:lnTo>
                    <a:pt x="106" y="49"/>
                  </a:lnTo>
                  <a:lnTo>
                    <a:pt x="106" y="52"/>
                  </a:lnTo>
                  <a:lnTo>
                    <a:pt x="117" y="55"/>
                  </a:lnTo>
                  <a:lnTo>
                    <a:pt x="120" y="58"/>
                  </a:lnTo>
                  <a:lnTo>
                    <a:pt x="127" y="62"/>
                  </a:lnTo>
                  <a:lnTo>
                    <a:pt x="127" y="58"/>
                  </a:lnTo>
                  <a:lnTo>
                    <a:pt x="134" y="58"/>
                  </a:lnTo>
                  <a:lnTo>
                    <a:pt x="137" y="55"/>
                  </a:lnTo>
                  <a:lnTo>
                    <a:pt x="141" y="55"/>
                  </a:lnTo>
                  <a:lnTo>
                    <a:pt x="144" y="55"/>
                  </a:lnTo>
                  <a:lnTo>
                    <a:pt x="148" y="58"/>
                  </a:lnTo>
                  <a:lnTo>
                    <a:pt x="151" y="58"/>
                  </a:lnTo>
                  <a:lnTo>
                    <a:pt x="158" y="58"/>
                  </a:lnTo>
                  <a:lnTo>
                    <a:pt x="161" y="58"/>
                  </a:lnTo>
                  <a:lnTo>
                    <a:pt x="165" y="58"/>
                  </a:lnTo>
                  <a:lnTo>
                    <a:pt x="165" y="58"/>
                  </a:lnTo>
                  <a:lnTo>
                    <a:pt x="168" y="58"/>
                  </a:lnTo>
                  <a:lnTo>
                    <a:pt x="175" y="58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2" y="49"/>
                  </a:lnTo>
                  <a:lnTo>
                    <a:pt x="172" y="42"/>
                  </a:lnTo>
                  <a:lnTo>
                    <a:pt x="175" y="39"/>
                  </a:lnTo>
                  <a:lnTo>
                    <a:pt x="175" y="36"/>
                  </a:lnTo>
                  <a:lnTo>
                    <a:pt x="172" y="36"/>
                  </a:lnTo>
                  <a:lnTo>
                    <a:pt x="168" y="33"/>
                  </a:lnTo>
                  <a:lnTo>
                    <a:pt x="161" y="33"/>
                  </a:lnTo>
                  <a:lnTo>
                    <a:pt x="161" y="26"/>
                  </a:lnTo>
                  <a:lnTo>
                    <a:pt x="161" y="20"/>
                  </a:lnTo>
                  <a:lnTo>
                    <a:pt x="165" y="16"/>
                  </a:lnTo>
                  <a:lnTo>
                    <a:pt x="165" y="13"/>
                  </a:lnTo>
                  <a:lnTo>
                    <a:pt x="168" y="10"/>
                  </a:lnTo>
                  <a:lnTo>
                    <a:pt x="172" y="10"/>
                  </a:lnTo>
                  <a:lnTo>
                    <a:pt x="172" y="10"/>
                  </a:lnTo>
                  <a:lnTo>
                    <a:pt x="175" y="7"/>
                  </a:lnTo>
                  <a:lnTo>
                    <a:pt x="172" y="3"/>
                  </a:lnTo>
                  <a:lnTo>
                    <a:pt x="172" y="0"/>
                  </a:lnTo>
                  <a:lnTo>
                    <a:pt x="175" y="0"/>
                  </a:lnTo>
                  <a:lnTo>
                    <a:pt x="178" y="0"/>
                  </a:lnTo>
                  <a:lnTo>
                    <a:pt x="182" y="0"/>
                  </a:lnTo>
                  <a:lnTo>
                    <a:pt x="185" y="3"/>
                  </a:lnTo>
                  <a:lnTo>
                    <a:pt x="192" y="3"/>
                  </a:lnTo>
                  <a:lnTo>
                    <a:pt x="192" y="7"/>
                  </a:lnTo>
                  <a:lnTo>
                    <a:pt x="196" y="7"/>
                  </a:lnTo>
                  <a:lnTo>
                    <a:pt x="203" y="7"/>
                  </a:lnTo>
                  <a:lnTo>
                    <a:pt x="209" y="7"/>
                  </a:lnTo>
                  <a:lnTo>
                    <a:pt x="213" y="10"/>
                  </a:lnTo>
                  <a:lnTo>
                    <a:pt x="213" y="10"/>
                  </a:lnTo>
                  <a:lnTo>
                    <a:pt x="220" y="10"/>
                  </a:lnTo>
                  <a:lnTo>
                    <a:pt x="220" y="13"/>
                  </a:lnTo>
                  <a:lnTo>
                    <a:pt x="223" y="13"/>
                  </a:lnTo>
                  <a:lnTo>
                    <a:pt x="234" y="13"/>
                  </a:lnTo>
                  <a:lnTo>
                    <a:pt x="237" y="13"/>
                  </a:lnTo>
                  <a:lnTo>
                    <a:pt x="237" y="16"/>
                  </a:lnTo>
                  <a:lnTo>
                    <a:pt x="237" y="16"/>
                  </a:lnTo>
                  <a:lnTo>
                    <a:pt x="240" y="20"/>
                  </a:lnTo>
                  <a:lnTo>
                    <a:pt x="240" y="23"/>
                  </a:lnTo>
                  <a:lnTo>
                    <a:pt x="240" y="23"/>
                  </a:lnTo>
                  <a:lnTo>
                    <a:pt x="244" y="29"/>
                  </a:lnTo>
                  <a:lnTo>
                    <a:pt x="244" y="33"/>
                  </a:lnTo>
                  <a:lnTo>
                    <a:pt x="244" y="33"/>
                  </a:lnTo>
                  <a:lnTo>
                    <a:pt x="247" y="33"/>
                  </a:lnTo>
                  <a:lnTo>
                    <a:pt x="251" y="36"/>
                  </a:lnTo>
                  <a:lnTo>
                    <a:pt x="254" y="39"/>
                  </a:lnTo>
                  <a:lnTo>
                    <a:pt x="258" y="39"/>
                  </a:lnTo>
                  <a:lnTo>
                    <a:pt x="264" y="42"/>
                  </a:lnTo>
                  <a:lnTo>
                    <a:pt x="268" y="42"/>
                  </a:lnTo>
                  <a:lnTo>
                    <a:pt x="268" y="39"/>
                  </a:lnTo>
                  <a:lnTo>
                    <a:pt x="275" y="42"/>
                  </a:lnTo>
                  <a:lnTo>
                    <a:pt x="278" y="39"/>
                  </a:lnTo>
                  <a:lnTo>
                    <a:pt x="278" y="39"/>
                  </a:lnTo>
                  <a:lnTo>
                    <a:pt x="282" y="39"/>
                  </a:lnTo>
                  <a:lnTo>
                    <a:pt x="285" y="39"/>
                  </a:lnTo>
                  <a:lnTo>
                    <a:pt x="289" y="36"/>
                  </a:lnTo>
                  <a:lnTo>
                    <a:pt x="292" y="36"/>
                  </a:lnTo>
                  <a:lnTo>
                    <a:pt x="302" y="36"/>
                  </a:lnTo>
                  <a:lnTo>
                    <a:pt x="306" y="33"/>
                  </a:lnTo>
                  <a:lnTo>
                    <a:pt x="309" y="33"/>
                  </a:lnTo>
                  <a:lnTo>
                    <a:pt x="316" y="29"/>
                  </a:lnTo>
                  <a:lnTo>
                    <a:pt x="320" y="33"/>
                  </a:lnTo>
                  <a:lnTo>
                    <a:pt x="326" y="33"/>
                  </a:lnTo>
                  <a:lnTo>
                    <a:pt x="333" y="33"/>
                  </a:lnTo>
                  <a:lnTo>
                    <a:pt x="337" y="39"/>
                  </a:lnTo>
                  <a:lnTo>
                    <a:pt x="344" y="39"/>
                  </a:lnTo>
                  <a:lnTo>
                    <a:pt x="350" y="39"/>
                  </a:lnTo>
                  <a:lnTo>
                    <a:pt x="354" y="39"/>
                  </a:lnTo>
                  <a:lnTo>
                    <a:pt x="354" y="42"/>
                  </a:lnTo>
                  <a:lnTo>
                    <a:pt x="357" y="45"/>
                  </a:lnTo>
                  <a:lnTo>
                    <a:pt x="361" y="49"/>
                  </a:lnTo>
                  <a:lnTo>
                    <a:pt x="364" y="49"/>
                  </a:lnTo>
                  <a:lnTo>
                    <a:pt x="364" y="49"/>
                  </a:lnTo>
                  <a:lnTo>
                    <a:pt x="368" y="52"/>
                  </a:lnTo>
                  <a:lnTo>
                    <a:pt x="371" y="52"/>
                  </a:lnTo>
                  <a:lnTo>
                    <a:pt x="381" y="52"/>
                  </a:lnTo>
                  <a:lnTo>
                    <a:pt x="388" y="55"/>
                  </a:lnTo>
                  <a:lnTo>
                    <a:pt x="399" y="55"/>
                  </a:lnTo>
                  <a:lnTo>
                    <a:pt x="406" y="55"/>
                  </a:lnTo>
                  <a:lnTo>
                    <a:pt x="406" y="52"/>
                  </a:lnTo>
                  <a:lnTo>
                    <a:pt x="412" y="52"/>
                  </a:lnTo>
                  <a:lnTo>
                    <a:pt x="416" y="55"/>
                  </a:lnTo>
                  <a:lnTo>
                    <a:pt x="416" y="55"/>
                  </a:lnTo>
                  <a:lnTo>
                    <a:pt x="419" y="49"/>
                  </a:lnTo>
                  <a:lnTo>
                    <a:pt x="426" y="45"/>
                  </a:lnTo>
                  <a:lnTo>
                    <a:pt x="433" y="45"/>
                  </a:lnTo>
                  <a:lnTo>
                    <a:pt x="436" y="42"/>
                  </a:lnTo>
                  <a:lnTo>
                    <a:pt x="436" y="42"/>
                  </a:lnTo>
                  <a:lnTo>
                    <a:pt x="447" y="42"/>
                  </a:lnTo>
                  <a:lnTo>
                    <a:pt x="450" y="39"/>
                  </a:lnTo>
                  <a:lnTo>
                    <a:pt x="454" y="36"/>
                  </a:lnTo>
                  <a:lnTo>
                    <a:pt x="454" y="36"/>
                  </a:lnTo>
                  <a:lnTo>
                    <a:pt x="454" y="33"/>
                  </a:lnTo>
                  <a:lnTo>
                    <a:pt x="457" y="29"/>
                  </a:lnTo>
                  <a:lnTo>
                    <a:pt x="461" y="29"/>
                  </a:lnTo>
                  <a:lnTo>
                    <a:pt x="464" y="26"/>
                  </a:lnTo>
                  <a:lnTo>
                    <a:pt x="467" y="23"/>
                  </a:lnTo>
                  <a:lnTo>
                    <a:pt x="467" y="23"/>
                  </a:lnTo>
                  <a:lnTo>
                    <a:pt x="471" y="23"/>
                  </a:lnTo>
                  <a:lnTo>
                    <a:pt x="478" y="23"/>
                  </a:lnTo>
                  <a:lnTo>
                    <a:pt x="481" y="23"/>
                  </a:lnTo>
                  <a:lnTo>
                    <a:pt x="485" y="26"/>
                  </a:lnTo>
                  <a:lnTo>
                    <a:pt x="488" y="26"/>
                  </a:lnTo>
                  <a:lnTo>
                    <a:pt x="488" y="29"/>
                  </a:lnTo>
                  <a:lnTo>
                    <a:pt x="492" y="26"/>
                  </a:lnTo>
                  <a:lnTo>
                    <a:pt x="495" y="29"/>
                  </a:lnTo>
                  <a:lnTo>
                    <a:pt x="498" y="29"/>
                  </a:lnTo>
                  <a:lnTo>
                    <a:pt x="502" y="26"/>
                  </a:lnTo>
                  <a:lnTo>
                    <a:pt x="502" y="23"/>
                  </a:lnTo>
                  <a:lnTo>
                    <a:pt x="509" y="23"/>
                  </a:lnTo>
                  <a:lnTo>
                    <a:pt x="516" y="26"/>
                  </a:lnTo>
                  <a:lnTo>
                    <a:pt x="519" y="26"/>
                  </a:lnTo>
                  <a:lnTo>
                    <a:pt x="516" y="52"/>
                  </a:lnTo>
                  <a:lnTo>
                    <a:pt x="516" y="58"/>
                  </a:lnTo>
                  <a:lnTo>
                    <a:pt x="512" y="62"/>
                  </a:lnTo>
                  <a:lnTo>
                    <a:pt x="516" y="65"/>
                  </a:lnTo>
                  <a:lnTo>
                    <a:pt x="512" y="75"/>
                  </a:lnTo>
                  <a:lnTo>
                    <a:pt x="516" y="78"/>
                  </a:lnTo>
                  <a:lnTo>
                    <a:pt x="522" y="81"/>
                  </a:lnTo>
                  <a:lnTo>
                    <a:pt x="529" y="78"/>
                  </a:lnTo>
                  <a:lnTo>
                    <a:pt x="540" y="78"/>
                  </a:lnTo>
                  <a:lnTo>
                    <a:pt x="547" y="81"/>
                  </a:lnTo>
                  <a:lnTo>
                    <a:pt x="550" y="84"/>
                  </a:lnTo>
                  <a:lnTo>
                    <a:pt x="553" y="78"/>
                  </a:lnTo>
                  <a:lnTo>
                    <a:pt x="553" y="75"/>
                  </a:lnTo>
                  <a:lnTo>
                    <a:pt x="553" y="71"/>
                  </a:lnTo>
                  <a:lnTo>
                    <a:pt x="560" y="68"/>
                  </a:lnTo>
                  <a:lnTo>
                    <a:pt x="560" y="68"/>
                  </a:lnTo>
                  <a:lnTo>
                    <a:pt x="571" y="68"/>
                  </a:lnTo>
                  <a:lnTo>
                    <a:pt x="574" y="75"/>
                  </a:lnTo>
                  <a:lnTo>
                    <a:pt x="581" y="81"/>
                  </a:lnTo>
                  <a:lnTo>
                    <a:pt x="588" y="84"/>
                  </a:lnTo>
                  <a:lnTo>
                    <a:pt x="595" y="91"/>
                  </a:lnTo>
                  <a:lnTo>
                    <a:pt x="595" y="94"/>
                  </a:lnTo>
                  <a:lnTo>
                    <a:pt x="598" y="94"/>
                  </a:lnTo>
                  <a:lnTo>
                    <a:pt x="598" y="97"/>
                  </a:lnTo>
                  <a:lnTo>
                    <a:pt x="595" y="100"/>
                  </a:lnTo>
                  <a:lnTo>
                    <a:pt x="595" y="104"/>
                  </a:lnTo>
                  <a:lnTo>
                    <a:pt x="595" y="104"/>
                  </a:lnTo>
                  <a:lnTo>
                    <a:pt x="591" y="104"/>
                  </a:lnTo>
                  <a:lnTo>
                    <a:pt x="588" y="100"/>
                  </a:lnTo>
                  <a:lnTo>
                    <a:pt x="584" y="104"/>
                  </a:lnTo>
                  <a:lnTo>
                    <a:pt x="584" y="104"/>
                  </a:lnTo>
                  <a:lnTo>
                    <a:pt x="578" y="100"/>
                  </a:lnTo>
                  <a:lnTo>
                    <a:pt x="574" y="104"/>
                  </a:lnTo>
                  <a:lnTo>
                    <a:pt x="571" y="107"/>
                  </a:lnTo>
                  <a:lnTo>
                    <a:pt x="564" y="110"/>
                  </a:lnTo>
                  <a:lnTo>
                    <a:pt x="564" y="110"/>
                  </a:lnTo>
                  <a:lnTo>
                    <a:pt x="560" y="110"/>
                  </a:lnTo>
                  <a:lnTo>
                    <a:pt x="557" y="110"/>
                  </a:lnTo>
                  <a:lnTo>
                    <a:pt x="557" y="113"/>
                  </a:lnTo>
                  <a:lnTo>
                    <a:pt x="557" y="113"/>
                  </a:lnTo>
                  <a:lnTo>
                    <a:pt x="553" y="117"/>
                  </a:lnTo>
                  <a:lnTo>
                    <a:pt x="550" y="113"/>
                  </a:lnTo>
                  <a:lnTo>
                    <a:pt x="550" y="117"/>
                  </a:lnTo>
                  <a:lnTo>
                    <a:pt x="547" y="120"/>
                  </a:lnTo>
                  <a:lnTo>
                    <a:pt x="547" y="126"/>
                  </a:lnTo>
                  <a:lnTo>
                    <a:pt x="547" y="129"/>
                  </a:lnTo>
                  <a:lnTo>
                    <a:pt x="543" y="133"/>
                  </a:lnTo>
                  <a:lnTo>
                    <a:pt x="540" y="133"/>
                  </a:lnTo>
                  <a:lnTo>
                    <a:pt x="529" y="136"/>
                  </a:lnTo>
                  <a:lnTo>
                    <a:pt x="526" y="136"/>
                  </a:lnTo>
                  <a:lnTo>
                    <a:pt x="522" y="136"/>
                  </a:lnTo>
                  <a:lnTo>
                    <a:pt x="519" y="139"/>
                  </a:lnTo>
                  <a:lnTo>
                    <a:pt x="516" y="146"/>
                  </a:lnTo>
                  <a:lnTo>
                    <a:pt x="512" y="146"/>
                  </a:lnTo>
                  <a:lnTo>
                    <a:pt x="509" y="149"/>
                  </a:lnTo>
                  <a:lnTo>
                    <a:pt x="505" y="152"/>
                  </a:lnTo>
                  <a:lnTo>
                    <a:pt x="505" y="155"/>
                  </a:lnTo>
                  <a:lnTo>
                    <a:pt x="502" y="155"/>
                  </a:lnTo>
                  <a:lnTo>
                    <a:pt x="498" y="152"/>
                  </a:lnTo>
                  <a:lnTo>
                    <a:pt x="492" y="152"/>
                  </a:lnTo>
                  <a:lnTo>
                    <a:pt x="488" y="152"/>
                  </a:lnTo>
                  <a:lnTo>
                    <a:pt x="481" y="149"/>
                  </a:lnTo>
                  <a:lnTo>
                    <a:pt x="478" y="149"/>
                  </a:lnTo>
                  <a:lnTo>
                    <a:pt x="471" y="149"/>
                  </a:lnTo>
                  <a:lnTo>
                    <a:pt x="464" y="152"/>
                  </a:lnTo>
                  <a:lnTo>
                    <a:pt x="464" y="155"/>
                  </a:lnTo>
                  <a:lnTo>
                    <a:pt x="464" y="162"/>
                  </a:lnTo>
                  <a:lnTo>
                    <a:pt x="464" y="165"/>
                  </a:lnTo>
                  <a:lnTo>
                    <a:pt x="464" y="168"/>
                  </a:lnTo>
                  <a:lnTo>
                    <a:pt x="471" y="175"/>
                  </a:lnTo>
                  <a:lnTo>
                    <a:pt x="478" y="178"/>
                  </a:lnTo>
                  <a:lnTo>
                    <a:pt x="478" y="178"/>
                  </a:lnTo>
                  <a:lnTo>
                    <a:pt x="478" y="181"/>
                  </a:lnTo>
                  <a:lnTo>
                    <a:pt x="474" y="184"/>
                  </a:lnTo>
                  <a:lnTo>
                    <a:pt x="467" y="194"/>
                  </a:lnTo>
                  <a:lnTo>
                    <a:pt x="461" y="201"/>
                  </a:lnTo>
                  <a:lnTo>
                    <a:pt x="457" y="207"/>
                  </a:lnTo>
                  <a:lnTo>
                    <a:pt x="454" y="207"/>
                  </a:lnTo>
                  <a:lnTo>
                    <a:pt x="450" y="207"/>
                  </a:lnTo>
                  <a:lnTo>
                    <a:pt x="443" y="207"/>
                  </a:lnTo>
                  <a:lnTo>
                    <a:pt x="440" y="210"/>
                  </a:lnTo>
                  <a:lnTo>
                    <a:pt x="433" y="213"/>
                  </a:lnTo>
                  <a:lnTo>
                    <a:pt x="430" y="213"/>
                  </a:lnTo>
                  <a:lnTo>
                    <a:pt x="419" y="217"/>
                  </a:lnTo>
                  <a:lnTo>
                    <a:pt x="416" y="217"/>
                  </a:lnTo>
                  <a:lnTo>
                    <a:pt x="409" y="217"/>
                  </a:lnTo>
                  <a:lnTo>
                    <a:pt x="395" y="223"/>
                  </a:lnTo>
                  <a:lnTo>
                    <a:pt x="385" y="226"/>
                  </a:lnTo>
                  <a:lnTo>
                    <a:pt x="378" y="230"/>
                  </a:lnTo>
                  <a:lnTo>
                    <a:pt x="371" y="236"/>
                  </a:lnTo>
                  <a:lnTo>
                    <a:pt x="368" y="239"/>
                  </a:lnTo>
                  <a:lnTo>
                    <a:pt x="361" y="239"/>
                  </a:lnTo>
                  <a:lnTo>
                    <a:pt x="357" y="236"/>
                  </a:lnTo>
                  <a:lnTo>
                    <a:pt x="357" y="236"/>
                  </a:lnTo>
                  <a:lnTo>
                    <a:pt x="357" y="233"/>
                  </a:lnTo>
                  <a:lnTo>
                    <a:pt x="347" y="236"/>
                  </a:lnTo>
                  <a:lnTo>
                    <a:pt x="340" y="236"/>
                  </a:lnTo>
                  <a:lnTo>
                    <a:pt x="333" y="233"/>
                  </a:lnTo>
                  <a:lnTo>
                    <a:pt x="330" y="233"/>
                  </a:lnTo>
                  <a:lnTo>
                    <a:pt x="316" y="230"/>
                  </a:lnTo>
                  <a:lnTo>
                    <a:pt x="306" y="223"/>
                  </a:lnTo>
                  <a:lnTo>
                    <a:pt x="299" y="220"/>
                  </a:lnTo>
                  <a:lnTo>
                    <a:pt x="292" y="220"/>
                  </a:lnTo>
                  <a:lnTo>
                    <a:pt x="278" y="217"/>
                  </a:lnTo>
                  <a:lnTo>
                    <a:pt x="268" y="217"/>
                  </a:lnTo>
                  <a:lnTo>
                    <a:pt x="264" y="217"/>
                  </a:lnTo>
                  <a:lnTo>
                    <a:pt x="261" y="217"/>
                  </a:lnTo>
                  <a:lnTo>
                    <a:pt x="261" y="220"/>
                  </a:lnTo>
                  <a:lnTo>
                    <a:pt x="254" y="223"/>
                  </a:lnTo>
                  <a:lnTo>
                    <a:pt x="244" y="223"/>
                  </a:lnTo>
                  <a:lnTo>
                    <a:pt x="230" y="220"/>
                  </a:lnTo>
                  <a:lnTo>
                    <a:pt x="216" y="223"/>
                  </a:lnTo>
                  <a:lnTo>
                    <a:pt x="209" y="223"/>
                  </a:lnTo>
                  <a:lnTo>
                    <a:pt x="199" y="223"/>
                  </a:lnTo>
                  <a:lnTo>
                    <a:pt x="196" y="223"/>
                  </a:lnTo>
                  <a:lnTo>
                    <a:pt x="192" y="223"/>
                  </a:lnTo>
                  <a:lnTo>
                    <a:pt x="189" y="213"/>
                  </a:lnTo>
                  <a:lnTo>
                    <a:pt x="189" y="210"/>
                  </a:lnTo>
                  <a:lnTo>
                    <a:pt x="182" y="207"/>
                  </a:lnTo>
                  <a:lnTo>
                    <a:pt x="178" y="204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5" y="194"/>
                  </a:lnTo>
                  <a:lnTo>
                    <a:pt x="172" y="191"/>
                  </a:lnTo>
                  <a:lnTo>
                    <a:pt x="168" y="191"/>
                  </a:lnTo>
                  <a:lnTo>
                    <a:pt x="168" y="191"/>
                  </a:lnTo>
                  <a:lnTo>
                    <a:pt x="168" y="188"/>
                  </a:lnTo>
                  <a:lnTo>
                    <a:pt x="168" y="188"/>
                  </a:lnTo>
                  <a:lnTo>
                    <a:pt x="165" y="188"/>
                  </a:lnTo>
                  <a:lnTo>
                    <a:pt x="161" y="188"/>
                  </a:lnTo>
                  <a:lnTo>
                    <a:pt x="154" y="184"/>
                  </a:lnTo>
                  <a:lnTo>
                    <a:pt x="148" y="181"/>
                  </a:lnTo>
                  <a:lnTo>
                    <a:pt x="144" y="181"/>
                  </a:lnTo>
                  <a:lnTo>
                    <a:pt x="144" y="181"/>
                  </a:lnTo>
                  <a:lnTo>
                    <a:pt x="141" y="181"/>
                  </a:lnTo>
                  <a:lnTo>
                    <a:pt x="141" y="178"/>
                  </a:lnTo>
                  <a:lnTo>
                    <a:pt x="134" y="175"/>
                  </a:lnTo>
                  <a:lnTo>
                    <a:pt x="120" y="171"/>
                  </a:lnTo>
                  <a:lnTo>
                    <a:pt x="120" y="171"/>
                  </a:lnTo>
                  <a:lnTo>
                    <a:pt x="117" y="175"/>
                  </a:lnTo>
                  <a:lnTo>
                    <a:pt x="113" y="175"/>
                  </a:lnTo>
                  <a:lnTo>
                    <a:pt x="103" y="175"/>
                  </a:lnTo>
                  <a:lnTo>
                    <a:pt x="86" y="171"/>
                  </a:lnTo>
                  <a:lnTo>
                    <a:pt x="79" y="168"/>
                  </a:lnTo>
                  <a:lnTo>
                    <a:pt x="75" y="162"/>
                  </a:lnTo>
                  <a:lnTo>
                    <a:pt x="75" y="162"/>
                  </a:lnTo>
                  <a:lnTo>
                    <a:pt x="75" y="159"/>
                  </a:lnTo>
                  <a:lnTo>
                    <a:pt x="75" y="155"/>
                  </a:lnTo>
                  <a:lnTo>
                    <a:pt x="79" y="155"/>
                  </a:lnTo>
                  <a:lnTo>
                    <a:pt x="79" y="152"/>
                  </a:lnTo>
                  <a:lnTo>
                    <a:pt x="79" y="149"/>
                  </a:lnTo>
                  <a:lnTo>
                    <a:pt x="79" y="146"/>
                  </a:lnTo>
                  <a:lnTo>
                    <a:pt x="79" y="142"/>
                  </a:lnTo>
                  <a:lnTo>
                    <a:pt x="79" y="139"/>
                  </a:lnTo>
                  <a:lnTo>
                    <a:pt x="75" y="136"/>
                  </a:lnTo>
                  <a:lnTo>
                    <a:pt x="75" y="133"/>
                  </a:lnTo>
                  <a:lnTo>
                    <a:pt x="72" y="133"/>
                  </a:lnTo>
                  <a:lnTo>
                    <a:pt x="68" y="129"/>
                  </a:lnTo>
                  <a:lnTo>
                    <a:pt x="65" y="129"/>
                  </a:lnTo>
                  <a:lnTo>
                    <a:pt x="65" y="126"/>
                  </a:lnTo>
                  <a:lnTo>
                    <a:pt x="65" y="123"/>
                  </a:lnTo>
                  <a:lnTo>
                    <a:pt x="62" y="120"/>
                  </a:lnTo>
                  <a:lnTo>
                    <a:pt x="62" y="117"/>
                  </a:lnTo>
                  <a:lnTo>
                    <a:pt x="58" y="117"/>
                  </a:lnTo>
                  <a:lnTo>
                    <a:pt x="55" y="113"/>
                  </a:lnTo>
                  <a:lnTo>
                    <a:pt x="55" y="113"/>
                  </a:lnTo>
                  <a:lnTo>
                    <a:pt x="51" y="110"/>
                  </a:lnTo>
                  <a:lnTo>
                    <a:pt x="48" y="110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1" y="113"/>
                  </a:lnTo>
                  <a:lnTo>
                    <a:pt x="37" y="110"/>
                  </a:lnTo>
                  <a:lnTo>
                    <a:pt x="37" y="110"/>
                  </a:lnTo>
                  <a:lnTo>
                    <a:pt x="34" y="110"/>
                  </a:lnTo>
                  <a:lnTo>
                    <a:pt x="31" y="110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0" y="113"/>
                  </a:lnTo>
                  <a:lnTo>
                    <a:pt x="20" y="110"/>
                  </a:lnTo>
                  <a:lnTo>
                    <a:pt x="20" y="107"/>
                  </a:lnTo>
                  <a:lnTo>
                    <a:pt x="17" y="107"/>
                  </a:lnTo>
                  <a:lnTo>
                    <a:pt x="13" y="104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6" y="97"/>
                  </a:lnTo>
                  <a:lnTo>
                    <a:pt x="6" y="97"/>
                  </a:lnTo>
                  <a:lnTo>
                    <a:pt x="6" y="94"/>
                  </a:lnTo>
                  <a:lnTo>
                    <a:pt x="6" y="91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7572376" y="2934355"/>
              <a:ext cx="1168400" cy="523875"/>
            </a:xfrm>
            <a:custGeom>
              <a:avLst/>
              <a:gdLst>
                <a:gd name="T0" fmla="*/ 17 w 736"/>
                <a:gd name="T1" fmla="*/ 191 h 330"/>
                <a:gd name="T2" fmla="*/ 0 w 736"/>
                <a:gd name="T3" fmla="*/ 155 h 330"/>
                <a:gd name="T4" fmla="*/ 34 w 736"/>
                <a:gd name="T5" fmla="*/ 149 h 330"/>
                <a:gd name="T6" fmla="*/ 51 w 736"/>
                <a:gd name="T7" fmla="*/ 120 h 330"/>
                <a:gd name="T8" fmla="*/ 72 w 736"/>
                <a:gd name="T9" fmla="*/ 113 h 330"/>
                <a:gd name="T10" fmla="*/ 86 w 736"/>
                <a:gd name="T11" fmla="*/ 110 h 330"/>
                <a:gd name="T12" fmla="*/ 116 w 736"/>
                <a:gd name="T13" fmla="*/ 120 h 330"/>
                <a:gd name="T14" fmla="*/ 137 w 736"/>
                <a:gd name="T15" fmla="*/ 126 h 330"/>
                <a:gd name="T16" fmla="*/ 168 w 736"/>
                <a:gd name="T17" fmla="*/ 120 h 330"/>
                <a:gd name="T18" fmla="*/ 192 w 736"/>
                <a:gd name="T19" fmla="*/ 120 h 330"/>
                <a:gd name="T20" fmla="*/ 213 w 736"/>
                <a:gd name="T21" fmla="*/ 126 h 330"/>
                <a:gd name="T22" fmla="*/ 247 w 736"/>
                <a:gd name="T23" fmla="*/ 126 h 330"/>
                <a:gd name="T24" fmla="*/ 237 w 736"/>
                <a:gd name="T25" fmla="*/ 100 h 330"/>
                <a:gd name="T26" fmla="*/ 233 w 736"/>
                <a:gd name="T27" fmla="*/ 84 h 330"/>
                <a:gd name="T28" fmla="*/ 247 w 736"/>
                <a:gd name="T29" fmla="*/ 61 h 330"/>
                <a:gd name="T30" fmla="*/ 233 w 736"/>
                <a:gd name="T31" fmla="*/ 55 h 330"/>
                <a:gd name="T32" fmla="*/ 247 w 736"/>
                <a:gd name="T33" fmla="*/ 48 h 330"/>
                <a:gd name="T34" fmla="*/ 268 w 736"/>
                <a:gd name="T35" fmla="*/ 42 h 330"/>
                <a:gd name="T36" fmla="*/ 302 w 736"/>
                <a:gd name="T37" fmla="*/ 32 h 330"/>
                <a:gd name="T38" fmla="*/ 323 w 736"/>
                <a:gd name="T39" fmla="*/ 23 h 330"/>
                <a:gd name="T40" fmla="*/ 354 w 736"/>
                <a:gd name="T41" fmla="*/ 10 h 330"/>
                <a:gd name="T42" fmla="*/ 378 w 736"/>
                <a:gd name="T43" fmla="*/ 3 h 330"/>
                <a:gd name="T44" fmla="*/ 405 w 736"/>
                <a:gd name="T45" fmla="*/ 16 h 330"/>
                <a:gd name="T46" fmla="*/ 416 w 736"/>
                <a:gd name="T47" fmla="*/ 29 h 330"/>
                <a:gd name="T48" fmla="*/ 430 w 736"/>
                <a:gd name="T49" fmla="*/ 26 h 330"/>
                <a:gd name="T50" fmla="*/ 450 w 736"/>
                <a:gd name="T51" fmla="*/ 32 h 330"/>
                <a:gd name="T52" fmla="*/ 464 w 736"/>
                <a:gd name="T53" fmla="*/ 42 h 330"/>
                <a:gd name="T54" fmla="*/ 491 w 736"/>
                <a:gd name="T55" fmla="*/ 29 h 330"/>
                <a:gd name="T56" fmla="*/ 509 w 736"/>
                <a:gd name="T57" fmla="*/ 26 h 330"/>
                <a:gd name="T58" fmla="*/ 598 w 736"/>
                <a:gd name="T59" fmla="*/ 90 h 330"/>
                <a:gd name="T60" fmla="*/ 622 w 736"/>
                <a:gd name="T61" fmla="*/ 100 h 330"/>
                <a:gd name="T62" fmla="*/ 653 w 736"/>
                <a:gd name="T63" fmla="*/ 94 h 330"/>
                <a:gd name="T64" fmla="*/ 684 w 736"/>
                <a:gd name="T65" fmla="*/ 110 h 330"/>
                <a:gd name="T66" fmla="*/ 698 w 736"/>
                <a:gd name="T67" fmla="*/ 123 h 330"/>
                <a:gd name="T68" fmla="*/ 722 w 736"/>
                <a:gd name="T69" fmla="*/ 123 h 330"/>
                <a:gd name="T70" fmla="*/ 725 w 736"/>
                <a:gd name="T71" fmla="*/ 142 h 330"/>
                <a:gd name="T72" fmla="*/ 715 w 736"/>
                <a:gd name="T73" fmla="*/ 178 h 330"/>
                <a:gd name="T74" fmla="*/ 677 w 736"/>
                <a:gd name="T75" fmla="*/ 181 h 330"/>
                <a:gd name="T76" fmla="*/ 667 w 736"/>
                <a:gd name="T77" fmla="*/ 216 h 330"/>
                <a:gd name="T78" fmla="*/ 653 w 736"/>
                <a:gd name="T79" fmla="*/ 226 h 330"/>
                <a:gd name="T80" fmla="*/ 636 w 736"/>
                <a:gd name="T81" fmla="*/ 236 h 330"/>
                <a:gd name="T82" fmla="*/ 646 w 736"/>
                <a:gd name="T83" fmla="*/ 262 h 330"/>
                <a:gd name="T84" fmla="*/ 646 w 736"/>
                <a:gd name="T85" fmla="*/ 288 h 330"/>
                <a:gd name="T86" fmla="*/ 574 w 736"/>
                <a:gd name="T87" fmla="*/ 278 h 330"/>
                <a:gd name="T88" fmla="*/ 529 w 736"/>
                <a:gd name="T89" fmla="*/ 278 h 330"/>
                <a:gd name="T90" fmla="*/ 488 w 736"/>
                <a:gd name="T91" fmla="*/ 291 h 330"/>
                <a:gd name="T92" fmla="*/ 464 w 736"/>
                <a:gd name="T93" fmla="*/ 300 h 330"/>
                <a:gd name="T94" fmla="*/ 416 w 736"/>
                <a:gd name="T95" fmla="*/ 323 h 330"/>
                <a:gd name="T96" fmla="*/ 326 w 736"/>
                <a:gd name="T97" fmla="*/ 268 h 330"/>
                <a:gd name="T98" fmla="*/ 182 w 736"/>
                <a:gd name="T99" fmla="*/ 317 h 330"/>
                <a:gd name="T100" fmla="*/ 134 w 736"/>
                <a:gd name="T101" fmla="*/ 300 h 330"/>
                <a:gd name="T102" fmla="*/ 113 w 736"/>
                <a:gd name="T103" fmla="*/ 294 h 330"/>
                <a:gd name="T104" fmla="*/ 99 w 736"/>
                <a:gd name="T105" fmla="*/ 278 h 330"/>
                <a:gd name="T106" fmla="*/ 86 w 736"/>
                <a:gd name="T107" fmla="*/ 262 h 330"/>
                <a:gd name="T108" fmla="*/ 106 w 736"/>
                <a:gd name="T109" fmla="*/ 262 h 330"/>
                <a:gd name="T110" fmla="*/ 96 w 736"/>
                <a:gd name="T111" fmla="*/ 249 h 330"/>
                <a:gd name="T112" fmla="*/ 123 w 736"/>
                <a:gd name="T113" fmla="*/ 246 h 330"/>
                <a:gd name="T114" fmla="*/ 127 w 736"/>
                <a:gd name="T115" fmla="*/ 233 h 330"/>
                <a:gd name="T116" fmla="*/ 127 w 736"/>
                <a:gd name="T117" fmla="*/ 216 h 330"/>
                <a:gd name="T118" fmla="*/ 110 w 736"/>
                <a:gd name="T119" fmla="*/ 213 h 330"/>
                <a:gd name="T120" fmla="*/ 96 w 736"/>
                <a:gd name="T121" fmla="*/ 210 h 330"/>
                <a:gd name="T122" fmla="*/ 79 w 736"/>
                <a:gd name="T123" fmla="*/ 213 h 330"/>
                <a:gd name="T124" fmla="*/ 61 w 736"/>
                <a:gd name="T125" fmla="*/ 223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6" h="330">
                  <a:moveTo>
                    <a:pt x="55" y="223"/>
                  </a:moveTo>
                  <a:lnTo>
                    <a:pt x="51" y="220"/>
                  </a:lnTo>
                  <a:lnTo>
                    <a:pt x="44" y="220"/>
                  </a:lnTo>
                  <a:lnTo>
                    <a:pt x="37" y="216"/>
                  </a:lnTo>
                  <a:lnTo>
                    <a:pt x="41" y="213"/>
                  </a:lnTo>
                  <a:lnTo>
                    <a:pt x="48" y="213"/>
                  </a:lnTo>
                  <a:lnTo>
                    <a:pt x="37" y="204"/>
                  </a:lnTo>
                  <a:lnTo>
                    <a:pt x="30" y="194"/>
                  </a:lnTo>
                  <a:lnTo>
                    <a:pt x="17" y="191"/>
                  </a:lnTo>
                  <a:lnTo>
                    <a:pt x="17" y="194"/>
                  </a:lnTo>
                  <a:lnTo>
                    <a:pt x="10" y="191"/>
                  </a:lnTo>
                  <a:lnTo>
                    <a:pt x="10" y="187"/>
                  </a:lnTo>
                  <a:lnTo>
                    <a:pt x="6" y="184"/>
                  </a:lnTo>
                  <a:lnTo>
                    <a:pt x="0" y="181"/>
                  </a:lnTo>
                  <a:lnTo>
                    <a:pt x="3" y="174"/>
                  </a:lnTo>
                  <a:lnTo>
                    <a:pt x="3" y="165"/>
                  </a:lnTo>
                  <a:lnTo>
                    <a:pt x="0" y="162"/>
                  </a:lnTo>
                  <a:lnTo>
                    <a:pt x="0" y="155"/>
                  </a:lnTo>
                  <a:lnTo>
                    <a:pt x="3" y="152"/>
                  </a:lnTo>
                  <a:lnTo>
                    <a:pt x="10" y="149"/>
                  </a:lnTo>
                  <a:lnTo>
                    <a:pt x="10" y="142"/>
                  </a:lnTo>
                  <a:lnTo>
                    <a:pt x="13" y="139"/>
                  </a:lnTo>
                  <a:lnTo>
                    <a:pt x="24" y="149"/>
                  </a:lnTo>
                  <a:lnTo>
                    <a:pt x="24" y="152"/>
                  </a:lnTo>
                  <a:lnTo>
                    <a:pt x="30" y="155"/>
                  </a:lnTo>
                  <a:lnTo>
                    <a:pt x="34" y="152"/>
                  </a:lnTo>
                  <a:lnTo>
                    <a:pt x="34" y="149"/>
                  </a:lnTo>
                  <a:lnTo>
                    <a:pt x="37" y="145"/>
                  </a:lnTo>
                  <a:lnTo>
                    <a:pt x="34" y="132"/>
                  </a:lnTo>
                  <a:lnTo>
                    <a:pt x="37" y="132"/>
                  </a:lnTo>
                  <a:lnTo>
                    <a:pt x="44" y="132"/>
                  </a:lnTo>
                  <a:lnTo>
                    <a:pt x="44" y="129"/>
                  </a:lnTo>
                  <a:lnTo>
                    <a:pt x="41" y="126"/>
                  </a:lnTo>
                  <a:lnTo>
                    <a:pt x="44" y="123"/>
                  </a:lnTo>
                  <a:lnTo>
                    <a:pt x="48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8" y="113"/>
                  </a:lnTo>
                  <a:lnTo>
                    <a:pt x="61" y="113"/>
                  </a:lnTo>
                  <a:lnTo>
                    <a:pt x="61" y="110"/>
                  </a:lnTo>
                  <a:lnTo>
                    <a:pt x="61" y="107"/>
                  </a:lnTo>
                  <a:lnTo>
                    <a:pt x="61" y="107"/>
                  </a:lnTo>
                  <a:lnTo>
                    <a:pt x="68" y="110"/>
                  </a:lnTo>
                  <a:lnTo>
                    <a:pt x="72" y="110"/>
                  </a:lnTo>
                  <a:lnTo>
                    <a:pt x="72" y="113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5" y="116"/>
                  </a:lnTo>
                  <a:lnTo>
                    <a:pt x="75" y="113"/>
                  </a:lnTo>
                  <a:lnTo>
                    <a:pt x="79" y="110"/>
                  </a:lnTo>
                  <a:lnTo>
                    <a:pt x="79" y="113"/>
                  </a:lnTo>
                  <a:lnTo>
                    <a:pt x="79" y="113"/>
                  </a:lnTo>
                  <a:lnTo>
                    <a:pt x="82" y="110"/>
                  </a:lnTo>
                  <a:lnTo>
                    <a:pt x="86" y="110"/>
                  </a:lnTo>
                  <a:lnTo>
                    <a:pt x="89" y="107"/>
                  </a:lnTo>
                  <a:lnTo>
                    <a:pt x="92" y="107"/>
                  </a:lnTo>
                  <a:lnTo>
                    <a:pt x="92" y="110"/>
                  </a:lnTo>
                  <a:lnTo>
                    <a:pt x="99" y="113"/>
                  </a:lnTo>
                  <a:lnTo>
                    <a:pt x="106" y="113"/>
                  </a:lnTo>
                  <a:lnTo>
                    <a:pt x="110" y="113"/>
                  </a:lnTo>
                  <a:lnTo>
                    <a:pt x="110" y="113"/>
                  </a:lnTo>
                  <a:lnTo>
                    <a:pt x="113" y="113"/>
                  </a:lnTo>
                  <a:lnTo>
                    <a:pt x="116" y="120"/>
                  </a:lnTo>
                  <a:lnTo>
                    <a:pt x="120" y="120"/>
                  </a:lnTo>
                  <a:lnTo>
                    <a:pt x="123" y="123"/>
                  </a:lnTo>
                  <a:lnTo>
                    <a:pt x="130" y="126"/>
                  </a:lnTo>
                  <a:lnTo>
                    <a:pt x="134" y="126"/>
                  </a:lnTo>
                  <a:lnTo>
                    <a:pt x="134" y="129"/>
                  </a:lnTo>
                  <a:lnTo>
                    <a:pt x="134" y="132"/>
                  </a:lnTo>
                  <a:lnTo>
                    <a:pt x="137" y="132"/>
                  </a:lnTo>
                  <a:lnTo>
                    <a:pt x="137" y="129"/>
                  </a:lnTo>
                  <a:lnTo>
                    <a:pt x="137" y="126"/>
                  </a:lnTo>
                  <a:lnTo>
                    <a:pt x="141" y="123"/>
                  </a:lnTo>
                  <a:lnTo>
                    <a:pt x="144" y="126"/>
                  </a:lnTo>
                  <a:lnTo>
                    <a:pt x="151" y="126"/>
                  </a:lnTo>
                  <a:lnTo>
                    <a:pt x="154" y="129"/>
                  </a:lnTo>
                  <a:lnTo>
                    <a:pt x="158" y="132"/>
                  </a:lnTo>
                  <a:lnTo>
                    <a:pt x="161" y="129"/>
                  </a:lnTo>
                  <a:lnTo>
                    <a:pt x="161" y="123"/>
                  </a:lnTo>
                  <a:lnTo>
                    <a:pt x="168" y="123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2" y="120"/>
                  </a:lnTo>
                  <a:lnTo>
                    <a:pt x="175" y="116"/>
                  </a:lnTo>
                  <a:lnTo>
                    <a:pt x="178" y="116"/>
                  </a:lnTo>
                  <a:lnTo>
                    <a:pt x="185" y="123"/>
                  </a:lnTo>
                  <a:lnTo>
                    <a:pt x="185" y="123"/>
                  </a:lnTo>
                  <a:lnTo>
                    <a:pt x="192" y="123"/>
                  </a:lnTo>
                  <a:lnTo>
                    <a:pt x="189" y="120"/>
                  </a:lnTo>
                  <a:lnTo>
                    <a:pt x="192" y="120"/>
                  </a:lnTo>
                  <a:lnTo>
                    <a:pt x="196" y="120"/>
                  </a:lnTo>
                  <a:lnTo>
                    <a:pt x="199" y="116"/>
                  </a:lnTo>
                  <a:lnTo>
                    <a:pt x="202" y="120"/>
                  </a:lnTo>
                  <a:lnTo>
                    <a:pt x="206" y="120"/>
                  </a:lnTo>
                  <a:lnTo>
                    <a:pt x="206" y="123"/>
                  </a:lnTo>
                  <a:lnTo>
                    <a:pt x="202" y="123"/>
                  </a:lnTo>
                  <a:lnTo>
                    <a:pt x="206" y="126"/>
                  </a:lnTo>
                  <a:lnTo>
                    <a:pt x="209" y="129"/>
                  </a:lnTo>
                  <a:lnTo>
                    <a:pt x="213" y="126"/>
                  </a:lnTo>
                  <a:lnTo>
                    <a:pt x="213" y="129"/>
                  </a:lnTo>
                  <a:lnTo>
                    <a:pt x="220" y="129"/>
                  </a:lnTo>
                  <a:lnTo>
                    <a:pt x="227" y="132"/>
                  </a:lnTo>
                  <a:lnTo>
                    <a:pt x="230" y="129"/>
                  </a:lnTo>
                  <a:lnTo>
                    <a:pt x="233" y="126"/>
                  </a:lnTo>
                  <a:lnTo>
                    <a:pt x="233" y="123"/>
                  </a:lnTo>
                  <a:lnTo>
                    <a:pt x="237" y="123"/>
                  </a:lnTo>
                  <a:lnTo>
                    <a:pt x="240" y="126"/>
                  </a:lnTo>
                  <a:lnTo>
                    <a:pt x="247" y="126"/>
                  </a:lnTo>
                  <a:lnTo>
                    <a:pt x="254" y="123"/>
                  </a:lnTo>
                  <a:lnTo>
                    <a:pt x="254" y="123"/>
                  </a:lnTo>
                  <a:lnTo>
                    <a:pt x="254" y="110"/>
                  </a:lnTo>
                  <a:lnTo>
                    <a:pt x="254" y="107"/>
                  </a:lnTo>
                  <a:lnTo>
                    <a:pt x="247" y="107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37" y="103"/>
                  </a:lnTo>
                  <a:lnTo>
                    <a:pt x="237" y="100"/>
                  </a:lnTo>
                  <a:lnTo>
                    <a:pt x="230" y="100"/>
                  </a:lnTo>
                  <a:lnTo>
                    <a:pt x="230" y="97"/>
                  </a:lnTo>
                  <a:lnTo>
                    <a:pt x="230" y="97"/>
                  </a:lnTo>
                  <a:lnTo>
                    <a:pt x="230" y="94"/>
                  </a:lnTo>
                  <a:lnTo>
                    <a:pt x="233" y="94"/>
                  </a:lnTo>
                  <a:lnTo>
                    <a:pt x="233" y="90"/>
                  </a:lnTo>
                  <a:lnTo>
                    <a:pt x="237" y="87"/>
                  </a:lnTo>
                  <a:lnTo>
                    <a:pt x="237" y="84"/>
                  </a:lnTo>
                  <a:lnTo>
                    <a:pt x="233" y="84"/>
                  </a:lnTo>
                  <a:lnTo>
                    <a:pt x="233" y="81"/>
                  </a:lnTo>
                  <a:lnTo>
                    <a:pt x="237" y="74"/>
                  </a:lnTo>
                  <a:lnTo>
                    <a:pt x="240" y="71"/>
                  </a:lnTo>
                  <a:lnTo>
                    <a:pt x="251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54" y="68"/>
                  </a:lnTo>
                  <a:lnTo>
                    <a:pt x="251" y="65"/>
                  </a:lnTo>
                  <a:lnTo>
                    <a:pt x="247" y="61"/>
                  </a:lnTo>
                  <a:lnTo>
                    <a:pt x="244" y="61"/>
                  </a:lnTo>
                  <a:lnTo>
                    <a:pt x="244" y="65"/>
                  </a:lnTo>
                  <a:lnTo>
                    <a:pt x="240" y="65"/>
                  </a:lnTo>
                  <a:lnTo>
                    <a:pt x="233" y="61"/>
                  </a:lnTo>
                  <a:lnTo>
                    <a:pt x="233" y="61"/>
                  </a:lnTo>
                  <a:lnTo>
                    <a:pt x="237" y="58"/>
                  </a:lnTo>
                  <a:lnTo>
                    <a:pt x="240" y="58"/>
                  </a:lnTo>
                  <a:lnTo>
                    <a:pt x="240" y="55"/>
                  </a:lnTo>
                  <a:lnTo>
                    <a:pt x="233" y="55"/>
                  </a:lnTo>
                  <a:lnTo>
                    <a:pt x="230" y="55"/>
                  </a:lnTo>
                  <a:lnTo>
                    <a:pt x="233" y="55"/>
                  </a:lnTo>
                  <a:lnTo>
                    <a:pt x="230" y="48"/>
                  </a:lnTo>
                  <a:lnTo>
                    <a:pt x="233" y="48"/>
                  </a:lnTo>
                  <a:lnTo>
                    <a:pt x="237" y="48"/>
                  </a:lnTo>
                  <a:lnTo>
                    <a:pt x="237" y="45"/>
                  </a:lnTo>
                  <a:lnTo>
                    <a:pt x="240" y="45"/>
                  </a:lnTo>
                  <a:lnTo>
                    <a:pt x="240" y="48"/>
                  </a:lnTo>
                  <a:lnTo>
                    <a:pt x="247" y="48"/>
                  </a:lnTo>
                  <a:lnTo>
                    <a:pt x="251" y="52"/>
                  </a:lnTo>
                  <a:lnTo>
                    <a:pt x="251" y="48"/>
                  </a:lnTo>
                  <a:lnTo>
                    <a:pt x="251" y="45"/>
                  </a:lnTo>
                  <a:lnTo>
                    <a:pt x="254" y="45"/>
                  </a:lnTo>
                  <a:lnTo>
                    <a:pt x="258" y="45"/>
                  </a:lnTo>
                  <a:lnTo>
                    <a:pt x="261" y="48"/>
                  </a:lnTo>
                  <a:lnTo>
                    <a:pt x="261" y="45"/>
                  </a:lnTo>
                  <a:lnTo>
                    <a:pt x="264" y="42"/>
                  </a:lnTo>
                  <a:lnTo>
                    <a:pt x="268" y="42"/>
                  </a:lnTo>
                  <a:lnTo>
                    <a:pt x="275" y="42"/>
                  </a:lnTo>
                  <a:lnTo>
                    <a:pt x="278" y="39"/>
                  </a:lnTo>
                  <a:lnTo>
                    <a:pt x="285" y="39"/>
                  </a:lnTo>
                  <a:lnTo>
                    <a:pt x="285" y="39"/>
                  </a:lnTo>
                  <a:lnTo>
                    <a:pt x="288" y="36"/>
                  </a:lnTo>
                  <a:lnTo>
                    <a:pt x="295" y="36"/>
                  </a:lnTo>
                  <a:lnTo>
                    <a:pt x="299" y="32"/>
                  </a:lnTo>
                  <a:lnTo>
                    <a:pt x="302" y="32"/>
                  </a:lnTo>
                  <a:lnTo>
                    <a:pt x="302" y="32"/>
                  </a:lnTo>
                  <a:lnTo>
                    <a:pt x="306" y="32"/>
                  </a:lnTo>
                  <a:lnTo>
                    <a:pt x="306" y="29"/>
                  </a:lnTo>
                  <a:lnTo>
                    <a:pt x="306" y="26"/>
                  </a:lnTo>
                  <a:lnTo>
                    <a:pt x="313" y="26"/>
                  </a:lnTo>
                  <a:lnTo>
                    <a:pt x="313" y="26"/>
                  </a:lnTo>
                  <a:lnTo>
                    <a:pt x="313" y="23"/>
                  </a:lnTo>
                  <a:lnTo>
                    <a:pt x="316" y="26"/>
                  </a:lnTo>
                  <a:lnTo>
                    <a:pt x="319" y="26"/>
                  </a:lnTo>
                  <a:lnTo>
                    <a:pt x="323" y="23"/>
                  </a:lnTo>
                  <a:lnTo>
                    <a:pt x="326" y="23"/>
                  </a:lnTo>
                  <a:lnTo>
                    <a:pt x="337" y="19"/>
                  </a:lnTo>
                  <a:lnTo>
                    <a:pt x="337" y="19"/>
                  </a:lnTo>
                  <a:lnTo>
                    <a:pt x="340" y="16"/>
                  </a:lnTo>
                  <a:lnTo>
                    <a:pt x="344" y="16"/>
                  </a:lnTo>
                  <a:lnTo>
                    <a:pt x="347" y="13"/>
                  </a:lnTo>
                  <a:lnTo>
                    <a:pt x="347" y="13"/>
                  </a:lnTo>
                  <a:lnTo>
                    <a:pt x="354" y="13"/>
                  </a:lnTo>
                  <a:lnTo>
                    <a:pt x="354" y="10"/>
                  </a:lnTo>
                  <a:lnTo>
                    <a:pt x="350" y="6"/>
                  </a:lnTo>
                  <a:lnTo>
                    <a:pt x="354" y="6"/>
                  </a:lnTo>
                  <a:lnTo>
                    <a:pt x="361" y="6"/>
                  </a:lnTo>
                  <a:lnTo>
                    <a:pt x="361" y="3"/>
                  </a:lnTo>
                  <a:lnTo>
                    <a:pt x="364" y="3"/>
                  </a:lnTo>
                  <a:lnTo>
                    <a:pt x="368" y="3"/>
                  </a:lnTo>
                  <a:lnTo>
                    <a:pt x="368" y="0"/>
                  </a:lnTo>
                  <a:lnTo>
                    <a:pt x="374" y="3"/>
                  </a:lnTo>
                  <a:lnTo>
                    <a:pt x="378" y="3"/>
                  </a:lnTo>
                  <a:lnTo>
                    <a:pt x="385" y="6"/>
                  </a:lnTo>
                  <a:lnTo>
                    <a:pt x="388" y="6"/>
                  </a:lnTo>
                  <a:lnTo>
                    <a:pt x="392" y="3"/>
                  </a:lnTo>
                  <a:lnTo>
                    <a:pt x="395" y="3"/>
                  </a:lnTo>
                  <a:lnTo>
                    <a:pt x="399" y="6"/>
                  </a:lnTo>
                  <a:lnTo>
                    <a:pt x="399" y="10"/>
                  </a:lnTo>
                  <a:lnTo>
                    <a:pt x="402" y="13"/>
                  </a:lnTo>
                  <a:lnTo>
                    <a:pt x="402" y="16"/>
                  </a:lnTo>
                  <a:lnTo>
                    <a:pt x="405" y="16"/>
                  </a:lnTo>
                  <a:lnTo>
                    <a:pt x="405" y="19"/>
                  </a:lnTo>
                  <a:lnTo>
                    <a:pt x="405" y="23"/>
                  </a:lnTo>
                  <a:lnTo>
                    <a:pt x="405" y="23"/>
                  </a:lnTo>
                  <a:lnTo>
                    <a:pt x="405" y="26"/>
                  </a:lnTo>
                  <a:lnTo>
                    <a:pt x="402" y="26"/>
                  </a:lnTo>
                  <a:lnTo>
                    <a:pt x="405" y="29"/>
                  </a:lnTo>
                  <a:lnTo>
                    <a:pt x="409" y="29"/>
                  </a:lnTo>
                  <a:lnTo>
                    <a:pt x="412" y="29"/>
                  </a:lnTo>
                  <a:lnTo>
                    <a:pt x="416" y="29"/>
                  </a:lnTo>
                  <a:lnTo>
                    <a:pt x="416" y="29"/>
                  </a:lnTo>
                  <a:lnTo>
                    <a:pt x="416" y="26"/>
                  </a:lnTo>
                  <a:lnTo>
                    <a:pt x="419" y="26"/>
                  </a:lnTo>
                  <a:lnTo>
                    <a:pt x="423" y="29"/>
                  </a:lnTo>
                  <a:lnTo>
                    <a:pt x="423" y="29"/>
                  </a:lnTo>
                  <a:lnTo>
                    <a:pt x="423" y="26"/>
                  </a:lnTo>
                  <a:lnTo>
                    <a:pt x="423" y="23"/>
                  </a:lnTo>
                  <a:lnTo>
                    <a:pt x="423" y="23"/>
                  </a:lnTo>
                  <a:lnTo>
                    <a:pt x="430" y="26"/>
                  </a:lnTo>
                  <a:lnTo>
                    <a:pt x="430" y="32"/>
                  </a:lnTo>
                  <a:lnTo>
                    <a:pt x="433" y="36"/>
                  </a:lnTo>
                  <a:lnTo>
                    <a:pt x="436" y="36"/>
                  </a:lnTo>
                  <a:lnTo>
                    <a:pt x="440" y="32"/>
                  </a:lnTo>
                  <a:lnTo>
                    <a:pt x="436" y="32"/>
                  </a:lnTo>
                  <a:lnTo>
                    <a:pt x="436" y="29"/>
                  </a:lnTo>
                  <a:lnTo>
                    <a:pt x="440" y="29"/>
                  </a:lnTo>
                  <a:lnTo>
                    <a:pt x="447" y="32"/>
                  </a:lnTo>
                  <a:lnTo>
                    <a:pt x="450" y="32"/>
                  </a:lnTo>
                  <a:lnTo>
                    <a:pt x="454" y="32"/>
                  </a:lnTo>
                  <a:lnTo>
                    <a:pt x="454" y="32"/>
                  </a:lnTo>
                  <a:lnTo>
                    <a:pt x="454" y="36"/>
                  </a:lnTo>
                  <a:lnTo>
                    <a:pt x="450" y="36"/>
                  </a:lnTo>
                  <a:lnTo>
                    <a:pt x="450" y="42"/>
                  </a:lnTo>
                  <a:lnTo>
                    <a:pt x="454" y="45"/>
                  </a:lnTo>
                  <a:lnTo>
                    <a:pt x="457" y="45"/>
                  </a:lnTo>
                  <a:lnTo>
                    <a:pt x="457" y="42"/>
                  </a:lnTo>
                  <a:lnTo>
                    <a:pt x="464" y="42"/>
                  </a:lnTo>
                  <a:lnTo>
                    <a:pt x="471" y="42"/>
                  </a:lnTo>
                  <a:lnTo>
                    <a:pt x="471" y="42"/>
                  </a:lnTo>
                  <a:lnTo>
                    <a:pt x="474" y="42"/>
                  </a:lnTo>
                  <a:lnTo>
                    <a:pt x="474" y="39"/>
                  </a:lnTo>
                  <a:lnTo>
                    <a:pt x="478" y="36"/>
                  </a:lnTo>
                  <a:lnTo>
                    <a:pt x="485" y="36"/>
                  </a:lnTo>
                  <a:lnTo>
                    <a:pt x="488" y="36"/>
                  </a:lnTo>
                  <a:lnTo>
                    <a:pt x="488" y="32"/>
                  </a:lnTo>
                  <a:lnTo>
                    <a:pt x="491" y="29"/>
                  </a:lnTo>
                  <a:lnTo>
                    <a:pt x="491" y="26"/>
                  </a:lnTo>
                  <a:lnTo>
                    <a:pt x="495" y="23"/>
                  </a:lnTo>
                  <a:lnTo>
                    <a:pt x="498" y="23"/>
                  </a:lnTo>
                  <a:lnTo>
                    <a:pt x="502" y="19"/>
                  </a:lnTo>
                  <a:lnTo>
                    <a:pt x="505" y="19"/>
                  </a:lnTo>
                  <a:lnTo>
                    <a:pt x="512" y="16"/>
                  </a:lnTo>
                  <a:lnTo>
                    <a:pt x="512" y="19"/>
                  </a:lnTo>
                  <a:lnTo>
                    <a:pt x="512" y="23"/>
                  </a:lnTo>
                  <a:lnTo>
                    <a:pt x="509" y="26"/>
                  </a:lnTo>
                  <a:lnTo>
                    <a:pt x="505" y="26"/>
                  </a:lnTo>
                  <a:lnTo>
                    <a:pt x="509" y="29"/>
                  </a:lnTo>
                  <a:lnTo>
                    <a:pt x="543" y="48"/>
                  </a:lnTo>
                  <a:lnTo>
                    <a:pt x="591" y="100"/>
                  </a:lnTo>
                  <a:lnTo>
                    <a:pt x="595" y="100"/>
                  </a:lnTo>
                  <a:lnTo>
                    <a:pt x="598" y="97"/>
                  </a:lnTo>
                  <a:lnTo>
                    <a:pt x="598" y="97"/>
                  </a:lnTo>
                  <a:lnTo>
                    <a:pt x="598" y="94"/>
                  </a:lnTo>
                  <a:lnTo>
                    <a:pt x="598" y="90"/>
                  </a:lnTo>
                  <a:lnTo>
                    <a:pt x="602" y="90"/>
                  </a:lnTo>
                  <a:lnTo>
                    <a:pt x="608" y="94"/>
                  </a:lnTo>
                  <a:lnTo>
                    <a:pt x="605" y="94"/>
                  </a:lnTo>
                  <a:lnTo>
                    <a:pt x="605" y="97"/>
                  </a:lnTo>
                  <a:lnTo>
                    <a:pt x="612" y="97"/>
                  </a:lnTo>
                  <a:lnTo>
                    <a:pt x="615" y="100"/>
                  </a:lnTo>
                  <a:lnTo>
                    <a:pt x="619" y="100"/>
                  </a:lnTo>
                  <a:lnTo>
                    <a:pt x="619" y="100"/>
                  </a:lnTo>
                  <a:lnTo>
                    <a:pt x="622" y="100"/>
                  </a:lnTo>
                  <a:lnTo>
                    <a:pt x="629" y="100"/>
                  </a:lnTo>
                  <a:lnTo>
                    <a:pt x="633" y="100"/>
                  </a:lnTo>
                  <a:lnTo>
                    <a:pt x="636" y="100"/>
                  </a:lnTo>
                  <a:lnTo>
                    <a:pt x="639" y="100"/>
                  </a:lnTo>
                  <a:lnTo>
                    <a:pt x="639" y="97"/>
                  </a:lnTo>
                  <a:lnTo>
                    <a:pt x="639" y="97"/>
                  </a:lnTo>
                  <a:lnTo>
                    <a:pt x="639" y="94"/>
                  </a:lnTo>
                  <a:lnTo>
                    <a:pt x="646" y="94"/>
                  </a:lnTo>
                  <a:lnTo>
                    <a:pt x="653" y="94"/>
                  </a:lnTo>
                  <a:lnTo>
                    <a:pt x="660" y="94"/>
                  </a:lnTo>
                  <a:lnTo>
                    <a:pt x="663" y="97"/>
                  </a:lnTo>
                  <a:lnTo>
                    <a:pt x="667" y="103"/>
                  </a:lnTo>
                  <a:lnTo>
                    <a:pt x="670" y="107"/>
                  </a:lnTo>
                  <a:lnTo>
                    <a:pt x="670" y="107"/>
                  </a:lnTo>
                  <a:lnTo>
                    <a:pt x="677" y="107"/>
                  </a:lnTo>
                  <a:lnTo>
                    <a:pt x="681" y="110"/>
                  </a:lnTo>
                  <a:lnTo>
                    <a:pt x="681" y="110"/>
                  </a:lnTo>
                  <a:lnTo>
                    <a:pt x="684" y="110"/>
                  </a:lnTo>
                  <a:lnTo>
                    <a:pt x="684" y="113"/>
                  </a:lnTo>
                  <a:lnTo>
                    <a:pt x="684" y="113"/>
                  </a:lnTo>
                  <a:lnTo>
                    <a:pt x="684" y="116"/>
                  </a:lnTo>
                  <a:lnTo>
                    <a:pt x="684" y="120"/>
                  </a:lnTo>
                  <a:lnTo>
                    <a:pt x="688" y="120"/>
                  </a:lnTo>
                  <a:lnTo>
                    <a:pt x="688" y="123"/>
                  </a:lnTo>
                  <a:lnTo>
                    <a:pt x="691" y="123"/>
                  </a:lnTo>
                  <a:lnTo>
                    <a:pt x="694" y="123"/>
                  </a:lnTo>
                  <a:lnTo>
                    <a:pt x="698" y="123"/>
                  </a:lnTo>
                  <a:lnTo>
                    <a:pt x="698" y="123"/>
                  </a:lnTo>
                  <a:lnTo>
                    <a:pt x="701" y="123"/>
                  </a:lnTo>
                  <a:lnTo>
                    <a:pt x="708" y="120"/>
                  </a:lnTo>
                  <a:lnTo>
                    <a:pt x="715" y="120"/>
                  </a:lnTo>
                  <a:lnTo>
                    <a:pt x="715" y="116"/>
                  </a:lnTo>
                  <a:lnTo>
                    <a:pt x="719" y="116"/>
                  </a:lnTo>
                  <a:lnTo>
                    <a:pt x="722" y="116"/>
                  </a:lnTo>
                  <a:lnTo>
                    <a:pt x="719" y="120"/>
                  </a:lnTo>
                  <a:lnTo>
                    <a:pt x="722" y="123"/>
                  </a:lnTo>
                  <a:lnTo>
                    <a:pt x="725" y="123"/>
                  </a:lnTo>
                  <a:lnTo>
                    <a:pt x="729" y="126"/>
                  </a:lnTo>
                  <a:lnTo>
                    <a:pt x="732" y="129"/>
                  </a:lnTo>
                  <a:lnTo>
                    <a:pt x="736" y="129"/>
                  </a:lnTo>
                  <a:lnTo>
                    <a:pt x="732" y="132"/>
                  </a:lnTo>
                  <a:lnTo>
                    <a:pt x="729" y="136"/>
                  </a:lnTo>
                  <a:lnTo>
                    <a:pt x="722" y="139"/>
                  </a:lnTo>
                  <a:lnTo>
                    <a:pt x="722" y="142"/>
                  </a:lnTo>
                  <a:lnTo>
                    <a:pt x="725" y="142"/>
                  </a:lnTo>
                  <a:lnTo>
                    <a:pt x="722" y="145"/>
                  </a:lnTo>
                  <a:lnTo>
                    <a:pt x="715" y="149"/>
                  </a:lnTo>
                  <a:lnTo>
                    <a:pt x="712" y="152"/>
                  </a:lnTo>
                  <a:lnTo>
                    <a:pt x="712" y="155"/>
                  </a:lnTo>
                  <a:lnTo>
                    <a:pt x="712" y="162"/>
                  </a:lnTo>
                  <a:lnTo>
                    <a:pt x="715" y="168"/>
                  </a:lnTo>
                  <a:lnTo>
                    <a:pt x="719" y="171"/>
                  </a:lnTo>
                  <a:lnTo>
                    <a:pt x="719" y="174"/>
                  </a:lnTo>
                  <a:lnTo>
                    <a:pt x="715" y="178"/>
                  </a:lnTo>
                  <a:lnTo>
                    <a:pt x="712" y="181"/>
                  </a:lnTo>
                  <a:lnTo>
                    <a:pt x="708" y="184"/>
                  </a:lnTo>
                  <a:lnTo>
                    <a:pt x="705" y="184"/>
                  </a:lnTo>
                  <a:lnTo>
                    <a:pt x="701" y="184"/>
                  </a:lnTo>
                  <a:lnTo>
                    <a:pt x="701" y="181"/>
                  </a:lnTo>
                  <a:lnTo>
                    <a:pt x="698" y="181"/>
                  </a:lnTo>
                  <a:lnTo>
                    <a:pt x="691" y="184"/>
                  </a:lnTo>
                  <a:lnTo>
                    <a:pt x="684" y="184"/>
                  </a:lnTo>
                  <a:lnTo>
                    <a:pt x="677" y="181"/>
                  </a:lnTo>
                  <a:lnTo>
                    <a:pt x="674" y="181"/>
                  </a:lnTo>
                  <a:lnTo>
                    <a:pt x="670" y="181"/>
                  </a:lnTo>
                  <a:lnTo>
                    <a:pt x="670" y="187"/>
                  </a:lnTo>
                  <a:lnTo>
                    <a:pt x="667" y="194"/>
                  </a:lnTo>
                  <a:lnTo>
                    <a:pt x="667" y="197"/>
                  </a:lnTo>
                  <a:lnTo>
                    <a:pt x="667" y="207"/>
                  </a:lnTo>
                  <a:lnTo>
                    <a:pt x="667" y="213"/>
                  </a:lnTo>
                  <a:lnTo>
                    <a:pt x="663" y="216"/>
                  </a:lnTo>
                  <a:lnTo>
                    <a:pt x="667" y="216"/>
                  </a:lnTo>
                  <a:lnTo>
                    <a:pt x="670" y="220"/>
                  </a:lnTo>
                  <a:lnTo>
                    <a:pt x="670" y="223"/>
                  </a:lnTo>
                  <a:lnTo>
                    <a:pt x="670" y="226"/>
                  </a:lnTo>
                  <a:lnTo>
                    <a:pt x="667" y="226"/>
                  </a:lnTo>
                  <a:lnTo>
                    <a:pt x="663" y="226"/>
                  </a:lnTo>
                  <a:lnTo>
                    <a:pt x="660" y="226"/>
                  </a:lnTo>
                  <a:lnTo>
                    <a:pt x="660" y="223"/>
                  </a:lnTo>
                  <a:lnTo>
                    <a:pt x="657" y="226"/>
                  </a:lnTo>
                  <a:lnTo>
                    <a:pt x="653" y="226"/>
                  </a:lnTo>
                  <a:lnTo>
                    <a:pt x="643" y="226"/>
                  </a:lnTo>
                  <a:lnTo>
                    <a:pt x="636" y="229"/>
                  </a:lnTo>
                  <a:lnTo>
                    <a:pt x="636" y="229"/>
                  </a:lnTo>
                  <a:lnTo>
                    <a:pt x="633" y="229"/>
                  </a:lnTo>
                  <a:lnTo>
                    <a:pt x="629" y="229"/>
                  </a:lnTo>
                  <a:lnTo>
                    <a:pt x="626" y="233"/>
                  </a:lnTo>
                  <a:lnTo>
                    <a:pt x="626" y="236"/>
                  </a:lnTo>
                  <a:lnTo>
                    <a:pt x="629" y="236"/>
                  </a:lnTo>
                  <a:lnTo>
                    <a:pt x="636" y="236"/>
                  </a:lnTo>
                  <a:lnTo>
                    <a:pt x="639" y="236"/>
                  </a:lnTo>
                  <a:lnTo>
                    <a:pt x="639" y="239"/>
                  </a:lnTo>
                  <a:lnTo>
                    <a:pt x="636" y="242"/>
                  </a:lnTo>
                  <a:lnTo>
                    <a:pt x="639" y="246"/>
                  </a:lnTo>
                  <a:lnTo>
                    <a:pt x="639" y="249"/>
                  </a:lnTo>
                  <a:lnTo>
                    <a:pt x="639" y="249"/>
                  </a:lnTo>
                  <a:lnTo>
                    <a:pt x="639" y="255"/>
                  </a:lnTo>
                  <a:lnTo>
                    <a:pt x="643" y="258"/>
                  </a:lnTo>
                  <a:lnTo>
                    <a:pt x="646" y="262"/>
                  </a:lnTo>
                  <a:lnTo>
                    <a:pt x="650" y="265"/>
                  </a:lnTo>
                  <a:lnTo>
                    <a:pt x="650" y="271"/>
                  </a:lnTo>
                  <a:lnTo>
                    <a:pt x="650" y="271"/>
                  </a:lnTo>
                  <a:lnTo>
                    <a:pt x="646" y="275"/>
                  </a:lnTo>
                  <a:lnTo>
                    <a:pt x="650" y="278"/>
                  </a:lnTo>
                  <a:lnTo>
                    <a:pt x="650" y="281"/>
                  </a:lnTo>
                  <a:lnTo>
                    <a:pt x="650" y="281"/>
                  </a:lnTo>
                  <a:lnTo>
                    <a:pt x="643" y="284"/>
                  </a:lnTo>
                  <a:lnTo>
                    <a:pt x="646" y="288"/>
                  </a:lnTo>
                  <a:lnTo>
                    <a:pt x="639" y="291"/>
                  </a:lnTo>
                  <a:lnTo>
                    <a:pt x="633" y="288"/>
                  </a:lnTo>
                  <a:lnTo>
                    <a:pt x="626" y="281"/>
                  </a:lnTo>
                  <a:lnTo>
                    <a:pt x="622" y="281"/>
                  </a:lnTo>
                  <a:lnTo>
                    <a:pt x="612" y="278"/>
                  </a:lnTo>
                  <a:lnTo>
                    <a:pt x="602" y="278"/>
                  </a:lnTo>
                  <a:lnTo>
                    <a:pt x="595" y="278"/>
                  </a:lnTo>
                  <a:lnTo>
                    <a:pt x="584" y="278"/>
                  </a:lnTo>
                  <a:lnTo>
                    <a:pt x="574" y="278"/>
                  </a:lnTo>
                  <a:lnTo>
                    <a:pt x="571" y="278"/>
                  </a:lnTo>
                  <a:lnTo>
                    <a:pt x="567" y="278"/>
                  </a:lnTo>
                  <a:lnTo>
                    <a:pt x="564" y="281"/>
                  </a:lnTo>
                  <a:lnTo>
                    <a:pt x="560" y="281"/>
                  </a:lnTo>
                  <a:lnTo>
                    <a:pt x="550" y="281"/>
                  </a:lnTo>
                  <a:lnTo>
                    <a:pt x="540" y="278"/>
                  </a:lnTo>
                  <a:lnTo>
                    <a:pt x="536" y="278"/>
                  </a:lnTo>
                  <a:lnTo>
                    <a:pt x="529" y="278"/>
                  </a:lnTo>
                  <a:lnTo>
                    <a:pt x="529" y="278"/>
                  </a:lnTo>
                  <a:lnTo>
                    <a:pt x="522" y="278"/>
                  </a:lnTo>
                  <a:lnTo>
                    <a:pt x="519" y="278"/>
                  </a:lnTo>
                  <a:lnTo>
                    <a:pt x="519" y="278"/>
                  </a:lnTo>
                  <a:lnTo>
                    <a:pt x="519" y="281"/>
                  </a:lnTo>
                  <a:lnTo>
                    <a:pt x="519" y="284"/>
                  </a:lnTo>
                  <a:lnTo>
                    <a:pt x="519" y="291"/>
                  </a:lnTo>
                  <a:lnTo>
                    <a:pt x="516" y="291"/>
                  </a:lnTo>
                  <a:lnTo>
                    <a:pt x="502" y="291"/>
                  </a:lnTo>
                  <a:lnTo>
                    <a:pt x="488" y="291"/>
                  </a:lnTo>
                  <a:lnTo>
                    <a:pt x="485" y="288"/>
                  </a:lnTo>
                  <a:lnTo>
                    <a:pt x="478" y="288"/>
                  </a:lnTo>
                  <a:lnTo>
                    <a:pt x="474" y="291"/>
                  </a:lnTo>
                  <a:lnTo>
                    <a:pt x="474" y="294"/>
                  </a:lnTo>
                  <a:lnTo>
                    <a:pt x="471" y="294"/>
                  </a:lnTo>
                  <a:lnTo>
                    <a:pt x="471" y="297"/>
                  </a:lnTo>
                  <a:lnTo>
                    <a:pt x="471" y="297"/>
                  </a:lnTo>
                  <a:lnTo>
                    <a:pt x="464" y="300"/>
                  </a:lnTo>
                  <a:lnTo>
                    <a:pt x="464" y="300"/>
                  </a:lnTo>
                  <a:lnTo>
                    <a:pt x="454" y="310"/>
                  </a:lnTo>
                  <a:lnTo>
                    <a:pt x="454" y="313"/>
                  </a:lnTo>
                  <a:lnTo>
                    <a:pt x="450" y="317"/>
                  </a:lnTo>
                  <a:lnTo>
                    <a:pt x="447" y="323"/>
                  </a:lnTo>
                  <a:lnTo>
                    <a:pt x="440" y="330"/>
                  </a:lnTo>
                  <a:lnTo>
                    <a:pt x="436" y="326"/>
                  </a:lnTo>
                  <a:lnTo>
                    <a:pt x="426" y="323"/>
                  </a:lnTo>
                  <a:lnTo>
                    <a:pt x="419" y="323"/>
                  </a:lnTo>
                  <a:lnTo>
                    <a:pt x="416" y="323"/>
                  </a:lnTo>
                  <a:lnTo>
                    <a:pt x="405" y="326"/>
                  </a:lnTo>
                  <a:lnTo>
                    <a:pt x="402" y="326"/>
                  </a:lnTo>
                  <a:lnTo>
                    <a:pt x="395" y="307"/>
                  </a:lnTo>
                  <a:lnTo>
                    <a:pt x="381" y="307"/>
                  </a:lnTo>
                  <a:lnTo>
                    <a:pt x="381" y="284"/>
                  </a:lnTo>
                  <a:lnTo>
                    <a:pt x="374" y="284"/>
                  </a:lnTo>
                  <a:lnTo>
                    <a:pt x="368" y="275"/>
                  </a:lnTo>
                  <a:lnTo>
                    <a:pt x="357" y="268"/>
                  </a:lnTo>
                  <a:lnTo>
                    <a:pt x="326" y="268"/>
                  </a:lnTo>
                  <a:lnTo>
                    <a:pt x="299" y="271"/>
                  </a:lnTo>
                  <a:lnTo>
                    <a:pt x="282" y="265"/>
                  </a:lnTo>
                  <a:lnTo>
                    <a:pt x="271" y="258"/>
                  </a:lnTo>
                  <a:lnTo>
                    <a:pt x="240" y="242"/>
                  </a:lnTo>
                  <a:lnTo>
                    <a:pt x="189" y="249"/>
                  </a:lnTo>
                  <a:lnTo>
                    <a:pt x="202" y="326"/>
                  </a:lnTo>
                  <a:lnTo>
                    <a:pt x="199" y="330"/>
                  </a:lnTo>
                  <a:lnTo>
                    <a:pt x="192" y="330"/>
                  </a:lnTo>
                  <a:lnTo>
                    <a:pt x="182" y="317"/>
                  </a:lnTo>
                  <a:lnTo>
                    <a:pt x="168" y="310"/>
                  </a:lnTo>
                  <a:lnTo>
                    <a:pt x="154" y="310"/>
                  </a:lnTo>
                  <a:lnTo>
                    <a:pt x="144" y="310"/>
                  </a:lnTo>
                  <a:lnTo>
                    <a:pt x="134" y="320"/>
                  </a:lnTo>
                  <a:lnTo>
                    <a:pt x="134" y="317"/>
                  </a:lnTo>
                  <a:lnTo>
                    <a:pt x="130" y="313"/>
                  </a:lnTo>
                  <a:lnTo>
                    <a:pt x="134" y="307"/>
                  </a:lnTo>
                  <a:lnTo>
                    <a:pt x="134" y="304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0" y="300"/>
                  </a:lnTo>
                  <a:lnTo>
                    <a:pt x="127" y="300"/>
                  </a:lnTo>
                  <a:lnTo>
                    <a:pt x="123" y="297"/>
                  </a:lnTo>
                  <a:lnTo>
                    <a:pt x="120" y="300"/>
                  </a:lnTo>
                  <a:lnTo>
                    <a:pt x="116" y="297"/>
                  </a:lnTo>
                  <a:lnTo>
                    <a:pt x="116" y="297"/>
                  </a:lnTo>
                  <a:lnTo>
                    <a:pt x="113" y="294"/>
                  </a:lnTo>
                  <a:lnTo>
                    <a:pt x="113" y="291"/>
                  </a:lnTo>
                  <a:lnTo>
                    <a:pt x="110" y="291"/>
                  </a:lnTo>
                  <a:lnTo>
                    <a:pt x="110" y="291"/>
                  </a:lnTo>
                  <a:lnTo>
                    <a:pt x="106" y="294"/>
                  </a:lnTo>
                  <a:lnTo>
                    <a:pt x="106" y="294"/>
                  </a:lnTo>
                  <a:lnTo>
                    <a:pt x="106" y="288"/>
                  </a:lnTo>
                  <a:lnTo>
                    <a:pt x="106" y="284"/>
                  </a:lnTo>
                  <a:lnTo>
                    <a:pt x="99" y="281"/>
                  </a:lnTo>
                  <a:lnTo>
                    <a:pt x="99" y="278"/>
                  </a:lnTo>
                  <a:lnTo>
                    <a:pt x="96" y="278"/>
                  </a:lnTo>
                  <a:lnTo>
                    <a:pt x="96" y="275"/>
                  </a:lnTo>
                  <a:lnTo>
                    <a:pt x="92" y="271"/>
                  </a:lnTo>
                  <a:lnTo>
                    <a:pt x="92" y="271"/>
                  </a:lnTo>
                  <a:lnTo>
                    <a:pt x="89" y="268"/>
                  </a:lnTo>
                  <a:lnTo>
                    <a:pt x="86" y="268"/>
                  </a:lnTo>
                  <a:lnTo>
                    <a:pt x="82" y="265"/>
                  </a:lnTo>
                  <a:lnTo>
                    <a:pt x="82" y="265"/>
                  </a:lnTo>
                  <a:lnTo>
                    <a:pt x="86" y="262"/>
                  </a:lnTo>
                  <a:lnTo>
                    <a:pt x="86" y="265"/>
                  </a:lnTo>
                  <a:lnTo>
                    <a:pt x="92" y="265"/>
                  </a:lnTo>
                  <a:lnTo>
                    <a:pt x="92" y="265"/>
                  </a:lnTo>
                  <a:lnTo>
                    <a:pt x="96" y="265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103" y="262"/>
                  </a:lnTo>
                  <a:lnTo>
                    <a:pt x="106" y="265"/>
                  </a:lnTo>
                  <a:lnTo>
                    <a:pt x="106" y="262"/>
                  </a:lnTo>
                  <a:lnTo>
                    <a:pt x="106" y="262"/>
                  </a:lnTo>
                  <a:lnTo>
                    <a:pt x="103" y="262"/>
                  </a:lnTo>
                  <a:lnTo>
                    <a:pt x="99" y="262"/>
                  </a:lnTo>
                  <a:lnTo>
                    <a:pt x="99" y="258"/>
                  </a:lnTo>
                  <a:lnTo>
                    <a:pt x="96" y="255"/>
                  </a:lnTo>
                  <a:lnTo>
                    <a:pt x="96" y="252"/>
                  </a:lnTo>
                  <a:lnTo>
                    <a:pt x="99" y="252"/>
                  </a:lnTo>
                  <a:lnTo>
                    <a:pt x="99" y="249"/>
                  </a:lnTo>
                  <a:lnTo>
                    <a:pt x="96" y="249"/>
                  </a:lnTo>
                  <a:lnTo>
                    <a:pt x="99" y="246"/>
                  </a:lnTo>
                  <a:lnTo>
                    <a:pt x="103" y="246"/>
                  </a:lnTo>
                  <a:lnTo>
                    <a:pt x="106" y="242"/>
                  </a:lnTo>
                  <a:lnTo>
                    <a:pt x="110" y="246"/>
                  </a:lnTo>
                  <a:lnTo>
                    <a:pt x="113" y="246"/>
                  </a:lnTo>
                  <a:lnTo>
                    <a:pt x="116" y="242"/>
                  </a:lnTo>
                  <a:lnTo>
                    <a:pt x="120" y="246"/>
                  </a:lnTo>
                  <a:lnTo>
                    <a:pt x="120" y="246"/>
                  </a:lnTo>
                  <a:lnTo>
                    <a:pt x="123" y="246"/>
                  </a:lnTo>
                  <a:lnTo>
                    <a:pt x="127" y="246"/>
                  </a:lnTo>
                  <a:lnTo>
                    <a:pt x="130" y="246"/>
                  </a:lnTo>
                  <a:lnTo>
                    <a:pt x="134" y="246"/>
                  </a:lnTo>
                  <a:lnTo>
                    <a:pt x="134" y="242"/>
                  </a:lnTo>
                  <a:lnTo>
                    <a:pt x="130" y="242"/>
                  </a:lnTo>
                  <a:lnTo>
                    <a:pt x="127" y="242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7" y="233"/>
                  </a:lnTo>
                  <a:lnTo>
                    <a:pt x="130" y="233"/>
                  </a:lnTo>
                  <a:lnTo>
                    <a:pt x="130" y="229"/>
                  </a:lnTo>
                  <a:lnTo>
                    <a:pt x="127" y="229"/>
                  </a:lnTo>
                  <a:lnTo>
                    <a:pt x="127" y="229"/>
                  </a:lnTo>
                  <a:lnTo>
                    <a:pt x="130" y="223"/>
                  </a:lnTo>
                  <a:lnTo>
                    <a:pt x="130" y="223"/>
                  </a:lnTo>
                  <a:lnTo>
                    <a:pt x="127" y="220"/>
                  </a:lnTo>
                  <a:lnTo>
                    <a:pt x="127" y="216"/>
                  </a:lnTo>
                  <a:lnTo>
                    <a:pt x="127" y="216"/>
                  </a:lnTo>
                  <a:lnTo>
                    <a:pt x="127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3" y="210"/>
                  </a:lnTo>
                  <a:lnTo>
                    <a:pt x="116" y="210"/>
                  </a:lnTo>
                  <a:lnTo>
                    <a:pt x="113" y="210"/>
                  </a:lnTo>
                  <a:lnTo>
                    <a:pt x="110" y="210"/>
                  </a:lnTo>
                  <a:lnTo>
                    <a:pt x="110" y="210"/>
                  </a:lnTo>
                  <a:lnTo>
                    <a:pt x="110" y="213"/>
                  </a:lnTo>
                  <a:lnTo>
                    <a:pt x="106" y="213"/>
                  </a:lnTo>
                  <a:lnTo>
                    <a:pt x="106" y="216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99" y="213"/>
                  </a:lnTo>
                  <a:lnTo>
                    <a:pt x="99" y="213"/>
                  </a:lnTo>
                  <a:lnTo>
                    <a:pt x="96" y="213"/>
                  </a:lnTo>
                  <a:lnTo>
                    <a:pt x="99" y="210"/>
                  </a:lnTo>
                  <a:lnTo>
                    <a:pt x="96" y="210"/>
                  </a:lnTo>
                  <a:lnTo>
                    <a:pt x="96" y="210"/>
                  </a:lnTo>
                  <a:lnTo>
                    <a:pt x="92" y="210"/>
                  </a:lnTo>
                  <a:lnTo>
                    <a:pt x="92" y="210"/>
                  </a:lnTo>
                  <a:lnTo>
                    <a:pt x="86" y="210"/>
                  </a:lnTo>
                  <a:lnTo>
                    <a:pt x="82" y="210"/>
                  </a:lnTo>
                  <a:lnTo>
                    <a:pt x="82" y="213"/>
                  </a:lnTo>
                  <a:lnTo>
                    <a:pt x="82" y="213"/>
                  </a:lnTo>
                  <a:lnTo>
                    <a:pt x="79" y="213"/>
                  </a:lnTo>
                  <a:lnTo>
                    <a:pt x="79" y="213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72" y="216"/>
                  </a:lnTo>
                  <a:lnTo>
                    <a:pt x="68" y="220"/>
                  </a:lnTo>
                  <a:lnTo>
                    <a:pt x="68" y="220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5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7872413" y="3318530"/>
              <a:ext cx="496888" cy="261937"/>
            </a:xfrm>
            <a:custGeom>
              <a:avLst/>
              <a:gdLst>
                <a:gd name="T0" fmla="*/ 247 w 313"/>
                <a:gd name="T1" fmla="*/ 152 h 165"/>
                <a:gd name="T2" fmla="*/ 254 w 313"/>
                <a:gd name="T3" fmla="*/ 142 h 165"/>
                <a:gd name="T4" fmla="*/ 247 w 313"/>
                <a:gd name="T5" fmla="*/ 136 h 165"/>
                <a:gd name="T6" fmla="*/ 247 w 313"/>
                <a:gd name="T7" fmla="*/ 130 h 165"/>
                <a:gd name="T8" fmla="*/ 241 w 313"/>
                <a:gd name="T9" fmla="*/ 126 h 165"/>
                <a:gd name="T10" fmla="*/ 234 w 313"/>
                <a:gd name="T11" fmla="*/ 120 h 165"/>
                <a:gd name="T12" fmla="*/ 237 w 313"/>
                <a:gd name="T13" fmla="*/ 113 h 165"/>
                <a:gd name="T14" fmla="*/ 251 w 313"/>
                <a:gd name="T15" fmla="*/ 113 h 165"/>
                <a:gd name="T16" fmla="*/ 258 w 313"/>
                <a:gd name="T17" fmla="*/ 107 h 165"/>
                <a:gd name="T18" fmla="*/ 254 w 313"/>
                <a:gd name="T19" fmla="*/ 104 h 165"/>
                <a:gd name="T20" fmla="*/ 268 w 313"/>
                <a:gd name="T21" fmla="*/ 100 h 165"/>
                <a:gd name="T22" fmla="*/ 265 w 313"/>
                <a:gd name="T23" fmla="*/ 94 h 165"/>
                <a:gd name="T24" fmla="*/ 268 w 313"/>
                <a:gd name="T25" fmla="*/ 88 h 165"/>
                <a:gd name="T26" fmla="*/ 278 w 313"/>
                <a:gd name="T27" fmla="*/ 84 h 165"/>
                <a:gd name="T28" fmla="*/ 289 w 313"/>
                <a:gd name="T29" fmla="*/ 84 h 165"/>
                <a:gd name="T30" fmla="*/ 299 w 313"/>
                <a:gd name="T31" fmla="*/ 84 h 165"/>
                <a:gd name="T32" fmla="*/ 313 w 313"/>
                <a:gd name="T33" fmla="*/ 81 h 165"/>
                <a:gd name="T34" fmla="*/ 299 w 313"/>
                <a:gd name="T35" fmla="*/ 71 h 165"/>
                <a:gd name="T36" fmla="*/ 299 w 313"/>
                <a:gd name="T37" fmla="*/ 75 h 165"/>
                <a:gd name="T38" fmla="*/ 292 w 313"/>
                <a:gd name="T39" fmla="*/ 78 h 165"/>
                <a:gd name="T40" fmla="*/ 278 w 313"/>
                <a:gd name="T41" fmla="*/ 71 h 165"/>
                <a:gd name="T42" fmla="*/ 278 w 313"/>
                <a:gd name="T43" fmla="*/ 65 h 165"/>
                <a:gd name="T44" fmla="*/ 285 w 313"/>
                <a:gd name="T45" fmla="*/ 55 h 165"/>
                <a:gd name="T46" fmla="*/ 275 w 313"/>
                <a:gd name="T47" fmla="*/ 58 h 165"/>
                <a:gd name="T48" fmla="*/ 265 w 313"/>
                <a:gd name="T49" fmla="*/ 68 h 165"/>
                <a:gd name="T50" fmla="*/ 261 w 313"/>
                <a:gd name="T51" fmla="*/ 75 h 165"/>
                <a:gd name="T52" fmla="*/ 251 w 313"/>
                <a:gd name="T53" fmla="*/ 88 h 165"/>
                <a:gd name="T54" fmla="*/ 237 w 313"/>
                <a:gd name="T55" fmla="*/ 81 h 165"/>
                <a:gd name="T56" fmla="*/ 227 w 313"/>
                <a:gd name="T57" fmla="*/ 81 h 165"/>
                <a:gd name="T58" fmla="*/ 213 w 313"/>
                <a:gd name="T59" fmla="*/ 84 h 165"/>
                <a:gd name="T60" fmla="*/ 192 w 313"/>
                <a:gd name="T61" fmla="*/ 65 h 165"/>
                <a:gd name="T62" fmla="*/ 185 w 313"/>
                <a:gd name="T63" fmla="*/ 42 h 165"/>
                <a:gd name="T64" fmla="*/ 168 w 313"/>
                <a:gd name="T65" fmla="*/ 26 h 165"/>
                <a:gd name="T66" fmla="*/ 110 w 313"/>
                <a:gd name="T67" fmla="*/ 29 h 165"/>
                <a:gd name="T68" fmla="*/ 82 w 313"/>
                <a:gd name="T69" fmla="*/ 16 h 165"/>
                <a:gd name="T70" fmla="*/ 0 w 313"/>
                <a:gd name="T71" fmla="*/ 7 h 165"/>
                <a:gd name="T72" fmla="*/ 24 w 313"/>
                <a:gd name="T73" fmla="*/ 84 h 165"/>
                <a:gd name="T74" fmla="*/ 34 w 313"/>
                <a:gd name="T75" fmla="*/ 81 h 165"/>
                <a:gd name="T76" fmla="*/ 27 w 313"/>
                <a:gd name="T77" fmla="*/ 75 h 165"/>
                <a:gd name="T78" fmla="*/ 38 w 313"/>
                <a:gd name="T79" fmla="*/ 65 h 165"/>
                <a:gd name="T80" fmla="*/ 48 w 313"/>
                <a:gd name="T81" fmla="*/ 58 h 165"/>
                <a:gd name="T82" fmla="*/ 55 w 313"/>
                <a:gd name="T83" fmla="*/ 62 h 165"/>
                <a:gd name="T84" fmla="*/ 58 w 313"/>
                <a:gd name="T85" fmla="*/ 58 h 165"/>
                <a:gd name="T86" fmla="*/ 82 w 313"/>
                <a:gd name="T87" fmla="*/ 68 h 165"/>
                <a:gd name="T88" fmla="*/ 99 w 313"/>
                <a:gd name="T89" fmla="*/ 78 h 165"/>
                <a:gd name="T90" fmla="*/ 113 w 313"/>
                <a:gd name="T91" fmla="*/ 81 h 165"/>
                <a:gd name="T92" fmla="*/ 127 w 313"/>
                <a:gd name="T93" fmla="*/ 88 h 165"/>
                <a:gd name="T94" fmla="*/ 134 w 313"/>
                <a:gd name="T95" fmla="*/ 100 h 165"/>
                <a:gd name="T96" fmla="*/ 137 w 313"/>
                <a:gd name="T97" fmla="*/ 110 h 165"/>
                <a:gd name="T98" fmla="*/ 158 w 313"/>
                <a:gd name="T99" fmla="*/ 120 h 165"/>
                <a:gd name="T100" fmla="*/ 185 w 313"/>
                <a:gd name="T101" fmla="*/ 133 h 165"/>
                <a:gd name="T102" fmla="*/ 210 w 313"/>
                <a:gd name="T103" fmla="*/ 142 h 165"/>
                <a:gd name="T104" fmla="*/ 213 w 313"/>
                <a:gd name="T105" fmla="*/ 146 h 165"/>
                <a:gd name="T106" fmla="*/ 220 w 313"/>
                <a:gd name="T107" fmla="*/ 152 h 165"/>
                <a:gd name="T108" fmla="*/ 227 w 313"/>
                <a:gd name="T109" fmla="*/ 159 h 165"/>
                <a:gd name="T110" fmla="*/ 234 w 313"/>
                <a:gd name="T111" fmla="*/ 165 h 165"/>
                <a:gd name="T112" fmla="*/ 241 w 313"/>
                <a:gd name="T113" fmla="*/ 162 h 165"/>
                <a:gd name="T114" fmla="*/ 244 w 313"/>
                <a:gd name="T115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3" h="165">
                  <a:moveTo>
                    <a:pt x="244" y="165"/>
                  </a:moveTo>
                  <a:lnTo>
                    <a:pt x="247" y="152"/>
                  </a:lnTo>
                  <a:lnTo>
                    <a:pt x="251" y="146"/>
                  </a:lnTo>
                  <a:lnTo>
                    <a:pt x="254" y="142"/>
                  </a:lnTo>
                  <a:lnTo>
                    <a:pt x="251" y="139"/>
                  </a:lnTo>
                  <a:lnTo>
                    <a:pt x="247" y="136"/>
                  </a:lnTo>
                  <a:lnTo>
                    <a:pt x="247" y="133"/>
                  </a:lnTo>
                  <a:lnTo>
                    <a:pt x="247" y="130"/>
                  </a:lnTo>
                  <a:lnTo>
                    <a:pt x="247" y="126"/>
                  </a:lnTo>
                  <a:lnTo>
                    <a:pt x="241" y="126"/>
                  </a:lnTo>
                  <a:lnTo>
                    <a:pt x="237" y="126"/>
                  </a:lnTo>
                  <a:lnTo>
                    <a:pt x="234" y="120"/>
                  </a:lnTo>
                  <a:lnTo>
                    <a:pt x="234" y="117"/>
                  </a:lnTo>
                  <a:lnTo>
                    <a:pt x="237" y="113"/>
                  </a:lnTo>
                  <a:lnTo>
                    <a:pt x="247" y="113"/>
                  </a:lnTo>
                  <a:lnTo>
                    <a:pt x="251" y="113"/>
                  </a:lnTo>
                  <a:lnTo>
                    <a:pt x="251" y="110"/>
                  </a:lnTo>
                  <a:lnTo>
                    <a:pt x="258" y="107"/>
                  </a:lnTo>
                  <a:lnTo>
                    <a:pt x="254" y="107"/>
                  </a:lnTo>
                  <a:lnTo>
                    <a:pt x="254" y="104"/>
                  </a:lnTo>
                  <a:lnTo>
                    <a:pt x="261" y="104"/>
                  </a:lnTo>
                  <a:lnTo>
                    <a:pt x="268" y="100"/>
                  </a:lnTo>
                  <a:lnTo>
                    <a:pt x="268" y="97"/>
                  </a:lnTo>
                  <a:lnTo>
                    <a:pt x="265" y="94"/>
                  </a:lnTo>
                  <a:lnTo>
                    <a:pt x="265" y="91"/>
                  </a:lnTo>
                  <a:lnTo>
                    <a:pt x="268" y="88"/>
                  </a:lnTo>
                  <a:lnTo>
                    <a:pt x="275" y="84"/>
                  </a:lnTo>
                  <a:lnTo>
                    <a:pt x="278" y="84"/>
                  </a:lnTo>
                  <a:lnTo>
                    <a:pt x="285" y="81"/>
                  </a:lnTo>
                  <a:lnTo>
                    <a:pt x="289" y="84"/>
                  </a:lnTo>
                  <a:lnTo>
                    <a:pt x="289" y="88"/>
                  </a:lnTo>
                  <a:lnTo>
                    <a:pt x="299" y="84"/>
                  </a:lnTo>
                  <a:lnTo>
                    <a:pt x="306" y="84"/>
                  </a:lnTo>
                  <a:lnTo>
                    <a:pt x="313" y="81"/>
                  </a:lnTo>
                  <a:lnTo>
                    <a:pt x="309" y="78"/>
                  </a:lnTo>
                  <a:lnTo>
                    <a:pt x="299" y="71"/>
                  </a:lnTo>
                  <a:lnTo>
                    <a:pt x="299" y="71"/>
                  </a:lnTo>
                  <a:lnTo>
                    <a:pt x="299" y="75"/>
                  </a:lnTo>
                  <a:lnTo>
                    <a:pt x="296" y="78"/>
                  </a:lnTo>
                  <a:lnTo>
                    <a:pt x="292" y="78"/>
                  </a:lnTo>
                  <a:lnTo>
                    <a:pt x="289" y="75"/>
                  </a:lnTo>
                  <a:lnTo>
                    <a:pt x="278" y="71"/>
                  </a:lnTo>
                  <a:lnTo>
                    <a:pt x="275" y="71"/>
                  </a:lnTo>
                  <a:lnTo>
                    <a:pt x="278" y="65"/>
                  </a:lnTo>
                  <a:lnTo>
                    <a:pt x="285" y="58"/>
                  </a:lnTo>
                  <a:lnTo>
                    <a:pt x="285" y="55"/>
                  </a:lnTo>
                  <a:lnTo>
                    <a:pt x="282" y="55"/>
                  </a:lnTo>
                  <a:lnTo>
                    <a:pt x="275" y="58"/>
                  </a:lnTo>
                  <a:lnTo>
                    <a:pt x="275" y="58"/>
                  </a:lnTo>
                  <a:lnTo>
                    <a:pt x="265" y="68"/>
                  </a:lnTo>
                  <a:lnTo>
                    <a:pt x="265" y="71"/>
                  </a:lnTo>
                  <a:lnTo>
                    <a:pt x="261" y="75"/>
                  </a:lnTo>
                  <a:lnTo>
                    <a:pt x="258" y="81"/>
                  </a:lnTo>
                  <a:lnTo>
                    <a:pt x="251" y="88"/>
                  </a:lnTo>
                  <a:lnTo>
                    <a:pt x="247" y="84"/>
                  </a:lnTo>
                  <a:lnTo>
                    <a:pt x="237" y="81"/>
                  </a:lnTo>
                  <a:lnTo>
                    <a:pt x="230" y="81"/>
                  </a:lnTo>
                  <a:lnTo>
                    <a:pt x="227" y="81"/>
                  </a:lnTo>
                  <a:lnTo>
                    <a:pt x="216" y="84"/>
                  </a:lnTo>
                  <a:lnTo>
                    <a:pt x="213" y="84"/>
                  </a:lnTo>
                  <a:lnTo>
                    <a:pt x="206" y="65"/>
                  </a:lnTo>
                  <a:lnTo>
                    <a:pt x="192" y="65"/>
                  </a:lnTo>
                  <a:lnTo>
                    <a:pt x="192" y="42"/>
                  </a:lnTo>
                  <a:lnTo>
                    <a:pt x="185" y="42"/>
                  </a:lnTo>
                  <a:lnTo>
                    <a:pt x="179" y="33"/>
                  </a:lnTo>
                  <a:lnTo>
                    <a:pt x="168" y="26"/>
                  </a:lnTo>
                  <a:lnTo>
                    <a:pt x="137" y="26"/>
                  </a:lnTo>
                  <a:lnTo>
                    <a:pt x="110" y="29"/>
                  </a:lnTo>
                  <a:lnTo>
                    <a:pt x="93" y="23"/>
                  </a:lnTo>
                  <a:lnTo>
                    <a:pt x="82" y="16"/>
                  </a:lnTo>
                  <a:lnTo>
                    <a:pt x="51" y="0"/>
                  </a:lnTo>
                  <a:lnTo>
                    <a:pt x="0" y="7"/>
                  </a:lnTo>
                  <a:lnTo>
                    <a:pt x="13" y="84"/>
                  </a:lnTo>
                  <a:lnTo>
                    <a:pt x="24" y="84"/>
                  </a:lnTo>
                  <a:lnTo>
                    <a:pt x="31" y="88"/>
                  </a:lnTo>
                  <a:lnTo>
                    <a:pt x="34" y="81"/>
                  </a:lnTo>
                  <a:lnTo>
                    <a:pt x="31" y="81"/>
                  </a:lnTo>
                  <a:lnTo>
                    <a:pt x="27" y="75"/>
                  </a:lnTo>
                  <a:lnTo>
                    <a:pt x="34" y="65"/>
                  </a:lnTo>
                  <a:lnTo>
                    <a:pt x="38" y="65"/>
                  </a:lnTo>
                  <a:lnTo>
                    <a:pt x="41" y="62"/>
                  </a:lnTo>
                  <a:lnTo>
                    <a:pt x="48" y="58"/>
                  </a:lnTo>
                  <a:lnTo>
                    <a:pt x="51" y="62"/>
                  </a:lnTo>
                  <a:lnTo>
                    <a:pt x="55" y="62"/>
                  </a:lnTo>
                  <a:lnTo>
                    <a:pt x="51" y="55"/>
                  </a:lnTo>
                  <a:lnTo>
                    <a:pt x="58" y="58"/>
                  </a:lnTo>
                  <a:lnTo>
                    <a:pt x="72" y="62"/>
                  </a:lnTo>
                  <a:lnTo>
                    <a:pt x="82" y="68"/>
                  </a:lnTo>
                  <a:lnTo>
                    <a:pt x="86" y="71"/>
                  </a:lnTo>
                  <a:lnTo>
                    <a:pt x="99" y="78"/>
                  </a:lnTo>
                  <a:lnTo>
                    <a:pt x="110" y="84"/>
                  </a:lnTo>
                  <a:lnTo>
                    <a:pt x="113" y="81"/>
                  </a:lnTo>
                  <a:lnTo>
                    <a:pt x="117" y="84"/>
                  </a:lnTo>
                  <a:lnTo>
                    <a:pt x="127" y="88"/>
                  </a:lnTo>
                  <a:lnTo>
                    <a:pt x="130" y="97"/>
                  </a:lnTo>
                  <a:lnTo>
                    <a:pt x="134" y="100"/>
                  </a:lnTo>
                  <a:lnTo>
                    <a:pt x="134" y="104"/>
                  </a:lnTo>
                  <a:lnTo>
                    <a:pt x="137" y="110"/>
                  </a:lnTo>
                  <a:lnTo>
                    <a:pt x="144" y="113"/>
                  </a:lnTo>
                  <a:lnTo>
                    <a:pt x="158" y="120"/>
                  </a:lnTo>
                  <a:lnTo>
                    <a:pt x="172" y="130"/>
                  </a:lnTo>
                  <a:lnTo>
                    <a:pt x="185" y="133"/>
                  </a:lnTo>
                  <a:lnTo>
                    <a:pt x="199" y="142"/>
                  </a:lnTo>
                  <a:lnTo>
                    <a:pt x="210" y="142"/>
                  </a:lnTo>
                  <a:lnTo>
                    <a:pt x="213" y="146"/>
                  </a:lnTo>
                  <a:lnTo>
                    <a:pt x="213" y="146"/>
                  </a:lnTo>
                  <a:lnTo>
                    <a:pt x="223" y="149"/>
                  </a:lnTo>
                  <a:lnTo>
                    <a:pt x="220" y="152"/>
                  </a:lnTo>
                  <a:lnTo>
                    <a:pt x="223" y="162"/>
                  </a:lnTo>
                  <a:lnTo>
                    <a:pt x="227" y="159"/>
                  </a:lnTo>
                  <a:lnTo>
                    <a:pt x="234" y="162"/>
                  </a:lnTo>
                  <a:lnTo>
                    <a:pt x="234" y="165"/>
                  </a:lnTo>
                  <a:lnTo>
                    <a:pt x="237" y="165"/>
                  </a:lnTo>
                  <a:lnTo>
                    <a:pt x="241" y="162"/>
                  </a:lnTo>
                  <a:lnTo>
                    <a:pt x="244" y="162"/>
                  </a:lnTo>
                  <a:lnTo>
                    <a:pt x="244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7785101" y="3405842"/>
              <a:ext cx="441325" cy="236537"/>
            </a:xfrm>
            <a:custGeom>
              <a:avLst/>
              <a:gdLst>
                <a:gd name="T0" fmla="*/ 278 w 278"/>
                <a:gd name="T1" fmla="*/ 94 h 149"/>
                <a:gd name="T2" fmla="*/ 265 w 278"/>
                <a:gd name="T3" fmla="*/ 87 h 149"/>
                <a:gd name="T4" fmla="*/ 227 w 278"/>
                <a:gd name="T5" fmla="*/ 75 h 149"/>
                <a:gd name="T6" fmla="*/ 192 w 278"/>
                <a:gd name="T7" fmla="*/ 55 h 149"/>
                <a:gd name="T8" fmla="*/ 185 w 278"/>
                <a:gd name="T9" fmla="*/ 42 h 149"/>
                <a:gd name="T10" fmla="*/ 168 w 278"/>
                <a:gd name="T11" fmla="*/ 26 h 149"/>
                <a:gd name="T12" fmla="*/ 141 w 278"/>
                <a:gd name="T13" fmla="*/ 16 h 149"/>
                <a:gd name="T14" fmla="*/ 113 w 278"/>
                <a:gd name="T15" fmla="*/ 3 h 149"/>
                <a:gd name="T16" fmla="*/ 106 w 278"/>
                <a:gd name="T17" fmla="*/ 7 h 149"/>
                <a:gd name="T18" fmla="*/ 93 w 278"/>
                <a:gd name="T19" fmla="*/ 10 h 149"/>
                <a:gd name="T20" fmla="*/ 86 w 278"/>
                <a:gd name="T21" fmla="*/ 26 h 149"/>
                <a:gd name="T22" fmla="*/ 79 w 278"/>
                <a:gd name="T23" fmla="*/ 29 h 149"/>
                <a:gd name="T24" fmla="*/ 48 w 278"/>
                <a:gd name="T25" fmla="*/ 20 h 149"/>
                <a:gd name="T26" fmla="*/ 10 w 278"/>
                <a:gd name="T27" fmla="*/ 13 h 149"/>
                <a:gd name="T28" fmla="*/ 3 w 278"/>
                <a:gd name="T29" fmla="*/ 26 h 149"/>
                <a:gd name="T30" fmla="*/ 7 w 278"/>
                <a:gd name="T31" fmla="*/ 36 h 149"/>
                <a:gd name="T32" fmla="*/ 10 w 278"/>
                <a:gd name="T33" fmla="*/ 49 h 149"/>
                <a:gd name="T34" fmla="*/ 13 w 278"/>
                <a:gd name="T35" fmla="*/ 62 h 149"/>
                <a:gd name="T36" fmla="*/ 17 w 278"/>
                <a:gd name="T37" fmla="*/ 65 h 149"/>
                <a:gd name="T38" fmla="*/ 27 w 278"/>
                <a:gd name="T39" fmla="*/ 62 h 149"/>
                <a:gd name="T40" fmla="*/ 27 w 278"/>
                <a:gd name="T41" fmla="*/ 68 h 149"/>
                <a:gd name="T42" fmla="*/ 31 w 278"/>
                <a:gd name="T43" fmla="*/ 71 h 149"/>
                <a:gd name="T44" fmla="*/ 24 w 278"/>
                <a:gd name="T45" fmla="*/ 71 h 149"/>
                <a:gd name="T46" fmla="*/ 24 w 278"/>
                <a:gd name="T47" fmla="*/ 78 h 149"/>
                <a:gd name="T48" fmla="*/ 27 w 278"/>
                <a:gd name="T49" fmla="*/ 75 h 149"/>
                <a:gd name="T50" fmla="*/ 38 w 278"/>
                <a:gd name="T51" fmla="*/ 81 h 149"/>
                <a:gd name="T52" fmla="*/ 38 w 278"/>
                <a:gd name="T53" fmla="*/ 94 h 149"/>
                <a:gd name="T54" fmla="*/ 44 w 278"/>
                <a:gd name="T55" fmla="*/ 113 h 149"/>
                <a:gd name="T56" fmla="*/ 58 w 278"/>
                <a:gd name="T57" fmla="*/ 107 h 149"/>
                <a:gd name="T58" fmla="*/ 72 w 278"/>
                <a:gd name="T59" fmla="*/ 100 h 149"/>
                <a:gd name="T60" fmla="*/ 89 w 278"/>
                <a:gd name="T61" fmla="*/ 94 h 149"/>
                <a:gd name="T62" fmla="*/ 103 w 278"/>
                <a:gd name="T63" fmla="*/ 97 h 149"/>
                <a:gd name="T64" fmla="*/ 127 w 278"/>
                <a:gd name="T65" fmla="*/ 107 h 149"/>
                <a:gd name="T66" fmla="*/ 141 w 278"/>
                <a:gd name="T67" fmla="*/ 110 h 149"/>
                <a:gd name="T68" fmla="*/ 148 w 278"/>
                <a:gd name="T69" fmla="*/ 117 h 149"/>
                <a:gd name="T70" fmla="*/ 165 w 278"/>
                <a:gd name="T71" fmla="*/ 126 h 149"/>
                <a:gd name="T72" fmla="*/ 182 w 278"/>
                <a:gd name="T73" fmla="*/ 133 h 149"/>
                <a:gd name="T74" fmla="*/ 182 w 278"/>
                <a:gd name="T75" fmla="*/ 142 h 149"/>
                <a:gd name="T76" fmla="*/ 189 w 278"/>
                <a:gd name="T77" fmla="*/ 146 h 149"/>
                <a:gd name="T78" fmla="*/ 199 w 278"/>
                <a:gd name="T79" fmla="*/ 146 h 149"/>
                <a:gd name="T80" fmla="*/ 206 w 278"/>
                <a:gd name="T81" fmla="*/ 149 h 149"/>
                <a:gd name="T82" fmla="*/ 216 w 278"/>
                <a:gd name="T83" fmla="*/ 149 h 149"/>
                <a:gd name="T84" fmla="*/ 223 w 278"/>
                <a:gd name="T85" fmla="*/ 142 h 149"/>
                <a:gd name="T86" fmla="*/ 234 w 278"/>
                <a:gd name="T87" fmla="*/ 136 h 149"/>
                <a:gd name="T88" fmla="*/ 240 w 278"/>
                <a:gd name="T89" fmla="*/ 129 h 149"/>
                <a:gd name="T90" fmla="*/ 247 w 278"/>
                <a:gd name="T91" fmla="*/ 117 h 149"/>
                <a:gd name="T92" fmla="*/ 247 w 278"/>
                <a:gd name="T93" fmla="*/ 110 h 149"/>
                <a:gd name="T94" fmla="*/ 254 w 278"/>
                <a:gd name="T95" fmla="*/ 107 h 149"/>
                <a:gd name="T96" fmla="*/ 268 w 278"/>
                <a:gd name="T97" fmla="*/ 104 h 149"/>
                <a:gd name="T98" fmla="*/ 278 w 278"/>
                <a:gd name="T99" fmla="*/ 10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8" h="149">
                  <a:moveTo>
                    <a:pt x="278" y="107"/>
                  </a:moveTo>
                  <a:lnTo>
                    <a:pt x="275" y="97"/>
                  </a:lnTo>
                  <a:lnTo>
                    <a:pt x="278" y="94"/>
                  </a:lnTo>
                  <a:lnTo>
                    <a:pt x="268" y="91"/>
                  </a:lnTo>
                  <a:lnTo>
                    <a:pt x="268" y="91"/>
                  </a:lnTo>
                  <a:lnTo>
                    <a:pt x="265" y="87"/>
                  </a:lnTo>
                  <a:lnTo>
                    <a:pt x="254" y="87"/>
                  </a:lnTo>
                  <a:lnTo>
                    <a:pt x="240" y="78"/>
                  </a:lnTo>
                  <a:lnTo>
                    <a:pt x="227" y="75"/>
                  </a:lnTo>
                  <a:lnTo>
                    <a:pt x="213" y="65"/>
                  </a:lnTo>
                  <a:lnTo>
                    <a:pt x="199" y="58"/>
                  </a:lnTo>
                  <a:lnTo>
                    <a:pt x="192" y="55"/>
                  </a:lnTo>
                  <a:lnTo>
                    <a:pt x="189" y="49"/>
                  </a:lnTo>
                  <a:lnTo>
                    <a:pt x="189" y="45"/>
                  </a:lnTo>
                  <a:lnTo>
                    <a:pt x="185" y="42"/>
                  </a:lnTo>
                  <a:lnTo>
                    <a:pt x="182" y="33"/>
                  </a:lnTo>
                  <a:lnTo>
                    <a:pt x="172" y="29"/>
                  </a:lnTo>
                  <a:lnTo>
                    <a:pt x="168" y="26"/>
                  </a:lnTo>
                  <a:lnTo>
                    <a:pt x="165" y="29"/>
                  </a:lnTo>
                  <a:lnTo>
                    <a:pt x="154" y="23"/>
                  </a:lnTo>
                  <a:lnTo>
                    <a:pt x="141" y="16"/>
                  </a:lnTo>
                  <a:lnTo>
                    <a:pt x="137" y="13"/>
                  </a:lnTo>
                  <a:lnTo>
                    <a:pt x="127" y="7"/>
                  </a:lnTo>
                  <a:lnTo>
                    <a:pt x="113" y="3"/>
                  </a:lnTo>
                  <a:lnTo>
                    <a:pt x="106" y="0"/>
                  </a:lnTo>
                  <a:lnTo>
                    <a:pt x="110" y="7"/>
                  </a:lnTo>
                  <a:lnTo>
                    <a:pt x="106" y="7"/>
                  </a:lnTo>
                  <a:lnTo>
                    <a:pt x="103" y="3"/>
                  </a:lnTo>
                  <a:lnTo>
                    <a:pt x="96" y="7"/>
                  </a:lnTo>
                  <a:lnTo>
                    <a:pt x="93" y="10"/>
                  </a:lnTo>
                  <a:lnTo>
                    <a:pt x="89" y="10"/>
                  </a:lnTo>
                  <a:lnTo>
                    <a:pt x="82" y="20"/>
                  </a:lnTo>
                  <a:lnTo>
                    <a:pt x="86" y="26"/>
                  </a:lnTo>
                  <a:lnTo>
                    <a:pt x="89" y="26"/>
                  </a:lnTo>
                  <a:lnTo>
                    <a:pt x="86" y="33"/>
                  </a:lnTo>
                  <a:lnTo>
                    <a:pt x="79" y="29"/>
                  </a:lnTo>
                  <a:lnTo>
                    <a:pt x="65" y="33"/>
                  </a:lnTo>
                  <a:lnTo>
                    <a:pt x="58" y="33"/>
                  </a:lnTo>
                  <a:lnTo>
                    <a:pt x="48" y="20"/>
                  </a:lnTo>
                  <a:lnTo>
                    <a:pt x="34" y="13"/>
                  </a:lnTo>
                  <a:lnTo>
                    <a:pt x="20" y="13"/>
                  </a:lnTo>
                  <a:lnTo>
                    <a:pt x="10" y="13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7" y="33"/>
                  </a:lnTo>
                  <a:lnTo>
                    <a:pt x="7" y="36"/>
                  </a:lnTo>
                  <a:lnTo>
                    <a:pt x="10" y="39"/>
                  </a:lnTo>
                  <a:lnTo>
                    <a:pt x="10" y="45"/>
                  </a:lnTo>
                  <a:lnTo>
                    <a:pt x="10" y="49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3" y="62"/>
                  </a:lnTo>
                  <a:lnTo>
                    <a:pt x="20" y="68"/>
                  </a:lnTo>
                  <a:lnTo>
                    <a:pt x="20" y="65"/>
                  </a:lnTo>
                  <a:lnTo>
                    <a:pt x="17" y="65"/>
                  </a:lnTo>
                  <a:lnTo>
                    <a:pt x="17" y="62"/>
                  </a:lnTo>
                  <a:lnTo>
                    <a:pt x="24" y="62"/>
                  </a:lnTo>
                  <a:lnTo>
                    <a:pt x="27" y="62"/>
                  </a:lnTo>
                  <a:lnTo>
                    <a:pt x="27" y="62"/>
                  </a:lnTo>
                  <a:lnTo>
                    <a:pt x="27" y="65"/>
                  </a:lnTo>
                  <a:lnTo>
                    <a:pt x="27" y="68"/>
                  </a:lnTo>
                  <a:lnTo>
                    <a:pt x="31" y="68"/>
                  </a:lnTo>
                  <a:lnTo>
                    <a:pt x="34" y="71"/>
                  </a:lnTo>
                  <a:lnTo>
                    <a:pt x="31" y="71"/>
                  </a:lnTo>
                  <a:lnTo>
                    <a:pt x="27" y="71"/>
                  </a:lnTo>
                  <a:lnTo>
                    <a:pt x="27" y="71"/>
                  </a:lnTo>
                  <a:lnTo>
                    <a:pt x="24" y="71"/>
                  </a:lnTo>
                  <a:lnTo>
                    <a:pt x="20" y="75"/>
                  </a:lnTo>
                  <a:lnTo>
                    <a:pt x="20" y="78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7" y="75"/>
                  </a:lnTo>
                  <a:lnTo>
                    <a:pt x="31" y="78"/>
                  </a:lnTo>
                  <a:lnTo>
                    <a:pt x="31" y="81"/>
                  </a:lnTo>
                  <a:lnTo>
                    <a:pt x="38" y="81"/>
                  </a:lnTo>
                  <a:lnTo>
                    <a:pt x="38" y="84"/>
                  </a:lnTo>
                  <a:lnTo>
                    <a:pt x="38" y="91"/>
                  </a:lnTo>
                  <a:lnTo>
                    <a:pt x="38" y="94"/>
                  </a:lnTo>
                  <a:lnTo>
                    <a:pt x="38" y="100"/>
                  </a:lnTo>
                  <a:lnTo>
                    <a:pt x="41" y="107"/>
                  </a:lnTo>
                  <a:lnTo>
                    <a:pt x="44" y="113"/>
                  </a:lnTo>
                  <a:lnTo>
                    <a:pt x="48" y="113"/>
                  </a:lnTo>
                  <a:lnTo>
                    <a:pt x="58" y="113"/>
                  </a:lnTo>
                  <a:lnTo>
                    <a:pt x="58" y="107"/>
                  </a:lnTo>
                  <a:lnTo>
                    <a:pt x="62" y="104"/>
                  </a:lnTo>
                  <a:lnTo>
                    <a:pt x="65" y="104"/>
                  </a:lnTo>
                  <a:lnTo>
                    <a:pt x="72" y="100"/>
                  </a:lnTo>
                  <a:lnTo>
                    <a:pt x="82" y="97"/>
                  </a:lnTo>
                  <a:lnTo>
                    <a:pt x="89" y="100"/>
                  </a:lnTo>
                  <a:lnTo>
                    <a:pt x="89" y="94"/>
                  </a:lnTo>
                  <a:lnTo>
                    <a:pt x="93" y="94"/>
                  </a:lnTo>
                  <a:lnTo>
                    <a:pt x="96" y="97"/>
                  </a:lnTo>
                  <a:lnTo>
                    <a:pt x="103" y="97"/>
                  </a:lnTo>
                  <a:lnTo>
                    <a:pt x="110" y="100"/>
                  </a:lnTo>
                  <a:lnTo>
                    <a:pt x="113" y="100"/>
                  </a:lnTo>
                  <a:lnTo>
                    <a:pt x="127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41" y="110"/>
                  </a:lnTo>
                  <a:lnTo>
                    <a:pt x="144" y="110"/>
                  </a:lnTo>
                  <a:lnTo>
                    <a:pt x="144" y="113"/>
                  </a:lnTo>
                  <a:lnTo>
                    <a:pt x="148" y="117"/>
                  </a:lnTo>
                  <a:lnTo>
                    <a:pt x="151" y="113"/>
                  </a:lnTo>
                  <a:lnTo>
                    <a:pt x="158" y="117"/>
                  </a:lnTo>
                  <a:lnTo>
                    <a:pt x="165" y="126"/>
                  </a:lnTo>
                  <a:lnTo>
                    <a:pt x="175" y="126"/>
                  </a:lnTo>
                  <a:lnTo>
                    <a:pt x="179" y="126"/>
                  </a:lnTo>
                  <a:lnTo>
                    <a:pt x="182" y="133"/>
                  </a:lnTo>
                  <a:lnTo>
                    <a:pt x="182" y="136"/>
                  </a:lnTo>
                  <a:lnTo>
                    <a:pt x="182" y="139"/>
                  </a:lnTo>
                  <a:lnTo>
                    <a:pt x="182" y="142"/>
                  </a:lnTo>
                  <a:lnTo>
                    <a:pt x="185" y="142"/>
                  </a:lnTo>
                  <a:lnTo>
                    <a:pt x="185" y="142"/>
                  </a:lnTo>
                  <a:lnTo>
                    <a:pt x="189" y="146"/>
                  </a:lnTo>
                  <a:lnTo>
                    <a:pt x="192" y="146"/>
                  </a:lnTo>
                  <a:lnTo>
                    <a:pt x="196" y="146"/>
                  </a:lnTo>
                  <a:lnTo>
                    <a:pt x="199" y="146"/>
                  </a:lnTo>
                  <a:lnTo>
                    <a:pt x="203" y="146"/>
                  </a:lnTo>
                  <a:lnTo>
                    <a:pt x="206" y="146"/>
                  </a:lnTo>
                  <a:lnTo>
                    <a:pt x="206" y="149"/>
                  </a:lnTo>
                  <a:lnTo>
                    <a:pt x="210" y="149"/>
                  </a:lnTo>
                  <a:lnTo>
                    <a:pt x="213" y="149"/>
                  </a:lnTo>
                  <a:lnTo>
                    <a:pt x="216" y="149"/>
                  </a:lnTo>
                  <a:lnTo>
                    <a:pt x="220" y="146"/>
                  </a:lnTo>
                  <a:lnTo>
                    <a:pt x="220" y="142"/>
                  </a:lnTo>
                  <a:lnTo>
                    <a:pt x="223" y="142"/>
                  </a:lnTo>
                  <a:lnTo>
                    <a:pt x="223" y="139"/>
                  </a:lnTo>
                  <a:lnTo>
                    <a:pt x="227" y="136"/>
                  </a:lnTo>
                  <a:lnTo>
                    <a:pt x="234" y="136"/>
                  </a:lnTo>
                  <a:lnTo>
                    <a:pt x="237" y="133"/>
                  </a:lnTo>
                  <a:lnTo>
                    <a:pt x="240" y="133"/>
                  </a:lnTo>
                  <a:lnTo>
                    <a:pt x="240" y="129"/>
                  </a:lnTo>
                  <a:lnTo>
                    <a:pt x="244" y="126"/>
                  </a:lnTo>
                  <a:lnTo>
                    <a:pt x="244" y="123"/>
                  </a:lnTo>
                  <a:lnTo>
                    <a:pt x="247" y="117"/>
                  </a:lnTo>
                  <a:lnTo>
                    <a:pt x="247" y="113"/>
                  </a:lnTo>
                  <a:lnTo>
                    <a:pt x="247" y="113"/>
                  </a:lnTo>
                  <a:lnTo>
                    <a:pt x="247" y="110"/>
                  </a:lnTo>
                  <a:lnTo>
                    <a:pt x="247" y="110"/>
                  </a:lnTo>
                  <a:lnTo>
                    <a:pt x="251" y="110"/>
                  </a:lnTo>
                  <a:lnTo>
                    <a:pt x="254" y="107"/>
                  </a:lnTo>
                  <a:lnTo>
                    <a:pt x="258" y="107"/>
                  </a:lnTo>
                  <a:lnTo>
                    <a:pt x="261" y="104"/>
                  </a:lnTo>
                  <a:lnTo>
                    <a:pt x="268" y="104"/>
                  </a:lnTo>
                  <a:lnTo>
                    <a:pt x="271" y="107"/>
                  </a:lnTo>
                  <a:lnTo>
                    <a:pt x="275" y="104"/>
                  </a:lnTo>
                  <a:lnTo>
                    <a:pt x="278" y="107"/>
                  </a:lnTo>
                  <a:lnTo>
                    <a:pt x="278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" name="Freeform 20"/>
            <p:cNvSpPr>
              <a:spLocks noEditPoints="1"/>
            </p:cNvSpPr>
            <p:nvPr/>
          </p:nvSpPr>
          <p:spPr bwMode="auto">
            <a:xfrm>
              <a:off x="9871076" y="4088467"/>
              <a:ext cx="304800" cy="395287"/>
            </a:xfrm>
            <a:custGeom>
              <a:avLst/>
              <a:gdLst>
                <a:gd name="T0" fmla="*/ 72 w 192"/>
                <a:gd name="T1" fmla="*/ 3 h 249"/>
                <a:gd name="T2" fmla="*/ 86 w 192"/>
                <a:gd name="T3" fmla="*/ 94 h 249"/>
                <a:gd name="T4" fmla="*/ 117 w 192"/>
                <a:gd name="T5" fmla="*/ 100 h 249"/>
                <a:gd name="T6" fmla="*/ 131 w 192"/>
                <a:gd name="T7" fmla="*/ 116 h 249"/>
                <a:gd name="T8" fmla="*/ 131 w 192"/>
                <a:gd name="T9" fmla="*/ 119 h 249"/>
                <a:gd name="T10" fmla="*/ 106 w 192"/>
                <a:gd name="T11" fmla="*/ 110 h 249"/>
                <a:gd name="T12" fmla="*/ 72 w 192"/>
                <a:gd name="T13" fmla="*/ 106 h 249"/>
                <a:gd name="T14" fmla="*/ 62 w 192"/>
                <a:gd name="T15" fmla="*/ 87 h 249"/>
                <a:gd name="T16" fmla="*/ 48 w 192"/>
                <a:gd name="T17" fmla="*/ 68 h 249"/>
                <a:gd name="T18" fmla="*/ 55 w 192"/>
                <a:gd name="T19" fmla="*/ 39 h 249"/>
                <a:gd name="T20" fmla="*/ 86 w 192"/>
                <a:gd name="T21" fmla="*/ 19 h 249"/>
                <a:gd name="T22" fmla="*/ 93 w 192"/>
                <a:gd name="T23" fmla="*/ 58 h 249"/>
                <a:gd name="T24" fmla="*/ 86 w 192"/>
                <a:gd name="T25" fmla="*/ 87 h 249"/>
                <a:gd name="T26" fmla="*/ 89 w 192"/>
                <a:gd name="T27" fmla="*/ 87 h 249"/>
                <a:gd name="T28" fmla="*/ 55 w 192"/>
                <a:gd name="T29" fmla="*/ 103 h 249"/>
                <a:gd name="T30" fmla="*/ 75 w 192"/>
                <a:gd name="T31" fmla="*/ 132 h 249"/>
                <a:gd name="T32" fmla="*/ 62 w 192"/>
                <a:gd name="T33" fmla="*/ 106 h 249"/>
                <a:gd name="T34" fmla="*/ 137 w 192"/>
                <a:gd name="T35" fmla="*/ 97 h 249"/>
                <a:gd name="T36" fmla="*/ 96 w 192"/>
                <a:gd name="T37" fmla="*/ 126 h 249"/>
                <a:gd name="T38" fmla="*/ 110 w 192"/>
                <a:gd name="T39" fmla="*/ 129 h 249"/>
                <a:gd name="T40" fmla="*/ 127 w 192"/>
                <a:gd name="T41" fmla="*/ 126 h 249"/>
                <a:gd name="T42" fmla="*/ 137 w 192"/>
                <a:gd name="T43" fmla="*/ 139 h 249"/>
                <a:gd name="T44" fmla="*/ 117 w 192"/>
                <a:gd name="T45" fmla="*/ 136 h 249"/>
                <a:gd name="T46" fmla="*/ 93 w 192"/>
                <a:gd name="T47" fmla="*/ 139 h 249"/>
                <a:gd name="T48" fmla="*/ 120 w 192"/>
                <a:gd name="T49" fmla="*/ 145 h 249"/>
                <a:gd name="T50" fmla="*/ 106 w 192"/>
                <a:gd name="T51" fmla="*/ 158 h 249"/>
                <a:gd name="T52" fmla="*/ 127 w 192"/>
                <a:gd name="T53" fmla="*/ 181 h 249"/>
                <a:gd name="T54" fmla="*/ 127 w 192"/>
                <a:gd name="T55" fmla="*/ 171 h 249"/>
                <a:gd name="T56" fmla="*/ 120 w 192"/>
                <a:gd name="T57" fmla="*/ 155 h 249"/>
                <a:gd name="T58" fmla="*/ 117 w 192"/>
                <a:gd name="T59" fmla="*/ 184 h 249"/>
                <a:gd name="T60" fmla="*/ 131 w 192"/>
                <a:gd name="T61" fmla="*/ 184 h 249"/>
                <a:gd name="T62" fmla="*/ 144 w 192"/>
                <a:gd name="T63" fmla="*/ 168 h 249"/>
                <a:gd name="T64" fmla="*/ 148 w 192"/>
                <a:gd name="T65" fmla="*/ 184 h 249"/>
                <a:gd name="T66" fmla="*/ 158 w 192"/>
                <a:gd name="T67" fmla="*/ 152 h 249"/>
                <a:gd name="T68" fmla="*/ 158 w 192"/>
                <a:gd name="T69" fmla="*/ 129 h 249"/>
                <a:gd name="T70" fmla="*/ 148 w 192"/>
                <a:gd name="T71" fmla="*/ 136 h 249"/>
                <a:gd name="T72" fmla="*/ 144 w 192"/>
                <a:gd name="T73" fmla="*/ 148 h 249"/>
                <a:gd name="T74" fmla="*/ 158 w 192"/>
                <a:gd name="T75" fmla="*/ 168 h 249"/>
                <a:gd name="T76" fmla="*/ 172 w 192"/>
                <a:gd name="T77" fmla="*/ 155 h 249"/>
                <a:gd name="T78" fmla="*/ 168 w 192"/>
                <a:gd name="T79" fmla="*/ 165 h 249"/>
                <a:gd name="T80" fmla="*/ 175 w 192"/>
                <a:gd name="T81" fmla="*/ 178 h 249"/>
                <a:gd name="T82" fmla="*/ 103 w 192"/>
                <a:gd name="T83" fmla="*/ 226 h 249"/>
                <a:gd name="T84" fmla="*/ 124 w 192"/>
                <a:gd name="T85" fmla="*/ 197 h 249"/>
                <a:gd name="T86" fmla="*/ 155 w 192"/>
                <a:gd name="T87" fmla="*/ 197 h 249"/>
                <a:gd name="T88" fmla="*/ 165 w 192"/>
                <a:gd name="T89" fmla="*/ 174 h 249"/>
                <a:gd name="T90" fmla="*/ 182 w 192"/>
                <a:gd name="T91" fmla="*/ 197 h 249"/>
                <a:gd name="T92" fmla="*/ 189 w 192"/>
                <a:gd name="T93" fmla="*/ 226 h 249"/>
                <a:gd name="T94" fmla="*/ 175 w 192"/>
                <a:gd name="T95" fmla="*/ 216 h 249"/>
                <a:gd name="T96" fmla="*/ 165 w 192"/>
                <a:gd name="T97" fmla="*/ 242 h 249"/>
                <a:gd name="T98" fmla="*/ 141 w 192"/>
                <a:gd name="T99" fmla="*/ 226 h 249"/>
                <a:gd name="T100" fmla="*/ 127 w 192"/>
                <a:gd name="T101" fmla="*/ 213 h 249"/>
                <a:gd name="T102" fmla="*/ 117 w 192"/>
                <a:gd name="T103" fmla="*/ 216 h 249"/>
                <a:gd name="T104" fmla="*/ 100 w 192"/>
                <a:gd name="T105" fmla="*/ 236 h 249"/>
                <a:gd name="T106" fmla="*/ 51 w 192"/>
                <a:gd name="T107" fmla="*/ 129 h 249"/>
                <a:gd name="T108" fmla="*/ 55 w 192"/>
                <a:gd name="T109" fmla="*/ 142 h 249"/>
                <a:gd name="T110" fmla="*/ 55 w 192"/>
                <a:gd name="T111" fmla="*/ 165 h 249"/>
                <a:gd name="T112" fmla="*/ 31 w 192"/>
                <a:gd name="T113" fmla="*/ 181 h 249"/>
                <a:gd name="T114" fmla="*/ 45 w 192"/>
                <a:gd name="T115" fmla="*/ 145 h 249"/>
                <a:gd name="T116" fmla="*/ 24 w 192"/>
                <a:gd name="T117" fmla="*/ 178 h 249"/>
                <a:gd name="T118" fmla="*/ 7 w 192"/>
                <a:gd name="T119" fmla="*/ 200 h 249"/>
                <a:gd name="T120" fmla="*/ 3 w 192"/>
                <a:gd name="T121" fmla="*/ 20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2" h="249">
                  <a:moveTo>
                    <a:pt x="69" y="13"/>
                  </a:moveTo>
                  <a:lnTo>
                    <a:pt x="72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close/>
                  <a:moveTo>
                    <a:pt x="65" y="6"/>
                  </a:moveTo>
                  <a:lnTo>
                    <a:pt x="69" y="6"/>
                  </a:lnTo>
                  <a:lnTo>
                    <a:pt x="65" y="10"/>
                  </a:lnTo>
                  <a:lnTo>
                    <a:pt x="65" y="6"/>
                  </a:lnTo>
                  <a:lnTo>
                    <a:pt x="65" y="6"/>
                  </a:lnTo>
                  <a:close/>
                  <a:moveTo>
                    <a:pt x="72" y="0"/>
                  </a:moveTo>
                  <a:lnTo>
                    <a:pt x="72" y="3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72" y="0"/>
                  </a:lnTo>
                  <a:close/>
                  <a:moveTo>
                    <a:pt x="82" y="10"/>
                  </a:moveTo>
                  <a:lnTo>
                    <a:pt x="79" y="13"/>
                  </a:lnTo>
                  <a:lnTo>
                    <a:pt x="82" y="13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close/>
                  <a:moveTo>
                    <a:pt x="82" y="94"/>
                  </a:moveTo>
                  <a:lnTo>
                    <a:pt x="86" y="94"/>
                  </a:lnTo>
                  <a:lnTo>
                    <a:pt x="89" y="97"/>
                  </a:lnTo>
                  <a:lnTo>
                    <a:pt x="93" y="100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103" y="94"/>
                  </a:lnTo>
                  <a:lnTo>
                    <a:pt x="106" y="94"/>
                  </a:lnTo>
                  <a:lnTo>
                    <a:pt x="110" y="97"/>
                  </a:lnTo>
                  <a:lnTo>
                    <a:pt x="113" y="100"/>
                  </a:lnTo>
                  <a:lnTo>
                    <a:pt x="113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0"/>
                  </a:lnTo>
                  <a:lnTo>
                    <a:pt x="120" y="97"/>
                  </a:lnTo>
                  <a:lnTo>
                    <a:pt x="120" y="100"/>
                  </a:lnTo>
                  <a:lnTo>
                    <a:pt x="127" y="103"/>
                  </a:lnTo>
                  <a:lnTo>
                    <a:pt x="131" y="103"/>
                  </a:lnTo>
                  <a:lnTo>
                    <a:pt x="131" y="106"/>
                  </a:lnTo>
                  <a:lnTo>
                    <a:pt x="127" y="106"/>
                  </a:lnTo>
                  <a:lnTo>
                    <a:pt x="127" y="103"/>
                  </a:lnTo>
                  <a:lnTo>
                    <a:pt x="124" y="106"/>
                  </a:lnTo>
                  <a:lnTo>
                    <a:pt x="124" y="110"/>
                  </a:lnTo>
                  <a:lnTo>
                    <a:pt x="127" y="113"/>
                  </a:lnTo>
                  <a:lnTo>
                    <a:pt x="127" y="116"/>
                  </a:lnTo>
                  <a:lnTo>
                    <a:pt x="131" y="116"/>
                  </a:lnTo>
                  <a:lnTo>
                    <a:pt x="134" y="116"/>
                  </a:lnTo>
                  <a:lnTo>
                    <a:pt x="137" y="116"/>
                  </a:lnTo>
                  <a:lnTo>
                    <a:pt x="137" y="119"/>
                  </a:lnTo>
                  <a:lnTo>
                    <a:pt x="137" y="119"/>
                  </a:lnTo>
                  <a:lnTo>
                    <a:pt x="137" y="123"/>
                  </a:lnTo>
                  <a:lnTo>
                    <a:pt x="137" y="126"/>
                  </a:lnTo>
                  <a:lnTo>
                    <a:pt x="134" y="126"/>
                  </a:lnTo>
                  <a:lnTo>
                    <a:pt x="131" y="123"/>
                  </a:lnTo>
                  <a:lnTo>
                    <a:pt x="134" y="123"/>
                  </a:lnTo>
                  <a:lnTo>
                    <a:pt x="134" y="119"/>
                  </a:lnTo>
                  <a:lnTo>
                    <a:pt x="131" y="119"/>
                  </a:lnTo>
                  <a:lnTo>
                    <a:pt x="131" y="119"/>
                  </a:lnTo>
                  <a:lnTo>
                    <a:pt x="127" y="123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3"/>
                  </a:lnTo>
                  <a:lnTo>
                    <a:pt x="117" y="110"/>
                  </a:lnTo>
                  <a:lnTo>
                    <a:pt x="113" y="106"/>
                  </a:lnTo>
                  <a:lnTo>
                    <a:pt x="110" y="103"/>
                  </a:lnTo>
                  <a:lnTo>
                    <a:pt x="106" y="103"/>
                  </a:lnTo>
                  <a:lnTo>
                    <a:pt x="103" y="100"/>
                  </a:lnTo>
                  <a:lnTo>
                    <a:pt x="103" y="100"/>
                  </a:lnTo>
                  <a:lnTo>
                    <a:pt x="103" y="103"/>
                  </a:lnTo>
                  <a:lnTo>
                    <a:pt x="106" y="110"/>
                  </a:lnTo>
                  <a:lnTo>
                    <a:pt x="106" y="113"/>
                  </a:lnTo>
                  <a:lnTo>
                    <a:pt x="106" y="113"/>
                  </a:lnTo>
                  <a:lnTo>
                    <a:pt x="103" y="110"/>
                  </a:lnTo>
                  <a:lnTo>
                    <a:pt x="96" y="106"/>
                  </a:lnTo>
                  <a:lnTo>
                    <a:pt x="96" y="103"/>
                  </a:lnTo>
                  <a:lnTo>
                    <a:pt x="89" y="100"/>
                  </a:lnTo>
                  <a:lnTo>
                    <a:pt x="82" y="100"/>
                  </a:lnTo>
                  <a:lnTo>
                    <a:pt x="82" y="103"/>
                  </a:lnTo>
                  <a:lnTo>
                    <a:pt x="82" y="106"/>
                  </a:lnTo>
                  <a:lnTo>
                    <a:pt x="79" y="106"/>
                  </a:lnTo>
                  <a:lnTo>
                    <a:pt x="75" y="103"/>
                  </a:lnTo>
                  <a:lnTo>
                    <a:pt x="72" y="106"/>
                  </a:lnTo>
                  <a:lnTo>
                    <a:pt x="69" y="106"/>
                  </a:lnTo>
                  <a:lnTo>
                    <a:pt x="72" y="103"/>
                  </a:lnTo>
                  <a:lnTo>
                    <a:pt x="69" y="100"/>
                  </a:lnTo>
                  <a:lnTo>
                    <a:pt x="69" y="100"/>
                  </a:lnTo>
                  <a:lnTo>
                    <a:pt x="65" y="103"/>
                  </a:lnTo>
                  <a:lnTo>
                    <a:pt x="65" y="100"/>
                  </a:lnTo>
                  <a:lnTo>
                    <a:pt x="65" y="97"/>
                  </a:lnTo>
                  <a:lnTo>
                    <a:pt x="65" y="94"/>
                  </a:lnTo>
                  <a:lnTo>
                    <a:pt x="65" y="94"/>
                  </a:lnTo>
                  <a:lnTo>
                    <a:pt x="69" y="87"/>
                  </a:lnTo>
                  <a:lnTo>
                    <a:pt x="65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5" y="90"/>
                  </a:lnTo>
                  <a:lnTo>
                    <a:pt x="62" y="94"/>
                  </a:lnTo>
                  <a:lnTo>
                    <a:pt x="58" y="94"/>
                  </a:lnTo>
                  <a:lnTo>
                    <a:pt x="55" y="87"/>
                  </a:lnTo>
                  <a:lnTo>
                    <a:pt x="55" y="84"/>
                  </a:lnTo>
                  <a:lnTo>
                    <a:pt x="55" y="84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1" y="77"/>
                  </a:lnTo>
                  <a:lnTo>
                    <a:pt x="48" y="74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5" y="64"/>
                  </a:lnTo>
                  <a:lnTo>
                    <a:pt x="45" y="61"/>
                  </a:lnTo>
                  <a:lnTo>
                    <a:pt x="45" y="58"/>
                  </a:lnTo>
                  <a:lnTo>
                    <a:pt x="48" y="61"/>
                  </a:lnTo>
                  <a:lnTo>
                    <a:pt x="51" y="61"/>
                  </a:lnTo>
                  <a:lnTo>
                    <a:pt x="55" y="61"/>
                  </a:lnTo>
                  <a:lnTo>
                    <a:pt x="55" y="58"/>
                  </a:lnTo>
                  <a:lnTo>
                    <a:pt x="51" y="52"/>
                  </a:lnTo>
                  <a:lnTo>
                    <a:pt x="51" y="48"/>
                  </a:lnTo>
                  <a:lnTo>
                    <a:pt x="55" y="39"/>
                  </a:lnTo>
                  <a:lnTo>
                    <a:pt x="55" y="32"/>
                  </a:lnTo>
                  <a:lnTo>
                    <a:pt x="51" y="29"/>
                  </a:lnTo>
                  <a:lnTo>
                    <a:pt x="58" y="22"/>
                  </a:lnTo>
                  <a:lnTo>
                    <a:pt x="58" y="19"/>
                  </a:lnTo>
                  <a:lnTo>
                    <a:pt x="62" y="16"/>
                  </a:lnTo>
                  <a:lnTo>
                    <a:pt x="72" y="19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9" y="22"/>
                  </a:lnTo>
                  <a:lnTo>
                    <a:pt x="82" y="22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9" y="16"/>
                  </a:lnTo>
                  <a:lnTo>
                    <a:pt x="89" y="19"/>
                  </a:lnTo>
                  <a:lnTo>
                    <a:pt x="89" y="22"/>
                  </a:lnTo>
                  <a:lnTo>
                    <a:pt x="89" y="26"/>
                  </a:lnTo>
                  <a:lnTo>
                    <a:pt x="86" y="32"/>
                  </a:lnTo>
                  <a:lnTo>
                    <a:pt x="89" y="35"/>
                  </a:lnTo>
                  <a:lnTo>
                    <a:pt x="93" y="39"/>
                  </a:lnTo>
                  <a:lnTo>
                    <a:pt x="93" y="42"/>
                  </a:lnTo>
                  <a:lnTo>
                    <a:pt x="96" y="42"/>
                  </a:lnTo>
                  <a:lnTo>
                    <a:pt x="93" y="52"/>
                  </a:lnTo>
                  <a:lnTo>
                    <a:pt x="93" y="55"/>
                  </a:lnTo>
                  <a:lnTo>
                    <a:pt x="93" y="58"/>
                  </a:lnTo>
                  <a:lnTo>
                    <a:pt x="89" y="64"/>
                  </a:lnTo>
                  <a:lnTo>
                    <a:pt x="89" y="61"/>
                  </a:lnTo>
                  <a:lnTo>
                    <a:pt x="89" y="61"/>
                  </a:lnTo>
                  <a:lnTo>
                    <a:pt x="89" y="61"/>
                  </a:lnTo>
                  <a:lnTo>
                    <a:pt x="82" y="64"/>
                  </a:lnTo>
                  <a:lnTo>
                    <a:pt x="82" y="68"/>
                  </a:lnTo>
                  <a:lnTo>
                    <a:pt x="82" y="74"/>
                  </a:lnTo>
                  <a:lnTo>
                    <a:pt x="79" y="74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82" y="84"/>
                  </a:lnTo>
                  <a:lnTo>
                    <a:pt x="86" y="87"/>
                  </a:lnTo>
                  <a:lnTo>
                    <a:pt x="82" y="90"/>
                  </a:lnTo>
                  <a:lnTo>
                    <a:pt x="82" y="94"/>
                  </a:lnTo>
                  <a:lnTo>
                    <a:pt x="82" y="94"/>
                  </a:lnTo>
                  <a:close/>
                  <a:moveTo>
                    <a:pt x="89" y="94"/>
                  </a:moveTo>
                  <a:lnTo>
                    <a:pt x="93" y="97"/>
                  </a:lnTo>
                  <a:lnTo>
                    <a:pt x="93" y="97"/>
                  </a:lnTo>
                  <a:lnTo>
                    <a:pt x="93" y="97"/>
                  </a:lnTo>
                  <a:lnTo>
                    <a:pt x="89" y="94"/>
                  </a:lnTo>
                  <a:lnTo>
                    <a:pt x="89" y="94"/>
                  </a:lnTo>
                  <a:close/>
                  <a:moveTo>
                    <a:pt x="86" y="81"/>
                  </a:moveTo>
                  <a:lnTo>
                    <a:pt x="89" y="87"/>
                  </a:lnTo>
                  <a:lnTo>
                    <a:pt x="89" y="87"/>
                  </a:lnTo>
                  <a:lnTo>
                    <a:pt x="89" y="90"/>
                  </a:lnTo>
                  <a:lnTo>
                    <a:pt x="93" y="87"/>
                  </a:lnTo>
                  <a:lnTo>
                    <a:pt x="93" y="84"/>
                  </a:lnTo>
                  <a:lnTo>
                    <a:pt x="96" y="81"/>
                  </a:lnTo>
                  <a:lnTo>
                    <a:pt x="93" y="81"/>
                  </a:lnTo>
                  <a:lnTo>
                    <a:pt x="86" y="81"/>
                  </a:lnTo>
                  <a:lnTo>
                    <a:pt x="86" y="81"/>
                  </a:lnTo>
                  <a:close/>
                  <a:moveTo>
                    <a:pt x="51" y="103"/>
                  </a:moveTo>
                  <a:lnTo>
                    <a:pt x="55" y="103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5" y="103"/>
                  </a:lnTo>
                  <a:lnTo>
                    <a:pt x="51" y="103"/>
                  </a:lnTo>
                  <a:lnTo>
                    <a:pt x="51" y="103"/>
                  </a:lnTo>
                  <a:close/>
                  <a:moveTo>
                    <a:pt x="58" y="110"/>
                  </a:moveTo>
                  <a:lnTo>
                    <a:pt x="62" y="110"/>
                  </a:lnTo>
                  <a:lnTo>
                    <a:pt x="62" y="110"/>
                  </a:lnTo>
                  <a:lnTo>
                    <a:pt x="65" y="116"/>
                  </a:lnTo>
                  <a:lnTo>
                    <a:pt x="65" y="116"/>
                  </a:lnTo>
                  <a:lnTo>
                    <a:pt x="69" y="119"/>
                  </a:lnTo>
                  <a:lnTo>
                    <a:pt x="69" y="123"/>
                  </a:lnTo>
                  <a:lnTo>
                    <a:pt x="72" y="126"/>
                  </a:lnTo>
                  <a:lnTo>
                    <a:pt x="72" y="129"/>
                  </a:lnTo>
                  <a:lnTo>
                    <a:pt x="75" y="132"/>
                  </a:lnTo>
                  <a:lnTo>
                    <a:pt x="79" y="132"/>
                  </a:lnTo>
                  <a:lnTo>
                    <a:pt x="82" y="129"/>
                  </a:lnTo>
                  <a:lnTo>
                    <a:pt x="82" y="126"/>
                  </a:lnTo>
                  <a:lnTo>
                    <a:pt x="86" y="126"/>
                  </a:lnTo>
                  <a:lnTo>
                    <a:pt x="86" y="123"/>
                  </a:lnTo>
                  <a:lnTo>
                    <a:pt x="82" y="119"/>
                  </a:lnTo>
                  <a:lnTo>
                    <a:pt x="86" y="119"/>
                  </a:lnTo>
                  <a:lnTo>
                    <a:pt x="86" y="116"/>
                  </a:lnTo>
                  <a:lnTo>
                    <a:pt x="79" y="113"/>
                  </a:lnTo>
                  <a:lnTo>
                    <a:pt x="72" y="110"/>
                  </a:lnTo>
                  <a:lnTo>
                    <a:pt x="69" y="110"/>
                  </a:lnTo>
                  <a:lnTo>
                    <a:pt x="62" y="106"/>
                  </a:lnTo>
                  <a:lnTo>
                    <a:pt x="58" y="110"/>
                  </a:lnTo>
                  <a:lnTo>
                    <a:pt x="58" y="110"/>
                  </a:lnTo>
                  <a:close/>
                  <a:moveTo>
                    <a:pt x="137" y="97"/>
                  </a:moveTo>
                  <a:lnTo>
                    <a:pt x="134" y="100"/>
                  </a:lnTo>
                  <a:lnTo>
                    <a:pt x="134" y="103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41" y="106"/>
                  </a:lnTo>
                  <a:lnTo>
                    <a:pt x="141" y="103"/>
                  </a:lnTo>
                  <a:lnTo>
                    <a:pt x="141" y="100"/>
                  </a:lnTo>
                  <a:lnTo>
                    <a:pt x="137" y="97"/>
                  </a:lnTo>
                  <a:lnTo>
                    <a:pt x="137" y="97"/>
                  </a:lnTo>
                  <a:close/>
                  <a:moveTo>
                    <a:pt x="89" y="110"/>
                  </a:moveTo>
                  <a:lnTo>
                    <a:pt x="93" y="113"/>
                  </a:lnTo>
                  <a:lnTo>
                    <a:pt x="96" y="113"/>
                  </a:lnTo>
                  <a:lnTo>
                    <a:pt x="96" y="110"/>
                  </a:lnTo>
                  <a:lnTo>
                    <a:pt x="96" y="106"/>
                  </a:lnTo>
                  <a:lnTo>
                    <a:pt x="93" y="106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89" y="110"/>
                  </a:lnTo>
                  <a:close/>
                  <a:moveTo>
                    <a:pt x="96" y="123"/>
                  </a:moveTo>
                  <a:lnTo>
                    <a:pt x="96" y="126"/>
                  </a:lnTo>
                  <a:lnTo>
                    <a:pt x="93" y="129"/>
                  </a:lnTo>
                  <a:lnTo>
                    <a:pt x="96" y="136"/>
                  </a:lnTo>
                  <a:lnTo>
                    <a:pt x="96" y="132"/>
                  </a:lnTo>
                  <a:lnTo>
                    <a:pt x="100" y="129"/>
                  </a:lnTo>
                  <a:lnTo>
                    <a:pt x="96" y="126"/>
                  </a:lnTo>
                  <a:lnTo>
                    <a:pt x="100" y="123"/>
                  </a:lnTo>
                  <a:lnTo>
                    <a:pt x="96" y="123"/>
                  </a:lnTo>
                  <a:lnTo>
                    <a:pt x="96" y="123"/>
                  </a:lnTo>
                  <a:close/>
                  <a:moveTo>
                    <a:pt x="106" y="126"/>
                  </a:moveTo>
                  <a:lnTo>
                    <a:pt x="103" y="129"/>
                  </a:lnTo>
                  <a:lnTo>
                    <a:pt x="106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06" y="126"/>
                  </a:lnTo>
                  <a:lnTo>
                    <a:pt x="106" y="126"/>
                  </a:lnTo>
                  <a:close/>
                  <a:moveTo>
                    <a:pt x="117" y="119"/>
                  </a:moveTo>
                  <a:lnTo>
                    <a:pt x="113" y="116"/>
                  </a:lnTo>
                  <a:lnTo>
                    <a:pt x="113" y="116"/>
                  </a:lnTo>
                  <a:lnTo>
                    <a:pt x="113" y="116"/>
                  </a:lnTo>
                  <a:lnTo>
                    <a:pt x="117" y="123"/>
                  </a:lnTo>
                  <a:lnTo>
                    <a:pt x="120" y="119"/>
                  </a:lnTo>
                  <a:lnTo>
                    <a:pt x="117" y="119"/>
                  </a:lnTo>
                  <a:lnTo>
                    <a:pt x="117" y="119"/>
                  </a:lnTo>
                  <a:close/>
                  <a:moveTo>
                    <a:pt x="127" y="126"/>
                  </a:moveTo>
                  <a:lnTo>
                    <a:pt x="127" y="126"/>
                  </a:lnTo>
                  <a:lnTo>
                    <a:pt x="131" y="129"/>
                  </a:lnTo>
                  <a:lnTo>
                    <a:pt x="131" y="129"/>
                  </a:lnTo>
                  <a:lnTo>
                    <a:pt x="127" y="126"/>
                  </a:lnTo>
                  <a:lnTo>
                    <a:pt x="127" y="126"/>
                  </a:lnTo>
                  <a:lnTo>
                    <a:pt x="127" y="126"/>
                  </a:lnTo>
                  <a:close/>
                  <a:moveTo>
                    <a:pt x="120" y="136"/>
                  </a:moveTo>
                  <a:lnTo>
                    <a:pt x="124" y="132"/>
                  </a:lnTo>
                  <a:lnTo>
                    <a:pt x="124" y="132"/>
                  </a:lnTo>
                  <a:lnTo>
                    <a:pt x="131" y="136"/>
                  </a:lnTo>
                  <a:lnTo>
                    <a:pt x="134" y="139"/>
                  </a:lnTo>
                  <a:lnTo>
                    <a:pt x="137" y="139"/>
                  </a:lnTo>
                  <a:lnTo>
                    <a:pt x="137" y="136"/>
                  </a:lnTo>
                  <a:lnTo>
                    <a:pt x="134" y="132"/>
                  </a:lnTo>
                  <a:lnTo>
                    <a:pt x="131" y="129"/>
                  </a:lnTo>
                  <a:lnTo>
                    <a:pt x="127" y="129"/>
                  </a:lnTo>
                  <a:lnTo>
                    <a:pt x="124" y="126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20" y="129"/>
                  </a:lnTo>
                  <a:lnTo>
                    <a:pt x="120" y="132"/>
                  </a:lnTo>
                  <a:lnTo>
                    <a:pt x="117" y="132"/>
                  </a:lnTo>
                  <a:lnTo>
                    <a:pt x="117" y="136"/>
                  </a:lnTo>
                  <a:lnTo>
                    <a:pt x="120" y="136"/>
                  </a:lnTo>
                  <a:lnTo>
                    <a:pt x="120" y="136"/>
                  </a:lnTo>
                  <a:close/>
                  <a:moveTo>
                    <a:pt x="100" y="161"/>
                  </a:moveTo>
                  <a:lnTo>
                    <a:pt x="100" y="161"/>
                  </a:lnTo>
                  <a:lnTo>
                    <a:pt x="96" y="161"/>
                  </a:lnTo>
                  <a:lnTo>
                    <a:pt x="96" y="158"/>
                  </a:lnTo>
                  <a:lnTo>
                    <a:pt x="96" y="152"/>
                  </a:lnTo>
                  <a:lnTo>
                    <a:pt x="96" y="148"/>
                  </a:lnTo>
                  <a:lnTo>
                    <a:pt x="96" y="145"/>
                  </a:lnTo>
                  <a:lnTo>
                    <a:pt x="100" y="142"/>
                  </a:lnTo>
                  <a:lnTo>
                    <a:pt x="96" y="142"/>
                  </a:lnTo>
                  <a:lnTo>
                    <a:pt x="93" y="139"/>
                  </a:lnTo>
                  <a:lnTo>
                    <a:pt x="93" y="139"/>
                  </a:lnTo>
                  <a:lnTo>
                    <a:pt x="96" y="136"/>
                  </a:lnTo>
                  <a:lnTo>
                    <a:pt x="100" y="139"/>
                  </a:lnTo>
                  <a:lnTo>
                    <a:pt x="103" y="142"/>
                  </a:lnTo>
                  <a:lnTo>
                    <a:pt x="103" y="142"/>
                  </a:lnTo>
                  <a:lnTo>
                    <a:pt x="103" y="142"/>
                  </a:lnTo>
                  <a:lnTo>
                    <a:pt x="110" y="142"/>
                  </a:lnTo>
                  <a:lnTo>
                    <a:pt x="110" y="142"/>
                  </a:lnTo>
                  <a:lnTo>
                    <a:pt x="113" y="145"/>
                  </a:lnTo>
                  <a:lnTo>
                    <a:pt x="117" y="142"/>
                  </a:lnTo>
                  <a:lnTo>
                    <a:pt x="120" y="142"/>
                  </a:lnTo>
                  <a:lnTo>
                    <a:pt x="120" y="145"/>
                  </a:lnTo>
                  <a:lnTo>
                    <a:pt x="120" y="145"/>
                  </a:lnTo>
                  <a:lnTo>
                    <a:pt x="117" y="148"/>
                  </a:lnTo>
                  <a:lnTo>
                    <a:pt x="117" y="152"/>
                  </a:lnTo>
                  <a:lnTo>
                    <a:pt x="110" y="155"/>
                  </a:lnTo>
                  <a:lnTo>
                    <a:pt x="110" y="158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3" y="158"/>
                  </a:lnTo>
                  <a:lnTo>
                    <a:pt x="100" y="161"/>
                  </a:lnTo>
                  <a:lnTo>
                    <a:pt x="100" y="161"/>
                  </a:lnTo>
                  <a:close/>
                  <a:moveTo>
                    <a:pt x="110" y="158"/>
                  </a:moveTo>
                  <a:lnTo>
                    <a:pt x="106" y="158"/>
                  </a:lnTo>
                  <a:lnTo>
                    <a:pt x="106" y="161"/>
                  </a:lnTo>
                  <a:lnTo>
                    <a:pt x="106" y="165"/>
                  </a:lnTo>
                  <a:lnTo>
                    <a:pt x="110" y="161"/>
                  </a:lnTo>
                  <a:lnTo>
                    <a:pt x="110" y="158"/>
                  </a:lnTo>
                  <a:lnTo>
                    <a:pt x="110" y="158"/>
                  </a:lnTo>
                  <a:lnTo>
                    <a:pt x="110" y="158"/>
                  </a:lnTo>
                  <a:close/>
                  <a:moveTo>
                    <a:pt x="144" y="158"/>
                  </a:moveTo>
                  <a:lnTo>
                    <a:pt x="141" y="161"/>
                  </a:lnTo>
                  <a:lnTo>
                    <a:pt x="141" y="158"/>
                  </a:lnTo>
                  <a:lnTo>
                    <a:pt x="144" y="158"/>
                  </a:lnTo>
                  <a:lnTo>
                    <a:pt x="144" y="158"/>
                  </a:lnTo>
                  <a:close/>
                  <a:moveTo>
                    <a:pt x="127" y="181"/>
                  </a:moveTo>
                  <a:lnTo>
                    <a:pt x="127" y="178"/>
                  </a:lnTo>
                  <a:lnTo>
                    <a:pt x="131" y="168"/>
                  </a:lnTo>
                  <a:lnTo>
                    <a:pt x="134" y="165"/>
                  </a:lnTo>
                  <a:lnTo>
                    <a:pt x="137" y="161"/>
                  </a:lnTo>
                  <a:lnTo>
                    <a:pt x="137" y="158"/>
                  </a:lnTo>
                  <a:lnTo>
                    <a:pt x="137" y="155"/>
                  </a:lnTo>
                  <a:lnTo>
                    <a:pt x="137" y="148"/>
                  </a:lnTo>
                  <a:lnTo>
                    <a:pt x="134" y="152"/>
                  </a:lnTo>
                  <a:lnTo>
                    <a:pt x="134" y="155"/>
                  </a:lnTo>
                  <a:lnTo>
                    <a:pt x="131" y="161"/>
                  </a:lnTo>
                  <a:lnTo>
                    <a:pt x="131" y="165"/>
                  </a:lnTo>
                  <a:lnTo>
                    <a:pt x="127" y="171"/>
                  </a:lnTo>
                  <a:lnTo>
                    <a:pt x="124" y="174"/>
                  </a:lnTo>
                  <a:lnTo>
                    <a:pt x="124" y="178"/>
                  </a:lnTo>
                  <a:lnTo>
                    <a:pt x="127" y="181"/>
                  </a:lnTo>
                  <a:lnTo>
                    <a:pt x="127" y="181"/>
                  </a:lnTo>
                  <a:close/>
                  <a:moveTo>
                    <a:pt x="120" y="178"/>
                  </a:moveTo>
                  <a:lnTo>
                    <a:pt x="120" y="171"/>
                  </a:lnTo>
                  <a:lnTo>
                    <a:pt x="124" y="161"/>
                  </a:lnTo>
                  <a:lnTo>
                    <a:pt x="127" y="158"/>
                  </a:lnTo>
                  <a:lnTo>
                    <a:pt x="127" y="155"/>
                  </a:lnTo>
                  <a:lnTo>
                    <a:pt x="124" y="155"/>
                  </a:lnTo>
                  <a:lnTo>
                    <a:pt x="124" y="155"/>
                  </a:lnTo>
                  <a:lnTo>
                    <a:pt x="120" y="155"/>
                  </a:lnTo>
                  <a:lnTo>
                    <a:pt x="117" y="155"/>
                  </a:lnTo>
                  <a:lnTo>
                    <a:pt x="117" y="158"/>
                  </a:lnTo>
                  <a:lnTo>
                    <a:pt x="113" y="161"/>
                  </a:lnTo>
                  <a:lnTo>
                    <a:pt x="117" y="168"/>
                  </a:lnTo>
                  <a:lnTo>
                    <a:pt x="113" y="171"/>
                  </a:lnTo>
                  <a:lnTo>
                    <a:pt x="106" y="171"/>
                  </a:lnTo>
                  <a:lnTo>
                    <a:pt x="106" y="174"/>
                  </a:lnTo>
                  <a:lnTo>
                    <a:pt x="106" y="178"/>
                  </a:lnTo>
                  <a:lnTo>
                    <a:pt x="110" y="178"/>
                  </a:lnTo>
                  <a:lnTo>
                    <a:pt x="113" y="181"/>
                  </a:lnTo>
                  <a:lnTo>
                    <a:pt x="117" y="181"/>
                  </a:lnTo>
                  <a:lnTo>
                    <a:pt x="117" y="184"/>
                  </a:lnTo>
                  <a:lnTo>
                    <a:pt x="120" y="187"/>
                  </a:lnTo>
                  <a:lnTo>
                    <a:pt x="124" y="184"/>
                  </a:lnTo>
                  <a:lnTo>
                    <a:pt x="124" y="181"/>
                  </a:lnTo>
                  <a:lnTo>
                    <a:pt x="120" y="178"/>
                  </a:lnTo>
                  <a:lnTo>
                    <a:pt x="120" y="178"/>
                  </a:lnTo>
                  <a:close/>
                  <a:moveTo>
                    <a:pt x="131" y="184"/>
                  </a:moveTo>
                  <a:lnTo>
                    <a:pt x="134" y="184"/>
                  </a:lnTo>
                  <a:lnTo>
                    <a:pt x="131" y="187"/>
                  </a:lnTo>
                  <a:lnTo>
                    <a:pt x="131" y="187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31" y="184"/>
                  </a:lnTo>
                  <a:lnTo>
                    <a:pt x="131" y="184"/>
                  </a:lnTo>
                  <a:close/>
                  <a:moveTo>
                    <a:pt x="144" y="168"/>
                  </a:moveTo>
                  <a:lnTo>
                    <a:pt x="144" y="168"/>
                  </a:lnTo>
                  <a:lnTo>
                    <a:pt x="148" y="168"/>
                  </a:lnTo>
                  <a:lnTo>
                    <a:pt x="148" y="174"/>
                  </a:lnTo>
                  <a:lnTo>
                    <a:pt x="148" y="174"/>
                  </a:lnTo>
                  <a:lnTo>
                    <a:pt x="141" y="178"/>
                  </a:lnTo>
                  <a:lnTo>
                    <a:pt x="137" y="178"/>
                  </a:lnTo>
                  <a:lnTo>
                    <a:pt x="137" y="178"/>
                  </a:lnTo>
                  <a:lnTo>
                    <a:pt x="134" y="174"/>
                  </a:lnTo>
                  <a:lnTo>
                    <a:pt x="137" y="171"/>
                  </a:lnTo>
                  <a:lnTo>
                    <a:pt x="144" y="168"/>
                  </a:lnTo>
                  <a:lnTo>
                    <a:pt x="144" y="168"/>
                  </a:lnTo>
                  <a:close/>
                  <a:moveTo>
                    <a:pt x="161" y="168"/>
                  </a:moveTo>
                  <a:lnTo>
                    <a:pt x="161" y="171"/>
                  </a:lnTo>
                  <a:lnTo>
                    <a:pt x="161" y="174"/>
                  </a:lnTo>
                  <a:lnTo>
                    <a:pt x="161" y="171"/>
                  </a:lnTo>
                  <a:lnTo>
                    <a:pt x="161" y="168"/>
                  </a:lnTo>
                  <a:lnTo>
                    <a:pt x="161" y="168"/>
                  </a:lnTo>
                  <a:close/>
                  <a:moveTo>
                    <a:pt x="151" y="181"/>
                  </a:moveTo>
                  <a:lnTo>
                    <a:pt x="155" y="184"/>
                  </a:lnTo>
                  <a:lnTo>
                    <a:pt x="151" y="187"/>
                  </a:lnTo>
                  <a:lnTo>
                    <a:pt x="151" y="184"/>
                  </a:lnTo>
                  <a:lnTo>
                    <a:pt x="148" y="184"/>
                  </a:lnTo>
                  <a:lnTo>
                    <a:pt x="151" y="181"/>
                  </a:lnTo>
                  <a:lnTo>
                    <a:pt x="151" y="181"/>
                  </a:lnTo>
                  <a:close/>
                  <a:moveTo>
                    <a:pt x="148" y="142"/>
                  </a:moveTo>
                  <a:lnTo>
                    <a:pt x="148" y="145"/>
                  </a:lnTo>
                  <a:lnTo>
                    <a:pt x="144" y="145"/>
                  </a:lnTo>
                  <a:lnTo>
                    <a:pt x="141" y="145"/>
                  </a:lnTo>
                  <a:lnTo>
                    <a:pt x="144" y="142"/>
                  </a:lnTo>
                  <a:lnTo>
                    <a:pt x="148" y="142"/>
                  </a:lnTo>
                  <a:lnTo>
                    <a:pt x="148" y="142"/>
                  </a:lnTo>
                  <a:close/>
                  <a:moveTo>
                    <a:pt x="155" y="145"/>
                  </a:moveTo>
                  <a:lnTo>
                    <a:pt x="158" y="148"/>
                  </a:lnTo>
                  <a:lnTo>
                    <a:pt x="158" y="152"/>
                  </a:lnTo>
                  <a:lnTo>
                    <a:pt x="165" y="152"/>
                  </a:lnTo>
                  <a:lnTo>
                    <a:pt x="165" y="152"/>
                  </a:lnTo>
                  <a:lnTo>
                    <a:pt x="168" y="152"/>
                  </a:lnTo>
                  <a:lnTo>
                    <a:pt x="168" y="152"/>
                  </a:lnTo>
                  <a:lnTo>
                    <a:pt x="168" y="148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5" y="139"/>
                  </a:lnTo>
                  <a:lnTo>
                    <a:pt x="165" y="136"/>
                  </a:lnTo>
                  <a:lnTo>
                    <a:pt x="165" y="132"/>
                  </a:lnTo>
                  <a:lnTo>
                    <a:pt x="161" y="132"/>
                  </a:lnTo>
                  <a:lnTo>
                    <a:pt x="158" y="129"/>
                  </a:lnTo>
                  <a:lnTo>
                    <a:pt x="158" y="126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1" y="123"/>
                  </a:lnTo>
                  <a:lnTo>
                    <a:pt x="151" y="126"/>
                  </a:lnTo>
                  <a:lnTo>
                    <a:pt x="148" y="126"/>
                  </a:lnTo>
                  <a:lnTo>
                    <a:pt x="144" y="126"/>
                  </a:lnTo>
                  <a:lnTo>
                    <a:pt x="141" y="126"/>
                  </a:lnTo>
                  <a:lnTo>
                    <a:pt x="141" y="126"/>
                  </a:lnTo>
                  <a:lnTo>
                    <a:pt x="141" y="126"/>
                  </a:lnTo>
                  <a:lnTo>
                    <a:pt x="144" y="132"/>
                  </a:lnTo>
                  <a:lnTo>
                    <a:pt x="148" y="136"/>
                  </a:lnTo>
                  <a:lnTo>
                    <a:pt x="151" y="139"/>
                  </a:lnTo>
                  <a:lnTo>
                    <a:pt x="155" y="142"/>
                  </a:lnTo>
                  <a:lnTo>
                    <a:pt x="155" y="142"/>
                  </a:lnTo>
                  <a:lnTo>
                    <a:pt x="151" y="145"/>
                  </a:lnTo>
                  <a:lnTo>
                    <a:pt x="151" y="145"/>
                  </a:lnTo>
                  <a:lnTo>
                    <a:pt x="155" y="145"/>
                  </a:lnTo>
                  <a:lnTo>
                    <a:pt x="155" y="145"/>
                  </a:lnTo>
                  <a:lnTo>
                    <a:pt x="155" y="145"/>
                  </a:lnTo>
                  <a:lnTo>
                    <a:pt x="155" y="145"/>
                  </a:lnTo>
                  <a:close/>
                  <a:moveTo>
                    <a:pt x="151" y="148"/>
                  </a:moveTo>
                  <a:lnTo>
                    <a:pt x="148" y="148"/>
                  </a:lnTo>
                  <a:lnTo>
                    <a:pt x="144" y="148"/>
                  </a:lnTo>
                  <a:lnTo>
                    <a:pt x="141" y="148"/>
                  </a:lnTo>
                  <a:lnTo>
                    <a:pt x="144" y="152"/>
                  </a:lnTo>
                  <a:lnTo>
                    <a:pt x="144" y="155"/>
                  </a:lnTo>
                  <a:lnTo>
                    <a:pt x="148" y="155"/>
                  </a:lnTo>
                  <a:lnTo>
                    <a:pt x="148" y="155"/>
                  </a:lnTo>
                  <a:lnTo>
                    <a:pt x="151" y="155"/>
                  </a:lnTo>
                  <a:lnTo>
                    <a:pt x="151" y="161"/>
                  </a:lnTo>
                  <a:lnTo>
                    <a:pt x="151" y="161"/>
                  </a:lnTo>
                  <a:lnTo>
                    <a:pt x="151" y="168"/>
                  </a:lnTo>
                  <a:lnTo>
                    <a:pt x="155" y="171"/>
                  </a:lnTo>
                  <a:lnTo>
                    <a:pt x="155" y="165"/>
                  </a:lnTo>
                  <a:lnTo>
                    <a:pt x="158" y="168"/>
                  </a:lnTo>
                  <a:lnTo>
                    <a:pt x="161" y="168"/>
                  </a:lnTo>
                  <a:lnTo>
                    <a:pt x="161" y="165"/>
                  </a:lnTo>
                  <a:lnTo>
                    <a:pt x="158" y="158"/>
                  </a:lnTo>
                  <a:lnTo>
                    <a:pt x="155" y="158"/>
                  </a:lnTo>
                  <a:lnTo>
                    <a:pt x="155" y="152"/>
                  </a:lnTo>
                  <a:lnTo>
                    <a:pt x="151" y="148"/>
                  </a:lnTo>
                  <a:lnTo>
                    <a:pt x="151" y="148"/>
                  </a:lnTo>
                  <a:lnTo>
                    <a:pt x="151" y="148"/>
                  </a:lnTo>
                  <a:close/>
                  <a:moveTo>
                    <a:pt x="172" y="155"/>
                  </a:moveTo>
                  <a:lnTo>
                    <a:pt x="172" y="155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55"/>
                  </a:lnTo>
                  <a:close/>
                  <a:moveTo>
                    <a:pt x="172" y="158"/>
                  </a:moveTo>
                  <a:lnTo>
                    <a:pt x="168" y="158"/>
                  </a:lnTo>
                  <a:lnTo>
                    <a:pt x="168" y="158"/>
                  </a:lnTo>
                  <a:lnTo>
                    <a:pt x="172" y="158"/>
                  </a:lnTo>
                  <a:lnTo>
                    <a:pt x="172" y="158"/>
                  </a:lnTo>
                  <a:lnTo>
                    <a:pt x="172" y="158"/>
                  </a:lnTo>
                  <a:close/>
                  <a:moveTo>
                    <a:pt x="172" y="174"/>
                  </a:moveTo>
                  <a:lnTo>
                    <a:pt x="172" y="171"/>
                  </a:lnTo>
                  <a:lnTo>
                    <a:pt x="168" y="168"/>
                  </a:lnTo>
                  <a:lnTo>
                    <a:pt x="168" y="165"/>
                  </a:lnTo>
                  <a:lnTo>
                    <a:pt x="172" y="165"/>
                  </a:lnTo>
                  <a:lnTo>
                    <a:pt x="168" y="161"/>
                  </a:lnTo>
                  <a:lnTo>
                    <a:pt x="168" y="161"/>
                  </a:lnTo>
                  <a:lnTo>
                    <a:pt x="168" y="168"/>
                  </a:lnTo>
                  <a:lnTo>
                    <a:pt x="168" y="171"/>
                  </a:lnTo>
                  <a:lnTo>
                    <a:pt x="168" y="171"/>
                  </a:lnTo>
                  <a:lnTo>
                    <a:pt x="168" y="174"/>
                  </a:lnTo>
                  <a:lnTo>
                    <a:pt x="172" y="174"/>
                  </a:lnTo>
                  <a:lnTo>
                    <a:pt x="172" y="174"/>
                  </a:lnTo>
                  <a:close/>
                  <a:moveTo>
                    <a:pt x="175" y="174"/>
                  </a:moveTo>
                  <a:lnTo>
                    <a:pt x="175" y="178"/>
                  </a:lnTo>
                  <a:lnTo>
                    <a:pt x="175" y="178"/>
                  </a:lnTo>
                  <a:lnTo>
                    <a:pt x="179" y="178"/>
                  </a:lnTo>
                  <a:lnTo>
                    <a:pt x="175" y="174"/>
                  </a:lnTo>
                  <a:lnTo>
                    <a:pt x="175" y="174"/>
                  </a:lnTo>
                  <a:close/>
                  <a:moveTo>
                    <a:pt x="179" y="168"/>
                  </a:moveTo>
                  <a:lnTo>
                    <a:pt x="179" y="171"/>
                  </a:lnTo>
                  <a:lnTo>
                    <a:pt x="175" y="174"/>
                  </a:lnTo>
                  <a:lnTo>
                    <a:pt x="179" y="174"/>
                  </a:lnTo>
                  <a:lnTo>
                    <a:pt x="182" y="174"/>
                  </a:lnTo>
                  <a:lnTo>
                    <a:pt x="179" y="171"/>
                  </a:lnTo>
                  <a:lnTo>
                    <a:pt x="179" y="168"/>
                  </a:lnTo>
                  <a:lnTo>
                    <a:pt x="179" y="168"/>
                  </a:lnTo>
                  <a:close/>
                  <a:moveTo>
                    <a:pt x="103" y="226"/>
                  </a:moveTo>
                  <a:lnTo>
                    <a:pt x="100" y="223"/>
                  </a:lnTo>
                  <a:lnTo>
                    <a:pt x="100" y="216"/>
                  </a:lnTo>
                  <a:lnTo>
                    <a:pt x="103" y="213"/>
                  </a:lnTo>
                  <a:lnTo>
                    <a:pt x="100" y="210"/>
                  </a:lnTo>
                  <a:lnTo>
                    <a:pt x="103" y="207"/>
                  </a:lnTo>
                  <a:lnTo>
                    <a:pt x="110" y="207"/>
                  </a:lnTo>
                  <a:lnTo>
                    <a:pt x="110" y="203"/>
                  </a:lnTo>
                  <a:lnTo>
                    <a:pt x="113" y="203"/>
                  </a:lnTo>
                  <a:lnTo>
                    <a:pt x="120" y="203"/>
                  </a:lnTo>
                  <a:lnTo>
                    <a:pt x="120" y="200"/>
                  </a:lnTo>
                  <a:lnTo>
                    <a:pt x="120" y="197"/>
                  </a:lnTo>
                  <a:lnTo>
                    <a:pt x="124" y="197"/>
                  </a:lnTo>
                  <a:lnTo>
                    <a:pt x="127" y="194"/>
                  </a:lnTo>
                  <a:lnTo>
                    <a:pt x="131" y="194"/>
                  </a:lnTo>
                  <a:lnTo>
                    <a:pt x="134" y="197"/>
                  </a:lnTo>
                  <a:lnTo>
                    <a:pt x="134" y="203"/>
                  </a:lnTo>
                  <a:lnTo>
                    <a:pt x="131" y="207"/>
                  </a:lnTo>
                  <a:lnTo>
                    <a:pt x="134" y="203"/>
                  </a:lnTo>
                  <a:lnTo>
                    <a:pt x="137" y="203"/>
                  </a:lnTo>
                  <a:lnTo>
                    <a:pt x="144" y="200"/>
                  </a:lnTo>
                  <a:lnTo>
                    <a:pt x="144" y="197"/>
                  </a:lnTo>
                  <a:lnTo>
                    <a:pt x="148" y="194"/>
                  </a:lnTo>
                  <a:lnTo>
                    <a:pt x="151" y="197"/>
                  </a:lnTo>
                  <a:lnTo>
                    <a:pt x="155" y="197"/>
                  </a:lnTo>
                  <a:lnTo>
                    <a:pt x="155" y="194"/>
                  </a:lnTo>
                  <a:lnTo>
                    <a:pt x="151" y="194"/>
                  </a:lnTo>
                  <a:lnTo>
                    <a:pt x="155" y="187"/>
                  </a:lnTo>
                  <a:lnTo>
                    <a:pt x="158" y="190"/>
                  </a:lnTo>
                  <a:lnTo>
                    <a:pt x="161" y="190"/>
                  </a:lnTo>
                  <a:lnTo>
                    <a:pt x="161" y="190"/>
                  </a:lnTo>
                  <a:lnTo>
                    <a:pt x="161" y="184"/>
                  </a:lnTo>
                  <a:lnTo>
                    <a:pt x="165" y="184"/>
                  </a:lnTo>
                  <a:lnTo>
                    <a:pt x="165" y="187"/>
                  </a:lnTo>
                  <a:lnTo>
                    <a:pt x="165" y="184"/>
                  </a:lnTo>
                  <a:lnTo>
                    <a:pt x="165" y="178"/>
                  </a:lnTo>
                  <a:lnTo>
                    <a:pt x="165" y="174"/>
                  </a:lnTo>
                  <a:lnTo>
                    <a:pt x="168" y="174"/>
                  </a:lnTo>
                  <a:lnTo>
                    <a:pt x="168" y="174"/>
                  </a:lnTo>
                  <a:lnTo>
                    <a:pt x="168" y="178"/>
                  </a:lnTo>
                  <a:lnTo>
                    <a:pt x="175" y="181"/>
                  </a:lnTo>
                  <a:lnTo>
                    <a:pt x="179" y="184"/>
                  </a:lnTo>
                  <a:lnTo>
                    <a:pt x="182" y="184"/>
                  </a:lnTo>
                  <a:lnTo>
                    <a:pt x="182" y="184"/>
                  </a:lnTo>
                  <a:lnTo>
                    <a:pt x="186" y="187"/>
                  </a:lnTo>
                  <a:lnTo>
                    <a:pt x="186" y="194"/>
                  </a:lnTo>
                  <a:lnTo>
                    <a:pt x="182" y="194"/>
                  </a:lnTo>
                  <a:lnTo>
                    <a:pt x="182" y="194"/>
                  </a:lnTo>
                  <a:lnTo>
                    <a:pt x="182" y="197"/>
                  </a:lnTo>
                  <a:lnTo>
                    <a:pt x="186" y="197"/>
                  </a:lnTo>
                  <a:lnTo>
                    <a:pt x="186" y="200"/>
                  </a:lnTo>
                  <a:lnTo>
                    <a:pt x="186" y="203"/>
                  </a:lnTo>
                  <a:lnTo>
                    <a:pt x="186" y="200"/>
                  </a:lnTo>
                  <a:lnTo>
                    <a:pt x="186" y="203"/>
                  </a:lnTo>
                  <a:lnTo>
                    <a:pt x="186" y="207"/>
                  </a:lnTo>
                  <a:lnTo>
                    <a:pt x="189" y="210"/>
                  </a:lnTo>
                  <a:lnTo>
                    <a:pt x="192" y="213"/>
                  </a:lnTo>
                  <a:lnTo>
                    <a:pt x="192" y="220"/>
                  </a:lnTo>
                  <a:lnTo>
                    <a:pt x="189" y="223"/>
                  </a:lnTo>
                  <a:lnTo>
                    <a:pt x="189" y="223"/>
                  </a:lnTo>
                  <a:lnTo>
                    <a:pt x="189" y="226"/>
                  </a:lnTo>
                  <a:lnTo>
                    <a:pt x="186" y="223"/>
                  </a:lnTo>
                  <a:lnTo>
                    <a:pt x="186" y="223"/>
                  </a:lnTo>
                  <a:lnTo>
                    <a:pt x="186" y="226"/>
                  </a:lnTo>
                  <a:lnTo>
                    <a:pt x="186" y="229"/>
                  </a:lnTo>
                  <a:lnTo>
                    <a:pt x="186" y="236"/>
                  </a:lnTo>
                  <a:lnTo>
                    <a:pt x="186" y="236"/>
                  </a:lnTo>
                  <a:lnTo>
                    <a:pt x="182" y="236"/>
                  </a:lnTo>
                  <a:lnTo>
                    <a:pt x="182" y="229"/>
                  </a:lnTo>
                  <a:lnTo>
                    <a:pt x="182" y="226"/>
                  </a:lnTo>
                  <a:lnTo>
                    <a:pt x="179" y="223"/>
                  </a:lnTo>
                  <a:lnTo>
                    <a:pt x="179" y="220"/>
                  </a:lnTo>
                  <a:lnTo>
                    <a:pt x="175" y="216"/>
                  </a:lnTo>
                  <a:lnTo>
                    <a:pt x="175" y="220"/>
                  </a:lnTo>
                  <a:lnTo>
                    <a:pt x="168" y="226"/>
                  </a:lnTo>
                  <a:lnTo>
                    <a:pt x="168" y="229"/>
                  </a:lnTo>
                  <a:lnTo>
                    <a:pt x="172" y="229"/>
                  </a:lnTo>
                  <a:lnTo>
                    <a:pt x="175" y="236"/>
                  </a:lnTo>
                  <a:lnTo>
                    <a:pt x="175" y="236"/>
                  </a:lnTo>
                  <a:lnTo>
                    <a:pt x="175" y="239"/>
                  </a:lnTo>
                  <a:lnTo>
                    <a:pt x="168" y="245"/>
                  </a:lnTo>
                  <a:lnTo>
                    <a:pt x="168" y="249"/>
                  </a:lnTo>
                  <a:lnTo>
                    <a:pt x="165" y="245"/>
                  </a:lnTo>
                  <a:lnTo>
                    <a:pt x="165" y="242"/>
                  </a:lnTo>
                  <a:lnTo>
                    <a:pt x="165" y="242"/>
                  </a:lnTo>
                  <a:lnTo>
                    <a:pt x="165" y="239"/>
                  </a:lnTo>
                  <a:lnTo>
                    <a:pt x="161" y="242"/>
                  </a:lnTo>
                  <a:lnTo>
                    <a:pt x="161" y="242"/>
                  </a:lnTo>
                  <a:lnTo>
                    <a:pt x="158" y="245"/>
                  </a:lnTo>
                  <a:lnTo>
                    <a:pt x="155" y="242"/>
                  </a:lnTo>
                  <a:lnTo>
                    <a:pt x="151" y="242"/>
                  </a:lnTo>
                  <a:lnTo>
                    <a:pt x="148" y="242"/>
                  </a:lnTo>
                  <a:lnTo>
                    <a:pt x="144" y="236"/>
                  </a:lnTo>
                  <a:lnTo>
                    <a:pt x="144" y="236"/>
                  </a:lnTo>
                  <a:lnTo>
                    <a:pt x="141" y="232"/>
                  </a:lnTo>
                  <a:lnTo>
                    <a:pt x="141" y="229"/>
                  </a:lnTo>
                  <a:lnTo>
                    <a:pt x="141" y="226"/>
                  </a:lnTo>
                  <a:lnTo>
                    <a:pt x="141" y="226"/>
                  </a:lnTo>
                  <a:lnTo>
                    <a:pt x="141" y="223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4" y="223"/>
                  </a:lnTo>
                  <a:lnTo>
                    <a:pt x="144" y="220"/>
                  </a:lnTo>
                  <a:lnTo>
                    <a:pt x="141" y="216"/>
                  </a:lnTo>
                  <a:lnTo>
                    <a:pt x="137" y="213"/>
                  </a:lnTo>
                  <a:lnTo>
                    <a:pt x="134" y="213"/>
                  </a:lnTo>
                  <a:lnTo>
                    <a:pt x="131" y="210"/>
                  </a:lnTo>
                  <a:lnTo>
                    <a:pt x="131" y="210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31" y="216"/>
                  </a:lnTo>
                  <a:lnTo>
                    <a:pt x="127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3"/>
                  </a:lnTo>
                  <a:lnTo>
                    <a:pt x="120" y="213"/>
                  </a:lnTo>
                  <a:lnTo>
                    <a:pt x="120" y="213"/>
                  </a:lnTo>
                  <a:lnTo>
                    <a:pt x="120" y="216"/>
                  </a:lnTo>
                  <a:lnTo>
                    <a:pt x="117" y="216"/>
                  </a:lnTo>
                  <a:lnTo>
                    <a:pt x="117" y="216"/>
                  </a:lnTo>
                  <a:lnTo>
                    <a:pt x="117" y="216"/>
                  </a:lnTo>
                  <a:lnTo>
                    <a:pt x="117" y="213"/>
                  </a:lnTo>
                  <a:lnTo>
                    <a:pt x="113" y="210"/>
                  </a:lnTo>
                  <a:lnTo>
                    <a:pt x="110" y="210"/>
                  </a:lnTo>
                  <a:lnTo>
                    <a:pt x="110" y="216"/>
                  </a:lnTo>
                  <a:lnTo>
                    <a:pt x="106" y="216"/>
                  </a:lnTo>
                  <a:lnTo>
                    <a:pt x="103" y="223"/>
                  </a:lnTo>
                  <a:lnTo>
                    <a:pt x="103" y="226"/>
                  </a:lnTo>
                  <a:lnTo>
                    <a:pt x="103" y="226"/>
                  </a:lnTo>
                  <a:close/>
                  <a:moveTo>
                    <a:pt x="96" y="229"/>
                  </a:moveTo>
                  <a:lnTo>
                    <a:pt x="96" y="232"/>
                  </a:lnTo>
                  <a:lnTo>
                    <a:pt x="100" y="236"/>
                  </a:lnTo>
                  <a:lnTo>
                    <a:pt x="103" y="236"/>
                  </a:lnTo>
                  <a:lnTo>
                    <a:pt x="106" y="232"/>
                  </a:lnTo>
                  <a:lnTo>
                    <a:pt x="106" y="229"/>
                  </a:lnTo>
                  <a:lnTo>
                    <a:pt x="103" y="229"/>
                  </a:lnTo>
                  <a:lnTo>
                    <a:pt x="103" y="229"/>
                  </a:lnTo>
                  <a:lnTo>
                    <a:pt x="100" y="229"/>
                  </a:lnTo>
                  <a:lnTo>
                    <a:pt x="96" y="229"/>
                  </a:lnTo>
                  <a:lnTo>
                    <a:pt x="96" y="229"/>
                  </a:lnTo>
                  <a:close/>
                  <a:moveTo>
                    <a:pt x="51" y="136"/>
                  </a:moveTo>
                  <a:lnTo>
                    <a:pt x="51" y="132"/>
                  </a:lnTo>
                  <a:lnTo>
                    <a:pt x="48" y="132"/>
                  </a:lnTo>
                  <a:lnTo>
                    <a:pt x="51" y="129"/>
                  </a:lnTo>
                  <a:lnTo>
                    <a:pt x="55" y="129"/>
                  </a:lnTo>
                  <a:lnTo>
                    <a:pt x="55" y="132"/>
                  </a:lnTo>
                  <a:lnTo>
                    <a:pt x="58" y="132"/>
                  </a:lnTo>
                  <a:lnTo>
                    <a:pt x="62" y="136"/>
                  </a:lnTo>
                  <a:lnTo>
                    <a:pt x="58" y="136"/>
                  </a:lnTo>
                  <a:lnTo>
                    <a:pt x="58" y="136"/>
                  </a:lnTo>
                  <a:lnTo>
                    <a:pt x="51" y="136"/>
                  </a:lnTo>
                  <a:lnTo>
                    <a:pt x="51" y="136"/>
                  </a:lnTo>
                  <a:close/>
                  <a:moveTo>
                    <a:pt x="51" y="136"/>
                  </a:moveTo>
                  <a:lnTo>
                    <a:pt x="55" y="139"/>
                  </a:lnTo>
                  <a:lnTo>
                    <a:pt x="55" y="139"/>
                  </a:lnTo>
                  <a:lnTo>
                    <a:pt x="55" y="142"/>
                  </a:lnTo>
                  <a:lnTo>
                    <a:pt x="51" y="142"/>
                  </a:lnTo>
                  <a:lnTo>
                    <a:pt x="51" y="142"/>
                  </a:lnTo>
                  <a:lnTo>
                    <a:pt x="51" y="139"/>
                  </a:lnTo>
                  <a:lnTo>
                    <a:pt x="51" y="136"/>
                  </a:lnTo>
                  <a:lnTo>
                    <a:pt x="51" y="136"/>
                  </a:lnTo>
                  <a:close/>
                  <a:moveTo>
                    <a:pt x="51" y="161"/>
                  </a:moveTo>
                  <a:lnTo>
                    <a:pt x="55" y="161"/>
                  </a:lnTo>
                  <a:lnTo>
                    <a:pt x="55" y="158"/>
                  </a:lnTo>
                  <a:lnTo>
                    <a:pt x="55" y="161"/>
                  </a:lnTo>
                  <a:lnTo>
                    <a:pt x="58" y="161"/>
                  </a:lnTo>
                  <a:lnTo>
                    <a:pt x="58" y="165"/>
                  </a:lnTo>
                  <a:lnTo>
                    <a:pt x="55" y="165"/>
                  </a:lnTo>
                  <a:lnTo>
                    <a:pt x="51" y="165"/>
                  </a:lnTo>
                  <a:lnTo>
                    <a:pt x="51" y="161"/>
                  </a:lnTo>
                  <a:lnTo>
                    <a:pt x="51" y="161"/>
                  </a:lnTo>
                  <a:close/>
                  <a:moveTo>
                    <a:pt x="7" y="197"/>
                  </a:moveTo>
                  <a:lnTo>
                    <a:pt x="10" y="197"/>
                  </a:lnTo>
                  <a:lnTo>
                    <a:pt x="10" y="194"/>
                  </a:lnTo>
                  <a:lnTo>
                    <a:pt x="14" y="194"/>
                  </a:lnTo>
                  <a:lnTo>
                    <a:pt x="17" y="190"/>
                  </a:lnTo>
                  <a:lnTo>
                    <a:pt x="24" y="187"/>
                  </a:lnTo>
                  <a:lnTo>
                    <a:pt x="27" y="184"/>
                  </a:lnTo>
                  <a:lnTo>
                    <a:pt x="31" y="181"/>
                  </a:lnTo>
                  <a:lnTo>
                    <a:pt x="31" y="181"/>
                  </a:lnTo>
                  <a:lnTo>
                    <a:pt x="34" y="178"/>
                  </a:lnTo>
                  <a:lnTo>
                    <a:pt x="34" y="174"/>
                  </a:lnTo>
                  <a:lnTo>
                    <a:pt x="34" y="171"/>
                  </a:lnTo>
                  <a:lnTo>
                    <a:pt x="41" y="171"/>
                  </a:lnTo>
                  <a:lnTo>
                    <a:pt x="41" y="168"/>
                  </a:lnTo>
                  <a:lnTo>
                    <a:pt x="45" y="165"/>
                  </a:lnTo>
                  <a:lnTo>
                    <a:pt x="48" y="165"/>
                  </a:lnTo>
                  <a:lnTo>
                    <a:pt x="51" y="161"/>
                  </a:lnTo>
                  <a:lnTo>
                    <a:pt x="48" y="158"/>
                  </a:lnTo>
                  <a:lnTo>
                    <a:pt x="45" y="155"/>
                  </a:lnTo>
                  <a:lnTo>
                    <a:pt x="45" y="152"/>
                  </a:lnTo>
                  <a:lnTo>
                    <a:pt x="45" y="145"/>
                  </a:lnTo>
                  <a:lnTo>
                    <a:pt x="45" y="148"/>
                  </a:lnTo>
                  <a:lnTo>
                    <a:pt x="41" y="152"/>
                  </a:lnTo>
                  <a:lnTo>
                    <a:pt x="45" y="158"/>
                  </a:lnTo>
                  <a:lnTo>
                    <a:pt x="41" y="155"/>
                  </a:lnTo>
                  <a:lnTo>
                    <a:pt x="41" y="158"/>
                  </a:lnTo>
                  <a:lnTo>
                    <a:pt x="41" y="161"/>
                  </a:lnTo>
                  <a:lnTo>
                    <a:pt x="38" y="165"/>
                  </a:lnTo>
                  <a:lnTo>
                    <a:pt x="38" y="165"/>
                  </a:lnTo>
                  <a:lnTo>
                    <a:pt x="34" y="168"/>
                  </a:lnTo>
                  <a:lnTo>
                    <a:pt x="34" y="171"/>
                  </a:lnTo>
                  <a:lnTo>
                    <a:pt x="27" y="171"/>
                  </a:lnTo>
                  <a:lnTo>
                    <a:pt x="24" y="178"/>
                  </a:lnTo>
                  <a:lnTo>
                    <a:pt x="20" y="184"/>
                  </a:lnTo>
                  <a:lnTo>
                    <a:pt x="17" y="184"/>
                  </a:lnTo>
                  <a:lnTo>
                    <a:pt x="14" y="187"/>
                  </a:lnTo>
                  <a:lnTo>
                    <a:pt x="10" y="190"/>
                  </a:lnTo>
                  <a:lnTo>
                    <a:pt x="7" y="194"/>
                  </a:lnTo>
                  <a:lnTo>
                    <a:pt x="3" y="197"/>
                  </a:lnTo>
                  <a:lnTo>
                    <a:pt x="7" y="197"/>
                  </a:lnTo>
                  <a:lnTo>
                    <a:pt x="7" y="197"/>
                  </a:lnTo>
                  <a:close/>
                  <a:moveTo>
                    <a:pt x="7" y="200"/>
                  </a:moveTo>
                  <a:lnTo>
                    <a:pt x="3" y="200"/>
                  </a:lnTo>
                  <a:lnTo>
                    <a:pt x="7" y="200"/>
                  </a:lnTo>
                  <a:lnTo>
                    <a:pt x="7" y="200"/>
                  </a:lnTo>
                  <a:lnTo>
                    <a:pt x="7" y="200"/>
                  </a:lnTo>
                  <a:close/>
                  <a:moveTo>
                    <a:pt x="7" y="200"/>
                  </a:moveTo>
                  <a:lnTo>
                    <a:pt x="7" y="200"/>
                  </a:lnTo>
                  <a:lnTo>
                    <a:pt x="10" y="203"/>
                  </a:lnTo>
                  <a:lnTo>
                    <a:pt x="7" y="200"/>
                  </a:lnTo>
                  <a:lnTo>
                    <a:pt x="7" y="200"/>
                  </a:lnTo>
                  <a:close/>
                  <a:moveTo>
                    <a:pt x="3" y="203"/>
                  </a:moveTo>
                  <a:lnTo>
                    <a:pt x="0" y="207"/>
                  </a:lnTo>
                  <a:lnTo>
                    <a:pt x="0" y="207"/>
                  </a:lnTo>
                  <a:lnTo>
                    <a:pt x="0" y="210"/>
                  </a:lnTo>
                  <a:lnTo>
                    <a:pt x="3" y="210"/>
                  </a:lnTo>
                  <a:lnTo>
                    <a:pt x="3" y="207"/>
                  </a:lnTo>
                  <a:lnTo>
                    <a:pt x="3" y="203"/>
                  </a:lnTo>
                  <a:lnTo>
                    <a:pt x="3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" name="Freeform 21"/>
            <p:cNvSpPr>
              <a:spLocks noEditPoints="1"/>
            </p:cNvSpPr>
            <p:nvPr/>
          </p:nvSpPr>
          <p:spPr bwMode="auto">
            <a:xfrm>
              <a:off x="9204326" y="4456767"/>
              <a:ext cx="1420813" cy="477837"/>
            </a:xfrm>
            <a:custGeom>
              <a:avLst/>
              <a:gdLst>
                <a:gd name="T0" fmla="*/ 857 w 895"/>
                <a:gd name="T1" fmla="*/ 233 h 301"/>
                <a:gd name="T2" fmla="*/ 774 w 895"/>
                <a:gd name="T3" fmla="*/ 185 h 301"/>
                <a:gd name="T4" fmla="*/ 733 w 895"/>
                <a:gd name="T5" fmla="*/ 172 h 301"/>
                <a:gd name="T6" fmla="*/ 716 w 895"/>
                <a:gd name="T7" fmla="*/ 143 h 301"/>
                <a:gd name="T8" fmla="*/ 767 w 895"/>
                <a:gd name="T9" fmla="*/ 156 h 301"/>
                <a:gd name="T10" fmla="*/ 874 w 895"/>
                <a:gd name="T11" fmla="*/ 152 h 301"/>
                <a:gd name="T12" fmla="*/ 702 w 895"/>
                <a:gd name="T13" fmla="*/ 117 h 301"/>
                <a:gd name="T14" fmla="*/ 616 w 895"/>
                <a:gd name="T15" fmla="*/ 36 h 301"/>
                <a:gd name="T16" fmla="*/ 630 w 895"/>
                <a:gd name="T17" fmla="*/ 104 h 301"/>
                <a:gd name="T18" fmla="*/ 654 w 895"/>
                <a:gd name="T19" fmla="*/ 107 h 301"/>
                <a:gd name="T20" fmla="*/ 626 w 895"/>
                <a:gd name="T21" fmla="*/ 120 h 301"/>
                <a:gd name="T22" fmla="*/ 640 w 895"/>
                <a:gd name="T23" fmla="*/ 175 h 301"/>
                <a:gd name="T24" fmla="*/ 692 w 895"/>
                <a:gd name="T25" fmla="*/ 168 h 301"/>
                <a:gd name="T26" fmla="*/ 495 w 895"/>
                <a:gd name="T27" fmla="*/ 233 h 301"/>
                <a:gd name="T28" fmla="*/ 588 w 895"/>
                <a:gd name="T29" fmla="*/ 143 h 301"/>
                <a:gd name="T30" fmla="*/ 544 w 895"/>
                <a:gd name="T31" fmla="*/ 204 h 301"/>
                <a:gd name="T32" fmla="*/ 540 w 895"/>
                <a:gd name="T33" fmla="*/ 146 h 301"/>
                <a:gd name="T34" fmla="*/ 520 w 895"/>
                <a:gd name="T35" fmla="*/ 120 h 301"/>
                <a:gd name="T36" fmla="*/ 585 w 895"/>
                <a:gd name="T37" fmla="*/ 88 h 301"/>
                <a:gd name="T38" fmla="*/ 478 w 895"/>
                <a:gd name="T39" fmla="*/ 120 h 301"/>
                <a:gd name="T40" fmla="*/ 475 w 895"/>
                <a:gd name="T41" fmla="*/ 207 h 301"/>
                <a:gd name="T42" fmla="*/ 509 w 895"/>
                <a:gd name="T43" fmla="*/ 194 h 301"/>
                <a:gd name="T44" fmla="*/ 526 w 895"/>
                <a:gd name="T45" fmla="*/ 165 h 301"/>
                <a:gd name="T46" fmla="*/ 506 w 895"/>
                <a:gd name="T47" fmla="*/ 130 h 301"/>
                <a:gd name="T48" fmla="*/ 475 w 895"/>
                <a:gd name="T49" fmla="*/ 23 h 301"/>
                <a:gd name="T50" fmla="*/ 409 w 895"/>
                <a:gd name="T51" fmla="*/ 172 h 301"/>
                <a:gd name="T52" fmla="*/ 282 w 895"/>
                <a:gd name="T53" fmla="*/ 139 h 301"/>
                <a:gd name="T54" fmla="*/ 399 w 895"/>
                <a:gd name="T55" fmla="*/ 46 h 301"/>
                <a:gd name="T56" fmla="*/ 454 w 895"/>
                <a:gd name="T57" fmla="*/ 91 h 301"/>
                <a:gd name="T58" fmla="*/ 413 w 895"/>
                <a:gd name="T59" fmla="*/ 149 h 301"/>
                <a:gd name="T60" fmla="*/ 358 w 895"/>
                <a:gd name="T61" fmla="*/ 165 h 301"/>
                <a:gd name="T62" fmla="*/ 293 w 895"/>
                <a:gd name="T63" fmla="*/ 136 h 301"/>
                <a:gd name="T64" fmla="*/ 778 w 895"/>
                <a:gd name="T65" fmla="*/ 139 h 301"/>
                <a:gd name="T66" fmla="*/ 729 w 895"/>
                <a:gd name="T67" fmla="*/ 210 h 301"/>
                <a:gd name="T68" fmla="*/ 757 w 895"/>
                <a:gd name="T69" fmla="*/ 220 h 301"/>
                <a:gd name="T70" fmla="*/ 757 w 895"/>
                <a:gd name="T71" fmla="*/ 210 h 301"/>
                <a:gd name="T72" fmla="*/ 709 w 895"/>
                <a:gd name="T73" fmla="*/ 233 h 301"/>
                <a:gd name="T74" fmla="*/ 705 w 895"/>
                <a:gd name="T75" fmla="*/ 233 h 301"/>
                <a:gd name="T76" fmla="*/ 654 w 895"/>
                <a:gd name="T77" fmla="*/ 252 h 301"/>
                <a:gd name="T78" fmla="*/ 561 w 895"/>
                <a:gd name="T79" fmla="*/ 288 h 301"/>
                <a:gd name="T80" fmla="*/ 530 w 895"/>
                <a:gd name="T81" fmla="*/ 298 h 301"/>
                <a:gd name="T82" fmla="*/ 458 w 895"/>
                <a:gd name="T83" fmla="*/ 275 h 301"/>
                <a:gd name="T84" fmla="*/ 588 w 895"/>
                <a:gd name="T85" fmla="*/ 252 h 301"/>
                <a:gd name="T86" fmla="*/ 551 w 895"/>
                <a:gd name="T87" fmla="*/ 259 h 301"/>
                <a:gd name="T88" fmla="*/ 537 w 895"/>
                <a:gd name="T89" fmla="*/ 252 h 301"/>
                <a:gd name="T90" fmla="*/ 468 w 895"/>
                <a:gd name="T91" fmla="*/ 259 h 301"/>
                <a:gd name="T92" fmla="*/ 444 w 895"/>
                <a:gd name="T93" fmla="*/ 259 h 301"/>
                <a:gd name="T94" fmla="*/ 379 w 895"/>
                <a:gd name="T95" fmla="*/ 256 h 301"/>
                <a:gd name="T96" fmla="*/ 850 w 895"/>
                <a:gd name="T97" fmla="*/ 239 h 301"/>
                <a:gd name="T98" fmla="*/ 210 w 895"/>
                <a:gd name="T99" fmla="*/ 220 h 301"/>
                <a:gd name="T100" fmla="*/ 344 w 895"/>
                <a:gd name="T101" fmla="*/ 243 h 301"/>
                <a:gd name="T102" fmla="*/ 265 w 895"/>
                <a:gd name="T103" fmla="*/ 246 h 301"/>
                <a:gd name="T104" fmla="*/ 217 w 895"/>
                <a:gd name="T105" fmla="*/ 65 h 301"/>
                <a:gd name="T106" fmla="*/ 186 w 895"/>
                <a:gd name="T107" fmla="*/ 91 h 301"/>
                <a:gd name="T108" fmla="*/ 231 w 895"/>
                <a:gd name="T109" fmla="*/ 162 h 301"/>
                <a:gd name="T110" fmla="*/ 182 w 895"/>
                <a:gd name="T111" fmla="*/ 123 h 301"/>
                <a:gd name="T112" fmla="*/ 124 w 895"/>
                <a:gd name="T113" fmla="*/ 78 h 301"/>
                <a:gd name="T114" fmla="*/ 65 w 895"/>
                <a:gd name="T115" fmla="*/ 133 h 301"/>
                <a:gd name="T116" fmla="*/ 10 w 895"/>
                <a:gd name="T117" fmla="*/ 65 h 301"/>
                <a:gd name="T118" fmla="*/ 83 w 895"/>
                <a:gd name="T119" fmla="*/ 110 h 301"/>
                <a:gd name="T120" fmla="*/ 200 w 895"/>
                <a:gd name="T121" fmla="*/ 204 h 301"/>
                <a:gd name="T122" fmla="*/ 165 w 895"/>
                <a:gd name="T123" fmla="*/ 120 h 301"/>
                <a:gd name="T124" fmla="*/ 93 w 895"/>
                <a:gd name="T125" fmla="*/ 59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5" h="301">
                  <a:moveTo>
                    <a:pt x="895" y="156"/>
                  </a:moveTo>
                  <a:lnTo>
                    <a:pt x="891" y="220"/>
                  </a:lnTo>
                  <a:lnTo>
                    <a:pt x="891" y="223"/>
                  </a:lnTo>
                  <a:lnTo>
                    <a:pt x="888" y="227"/>
                  </a:lnTo>
                  <a:lnTo>
                    <a:pt x="891" y="227"/>
                  </a:lnTo>
                  <a:lnTo>
                    <a:pt x="888" y="269"/>
                  </a:lnTo>
                  <a:lnTo>
                    <a:pt x="888" y="269"/>
                  </a:lnTo>
                  <a:lnTo>
                    <a:pt x="884" y="265"/>
                  </a:lnTo>
                  <a:lnTo>
                    <a:pt x="877" y="262"/>
                  </a:lnTo>
                  <a:lnTo>
                    <a:pt x="877" y="259"/>
                  </a:lnTo>
                  <a:lnTo>
                    <a:pt x="877" y="259"/>
                  </a:lnTo>
                  <a:lnTo>
                    <a:pt x="874" y="256"/>
                  </a:lnTo>
                  <a:lnTo>
                    <a:pt x="870" y="252"/>
                  </a:lnTo>
                  <a:lnTo>
                    <a:pt x="870" y="252"/>
                  </a:lnTo>
                  <a:lnTo>
                    <a:pt x="870" y="249"/>
                  </a:lnTo>
                  <a:lnTo>
                    <a:pt x="870" y="246"/>
                  </a:lnTo>
                  <a:lnTo>
                    <a:pt x="870" y="249"/>
                  </a:lnTo>
                  <a:lnTo>
                    <a:pt x="867" y="249"/>
                  </a:lnTo>
                  <a:lnTo>
                    <a:pt x="864" y="249"/>
                  </a:lnTo>
                  <a:lnTo>
                    <a:pt x="860" y="252"/>
                  </a:lnTo>
                  <a:lnTo>
                    <a:pt x="857" y="252"/>
                  </a:lnTo>
                  <a:lnTo>
                    <a:pt x="853" y="249"/>
                  </a:lnTo>
                  <a:lnTo>
                    <a:pt x="850" y="252"/>
                  </a:lnTo>
                  <a:lnTo>
                    <a:pt x="846" y="249"/>
                  </a:lnTo>
                  <a:lnTo>
                    <a:pt x="850" y="249"/>
                  </a:lnTo>
                  <a:lnTo>
                    <a:pt x="850" y="246"/>
                  </a:lnTo>
                  <a:lnTo>
                    <a:pt x="850" y="243"/>
                  </a:lnTo>
                  <a:lnTo>
                    <a:pt x="850" y="243"/>
                  </a:lnTo>
                  <a:lnTo>
                    <a:pt x="853" y="239"/>
                  </a:lnTo>
                  <a:lnTo>
                    <a:pt x="850" y="236"/>
                  </a:lnTo>
                  <a:lnTo>
                    <a:pt x="846" y="236"/>
                  </a:lnTo>
                  <a:lnTo>
                    <a:pt x="850" y="236"/>
                  </a:lnTo>
                  <a:lnTo>
                    <a:pt x="850" y="236"/>
                  </a:lnTo>
                  <a:lnTo>
                    <a:pt x="857" y="233"/>
                  </a:lnTo>
                  <a:lnTo>
                    <a:pt x="857" y="233"/>
                  </a:lnTo>
                  <a:lnTo>
                    <a:pt x="853" y="233"/>
                  </a:lnTo>
                  <a:lnTo>
                    <a:pt x="850" y="233"/>
                  </a:lnTo>
                  <a:lnTo>
                    <a:pt x="846" y="233"/>
                  </a:lnTo>
                  <a:lnTo>
                    <a:pt x="843" y="230"/>
                  </a:lnTo>
                  <a:lnTo>
                    <a:pt x="846" y="230"/>
                  </a:lnTo>
                  <a:lnTo>
                    <a:pt x="846" y="227"/>
                  </a:lnTo>
                  <a:lnTo>
                    <a:pt x="850" y="230"/>
                  </a:lnTo>
                  <a:lnTo>
                    <a:pt x="850" y="227"/>
                  </a:lnTo>
                  <a:lnTo>
                    <a:pt x="843" y="223"/>
                  </a:lnTo>
                  <a:lnTo>
                    <a:pt x="839" y="220"/>
                  </a:lnTo>
                  <a:lnTo>
                    <a:pt x="839" y="220"/>
                  </a:lnTo>
                  <a:lnTo>
                    <a:pt x="839" y="217"/>
                  </a:lnTo>
                  <a:lnTo>
                    <a:pt x="836" y="214"/>
                  </a:lnTo>
                  <a:lnTo>
                    <a:pt x="836" y="210"/>
                  </a:lnTo>
                  <a:lnTo>
                    <a:pt x="839" y="207"/>
                  </a:lnTo>
                  <a:lnTo>
                    <a:pt x="836" y="207"/>
                  </a:lnTo>
                  <a:lnTo>
                    <a:pt x="833" y="207"/>
                  </a:lnTo>
                  <a:lnTo>
                    <a:pt x="833" y="207"/>
                  </a:lnTo>
                  <a:lnTo>
                    <a:pt x="833" y="204"/>
                  </a:lnTo>
                  <a:lnTo>
                    <a:pt x="836" y="204"/>
                  </a:lnTo>
                  <a:lnTo>
                    <a:pt x="833" y="204"/>
                  </a:lnTo>
                  <a:lnTo>
                    <a:pt x="829" y="201"/>
                  </a:lnTo>
                  <a:lnTo>
                    <a:pt x="829" y="204"/>
                  </a:lnTo>
                  <a:lnTo>
                    <a:pt x="826" y="201"/>
                  </a:lnTo>
                  <a:lnTo>
                    <a:pt x="829" y="198"/>
                  </a:lnTo>
                  <a:lnTo>
                    <a:pt x="826" y="201"/>
                  </a:lnTo>
                  <a:lnTo>
                    <a:pt x="822" y="201"/>
                  </a:lnTo>
                  <a:lnTo>
                    <a:pt x="819" y="198"/>
                  </a:lnTo>
                  <a:lnTo>
                    <a:pt x="815" y="194"/>
                  </a:lnTo>
                  <a:lnTo>
                    <a:pt x="812" y="194"/>
                  </a:lnTo>
                  <a:lnTo>
                    <a:pt x="809" y="194"/>
                  </a:lnTo>
                  <a:lnTo>
                    <a:pt x="795" y="191"/>
                  </a:lnTo>
                  <a:lnTo>
                    <a:pt x="784" y="188"/>
                  </a:lnTo>
                  <a:lnTo>
                    <a:pt x="778" y="188"/>
                  </a:lnTo>
                  <a:lnTo>
                    <a:pt x="774" y="185"/>
                  </a:lnTo>
                  <a:lnTo>
                    <a:pt x="774" y="185"/>
                  </a:lnTo>
                  <a:lnTo>
                    <a:pt x="774" y="185"/>
                  </a:lnTo>
                  <a:lnTo>
                    <a:pt x="767" y="181"/>
                  </a:lnTo>
                  <a:lnTo>
                    <a:pt x="767" y="181"/>
                  </a:lnTo>
                  <a:lnTo>
                    <a:pt x="771" y="178"/>
                  </a:lnTo>
                  <a:lnTo>
                    <a:pt x="774" y="181"/>
                  </a:lnTo>
                  <a:lnTo>
                    <a:pt x="774" y="178"/>
                  </a:lnTo>
                  <a:lnTo>
                    <a:pt x="771" y="178"/>
                  </a:lnTo>
                  <a:lnTo>
                    <a:pt x="767" y="181"/>
                  </a:lnTo>
                  <a:lnTo>
                    <a:pt x="764" y="178"/>
                  </a:lnTo>
                  <a:lnTo>
                    <a:pt x="764" y="178"/>
                  </a:lnTo>
                  <a:lnTo>
                    <a:pt x="760" y="178"/>
                  </a:lnTo>
                  <a:lnTo>
                    <a:pt x="760" y="178"/>
                  </a:lnTo>
                  <a:lnTo>
                    <a:pt x="760" y="175"/>
                  </a:lnTo>
                  <a:lnTo>
                    <a:pt x="757" y="175"/>
                  </a:lnTo>
                  <a:lnTo>
                    <a:pt x="757" y="175"/>
                  </a:lnTo>
                  <a:lnTo>
                    <a:pt x="757" y="178"/>
                  </a:lnTo>
                  <a:lnTo>
                    <a:pt x="753" y="175"/>
                  </a:lnTo>
                  <a:lnTo>
                    <a:pt x="753" y="172"/>
                  </a:lnTo>
                  <a:lnTo>
                    <a:pt x="750" y="168"/>
                  </a:lnTo>
                  <a:lnTo>
                    <a:pt x="753" y="165"/>
                  </a:lnTo>
                  <a:lnTo>
                    <a:pt x="753" y="162"/>
                  </a:lnTo>
                  <a:lnTo>
                    <a:pt x="750" y="165"/>
                  </a:lnTo>
                  <a:lnTo>
                    <a:pt x="750" y="168"/>
                  </a:lnTo>
                  <a:lnTo>
                    <a:pt x="750" y="172"/>
                  </a:lnTo>
                  <a:lnTo>
                    <a:pt x="747" y="172"/>
                  </a:lnTo>
                  <a:lnTo>
                    <a:pt x="743" y="175"/>
                  </a:lnTo>
                  <a:lnTo>
                    <a:pt x="743" y="178"/>
                  </a:lnTo>
                  <a:lnTo>
                    <a:pt x="740" y="181"/>
                  </a:lnTo>
                  <a:lnTo>
                    <a:pt x="736" y="181"/>
                  </a:lnTo>
                  <a:lnTo>
                    <a:pt x="733" y="181"/>
                  </a:lnTo>
                  <a:lnTo>
                    <a:pt x="729" y="175"/>
                  </a:lnTo>
                  <a:lnTo>
                    <a:pt x="729" y="175"/>
                  </a:lnTo>
                  <a:lnTo>
                    <a:pt x="733" y="175"/>
                  </a:lnTo>
                  <a:lnTo>
                    <a:pt x="733" y="172"/>
                  </a:lnTo>
                  <a:lnTo>
                    <a:pt x="733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6" y="165"/>
                  </a:lnTo>
                  <a:lnTo>
                    <a:pt x="723" y="162"/>
                  </a:lnTo>
                  <a:lnTo>
                    <a:pt x="719" y="162"/>
                  </a:lnTo>
                  <a:lnTo>
                    <a:pt x="716" y="162"/>
                  </a:lnTo>
                  <a:lnTo>
                    <a:pt x="719" y="159"/>
                  </a:lnTo>
                  <a:lnTo>
                    <a:pt x="723" y="159"/>
                  </a:lnTo>
                  <a:lnTo>
                    <a:pt x="726" y="159"/>
                  </a:lnTo>
                  <a:lnTo>
                    <a:pt x="729" y="159"/>
                  </a:lnTo>
                  <a:lnTo>
                    <a:pt x="733" y="162"/>
                  </a:lnTo>
                  <a:lnTo>
                    <a:pt x="736" y="159"/>
                  </a:lnTo>
                  <a:lnTo>
                    <a:pt x="736" y="156"/>
                  </a:lnTo>
                  <a:lnTo>
                    <a:pt x="740" y="156"/>
                  </a:lnTo>
                  <a:lnTo>
                    <a:pt x="747" y="156"/>
                  </a:lnTo>
                  <a:lnTo>
                    <a:pt x="750" y="159"/>
                  </a:lnTo>
                  <a:lnTo>
                    <a:pt x="750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3" y="152"/>
                  </a:lnTo>
                  <a:lnTo>
                    <a:pt x="753" y="149"/>
                  </a:lnTo>
                  <a:lnTo>
                    <a:pt x="743" y="149"/>
                  </a:lnTo>
                  <a:lnTo>
                    <a:pt x="747" y="149"/>
                  </a:lnTo>
                  <a:lnTo>
                    <a:pt x="743" y="149"/>
                  </a:lnTo>
                  <a:lnTo>
                    <a:pt x="740" y="149"/>
                  </a:lnTo>
                  <a:lnTo>
                    <a:pt x="736" y="152"/>
                  </a:lnTo>
                  <a:lnTo>
                    <a:pt x="733" y="149"/>
                  </a:lnTo>
                  <a:lnTo>
                    <a:pt x="729" y="152"/>
                  </a:lnTo>
                  <a:lnTo>
                    <a:pt x="729" y="149"/>
                  </a:lnTo>
                  <a:lnTo>
                    <a:pt x="726" y="152"/>
                  </a:lnTo>
                  <a:lnTo>
                    <a:pt x="723" y="149"/>
                  </a:lnTo>
                  <a:lnTo>
                    <a:pt x="716" y="146"/>
                  </a:lnTo>
                  <a:lnTo>
                    <a:pt x="716" y="143"/>
                  </a:lnTo>
                  <a:lnTo>
                    <a:pt x="716" y="143"/>
                  </a:lnTo>
                  <a:lnTo>
                    <a:pt x="716" y="139"/>
                  </a:lnTo>
                  <a:lnTo>
                    <a:pt x="709" y="136"/>
                  </a:lnTo>
                  <a:lnTo>
                    <a:pt x="709" y="136"/>
                  </a:lnTo>
                  <a:lnTo>
                    <a:pt x="705" y="136"/>
                  </a:lnTo>
                  <a:lnTo>
                    <a:pt x="702" y="139"/>
                  </a:lnTo>
                  <a:lnTo>
                    <a:pt x="698" y="136"/>
                  </a:lnTo>
                  <a:lnTo>
                    <a:pt x="698" y="136"/>
                  </a:lnTo>
                  <a:lnTo>
                    <a:pt x="705" y="133"/>
                  </a:lnTo>
                  <a:lnTo>
                    <a:pt x="705" y="130"/>
                  </a:lnTo>
                  <a:lnTo>
                    <a:pt x="702" y="130"/>
                  </a:lnTo>
                  <a:lnTo>
                    <a:pt x="705" y="126"/>
                  </a:lnTo>
                  <a:lnTo>
                    <a:pt x="712" y="126"/>
                  </a:lnTo>
                  <a:lnTo>
                    <a:pt x="712" y="123"/>
                  </a:lnTo>
                  <a:lnTo>
                    <a:pt x="716" y="123"/>
                  </a:lnTo>
                  <a:lnTo>
                    <a:pt x="723" y="120"/>
                  </a:lnTo>
                  <a:lnTo>
                    <a:pt x="723" y="120"/>
                  </a:lnTo>
                  <a:lnTo>
                    <a:pt x="729" y="117"/>
                  </a:lnTo>
                  <a:lnTo>
                    <a:pt x="740" y="120"/>
                  </a:lnTo>
                  <a:lnTo>
                    <a:pt x="747" y="123"/>
                  </a:lnTo>
                  <a:lnTo>
                    <a:pt x="753" y="123"/>
                  </a:lnTo>
                  <a:lnTo>
                    <a:pt x="757" y="123"/>
                  </a:lnTo>
                  <a:lnTo>
                    <a:pt x="760" y="126"/>
                  </a:lnTo>
                  <a:lnTo>
                    <a:pt x="757" y="126"/>
                  </a:lnTo>
                  <a:lnTo>
                    <a:pt x="757" y="133"/>
                  </a:lnTo>
                  <a:lnTo>
                    <a:pt x="760" y="133"/>
                  </a:lnTo>
                  <a:lnTo>
                    <a:pt x="764" y="136"/>
                  </a:lnTo>
                  <a:lnTo>
                    <a:pt x="760" y="139"/>
                  </a:lnTo>
                  <a:lnTo>
                    <a:pt x="757" y="143"/>
                  </a:lnTo>
                  <a:lnTo>
                    <a:pt x="760" y="149"/>
                  </a:lnTo>
                  <a:lnTo>
                    <a:pt x="760" y="156"/>
                  </a:lnTo>
                  <a:lnTo>
                    <a:pt x="764" y="159"/>
                  </a:lnTo>
                  <a:lnTo>
                    <a:pt x="764" y="162"/>
                  </a:lnTo>
                  <a:lnTo>
                    <a:pt x="767" y="162"/>
                  </a:lnTo>
                  <a:lnTo>
                    <a:pt x="767" y="156"/>
                  </a:lnTo>
                  <a:lnTo>
                    <a:pt x="767" y="156"/>
                  </a:lnTo>
                  <a:lnTo>
                    <a:pt x="771" y="156"/>
                  </a:lnTo>
                  <a:lnTo>
                    <a:pt x="771" y="159"/>
                  </a:lnTo>
                  <a:lnTo>
                    <a:pt x="771" y="162"/>
                  </a:lnTo>
                  <a:lnTo>
                    <a:pt x="774" y="162"/>
                  </a:lnTo>
                  <a:lnTo>
                    <a:pt x="774" y="165"/>
                  </a:lnTo>
                  <a:lnTo>
                    <a:pt x="778" y="168"/>
                  </a:lnTo>
                  <a:lnTo>
                    <a:pt x="781" y="172"/>
                  </a:lnTo>
                  <a:lnTo>
                    <a:pt x="784" y="172"/>
                  </a:lnTo>
                  <a:lnTo>
                    <a:pt x="788" y="168"/>
                  </a:lnTo>
                  <a:lnTo>
                    <a:pt x="788" y="165"/>
                  </a:lnTo>
                  <a:lnTo>
                    <a:pt x="791" y="165"/>
                  </a:lnTo>
                  <a:lnTo>
                    <a:pt x="791" y="165"/>
                  </a:lnTo>
                  <a:lnTo>
                    <a:pt x="791" y="159"/>
                  </a:lnTo>
                  <a:lnTo>
                    <a:pt x="795" y="156"/>
                  </a:lnTo>
                  <a:lnTo>
                    <a:pt x="798" y="156"/>
                  </a:lnTo>
                  <a:lnTo>
                    <a:pt x="802" y="156"/>
                  </a:lnTo>
                  <a:lnTo>
                    <a:pt x="802" y="152"/>
                  </a:lnTo>
                  <a:lnTo>
                    <a:pt x="805" y="149"/>
                  </a:lnTo>
                  <a:lnTo>
                    <a:pt x="805" y="149"/>
                  </a:lnTo>
                  <a:lnTo>
                    <a:pt x="809" y="149"/>
                  </a:lnTo>
                  <a:lnTo>
                    <a:pt x="812" y="149"/>
                  </a:lnTo>
                  <a:lnTo>
                    <a:pt x="819" y="149"/>
                  </a:lnTo>
                  <a:lnTo>
                    <a:pt x="819" y="146"/>
                  </a:lnTo>
                  <a:lnTo>
                    <a:pt x="815" y="143"/>
                  </a:lnTo>
                  <a:lnTo>
                    <a:pt x="819" y="143"/>
                  </a:lnTo>
                  <a:lnTo>
                    <a:pt x="826" y="136"/>
                  </a:lnTo>
                  <a:lnTo>
                    <a:pt x="833" y="136"/>
                  </a:lnTo>
                  <a:lnTo>
                    <a:pt x="836" y="139"/>
                  </a:lnTo>
                  <a:lnTo>
                    <a:pt x="839" y="143"/>
                  </a:lnTo>
                  <a:lnTo>
                    <a:pt x="846" y="143"/>
                  </a:lnTo>
                  <a:lnTo>
                    <a:pt x="850" y="146"/>
                  </a:lnTo>
                  <a:lnTo>
                    <a:pt x="853" y="146"/>
                  </a:lnTo>
                  <a:lnTo>
                    <a:pt x="860" y="146"/>
                  </a:lnTo>
                  <a:lnTo>
                    <a:pt x="870" y="152"/>
                  </a:lnTo>
                  <a:lnTo>
                    <a:pt x="874" y="152"/>
                  </a:lnTo>
                  <a:lnTo>
                    <a:pt x="877" y="152"/>
                  </a:lnTo>
                  <a:lnTo>
                    <a:pt x="881" y="152"/>
                  </a:lnTo>
                  <a:lnTo>
                    <a:pt x="884" y="152"/>
                  </a:lnTo>
                  <a:lnTo>
                    <a:pt x="888" y="156"/>
                  </a:lnTo>
                  <a:lnTo>
                    <a:pt x="888" y="156"/>
                  </a:lnTo>
                  <a:lnTo>
                    <a:pt x="888" y="156"/>
                  </a:lnTo>
                  <a:lnTo>
                    <a:pt x="891" y="159"/>
                  </a:lnTo>
                  <a:lnTo>
                    <a:pt x="895" y="156"/>
                  </a:lnTo>
                  <a:lnTo>
                    <a:pt x="895" y="156"/>
                  </a:lnTo>
                  <a:lnTo>
                    <a:pt x="895" y="156"/>
                  </a:lnTo>
                  <a:close/>
                  <a:moveTo>
                    <a:pt x="664" y="110"/>
                  </a:moveTo>
                  <a:lnTo>
                    <a:pt x="671" y="114"/>
                  </a:lnTo>
                  <a:lnTo>
                    <a:pt x="671" y="117"/>
                  </a:lnTo>
                  <a:lnTo>
                    <a:pt x="664" y="114"/>
                  </a:lnTo>
                  <a:lnTo>
                    <a:pt x="664" y="110"/>
                  </a:lnTo>
                  <a:lnTo>
                    <a:pt x="664" y="110"/>
                  </a:lnTo>
                  <a:close/>
                  <a:moveTo>
                    <a:pt x="702" y="117"/>
                  </a:moveTo>
                  <a:lnTo>
                    <a:pt x="705" y="120"/>
                  </a:lnTo>
                  <a:lnTo>
                    <a:pt x="705" y="117"/>
                  </a:lnTo>
                  <a:lnTo>
                    <a:pt x="705" y="117"/>
                  </a:lnTo>
                  <a:lnTo>
                    <a:pt x="702" y="114"/>
                  </a:lnTo>
                  <a:lnTo>
                    <a:pt x="695" y="114"/>
                  </a:lnTo>
                  <a:lnTo>
                    <a:pt x="692" y="114"/>
                  </a:lnTo>
                  <a:lnTo>
                    <a:pt x="688" y="117"/>
                  </a:lnTo>
                  <a:lnTo>
                    <a:pt x="688" y="117"/>
                  </a:lnTo>
                  <a:lnTo>
                    <a:pt x="688" y="117"/>
                  </a:lnTo>
                  <a:lnTo>
                    <a:pt x="685" y="117"/>
                  </a:lnTo>
                  <a:lnTo>
                    <a:pt x="692" y="117"/>
                  </a:lnTo>
                  <a:lnTo>
                    <a:pt x="695" y="120"/>
                  </a:lnTo>
                  <a:lnTo>
                    <a:pt x="698" y="120"/>
                  </a:lnTo>
                  <a:lnTo>
                    <a:pt x="698" y="117"/>
                  </a:lnTo>
                  <a:lnTo>
                    <a:pt x="695" y="117"/>
                  </a:lnTo>
                  <a:lnTo>
                    <a:pt x="695" y="117"/>
                  </a:lnTo>
                  <a:lnTo>
                    <a:pt x="695" y="117"/>
                  </a:lnTo>
                  <a:lnTo>
                    <a:pt x="702" y="117"/>
                  </a:lnTo>
                  <a:lnTo>
                    <a:pt x="702" y="117"/>
                  </a:lnTo>
                  <a:close/>
                  <a:moveTo>
                    <a:pt x="695" y="126"/>
                  </a:moveTo>
                  <a:lnTo>
                    <a:pt x="692" y="126"/>
                  </a:lnTo>
                  <a:lnTo>
                    <a:pt x="688" y="126"/>
                  </a:lnTo>
                  <a:lnTo>
                    <a:pt x="692" y="130"/>
                  </a:lnTo>
                  <a:lnTo>
                    <a:pt x="695" y="126"/>
                  </a:lnTo>
                  <a:lnTo>
                    <a:pt x="695" y="126"/>
                  </a:lnTo>
                  <a:close/>
                  <a:moveTo>
                    <a:pt x="698" y="126"/>
                  </a:moveTo>
                  <a:lnTo>
                    <a:pt x="695" y="126"/>
                  </a:lnTo>
                  <a:lnTo>
                    <a:pt x="695" y="126"/>
                  </a:lnTo>
                  <a:lnTo>
                    <a:pt x="698" y="126"/>
                  </a:lnTo>
                  <a:lnTo>
                    <a:pt x="698" y="126"/>
                  </a:lnTo>
                  <a:close/>
                  <a:moveTo>
                    <a:pt x="698" y="126"/>
                  </a:moveTo>
                  <a:lnTo>
                    <a:pt x="692" y="130"/>
                  </a:lnTo>
                  <a:lnTo>
                    <a:pt x="692" y="136"/>
                  </a:lnTo>
                  <a:lnTo>
                    <a:pt x="698" y="136"/>
                  </a:lnTo>
                  <a:lnTo>
                    <a:pt x="698" y="133"/>
                  </a:lnTo>
                  <a:lnTo>
                    <a:pt x="698" y="130"/>
                  </a:lnTo>
                  <a:lnTo>
                    <a:pt x="698" y="126"/>
                  </a:lnTo>
                  <a:lnTo>
                    <a:pt x="698" y="126"/>
                  </a:lnTo>
                  <a:close/>
                  <a:moveTo>
                    <a:pt x="588" y="49"/>
                  </a:moveTo>
                  <a:lnTo>
                    <a:pt x="592" y="52"/>
                  </a:lnTo>
                  <a:lnTo>
                    <a:pt x="595" y="55"/>
                  </a:lnTo>
                  <a:lnTo>
                    <a:pt x="592" y="55"/>
                  </a:lnTo>
                  <a:lnTo>
                    <a:pt x="588" y="55"/>
                  </a:lnTo>
                  <a:lnTo>
                    <a:pt x="588" y="49"/>
                  </a:lnTo>
                  <a:lnTo>
                    <a:pt x="588" y="49"/>
                  </a:lnTo>
                  <a:lnTo>
                    <a:pt x="588" y="49"/>
                  </a:lnTo>
                  <a:close/>
                  <a:moveTo>
                    <a:pt x="612" y="36"/>
                  </a:moveTo>
                  <a:lnTo>
                    <a:pt x="612" y="39"/>
                  </a:lnTo>
                  <a:lnTo>
                    <a:pt x="616" y="42"/>
                  </a:lnTo>
                  <a:lnTo>
                    <a:pt x="616" y="42"/>
                  </a:lnTo>
                  <a:lnTo>
                    <a:pt x="619" y="39"/>
                  </a:lnTo>
                  <a:lnTo>
                    <a:pt x="616" y="36"/>
                  </a:lnTo>
                  <a:lnTo>
                    <a:pt x="616" y="36"/>
                  </a:lnTo>
                  <a:lnTo>
                    <a:pt x="612" y="36"/>
                  </a:lnTo>
                  <a:lnTo>
                    <a:pt x="612" y="36"/>
                  </a:lnTo>
                  <a:close/>
                  <a:moveTo>
                    <a:pt x="612" y="42"/>
                  </a:moveTo>
                  <a:lnTo>
                    <a:pt x="616" y="46"/>
                  </a:lnTo>
                  <a:lnTo>
                    <a:pt x="616" y="49"/>
                  </a:lnTo>
                  <a:lnTo>
                    <a:pt x="616" y="49"/>
                  </a:lnTo>
                  <a:lnTo>
                    <a:pt x="616" y="49"/>
                  </a:lnTo>
                  <a:lnTo>
                    <a:pt x="612" y="42"/>
                  </a:lnTo>
                  <a:lnTo>
                    <a:pt x="612" y="42"/>
                  </a:lnTo>
                  <a:close/>
                  <a:moveTo>
                    <a:pt x="643" y="75"/>
                  </a:moveTo>
                  <a:lnTo>
                    <a:pt x="643" y="78"/>
                  </a:lnTo>
                  <a:lnTo>
                    <a:pt x="647" y="78"/>
                  </a:lnTo>
                  <a:lnTo>
                    <a:pt x="650" y="78"/>
                  </a:lnTo>
                  <a:lnTo>
                    <a:pt x="654" y="75"/>
                  </a:lnTo>
                  <a:lnTo>
                    <a:pt x="650" y="75"/>
                  </a:lnTo>
                  <a:lnTo>
                    <a:pt x="650" y="72"/>
                  </a:lnTo>
                  <a:lnTo>
                    <a:pt x="647" y="75"/>
                  </a:lnTo>
                  <a:lnTo>
                    <a:pt x="643" y="75"/>
                  </a:lnTo>
                  <a:lnTo>
                    <a:pt x="643" y="75"/>
                  </a:lnTo>
                  <a:close/>
                  <a:moveTo>
                    <a:pt x="640" y="117"/>
                  </a:moveTo>
                  <a:lnTo>
                    <a:pt x="640" y="123"/>
                  </a:lnTo>
                  <a:lnTo>
                    <a:pt x="647" y="126"/>
                  </a:lnTo>
                  <a:lnTo>
                    <a:pt x="647" y="130"/>
                  </a:lnTo>
                  <a:lnTo>
                    <a:pt x="647" y="130"/>
                  </a:lnTo>
                  <a:lnTo>
                    <a:pt x="647" y="130"/>
                  </a:lnTo>
                  <a:lnTo>
                    <a:pt x="643" y="130"/>
                  </a:lnTo>
                  <a:lnTo>
                    <a:pt x="643" y="126"/>
                  </a:lnTo>
                  <a:lnTo>
                    <a:pt x="640" y="123"/>
                  </a:lnTo>
                  <a:lnTo>
                    <a:pt x="633" y="120"/>
                  </a:lnTo>
                  <a:lnTo>
                    <a:pt x="633" y="117"/>
                  </a:lnTo>
                  <a:lnTo>
                    <a:pt x="633" y="114"/>
                  </a:lnTo>
                  <a:lnTo>
                    <a:pt x="633" y="110"/>
                  </a:lnTo>
                  <a:lnTo>
                    <a:pt x="633" y="107"/>
                  </a:lnTo>
                  <a:lnTo>
                    <a:pt x="630" y="107"/>
                  </a:lnTo>
                  <a:lnTo>
                    <a:pt x="630" y="104"/>
                  </a:lnTo>
                  <a:lnTo>
                    <a:pt x="633" y="101"/>
                  </a:lnTo>
                  <a:lnTo>
                    <a:pt x="630" y="97"/>
                  </a:lnTo>
                  <a:lnTo>
                    <a:pt x="626" y="94"/>
                  </a:lnTo>
                  <a:lnTo>
                    <a:pt x="630" y="91"/>
                  </a:lnTo>
                  <a:lnTo>
                    <a:pt x="633" y="88"/>
                  </a:lnTo>
                  <a:lnTo>
                    <a:pt x="630" y="84"/>
                  </a:lnTo>
                  <a:lnTo>
                    <a:pt x="633" y="81"/>
                  </a:lnTo>
                  <a:lnTo>
                    <a:pt x="637" y="75"/>
                  </a:lnTo>
                  <a:lnTo>
                    <a:pt x="640" y="75"/>
                  </a:lnTo>
                  <a:lnTo>
                    <a:pt x="640" y="78"/>
                  </a:lnTo>
                  <a:lnTo>
                    <a:pt x="637" y="81"/>
                  </a:lnTo>
                  <a:lnTo>
                    <a:pt x="637" y="81"/>
                  </a:lnTo>
                  <a:lnTo>
                    <a:pt x="640" y="84"/>
                  </a:lnTo>
                  <a:lnTo>
                    <a:pt x="640" y="88"/>
                  </a:lnTo>
                  <a:lnTo>
                    <a:pt x="640" y="91"/>
                  </a:lnTo>
                  <a:lnTo>
                    <a:pt x="637" y="94"/>
                  </a:lnTo>
                  <a:lnTo>
                    <a:pt x="633" y="94"/>
                  </a:lnTo>
                  <a:lnTo>
                    <a:pt x="637" y="97"/>
                  </a:lnTo>
                  <a:lnTo>
                    <a:pt x="637" y="97"/>
                  </a:lnTo>
                  <a:lnTo>
                    <a:pt x="640" y="94"/>
                  </a:lnTo>
                  <a:lnTo>
                    <a:pt x="643" y="94"/>
                  </a:lnTo>
                  <a:lnTo>
                    <a:pt x="643" y="91"/>
                  </a:lnTo>
                  <a:lnTo>
                    <a:pt x="640" y="91"/>
                  </a:lnTo>
                  <a:lnTo>
                    <a:pt x="643" y="91"/>
                  </a:lnTo>
                  <a:lnTo>
                    <a:pt x="647" y="88"/>
                  </a:lnTo>
                  <a:lnTo>
                    <a:pt x="654" y="84"/>
                  </a:lnTo>
                  <a:lnTo>
                    <a:pt x="657" y="88"/>
                  </a:lnTo>
                  <a:lnTo>
                    <a:pt x="657" y="91"/>
                  </a:lnTo>
                  <a:lnTo>
                    <a:pt x="654" y="94"/>
                  </a:lnTo>
                  <a:lnTo>
                    <a:pt x="647" y="97"/>
                  </a:lnTo>
                  <a:lnTo>
                    <a:pt x="643" y="101"/>
                  </a:lnTo>
                  <a:lnTo>
                    <a:pt x="647" y="101"/>
                  </a:lnTo>
                  <a:lnTo>
                    <a:pt x="647" y="101"/>
                  </a:lnTo>
                  <a:lnTo>
                    <a:pt x="654" y="104"/>
                  </a:lnTo>
                  <a:lnTo>
                    <a:pt x="654" y="107"/>
                  </a:lnTo>
                  <a:lnTo>
                    <a:pt x="657" y="110"/>
                  </a:lnTo>
                  <a:lnTo>
                    <a:pt x="650" y="110"/>
                  </a:lnTo>
                  <a:lnTo>
                    <a:pt x="650" y="107"/>
                  </a:lnTo>
                  <a:lnTo>
                    <a:pt x="643" y="107"/>
                  </a:lnTo>
                  <a:lnTo>
                    <a:pt x="640" y="107"/>
                  </a:lnTo>
                  <a:lnTo>
                    <a:pt x="637" y="107"/>
                  </a:lnTo>
                  <a:lnTo>
                    <a:pt x="637" y="114"/>
                  </a:lnTo>
                  <a:lnTo>
                    <a:pt x="640" y="117"/>
                  </a:lnTo>
                  <a:lnTo>
                    <a:pt x="640" y="117"/>
                  </a:lnTo>
                  <a:close/>
                  <a:moveTo>
                    <a:pt x="626" y="126"/>
                  </a:moveTo>
                  <a:lnTo>
                    <a:pt x="626" y="130"/>
                  </a:lnTo>
                  <a:lnTo>
                    <a:pt x="623" y="126"/>
                  </a:lnTo>
                  <a:lnTo>
                    <a:pt x="623" y="126"/>
                  </a:lnTo>
                  <a:lnTo>
                    <a:pt x="626" y="126"/>
                  </a:lnTo>
                  <a:lnTo>
                    <a:pt x="626" y="126"/>
                  </a:lnTo>
                  <a:close/>
                  <a:moveTo>
                    <a:pt x="623" y="120"/>
                  </a:moveTo>
                  <a:lnTo>
                    <a:pt x="623" y="120"/>
                  </a:lnTo>
                  <a:lnTo>
                    <a:pt x="619" y="123"/>
                  </a:lnTo>
                  <a:lnTo>
                    <a:pt x="623" y="123"/>
                  </a:lnTo>
                  <a:lnTo>
                    <a:pt x="623" y="120"/>
                  </a:lnTo>
                  <a:lnTo>
                    <a:pt x="623" y="120"/>
                  </a:lnTo>
                  <a:lnTo>
                    <a:pt x="623" y="120"/>
                  </a:lnTo>
                  <a:close/>
                  <a:moveTo>
                    <a:pt x="626" y="120"/>
                  </a:moveTo>
                  <a:lnTo>
                    <a:pt x="626" y="123"/>
                  </a:lnTo>
                  <a:lnTo>
                    <a:pt x="626" y="123"/>
                  </a:lnTo>
                  <a:lnTo>
                    <a:pt x="630" y="126"/>
                  </a:lnTo>
                  <a:lnTo>
                    <a:pt x="633" y="126"/>
                  </a:lnTo>
                  <a:lnTo>
                    <a:pt x="633" y="130"/>
                  </a:lnTo>
                  <a:lnTo>
                    <a:pt x="637" y="126"/>
                  </a:lnTo>
                  <a:lnTo>
                    <a:pt x="637" y="126"/>
                  </a:lnTo>
                  <a:lnTo>
                    <a:pt x="633" y="123"/>
                  </a:lnTo>
                  <a:lnTo>
                    <a:pt x="633" y="123"/>
                  </a:lnTo>
                  <a:lnTo>
                    <a:pt x="630" y="120"/>
                  </a:lnTo>
                  <a:lnTo>
                    <a:pt x="626" y="120"/>
                  </a:lnTo>
                  <a:lnTo>
                    <a:pt x="626" y="120"/>
                  </a:lnTo>
                  <a:close/>
                  <a:moveTo>
                    <a:pt x="626" y="139"/>
                  </a:moveTo>
                  <a:lnTo>
                    <a:pt x="633" y="136"/>
                  </a:lnTo>
                  <a:lnTo>
                    <a:pt x="637" y="136"/>
                  </a:lnTo>
                  <a:lnTo>
                    <a:pt x="643" y="139"/>
                  </a:lnTo>
                  <a:lnTo>
                    <a:pt x="640" y="143"/>
                  </a:lnTo>
                  <a:lnTo>
                    <a:pt x="640" y="143"/>
                  </a:lnTo>
                  <a:lnTo>
                    <a:pt x="637" y="143"/>
                  </a:lnTo>
                  <a:lnTo>
                    <a:pt x="633" y="143"/>
                  </a:lnTo>
                  <a:lnTo>
                    <a:pt x="630" y="143"/>
                  </a:lnTo>
                  <a:lnTo>
                    <a:pt x="626" y="139"/>
                  </a:lnTo>
                  <a:lnTo>
                    <a:pt x="626" y="139"/>
                  </a:lnTo>
                  <a:close/>
                  <a:moveTo>
                    <a:pt x="681" y="143"/>
                  </a:moveTo>
                  <a:lnTo>
                    <a:pt x="674" y="143"/>
                  </a:lnTo>
                  <a:lnTo>
                    <a:pt x="674" y="146"/>
                  </a:lnTo>
                  <a:lnTo>
                    <a:pt x="674" y="146"/>
                  </a:lnTo>
                  <a:lnTo>
                    <a:pt x="681" y="149"/>
                  </a:lnTo>
                  <a:lnTo>
                    <a:pt x="685" y="146"/>
                  </a:lnTo>
                  <a:lnTo>
                    <a:pt x="685" y="146"/>
                  </a:lnTo>
                  <a:lnTo>
                    <a:pt x="685" y="143"/>
                  </a:lnTo>
                  <a:lnTo>
                    <a:pt x="681" y="143"/>
                  </a:lnTo>
                  <a:lnTo>
                    <a:pt x="681" y="143"/>
                  </a:lnTo>
                  <a:close/>
                  <a:moveTo>
                    <a:pt x="650" y="175"/>
                  </a:moveTo>
                  <a:lnTo>
                    <a:pt x="650" y="175"/>
                  </a:lnTo>
                  <a:lnTo>
                    <a:pt x="650" y="175"/>
                  </a:lnTo>
                  <a:lnTo>
                    <a:pt x="650" y="175"/>
                  </a:lnTo>
                  <a:lnTo>
                    <a:pt x="650" y="175"/>
                  </a:lnTo>
                  <a:lnTo>
                    <a:pt x="650" y="175"/>
                  </a:lnTo>
                  <a:close/>
                  <a:moveTo>
                    <a:pt x="647" y="175"/>
                  </a:moveTo>
                  <a:lnTo>
                    <a:pt x="647" y="175"/>
                  </a:lnTo>
                  <a:lnTo>
                    <a:pt x="647" y="175"/>
                  </a:lnTo>
                  <a:lnTo>
                    <a:pt x="647" y="175"/>
                  </a:lnTo>
                  <a:lnTo>
                    <a:pt x="647" y="175"/>
                  </a:lnTo>
                  <a:lnTo>
                    <a:pt x="647" y="175"/>
                  </a:lnTo>
                  <a:close/>
                  <a:moveTo>
                    <a:pt x="637" y="175"/>
                  </a:moveTo>
                  <a:lnTo>
                    <a:pt x="640" y="175"/>
                  </a:lnTo>
                  <a:lnTo>
                    <a:pt x="643" y="172"/>
                  </a:lnTo>
                  <a:lnTo>
                    <a:pt x="643" y="175"/>
                  </a:lnTo>
                  <a:lnTo>
                    <a:pt x="643" y="178"/>
                  </a:lnTo>
                  <a:lnTo>
                    <a:pt x="640" y="175"/>
                  </a:lnTo>
                  <a:lnTo>
                    <a:pt x="640" y="178"/>
                  </a:lnTo>
                  <a:lnTo>
                    <a:pt x="637" y="175"/>
                  </a:lnTo>
                  <a:lnTo>
                    <a:pt x="637" y="175"/>
                  </a:lnTo>
                  <a:close/>
                  <a:moveTo>
                    <a:pt x="633" y="165"/>
                  </a:moveTo>
                  <a:lnTo>
                    <a:pt x="633" y="168"/>
                  </a:lnTo>
                  <a:lnTo>
                    <a:pt x="633" y="168"/>
                  </a:lnTo>
                  <a:lnTo>
                    <a:pt x="633" y="165"/>
                  </a:lnTo>
                  <a:lnTo>
                    <a:pt x="633" y="165"/>
                  </a:lnTo>
                  <a:close/>
                  <a:moveTo>
                    <a:pt x="640" y="162"/>
                  </a:moveTo>
                  <a:lnTo>
                    <a:pt x="637" y="162"/>
                  </a:lnTo>
                  <a:lnTo>
                    <a:pt x="637" y="165"/>
                  </a:lnTo>
                  <a:lnTo>
                    <a:pt x="637" y="162"/>
                  </a:lnTo>
                  <a:lnTo>
                    <a:pt x="640" y="162"/>
                  </a:lnTo>
                  <a:lnTo>
                    <a:pt x="640" y="162"/>
                  </a:lnTo>
                  <a:close/>
                  <a:moveTo>
                    <a:pt x="640" y="172"/>
                  </a:moveTo>
                  <a:lnTo>
                    <a:pt x="643" y="165"/>
                  </a:lnTo>
                  <a:lnTo>
                    <a:pt x="647" y="168"/>
                  </a:lnTo>
                  <a:lnTo>
                    <a:pt x="647" y="172"/>
                  </a:lnTo>
                  <a:lnTo>
                    <a:pt x="650" y="172"/>
                  </a:lnTo>
                  <a:lnTo>
                    <a:pt x="654" y="168"/>
                  </a:lnTo>
                  <a:lnTo>
                    <a:pt x="657" y="168"/>
                  </a:lnTo>
                  <a:lnTo>
                    <a:pt x="661" y="172"/>
                  </a:lnTo>
                  <a:lnTo>
                    <a:pt x="667" y="172"/>
                  </a:lnTo>
                  <a:lnTo>
                    <a:pt x="671" y="168"/>
                  </a:lnTo>
                  <a:lnTo>
                    <a:pt x="674" y="168"/>
                  </a:lnTo>
                  <a:lnTo>
                    <a:pt x="681" y="175"/>
                  </a:lnTo>
                  <a:lnTo>
                    <a:pt x="685" y="175"/>
                  </a:lnTo>
                  <a:lnTo>
                    <a:pt x="688" y="178"/>
                  </a:lnTo>
                  <a:lnTo>
                    <a:pt x="692" y="178"/>
                  </a:lnTo>
                  <a:lnTo>
                    <a:pt x="695" y="175"/>
                  </a:lnTo>
                  <a:lnTo>
                    <a:pt x="692" y="168"/>
                  </a:lnTo>
                  <a:lnTo>
                    <a:pt x="681" y="165"/>
                  </a:lnTo>
                  <a:lnTo>
                    <a:pt x="674" y="162"/>
                  </a:lnTo>
                  <a:lnTo>
                    <a:pt x="671" y="162"/>
                  </a:lnTo>
                  <a:lnTo>
                    <a:pt x="667" y="159"/>
                  </a:lnTo>
                  <a:lnTo>
                    <a:pt x="664" y="162"/>
                  </a:lnTo>
                  <a:lnTo>
                    <a:pt x="661" y="162"/>
                  </a:lnTo>
                  <a:lnTo>
                    <a:pt x="657" y="162"/>
                  </a:lnTo>
                  <a:lnTo>
                    <a:pt x="650" y="162"/>
                  </a:lnTo>
                  <a:lnTo>
                    <a:pt x="643" y="162"/>
                  </a:lnTo>
                  <a:lnTo>
                    <a:pt x="640" y="162"/>
                  </a:lnTo>
                  <a:lnTo>
                    <a:pt x="640" y="165"/>
                  </a:lnTo>
                  <a:lnTo>
                    <a:pt x="637" y="165"/>
                  </a:lnTo>
                  <a:lnTo>
                    <a:pt x="637" y="168"/>
                  </a:lnTo>
                  <a:lnTo>
                    <a:pt x="637" y="172"/>
                  </a:lnTo>
                  <a:lnTo>
                    <a:pt x="640" y="172"/>
                  </a:lnTo>
                  <a:lnTo>
                    <a:pt x="640" y="172"/>
                  </a:lnTo>
                  <a:close/>
                  <a:moveTo>
                    <a:pt x="602" y="165"/>
                  </a:moveTo>
                  <a:lnTo>
                    <a:pt x="606" y="168"/>
                  </a:lnTo>
                  <a:lnTo>
                    <a:pt x="609" y="165"/>
                  </a:lnTo>
                  <a:lnTo>
                    <a:pt x="616" y="165"/>
                  </a:lnTo>
                  <a:lnTo>
                    <a:pt x="619" y="168"/>
                  </a:lnTo>
                  <a:lnTo>
                    <a:pt x="623" y="168"/>
                  </a:lnTo>
                  <a:lnTo>
                    <a:pt x="626" y="172"/>
                  </a:lnTo>
                  <a:lnTo>
                    <a:pt x="623" y="175"/>
                  </a:lnTo>
                  <a:lnTo>
                    <a:pt x="623" y="175"/>
                  </a:lnTo>
                  <a:lnTo>
                    <a:pt x="616" y="178"/>
                  </a:lnTo>
                  <a:lnTo>
                    <a:pt x="612" y="178"/>
                  </a:lnTo>
                  <a:lnTo>
                    <a:pt x="609" y="178"/>
                  </a:lnTo>
                  <a:lnTo>
                    <a:pt x="606" y="178"/>
                  </a:lnTo>
                  <a:lnTo>
                    <a:pt x="602" y="175"/>
                  </a:lnTo>
                  <a:lnTo>
                    <a:pt x="599" y="172"/>
                  </a:lnTo>
                  <a:lnTo>
                    <a:pt x="599" y="168"/>
                  </a:lnTo>
                  <a:lnTo>
                    <a:pt x="602" y="165"/>
                  </a:lnTo>
                  <a:lnTo>
                    <a:pt x="602" y="165"/>
                  </a:lnTo>
                  <a:close/>
                  <a:moveTo>
                    <a:pt x="495" y="233"/>
                  </a:moveTo>
                  <a:lnTo>
                    <a:pt x="492" y="233"/>
                  </a:lnTo>
                  <a:lnTo>
                    <a:pt x="489" y="233"/>
                  </a:lnTo>
                  <a:lnTo>
                    <a:pt x="492" y="236"/>
                  </a:lnTo>
                  <a:lnTo>
                    <a:pt x="495" y="233"/>
                  </a:lnTo>
                  <a:lnTo>
                    <a:pt x="495" y="233"/>
                  </a:lnTo>
                  <a:close/>
                  <a:moveTo>
                    <a:pt x="492" y="210"/>
                  </a:moveTo>
                  <a:lnTo>
                    <a:pt x="492" y="217"/>
                  </a:lnTo>
                  <a:lnTo>
                    <a:pt x="492" y="220"/>
                  </a:lnTo>
                  <a:lnTo>
                    <a:pt x="492" y="223"/>
                  </a:lnTo>
                  <a:lnTo>
                    <a:pt x="489" y="220"/>
                  </a:lnTo>
                  <a:lnTo>
                    <a:pt x="489" y="217"/>
                  </a:lnTo>
                  <a:lnTo>
                    <a:pt x="489" y="217"/>
                  </a:lnTo>
                  <a:lnTo>
                    <a:pt x="489" y="214"/>
                  </a:lnTo>
                  <a:lnTo>
                    <a:pt x="492" y="210"/>
                  </a:lnTo>
                  <a:lnTo>
                    <a:pt x="492" y="210"/>
                  </a:lnTo>
                  <a:close/>
                  <a:moveTo>
                    <a:pt x="599" y="149"/>
                  </a:moveTo>
                  <a:lnTo>
                    <a:pt x="599" y="149"/>
                  </a:lnTo>
                  <a:lnTo>
                    <a:pt x="602" y="152"/>
                  </a:lnTo>
                  <a:lnTo>
                    <a:pt x="602" y="156"/>
                  </a:lnTo>
                  <a:lnTo>
                    <a:pt x="599" y="156"/>
                  </a:lnTo>
                  <a:lnTo>
                    <a:pt x="599" y="152"/>
                  </a:lnTo>
                  <a:lnTo>
                    <a:pt x="595" y="149"/>
                  </a:lnTo>
                  <a:lnTo>
                    <a:pt x="599" y="149"/>
                  </a:lnTo>
                  <a:lnTo>
                    <a:pt x="599" y="149"/>
                  </a:lnTo>
                  <a:close/>
                  <a:moveTo>
                    <a:pt x="588" y="143"/>
                  </a:moveTo>
                  <a:lnTo>
                    <a:pt x="588" y="143"/>
                  </a:lnTo>
                  <a:lnTo>
                    <a:pt x="592" y="143"/>
                  </a:lnTo>
                  <a:lnTo>
                    <a:pt x="595" y="143"/>
                  </a:lnTo>
                  <a:lnTo>
                    <a:pt x="602" y="143"/>
                  </a:lnTo>
                  <a:lnTo>
                    <a:pt x="606" y="143"/>
                  </a:lnTo>
                  <a:lnTo>
                    <a:pt x="602" y="146"/>
                  </a:lnTo>
                  <a:lnTo>
                    <a:pt x="592" y="146"/>
                  </a:lnTo>
                  <a:lnTo>
                    <a:pt x="588" y="146"/>
                  </a:lnTo>
                  <a:lnTo>
                    <a:pt x="588" y="146"/>
                  </a:lnTo>
                  <a:lnTo>
                    <a:pt x="588" y="143"/>
                  </a:lnTo>
                  <a:lnTo>
                    <a:pt x="588" y="143"/>
                  </a:lnTo>
                  <a:close/>
                  <a:moveTo>
                    <a:pt x="568" y="143"/>
                  </a:moveTo>
                  <a:lnTo>
                    <a:pt x="571" y="143"/>
                  </a:lnTo>
                  <a:lnTo>
                    <a:pt x="571" y="143"/>
                  </a:lnTo>
                  <a:lnTo>
                    <a:pt x="575" y="143"/>
                  </a:lnTo>
                  <a:lnTo>
                    <a:pt x="578" y="143"/>
                  </a:lnTo>
                  <a:lnTo>
                    <a:pt x="581" y="143"/>
                  </a:lnTo>
                  <a:lnTo>
                    <a:pt x="585" y="143"/>
                  </a:lnTo>
                  <a:lnTo>
                    <a:pt x="585" y="143"/>
                  </a:lnTo>
                  <a:lnTo>
                    <a:pt x="585" y="146"/>
                  </a:lnTo>
                  <a:lnTo>
                    <a:pt x="581" y="146"/>
                  </a:lnTo>
                  <a:lnTo>
                    <a:pt x="578" y="146"/>
                  </a:lnTo>
                  <a:lnTo>
                    <a:pt x="578" y="146"/>
                  </a:lnTo>
                  <a:lnTo>
                    <a:pt x="571" y="149"/>
                  </a:lnTo>
                  <a:lnTo>
                    <a:pt x="568" y="146"/>
                  </a:lnTo>
                  <a:lnTo>
                    <a:pt x="568" y="146"/>
                  </a:lnTo>
                  <a:lnTo>
                    <a:pt x="568" y="143"/>
                  </a:lnTo>
                  <a:lnTo>
                    <a:pt x="568" y="143"/>
                  </a:lnTo>
                  <a:close/>
                  <a:moveTo>
                    <a:pt x="533" y="204"/>
                  </a:moveTo>
                  <a:lnTo>
                    <a:pt x="537" y="201"/>
                  </a:lnTo>
                  <a:lnTo>
                    <a:pt x="540" y="194"/>
                  </a:lnTo>
                  <a:lnTo>
                    <a:pt x="540" y="191"/>
                  </a:lnTo>
                  <a:lnTo>
                    <a:pt x="540" y="188"/>
                  </a:lnTo>
                  <a:lnTo>
                    <a:pt x="544" y="188"/>
                  </a:lnTo>
                  <a:lnTo>
                    <a:pt x="544" y="191"/>
                  </a:lnTo>
                  <a:lnTo>
                    <a:pt x="544" y="194"/>
                  </a:lnTo>
                  <a:lnTo>
                    <a:pt x="544" y="194"/>
                  </a:lnTo>
                  <a:lnTo>
                    <a:pt x="544" y="194"/>
                  </a:lnTo>
                  <a:lnTo>
                    <a:pt x="544" y="194"/>
                  </a:lnTo>
                  <a:lnTo>
                    <a:pt x="540" y="198"/>
                  </a:lnTo>
                  <a:lnTo>
                    <a:pt x="540" y="198"/>
                  </a:lnTo>
                  <a:lnTo>
                    <a:pt x="540" y="201"/>
                  </a:lnTo>
                  <a:lnTo>
                    <a:pt x="544" y="201"/>
                  </a:lnTo>
                  <a:lnTo>
                    <a:pt x="544" y="201"/>
                  </a:lnTo>
                  <a:lnTo>
                    <a:pt x="544" y="204"/>
                  </a:lnTo>
                  <a:lnTo>
                    <a:pt x="540" y="204"/>
                  </a:lnTo>
                  <a:lnTo>
                    <a:pt x="537" y="207"/>
                  </a:lnTo>
                  <a:lnTo>
                    <a:pt x="537" y="207"/>
                  </a:lnTo>
                  <a:lnTo>
                    <a:pt x="533" y="207"/>
                  </a:lnTo>
                  <a:lnTo>
                    <a:pt x="533" y="204"/>
                  </a:lnTo>
                  <a:lnTo>
                    <a:pt x="533" y="204"/>
                  </a:lnTo>
                  <a:close/>
                  <a:moveTo>
                    <a:pt x="526" y="201"/>
                  </a:moveTo>
                  <a:lnTo>
                    <a:pt x="526" y="201"/>
                  </a:lnTo>
                  <a:lnTo>
                    <a:pt x="526" y="204"/>
                  </a:lnTo>
                  <a:lnTo>
                    <a:pt x="526" y="204"/>
                  </a:lnTo>
                  <a:lnTo>
                    <a:pt x="530" y="204"/>
                  </a:lnTo>
                  <a:lnTo>
                    <a:pt x="530" y="201"/>
                  </a:lnTo>
                  <a:lnTo>
                    <a:pt x="533" y="201"/>
                  </a:lnTo>
                  <a:lnTo>
                    <a:pt x="533" y="198"/>
                  </a:lnTo>
                  <a:lnTo>
                    <a:pt x="533" y="198"/>
                  </a:lnTo>
                  <a:lnTo>
                    <a:pt x="533" y="194"/>
                  </a:lnTo>
                  <a:lnTo>
                    <a:pt x="533" y="191"/>
                  </a:lnTo>
                  <a:lnTo>
                    <a:pt x="530" y="194"/>
                  </a:lnTo>
                  <a:lnTo>
                    <a:pt x="526" y="198"/>
                  </a:lnTo>
                  <a:lnTo>
                    <a:pt x="530" y="198"/>
                  </a:lnTo>
                  <a:lnTo>
                    <a:pt x="526" y="201"/>
                  </a:lnTo>
                  <a:lnTo>
                    <a:pt x="526" y="201"/>
                  </a:lnTo>
                  <a:close/>
                  <a:moveTo>
                    <a:pt x="516" y="198"/>
                  </a:moveTo>
                  <a:lnTo>
                    <a:pt x="516" y="201"/>
                  </a:lnTo>
                  <a:lnTo>
                    <a:pt x="516" y="201"/>
                  </a:lnTo>
                  <a:lnTo>
                    <a:pt x="516" y="204"/>
                  </a:lnTo>
                  <a:lnTo>
                    <a:pt x="520" y="207"/>
                  </a:lnTo>
                  <a:lnTo>
                    <a:pt x="520" y="204"/>
                  </a:lnTo>
                  <a:lnTo>
                    <a:pt x="520" y="201"/>
                  </a:lnTo>
                  <a:lnTo>
                    <a:pt x="520" y="198"/>
                  </a:lnTo>
                  <a:lnTo>
                    <a:pt x="520" y="198"/>
                  </a:lnTo>
                  <a:lnTo>
                    <a:pt x="516" y="198"/>
                  </a:lnTo>
                  <a:lnTo>
                    <a:pt x="516" y="198"/>
                  </a:lnTo>
                  <a:close/>
                  <a:moveTo>
                    <a:pt x="544" y="146"/>
                  </a:moveTo>
                  <a:lnTo>
                    <a:pt x="540" y="146"/>
                  </a:lnTo>
                  <a:lnTo>
                    <a:pt x="544" y="146"/>
                  </a:lnTo>
                  <a:lnTo>
                    <a:pt x="544" y="146"/>
                  </a:lnTo>
                  <a:lnTo>
                    <a:pt x="544" y="146"/>
                  </a:lnTo>
                  <a:lnTo>
                    <a:pt x="544" y="146"/>
                  </a:lnTo>
                  <a:close/>
                  <a:moveTo>
                    <a:pt x="551" y="143"/>
                  </a:moveTo>
                  <a:lnTo>
                    <a:pt x="547" y="146"/>
                  </a:lnTo>
                  <a:lnTo>
                    <a:pt x="551" y="146"/>
                  </a:lnTo>
                  <a:lnTo>
                    <a:pt x="551" y="143"/>
                  </a:lnTo>
                  <a:lnTo>
                    <a:pt x="551" y="143"/>
                  </a:lnTo>
                  <a:close/>
                  <a:moveTo>
                    <a:pt x="554" y="139"/>
                  </a:moveTo>
                  <a:lnTo>
                    <a:pt x="551" y="143"/>
                  </a:lnTo>
                  <a:lnTo>
                    <a:pt x="554" y="143"/>
                  </a:lnTo>
                  <a:lnTo>
                    <a:pt x="554" y="139"/>
                  </a:lnTo>
                  <a:lnTo>
                    <a:pt x="554" y="139"/>
                  </a:lnTo>
                  <a:close/>
                  <a:moveTo>
                    <a:pt x="537" y="136"/>
                  </a:moveTo>
                  <a:lnTo>
                    <a:pt x="544" y="133"/>
                  </a:lnTo>
                  <a:lnTo>
                    <a:pt x="547" y="133"/>
                  </a:lnTo>
                  <a:lnTo>
                    <a:pt x="547" y="136"/>
                  </a:lnTo>
                  <a:lnTo>
                    <a:pt x="547" y="136"/>
                  </a:lnTo>
                  <a:lnTo>
                    <a:pt x="551" y="136"/>
                  </a:lnTo>
                  <a:lnTo>
                    <a:pt x="551" y="136"/>
                  </a:lnTo>
                  <a:lnTo>
                    <a:pt x="554" y="136"/>
                  </a:lnTo>
                  <a:lnTo>
                    <a:pt x="554" y="139"/>
                  </a:lnTo>
                  <a:lnTo>
                    <a:pt x="551" y="139"/>
                  </a:lnTo>
                  <a:lnTo>
                    <a:pt x="547" y="139"/>
                  </a:lnTo>
                  <a:lnTo>
                    <a:pt x="547" y="139"/>
                  </a:lnTo>
                  <a:lnTo>
                    <a:pt x="544" y="139"/>
                  </a:lnTo>
                  <a:lnTo>
                    <a:pt x="540" y="139"/>
                  </a:lnTo>
                  <a:lnTo>
                    <a:pt x="537" y="139"/>
                  </a:lnTo>
                  <a:lnTo>
                    <a:pt x="537" y="136"/>
                  </a:lnTo>
                  <a:lnTo>
                    <a:pt x="537" y="136"/>
                  </a:lnTo>
                  <a:close/>
                  <a:moveTo>
                    <a:pt x="516" y="120"/>
                  </a:moveTo>
                  <a:lnTo>
                    <a:pt x="520" y="120"/>
                  </a:lnTo>
                  <a:lnTo>
                    <a:pt x="520" y="120"/>
                  </a:lnTo>
                  <a:lnTo>
                    <a:pt x="520" y="120"/>
                  </a:lnTo>
                  <a:lnTo>
                    <a:pt x="516" y="120"/>
                  </a:lnTo>
                  <a:lnTo>
                    <a:pt x="516" y="120"/>
                  </a:lnTo>
                  <a:close/>
                  <a:moveTo>
                    <a:pt x="516" y="120"/>
                  </a:moveTo>
                  <a:lnTo>
                    <a:pt x="516" y="120"/>
                  </a:lnTo>
                  <a:lnTo>
                    <a:pt x="520" y="123"/>
                  </a:lnTo>
                  <a:lnTo>
                    <a:pt x="516" y="123"/>
                  </a:lnTo>
                  <a:lnTo>
                    <a:pt x="516" y="120"/>
                  </a:lnTo>
                  <a:lnTo>
                    <a:pt x="516" y="120"/>
                  </a:lnTo>
                  <a:close/>
                  <a:moveTo>
                    <a:pt x="489" y="107"/>
                  </a:moveTo>
                  <a:lnTo>
                    <a:pt x="495" y="104"/>
                  </a:lnTo>
                  <a:lnTo>
                    <a:pt x="499" y="107"/>
                  </a:lnTo>
                  <a:lnTo>
                    <a:pt x="506" y="107"/>
                  </a:lnTo>
                  <a:lnTo>
                    <a:pt x="513" y="104"/>
                  </a:lnTo>
                  <a:lnTo>
                    <a:pt x="520" y="104"/>
                  </a:lnTo>
                  <a:lnTo>
                    <a:pt x="520" y="107"/>
                  </a:lnTo>
                  <a:lnTo>
                    <a:pt x="523" y="107"/>
                  </a:lnTo>
                  <a:lnTo>
                    <a:pt x="526" y="107"/>
                  </a:lnTo>
                  <a:lnTo>
                    <a:pt x="533" y="107"/>
                  </a:lnTo>
                  <a:lnTo>
                    <a:pt x="540" y="107"/>
                  </a:lnTo>
                  <a:lnTo>
                    <a:pt x="540" y="104"/>
                  </a:lnTo>
                  <a:lnTo>
                    <a:pt x="544" y="104"/>
                  </a:lnTo>
                  <a:lnTo>
                    <a:pt x="547" y="107"/>
                  </a:lnTo>
                  <a:lnTo>
                    <a:pt x="547" y="107"/>
                  </a:lnTo>
                  <a:lnTo>
                    <a:pt x="551" y="110"/>
                  </a:lnTo>
                  <a:lnTo>
                    <a:pt x="568" y="107"/>
                  </a:lnTo>
                  <a:lnTo>
                    <a:pt x="571" y="104"/>
                  </a:lnTo>
                  <a:lnTo>
                    <a:pt x="575" y="101"/>
                  </a:lnTo>
                  <a:lnTo>
                    <a:pt x="578" y="101"/>
                  </a:lnTo>
                  <a:lnTo>
                    <a:pt x="578" y="97"/>
                  </a:lnTo>
                  <a:lnTo>
                    <a:pt x="581" y="97"/>
                  </a:lnTo>
                  <a:lnTo>
                    <a:pt x="581" y="94"/>
                  </a:lnTo>
                  <a:lnTo>
                    <a:pt x="585" y="91"/>
                  </a:lnTo>
                  <a:lnTo>
                    <a:pt x="585" y="91"/>
                  </a:lnTo>
                  <a:lnTo>
                    <a:pt x="585" y="88"/>
                  </a:lnTo>
                  <a:lnTo>
                    <a:pt x="585" y="88"/>
                  </a:lnTo>
                  <a:lnTo>
                    <a:pt x="578" y="84"/>
                  </a:lnTo>
                  <a:lnTo>
                    <a:pt x="575" y="88"/>
                  </a:lnTo>
                  <a:lnTo>
                    <a:pt x="575" y="91"/>
                  </a:lnTo>
                  <a:lnTo>
                    <a:pt x="571" y="91"/>
                  </a:lnTo>
                  <a:lnTo>
                    <a:pt x="571" y="94"/>
                  </a:lnTo>
                  <a:lnTo>
                    <a:pt x="568" y="94"/>
                  </a:lnTo>
                  <a:lnTo>
                    <a:pt x="564" y="97"/>
                  </a:lnTo>
                  <a:lnTo>
                    <a:pt x="561" y="97"/>
                  </a:lnTo>
                  <a:lnTo>
                    <a:pt x="557" y="101"/>
                  </a:lnTo>
                  <a:lnTo>
                    <a:pt x="547" y="97"/>
                  </a:lnTo>
                  <a:lnTo>
                    <a:pt x="540" y="97"/>
                  </a:lnTo>
                  <a:lnTo>
                    <a:pt x="540" y="97"/>
                  </a:lnTo>
                  <a:lnTo>
                    <a:pt x="537" y="101"/>
                  </a:lnTo>
                  <a:lnTo>
                    <a:pt x="533" y="97"/>
                  </a:lnTo>
                  <a:lnTo>
                    <a:pt x="530" y="97"/>
                  </a:lnTo>
                  <a:lnTo>
                    <a:pt x="526" y="97"/>
                  </a:lnTo>
                  <a:lnTo>
                    <a:pt x="523" y="94"/>
                  </a:lnTo>
                  <a:lnTo>
                    <a:pt x="520" y="94"/>
                  </a:lnTo>
                  <a:lnTo>
                    <a:pt x="516" y="97"/>
                  </a:lnTo>
                  <a:lnTo>
                    <a:pt x="513" y="94"/>
                  </a:lnTo>
                  <a:lnTo>
                    <a:pt x="509" y="91"/>
                  </a:lnTo>
                  <a:lnTo>
                    <a:pt x="502" y="91"/>
                  </a:lnTo>
                  <a:lnTo>
                    <a:pt x="499" y="91"/>
                  </a:lnTo>
                  <a:lnTo>
                    <a:pt x="499" y="94"/>
                  </a:lnTo>
                  <a:lnTo>
                    <a:pt x="495" y="97"/>
                  </a:lnTo>
                  <a:lnTo>
                    <a:pt x="495" y="101"/>
                  </a:lnTo>
                  <a:lnTo>
                    <a:pt x="492" y="101"/>
                  </a:lnTo>
                  <a:lnTo>
                    <a:pt x="489" y="101"/>
                  </a:lnTo>
                  <a:lnTo>
                    <a:pt x="482" y="101"/>
                  </a:lnTo>
                  <a:lnTo>
                    <a:pt x="482" y="104"/>
                  </a:lnTo>
                  <a:lnTo>
                    <a:pt x="482" y="104"/>
                  </a:lnTo>
                  <a:lnTo>
                    <a:pt x="478" y="107"/>
                  </a:lnTo>
                  <a:lnTo>
                    <a:pt x="478" y="114"/>
                  </a:lnTo>
                  <a:lnTo>
                    <a:pt x="478" y="114"/>
                  </a:lnTo>
                  <a:lnTo>
                    <a:pt x="478" y="120"/>
                  </a:lnTo>
                  <a:lnTo>
                    <a:pt x="478" y="123"/>
                  </a:lnTo>
                  <a:lnTo>
                    <a:pt x="478" y="126"/>
                  </a:lnTo>
                  <a:lnTo>
                    <a:pt x="478" y="130"/>
                  </a:lnTo>
                  <a:lnTo>
                    <a:pt x="478" y="126"/>
                  </a:lnTo>
                  <a:lnTo>
                    <a:pt x="475" y="126"/>
                  </a:lnTo>
                  <a:lnTo>
                    <a:pt x="475" y="126"/>
                  </a:lnTo>
                  <a:lnTo>
                    <a:pt x="471" y="130"/>
                  </a:lnTo>
                  <a:lnTo>
                    <a:pt x="468" y="130"/>
                  </a:lnTo>
                  <a:lnTo>
                    <a:pt x="468" y="133"/>
                  </a:lnTo>
                  <a:lnTo>
                    <a:pt x="468" y="136"/>
                  </a:lnTo>
                  <a:lnTo>
                    <a:pt x="468" y="139"/>
                  </a:lnTo>
                  <a:lnTo>
                    <a:pt x="468" y="146"/>
                  </a:lnTo>
                  <a:lnTo>
                    <a:pt x="468" y="149"/>
                  </a:lnTo>
                  <a:lnTo>
                    <a:pt x="468" y="149"/>
                  </a:lnTo>
                  <a:lnTo>
                    <a:pt x="465" y="152"/>
                  </a:lnTo>
                  <a:lnTo>
                    <a:pt x="465" y="156"/>
                  </a:lnTo>
                  <a:lnTo>
                    <a:pt x="461" y="159"/>
                  </a:lnTo>
                  <a:lnTo>
                    <a:pt x="458" y="162"/>
                  </a:lnTo>
                  <a:lnTo>
                    <a:pt x="458" y="165"/>
                  </a:lnTo>
                  <a:lnTo>
                    <a:pt x="458" y="165"/>
                  </a:lnTo>
                  <a:lnTo>
                    <a:pt x="458" y="172"/>
                  </a:lnTo>
                  <a:lnTo>
                    <a:pt x="461" y="175"/>
                  </a:lnTo>
                  <a:lnTo>
                    <a:pt x="465" y="175"/>
                  </a:lnTo>
                  <a:lnTo>
                    <a:pt x="465" y="175"/>
                  </a:lnTo>
                  <a:lnTo>
                    <a:pt x="468" y="172"/>
                  </a:lnTo>
                  <a:lnTo>
                    <a:pt x="471" y="172"/>
                  </a:lnTo>
                  <a:lnTo>
                    <a:pt x="471" y="178"/>
                  </a:lnTo>
                  <a:lnTo>
                    <a:pt x="475" y="185"/>
                  </a:lnTo>
                  <a:lnTo>
                    <a:pt x="471" y="188"/>
                  </a:lnTo>
                  <a:lnTo>
                    <a:pt x="471" y="191"/>
                  </a:lnTo>
                  <a:lnTo>
                    <a:pt x="468" y="194"/>
                  </a:lnTo>
                  <a:lnTo>
                    <a:pt x="468" y="201"/>
                  </a:lnTo>
                  <a:lnTo>
                    <a:pt x="468" y="207"/>
                  </a:lnTo>
                  <a:lnTo>
                    <a:pt x="471" y="207"/>
                  </a:lnTo>
                  <a:lnTo>
                    <a:pt x="475" y="207"/>
                  </a:lnTo>
                  <a:lnTo>
                    <a:pt x="478" y="207"/>
                  </a:lnTo>
                  <a:lnTo>
                    <a:pt x="478" y="207"/>
                  </a:lnTo>
                  <a:lnTo>
                    <a:pt x="485" y="207"/>
                  </a:lnTo>
                  <a:lnTo>
                    <a:pt x="485" y="207"/>
                  </a:lnTo>
                  <a:lnTo>
                    <a:pt x="489" y="207"/>
                  </a:lnTo>
                  <a:lnTo>
                    <a:pt x="489" y="207"/>
                  </a:lnTo>
                  <a:lnTo>
                    <a:pt x="489" y="201"/>
                  </a:lnTo>
                  <a:lnTo>
                    <a:pt x="485" y="201"/>
                  </a:lnTo>
                  <a:lnTo>
                    <a:pt x="485" y="198"/>
                  </a:lnTo>
                  <a:lnTo>
                    <a:pt x="489" y="194"/>
                  </a:lnTo>
                  <a:lnTo>
                    <a:pt x="489" y="188"/>
                  </a:lnTo>
                  <a:lnTo>
                    <a:pt x="489" y="185"/>
                  </a:lnTo>
                  <a:lnTo>
                    <a:pt x="485" y="181"/>
                  </a:lnTo>
                  <a:lnTo>
                    <a:pt x="492" y="178"/>
                  </a:lnTo>
                  <a:lnTo>
                    <a:pt x="492" y="172"/>
                  </a:lnTo>
                  <a:lnTo>
                    <a:pt x="492" y="168"/>
                  </a:lnTo>
                  <a:lnTo>
                    <a:pt x="489" y="165"/>
                  </a:lnTo>
                  <a:lnTo>
                    <a:pt x="489" y="165"/>
                  </a:lnTo>
                  <a:lnTo>
                    <a:pt x="492" y="162"/>
                  </a:lnTo>
                  <a:lnTo>
                    <a:pt x="495" y="159"/>
                  </a:lnTo>
                  <a:lnTo>
                    <a:pt x="499" y="159"/>
                  </a:lnTo>
                  <a:lnTo>
                    <a:pt x="502" y="159"/>
                  </a:lnTo>
                  <a:lnTo>
                    <a:pt x="502" y="162"/>
                  </a:lnTo>
                  <a:lnTo>
                    <a:pt x="502" y="165"/>
                  </a:lnTo>
                  <a:lnTo>
                    <a:pt x="502" y="168"/>
                  </a:lnTo>
                  <a:lnTo>
                    <a:pt x="499" y="172"/>
                  </a:lnTo>
                  <a:lnTo>
                    <a:pt x="499" y="175"/>
                  </a:lnTo>
                  <a:lnTo>
                    <a:pt x="502" y="178"/>
                  </a:lnTo>
                  <a:lnTo>
                    <a:pt x="506" y="178"/>
                  </a:lnTo>
                  <a:lnTo>
                    <a:pt x="506" y="181"/>
                  </a:lnTo>
                  <a:lnTo>
                    <a:pt x="509" y="181"/>
                  </a:lnTo>
                  <a:lnTo>
                    <a:pt x="513" y="185"/>
                  </a:lnTo>
                  <a:lnTo>
                    <a:pt x="509" y="185"/>
                  </a:lnTo>
                  <a:lnTo>
                    <a:pt x="509" y="191"/>
                  </a:lnTo>
                  <a:lnTo>
                    <a:pt x="509" y="194"/>
                  </a:lnTo>
                  <a:lnTo>
                    <a:pt x="513" y="194"/>
                  </a:lnTo>
                  <a:lnTo>
                    <a:pt x="516" y="194"/>
                  </a:lnTo>
                  <a:lnTo>
                    <a:pt x="520" y="198"/>
                  </a:lnTo>
                  <a:lnTo>
                    <a:pt x="523" y="194"/>
                  </a:lnTo>
                  <a:lnTo>
                    <a:pt x="523" y="194"/>
                  </a:lnTo>
                  <a:lnTo>
                    <a:pt x="523" y="191"/>
                  </a:lnTo>
                  <a:lnTo>
                    <a:pt x="526" y="188"/>
                  </a:lnTo>
                  <a:lnTo>
                    <a:pt x="530" y="188"/>
                  </a:lnTo>
                  <a:lnTo>
                    <a:pt x="533" y="188"/>
                  </a:lnTo>
                  <a:lnTo>
                    <a:pt x="540" y="188"/>
                  </a:lnTo>
                  <a:lnTo>
                    <a:pt x="540" y="185"/>
                  </a:lnTo>
                  <a:lnTo>
                    <a:pt x="544" y="185"/>
                  </a:lnTo>
                  <a:lnTo>
                    <a:pt x="544" y="185"/>
                  </a:lnTo>
                  <a:lnTo>
                    <a:pt x="547" y="185"/>
                  </a:lnTo>
                  <a:lnTo>
                    <a:pt x="547" y="181"/>
                  </a:lnTo>
                  <a:lnTo>
                    <a:pt x="540" y="181"/>
                  </a:lnTo>
                  <a:lnTo>
                    <a:pt x="540" y="181"/>
                  </a:lnTo>
                  <a:lnTo>
                    <a:pt x="537" y="181"/>
                  </a:lnTo>
                  <a:lnTo>
                    <a:pt x="533" y="181"/>
                  </a:lnTo>
                  <a:lnTo>
                    <a:pt x="533" y="178"/>
                  </a:lnTo>
                  <a:lnTo>
                    <a:pt x="533" y="178"/>
                  </a:lnTo>
                  <a:lnTo>
                    <a:pt x="533" y="178"/>
                  </a:lnTo>
                  <a:lnTo>
                    <a:pt x="530" y="178"/>
                  </a:lnTo>
                  <a:lnTo>
                    <a:pt x="530" y="178"/>
                  </a:lnTo>
                  <a:lnTo>
                    <a:pt x="530" y="178"/>
                  </a:lnTo>
                  <a:lnTo>
                    <a:pt x="526" y="175"/>
                  </a:lnTo>
                  <a:lnTo>
                    <a:pt x="523" y="175"/>
                  </a:lnTo>
                  <a:lnTo>
                    <a:pt x="526" y="172"/>
                  </a:lnTo>
                  <a:lnTo>
                    <a:pt x="526" y="172"/>
                  </a:lnTo>
                  <a:lnTo>
                    <a:pt x="530" y="172"/>
                  </a:lnTo>
                  <a:lnTo>
                    <a:pt x="526" y="168"/>
                  </a:lnTo>
                  <a:lnTo>
                    <a:pt x="530" y="168"/>
                  </a:lnTo>
                  <a:lnTo>
                    <a:pt x="530" y="165"/>
                  </a:lnTo>
                  <a:lnTo>
                    <a:pt x="530" y="165"/>
                  </a:lnTo>
                  <a:lnTo>
                    <a:pt x="526" y="165"/>
                  </a:lnTo>
                  <a:lnTo>
                    <a:pt x="526" y="162"/>
                  </a:lnTo>
                  <a:lnTo>
                    <a:pt x="526" y="162"/>
                  </a:lnTo>
                  <a:lnTo>
                    <a:pt x="523" y="159"/>
                  </a:lnTo>
                  <a:lnTo>
                    <a:pt x="520" y="159"/>
                  </a:lnTo>
                  <a:lnTo>
                    <a:pt x="520" y="156"/>
                  </a:lnTo>
                  <a:lnTo>
                    <a:pt x="516" y="152"/>
                  </a:lnTo>
                  <a:lnTo>
                    <a:pt x="513" y="149"/>
                  </a:lnTo>
                  <a:lnTo>
                    <a:pt x="509" y="146"/>
                  </a:lnTo>
                  <a:lnTo>
                    <a:pt x="509" y="146"/>
                  </a:lnTo>
                  <a:lnTo>
                    <a:pt x="513" y="146"/>
                  </a:lnTo>
                  <a:lnTo>
                    <a:pt x="513" y="146"/>
                  </a:lnTo>
                  <a:lnTo>
                    <a:pt x="516" y="146"/>
                  </a:lnTo>
                  <a:lnTo>
                    <a:pt x="520" y="146"/>
                  </a:lnTo>
                  <a:lnTo>
                    <a:pt x="520" y="143"/>
                  </a:lnTo>
                  <a:lnTo>
                    <a:pt x="526" y="139"/>
                  </a:lnTo>
                  <a:lnTo>
                    <a:pt x="533" y="136"/>
                  </a:lnTo>
                  <a:lnTo>
                    <a:pt x="537" y="133"/>
                  </a:lnTo>
                  <a:lnTo>
                    <a:pt x="540" y="133"/>
                  </a:lnTo>
                  <a:lnTo>
                    <a:pt x="540" y="130"/>
                  </a:lnTo>
                  <a:lnTo>
                    <a:pt x="544" y="130"/>
                  </a:lnTo>
                  <a:lnTo>
                    <a:pt x="547" y="130"/>
                  </a:lnTo>
                  <a:lnTo>
                    <a:pt x="551" y="130"/>
                  </a:lnTo>
                  <a:lnTo>
                    <a:pt x="554" y="126"/>
                  </a:lnTo>
                  <a:lnTo>
                    <a:pt x="554" y="123"/>
                  </a:lnTo>
                  <a:lnTo>
                    <a:pt x="551" y="123"/>
                  </a:lnTo>
                  <a:lnTo>
                    <a:pt x="540" y="123"/>
                  </a:lnTo>
                  <a:lnTo>
                    <a:pt x="537" y="126"/>
                  </a:lnTo>
                  <a:lnTo>
                    <a:pt x="530" y="126"/>
                  </a:lnTo>
                  <a:lnTo>
                    <a:pt x="526" y="126"/>
                  </a:lnTo>
                  <a:lnTo>
                    <a:pt x="523" y="130"/>
                  </a:lnTo>
                  <a:lnTo>
                    <a:pt x="520" y="130"/>
                  </a:lnTo>
                  <a:lnTo>
                    <a:pt x="520" y="130"/>
                  </a:lnTo>
                  <a:lnTo>
                    <a:pt x="516" y="126"/>
                  </a:lnTo>
                  <a:lnTo>
                    <a:pt x="513" y="126"/>
                  </a:lnTo>
                  <a:lnTo>
                    <a:pt x="506" y="130"/>
                  </a:lnTo>
                  <a:lnTo>
                    <a:pt x="506" y="136"/>
                  </a:lnTo>
                  <a:lnTo>
                    <a:pt x="502" y="139"/>
                  </a:lnTo>
                  <a:lnTo>
                    <a:pt x="495" y="136"/>
                  </a:lnTo>
                  <a:lnTo>
                    <a:pt x="495" y="136"/>
                  </a:lnTo>
                  <a:lnTo>
                    <a:pt x="492" y="130"/>
                  </a:lnTo>
                  <a:lnTo>
                    <a:pt x="485" y="126"/>
                  </a:lnTo>
                  <a:lnTo>
                    <a:pt x="482" y="123"/>
                  </a:lnTo>
                  <a:lnTo>
                    <a:pt x="485" y="117"/>
                  </a:lnTo>
                  <a:lnTo>
                    <a:pt x="485" y="110"/>
                  </a:lnTo>
                  <a:lnTo>
                    <a:pt x="489" y="107"/>
                  </a:lnTo>
                  <a:lnTo>
                    <a:pt x="489" y="107"/>
                  </a:lnTo>
                  <a:close/>
                  <a:moveTo>
                    <a:pt x="495" y="0"/>
                  </a:moveTo>
                  <a:lnTo>
                    <a:pt x="492" y="4"/>
                  </a:lnTo>
                  <a:lnTo>
                    <a:pt x="495" y="4"/>
                  </a:lnTo>
                  <a:lnTo>
                    <a:pt x="495" y="0"/>
                  </a:lnTo>
                  <a:lnTo>
                    <a:pt x="495" y="0"/>
                  </a:lnTo>
                  <a:lnTo>
                    <a:pt x="495" y="0"/>
                  </a:lnTo>
                  <a:close/>
                  <a:moveTo>
                    <a:pt x="499" y="10"/>
                  </a:moveTo>
                  <a:lnTo>
                    <a:pt x="502" y="10"/>
                  </a:lnTo>
                  <a:lnTo>
                    <a:pt x="502" y="10"/>
                  </a:lnTo>
                  <a:lnTo>
                    <a:pt x="506" y="10"/>
                  </a:lnTo>
                  <a:lnTo>
                    <a:pt x="509" y="10"/>
                  </a:lnTo>
                  <a:lnTo>
                    <a:pt x="509" y="7"/>
                  </a:lnTo>
                  <a:lnTo>
                    <a:pt x="502" y="7"/>
                  </a:lnTo>
                  <a:lnTo>
                    <a:pt x="499" y="7"/>
                  </a:lnTo>
                  <a:lnTo>
                    <a:pt x="499" y="10"/>
                  </a:lnTo>
                  <a:lnTo>
                    <a:pt x="499" y="10"/>
                  </a:lnTo>
                  <a:lnTo>
                    <a:pt x="499" y="10"/>
                  </a:lnTo>
                  <a:close/>
                  <a:moveTo>
                    <a:pt x="468" y="26"/>
                  </a:moveTo>
                  <a:lnTo>
                    <a:pt x="468" y="30"/>
                  </a:lnTo>
                  <a:lnTo>
                    <a:pt x="471" y="33"/>
                  </a:lnTo>
                  <a:lnTo>
                    <a:pt x="471" y="30"/>
                  </a:lnTo>
                  <a:lnTo>
                    <a:pt x="468" y="26"/>
                  </a:lnTo>
                  <a:lnTo>
                    <a:pt x="468" y="26"/>
                  </a:lnTo>
                  <a:close/>
                  <a:moveTo>
                    <a:pt x="475" y="23"/>
                  </a:moveTo>
                  <a:lnTo>
                    <a:pt x="482" y="20"/>
                  </a:lnTo>
                  <a:lnTo>
                    <a:pt x="485" y="20"/>
                  </a:lnTo>
                  <a:lnTo>
                    <a:pt x="485" y="23"/>
                  </a:lnTo>
                  <a:lnTo>
                    <a:pt x="482" y="23"/>
                  </a:lnTo>
                  <a:lnTo>
                    <a:pt x="478" y="26"/>
                  </a:lnTo>
                  <a:lnTo>
                    <a:pt x="475" y="23"/>
                  </a:lnTo>
                  <a:lnTo>
                    <a:pt x="475" y="23"/>
                  </a:lnTo>
                  <a:close/>
                  <a:moveTo>
                    <a:pt x="437" y="42"/>
                  </a:moveTo>
                  <a:lnTo>
                    <a:pt x="437" y="42"/>
                  </a:lnTo>
                  <a:lnTo>
                    <a:pt x="437" y="42"/>
                  </a:lnTo>
                  <a:lnTo>
                    <a:pt x="437" y="42"/>
                  </a:lnTo>
                  <a:lnTo>
                    <a:pt x="437" y="42"/>
                  </a:lnTo>
                  <a:close/>
                  <a:moveTo>
                    <a:pt x="437" y="39"/>
                  </a:moveTo>
                  <a:lnTo>
                    <a:pt x="437" y="42"/>
                  </a:lnTo>
                  <a:lnTo>
                    <a:pt x="437" y="42"/>
                  </a:lnTo>
                  <a:lnTo>
                    <a:pt x="440" y="42"/>
                  </a:lnTo>
                  <a:lnTo>
                    <a:pt x="440" y="42"/>
                  </a:lnTo>
                  <a:lnTo>
                    <a:pt x="437" y="39"/>
                  </a:lnTo>
                  <a:lnTo>
                    <a:pt x="437" y="39"/>
                  </a:lnTo>
                  <a:close/>
                  <a:moveTo>
                    <a:pt x="440" y="49"/>
                  </a:moveTo>
                  <a:lnTo>
                    <a:pt x="434" y="49"/>
                  </a:lnTo>
                  <a:lnTo>
                    <a:pt x="437" y="52"/>
                  </a:lnTo>
                  <a:lnTo>
                    <a:pt x="440" y="49"/>
                  </a:lnTo>
                  <a:lnTo>
                    <a:pt x="440" y="49"/>
                  </a:lnTo>
                  <a:close/>
                  <a:moveTo>
                    <a:pt x="434" y="52"/>
                  </a:moveTo>
                  <a:lnTo>
                    <a:pt x="437" y="55"/>
                  </a:lnTo>
                  <a:lnTo>
                    <a:pt x="437" y="55"/>
                  </a:lnTo>
                  <a:lnTo>
                    <a:pt x="434" y="55"/>
                  </a:lnTo>
                  <a:lnTo>
                    <a:pt x="434" y="52"/>
                  </a:lnTo>
                  <a:lnTo>
                    <a:pt x="434" y="52"/>
                  </a:lnTo>
                  <a:close/>
                  <a:moveTo>
                    <a:pt x="409" y="172"/>
                  </a:moveTo>
                  <a:lnTo>
                    <a:pt x="413" y="172"/>
                  </a:lnTo>
                  <a:lnTo>
                    <a:pt x="409" y="178"/>
                  </a:lnTo>
                  <a:lnTo>
                    <a:pt x="409" y="178"/>
                  </a:lnTo>
                  <a:lnTo>
                    <a:pt x="409" y="172"/>
                  </a:lnTo>
                  <a:lnTo>
                    <a:pt x="409" y="172"/>
                  </a:lnTo>
                  <a:lnTo>
                    <a:pt x="409" y="172"/>
                  </a:lnTo>
                  <a:close/>
                  <a:moveTo>
                    <a:pt x="409" y="172"/>
                  </a:moveTo>
                  <a:lnTo>
                    <a:pt x="409" y="178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403" y="181"/>
                  </a:lnTo>
                  <a:lnTo>
                    <a:pt x="403" y="175"/>
                  </a:lnTo>
                  <a:lnTo>
                    <a:pt x="406" y="172"/>
                  </a:lnTo>
                  <a:lnTo>
                    <a:pt x="409" y="172"/>
                  </a:lnTo>
                  <a:lnTo>
                    <a:pt x="409" y="172"/>
                  </a:lnTo>
                  <a:lnTo>
                    <a:pt x="409" y="172"/>
                  </a:lnTo>
                  <a:close/>
                  <a:moveTo>
                    <a:pt x="275" y="120"/>
                  </a:moveTo>
                  <a:lnTo>
                    <a:pt x="279" y="120"/>
                  </a:lnTo>
                  <a:lnTo>
                    <a:pt x="279" y="123"/>
                  </a:lnTo>
                  <a:lnTo>
                    <a:pt x="279" y="123"/>
                  </a:lnTo>
                  <a:lnTo>
                    <a:pt x="275" y="123"/>
                  </a:lnTo>
                  <a:lnTo>
                    <a:pt x="275" y="120"/>
                  </a:lnTo>
                  <a:lnTo>
                    <a:pt x="275" y="120"/>
                  </a:lnTo>
                  <a:lnTo>
                    <a:pt x="275" y="120"/>
                  </a:lnTo>
                  <a:close/>
                  <a:moveTo>
                    <a:pt x="275" y="126"/>
                  </a:moveTo>
                  <a:lnTo>
                    <a:pt x="282" y="126"/>
                  </a:lnTo>
                  <a:lnTo>
                    <a:pt x="282" y="130"/>
                  </a:lnTo>
                  <a:lnTo>
                    <a:pt x="286" y="130"/>
                  </a:lnTo>
                  <a:lnTo>
                    <a:pt x="286" y="130"/>
                  </a:lnTo>
                  <a:lnTo>
                    <a:pt x="282" y="130"/>
                  </a:lnTo>
                  <a:lnTo>
                    <a:pt x="279" y="130"/>
                  </a:lnTo>
                  <a:lnTo>
                    <a:pt x="275" y="130"/>
                  </a:lnTo>
                  <a:lnTo>
                    <a:pt x="275" y="126"/>
                  </a:lnTo>
                  <a:lnTo>
                    <a:pt x="275" y="126"/>
                  </a:lnTo>
                  <a:close/>
                  <a:moveTo>
                    <a:pt x="282" y="133"/>
                  </a:moveTo>
                  <a:lnTo>
                    <a:pt x="286" y="133"/>
                  </a:lnTo>
                  <a:lnTo>
                    <a:pt x="289" y="133"/>
                  </a:lnTo>
                  <a:lnTo>
                    <a:pt x="286" y="136"/>
                  </a:lnTo>
                  <a:lnTo>
                    <a:pt x="282" y="139"/>
                  </a:lnTo>
                  <a:lnTo>
                    <a:pt x="279" y="136"/>
                  </a:lnTo>
                  <a:lnTo>
                    <a:pt x="282" y="133"/>
                  </a:lnTo>
                  <a:lnTo>
                    <a:pt x="282" y="133"/>
                  </a:lnTo>
                  <a:lnTo>
                    <a:pt x="282" y="133"/>
                  </a:lnTo>
                  <a:lnTo>
                    <a:pt x="282" y="133"/>
                  </a:lnTo>
                  <a:close/>
                  <a:moveTo>
                    <a:pt x="272" y="94"/>
                  </a:moveTo>
                  <a:lnTo>
                    <a:pt x="275" y="88"/>
                  </a:lnTo>
                  <a:lnTo>
                    <a:pt x="279" y="84"/>
                  </a:lnTo>
                  <a:lnTo>
                    <a:pt x="282" y="81"/>
                  </a:lnTo>
                  <a:lnTo>
                    <a:pt x="286" y="81"/>
                  </a:lnTo>
                  <a:lnTo>
                    <a:pt x="289" y="84"/>
                  </a:lnTo>
                  <a:lnTo>
                    <a:pt x="293" y="91"/>
                  </a:lnTo>
                  <a:lnTo>
                    <a:pt x="296" y="91"/>
                  </a:lnTo>
                  <a:lnTo>
                    <a:pt x="299" y="94"/>
                  </a:lnTo>
                  <a:lnTo>
                    <a:pt x="299" y="97"/>
                  </a:lnTo>
                  <a:lnTo>
                    <a:pt x="303" y="97"/>
                  </a:lnTo>
                  <a:lnTo>
                    <a:pt x="310" y="97"/>
                  </a:lnTo>
                  <a:lnTo>
                    <a:pt x="310" y="94"/>
                  </a:lnTo>
                  <a:lnTo>
                    <a:pt x="313" y="94"/>
                  </a:lnTo>
                  <a:lnTo>
                    <a:pt x="317" y="94"/>
                  </a:lnTo>
                  <a:lnTo>
                    <a:pt x="327" y="94"/>
                  </a:lnTo>
                  <a:lnTo>
                    <a:pt x="337" y="91"/>
                  </a:lnTo>
                  <a:lnTo>
                    <a:pt x="341" y="88"/>
                  </a:lnTo>
                  <a:lnTo>
                    <a:pt x="351" y="88"/>
                  </a:lnTo>
                  <a:lnTo>
                    <a:pt x="354" y="91"/>
                  </a:lnTo>
                  <a:lnTo>
                    <a:pt x="358" y="91"/>
                  </a:lnTo>
                  <a:lnTo>
                    <a:pt x="361" y="91"/>
                  </a:lnTo>
                  <a:lnTo>
                    <a:pt x="372" y="88"/>
                  </a:lnTo>
                  <a:lnTo>
                    <a:pt x="379" y="88"/>
                  </a:lnTo>
                  <a:lnTo>
                    <a:pt x="379" y="84"/>
                  </a:lnTo>
                  <a:lnTo>
                    <a:pt x="385" y="75"/>
                  </a:lnTo>
                  <a:lnTo>
                    <a:pt x="389" y="68"/>
                  </a:lnTo>
                  <a:lnTo>
                    <a:pt x="396" y="59"/>
                  </a:lnTo>
                  <a:lnTo>
                    <a:pt x="399" y="46"/>
                  </a:lnTo>
                  <a:lnTo>
                    <a:pt x="399" y="46"/>
                  </a:lnTo>
                  <a:lnTo>
                    <a:pt x="403" y="42"/>
                  </a:lnTo>
                  <a:lnTo>
                    <a:pt x="403" y="39"/>
                  </a:lnTo>
                  <a:lnTo>
                    <a:pt x="406" y="36"/>
                  </a:lnTo>
                  <a:lnTo>
                    <a:pt x="409" y="36"/>
                  </a:lnTo>
                  <a:lnTo>
                    <a:pt x="413" y="36"/>
                  </a:lnTo>
                  <a:lnTo>
                    <a:pt x="423" y="36"/>
                  </a:lnTo>
                  <a:lnTo>
                    <a:pt x="427" y="39"/>
                  </a:lnTo>
                  <a:lnTo>
                    <a:pt x="430" y="39"/>
                  </a:lnTo>
                  <a:lnTo>
                    <a:pt x="434" y="39"/>
                  </a:lnTo>
                  <a:lnTo>
                    <a:pt x="434" y="39"/>
                  </a:lnTo>
                  <a:lnTo>
                    <a:pt x="434" y="39"/>
                  </a:lnTo>
                  <a:lnTo>
                    <a:pt x="434" y="42"/>
                  </a:lnTo>
                  <a:lnTo>
                    <a:pt x="430" y="42"/>
                  </a:lnTo>
                  <a:lnTo>
                    <a:pt x="437" y="46"/>
                  </a:lnTo>
                  <a:lnTo>
                    <a:pt x="440" y="49"/>
                  </a:lnTo>
                  <a:lnTo>
                    <a:pt x="434" y="49"/>
                  </a:lnTo>
                  <a:lnTo>
                    <a:pt x="430" y="49"/>
                  </a:lnTo>
                  <a:lnTo>
                    <a:pt x="430" y="49"/>
                  </a:lnTo>
                  <a:lnTo>
                    <a:pt x="434" y="52"/>
                  </a:lnTo>
                  <a:lnTo>
                    <a:pt x="434" y="52"/>
                  </a:lnTo>
                  <a:lnTo>
                    <a:pt x="434" y="55"/>
                  </a:lnTo>
                  <a:lnTo>
                    <a:pt x="434" y="55"/>
                  </a:lnTo>
                  <a:lnTo>
                    <a:pt x="430" y="59"/>
                  </a:lnTo>
                  <a:lnTo>
                    <a:pt x="434" y="62"/>
                  </a:lnTo>
                  <a:lnTo>
                    <a:pt x="437" y="65"/>
                  </a:lnTo>
                  <a:lnTo>
                    <a:pt x="440" y="68"/>
                  </a:lnTo>
                  <a:lnTo>
                    <a:pt x="444" y="72"/>
                  </a:lnTo>
                  <a:lnTo>
                    <a:pt x="444" y="75"/>
                  </a:lnTo>
                  <a:lnTo>
                    <a:pt x="437" y="75"/>
                  </a:lnTo>
                  <a:lnTo>
                    <a:pt x="437" y="78"/>
                  </a:lnTo>
                  <a:lnTo>
                    <a:pt x="440" y="78"/>
                  </a:lnTo>
                  <a:lnTo>
                    <a:pt x="440" y="81"/>
                  </a:lnTo>
                  <a:lnTo>
                    <a:pt x="444" y="84"/>
                  </a:lnTo>
                  <a:lnTo>
                    <a:pt x="451" y="91"/>
                  </a:lnTo>
                  <a:lnTo>
                    <a:pt x="454" y="91"/>
                  </a:lnTo>
                  <a:lnTo>
                    <a:pt x="458" y="94"/>
                  </a:lnTo>
                  <a:lnTo>
                    <a:pt x="458" y="94"/>
                  </a:lnTo>
                  <a:lnTo>
                    <a:pt x="461" y="94"/>
                  </a:lnTo>
                  <a:lnTo>
                    <a:pt x="461" y="97"/>
                  </a:lnTo>
                  <a:lnTo>
                    <a:pt x="458" y="101"/>
                  </a:lnTo>
                  <a:lnTo>
                    <a:pt x="454" y="97"/>
                  </a:lnTo>
                  <a:lnTo>
                    <a:pt x="451" y="101"/>
                  </a:lnTo>
                  <a:lnTo>
                    <a:pt x="447" y="101"/>
                  </a:lnTo>
                  <a:lnTo>
                    <a:pt x="440" y="94"/>
                  </a:lnTo>
                  <a:lnTo>
                    <a:pt x="444" y="97"/>
                  </a:lnTo>
                  <a:lnTo>
                    <a:pt x="440" y="101"/>
                  </a:lnTo>
                  <a:lnTo>
                    <a:pt x="440" y="97"/>
                  </a:lnTo>
                  <a:lnTo>
                    <a:pt x="437" y="101"/>
                  </a:lnTo>
                  <a:lnTo>
                    <a:pt x="437" y="104"/>
                  </a:lnTo>
                  <a:lnTo>
                    <a:pt x="434" y="107"/>
                  </a:lnTo>
                  <a:lnTo>
                    <a:pt x="434" y="114"/>
                  </a:lnTo>
                  <a:lnTo>
                    <a:pt x="430" y="114"/>
                  </a:lnTo>
                  <a:lnTo>
                    <a:pt x="430" y="120"/>
                  </a:lnTo>
                  <a:lnTo>
                    <a:pt x="427" y="123"/>
                  </a:lnTo>
                  <a:lnTo>
                    <a:pt x="427" y="130"/>
                  </a:lnTo>
                  <a:lnTo>
                    <a:pt x="423" y="130"/>
                  </a:lnTo>
                  <a:lnTo>
                    <a:pt x="420" y="133"/>
                  </a:lnTo>
                  <a:lnTo>
                    <a:pt x="420" y="130"/>
                  </a:lnTo>
                  <a:lnTo>
                    <a:pt x="416" y="130"/>
                  </a:lnTo>
                  <a:lnTo>
                    <a:pt x="420" y="133"/>
                  </a:lnTo>
                  <a:lnTo>
                    <a:pt x="420" y="136"/>
                  </a:lnTo>
                  <a:lnTo>
                    <a:pt x="416" y="139"/>
                  </a:lnTo>
                  <a:lnTo>
                    <a:pt x="413" y="143"/>
                  </a:lnTo>
                  <a:lnTo>
                    <a:pt x="413" y="143"/>
                  </a:lnTo>
                  <a:lnTo>
                    <a:pt x="409" y="143"/>
                  </a:lnTo>
                  <a:lnTo>
                    <a:pt x="409" y="143"/>
                  </a:lnTo>
                  <a:lnTo>
                    <a:pt x="406" y="146"/>
                  </a:lnTo>
                  <a:lnTo>
                    <a:pt x="413" y="146"/>
                  </a:lnTo>
                  <a:lnTo>
                    <a:pt x="413" y="146"/>
                  </a:lnTo>
                  <a:lnTo>
                    <a:pt x="413" y="149"/>
                  </a:lnTo>
                  <a:lnTo>
                    <a:pt x="409" y="152"/>
                  </a:lnTo>
                  <a:lnTo>
                    <a:pt x="413" y="152"/>
                  </a:lnTo>
                  <a:lnTo>
                    <a:pt x="413" y="152"/>
                  </a:lnTo>
                  <a:lnTo>
                    <a:pt x="413" y="152"/>
                  </a:lnTo>
                  <a:lnTo>
                    <a:pt x="413" y="156"/>
                  </a:lnTo>
                  <a:lnTo>
                    <a:pt x="409" y="156"/>
                  </a:lnTo>
                  <a:lnTo>
                    <a:pt x="409" y="156"/>
                  </a:lnTo>
                  <a:lnTo>
                    <a:pt x="409" y="156"/>
                  </a:lnTo>
                  <a:lnTo>
                    <a:pt x="409" y="159"/>
                  </a:lnTo>
                  <a:lnTo>
                    <a:pt x="413" y="159"/>
                  </a:lnTo>
                  <a:lnTo>
                    <a:pt x="409" y="165"/>
                  </a:lnTo>
                  <a:lnTo>
                    <a:pt x="406" y="165"/>
                  </a:lnTo>
                  <a:lnTo>
                    <a:pt x="406" y="162"/>
                  </a:lnTo>
                  <a:lnTo>
                    <a:pt x="406" y="165"/>
                  </a:lnTo>
                  <a:lnTo>
                    <a:pt x="406" y="168"/>
                  </a:lnTo>
                  <a:lnTo>
                    <a:pt x="403" y="175"/>
                  </a:lnTo>
                  <a:lnTo>
                    <a:pt x="396" y="178"/>
                  </a:lnTo>
                  <a:lnTo>
                    <a:pt x="389" y="178"/>
                  </a:lnTo>
                  <a:lnTo>
                    <a:pt x="382" y="181"/>
                  </a:lnTo>
                  <a:lnTo>
                    <a:pt x="379" y="185"/>
                  </a:lnTo>
                  <a:lnTo>
                    <a:pt x="375" y="178"/>
                  </a:lnTo>
                  <a:lnTo>
                    <a:pt x="379" y="175"/>
                  </a:lnTo>
                  <a:lnTo>
                    <a:pt x="375" y="175"/>
                  </a:lnTo>
                  <a:lnTo>
                    <a:pt x="375" y="172"/>
                  </a:lnTo>
                  <a:lnTo>
                    <a:pt x="372" y="175"/>
                  </a:lnTo>
                  <a:lnTo>
                    <a:pt x="372" y="172"/>
                  </a:lnTo>
                  <a:lnTo>
                    <a:pt x="368" y="172"/>
                  </a:lnTo>
                  <a:lnTo>
                    <a:pt x="365" y="172"/>
                  </a:lnTo>
                  <a:lnTo>
                    <a:pt x="365" y="168"/>
                  </a:lnTo>
                  <a:lnTo>
                    <a:pt x="361" y="172"/>
                  </a:lnTo>
                  <a:lnTo>
                    <a:pt x="365" y="175"/>
                  </a:lnTo>
                  <a:lnTo>
                    <a:pt x="361" y="172"/>
                  </a:lnTo>
                  <a:lnTo>
                    <a:pt x="358" y="172"/>
                  </a:lnTo>
                  <a:lnTo>
                    <a:pt x="358" y="168"/>
                  </a:lnTo>
                  <a:lnTo>
                    <a:pt x="358" y="165"/>
                  </a:lnTo>
                  <a:lnTo>
                    <a:pt x="354" y="168"/>
                  </a:lnTo>
                  <a:lnTo>
                    <a:pt x="351" y="165"/>
                  </a:lnTo>
                  <a:lnTo>
                    <a:pt x="348" y="165"/>
                  </a:lnTo>
                  <a:lnTo>
                    <a:pt x="344" y="168"/>
                  </a:lnTo>
                  <a:lnTo>
                    <a:pt x="341" y="168"/>
                  </a:lnTo>
                  <a:lnTo>
                    <a:pt x="341" y="172"/>
                  </a:lnTo>
                  <a:lnTo>
                    <a:pt x="337" y="172"/>
                  </a:lnTo>
                  <a:lnTo>
                    <a:pt x="334" y="168"/>
                  </a:lnTo>
                  <a:lnTo>
                    <a:pt x="334" y="172"/>
                  </a:lnTo>
                  <a:lnTo>
                    <a:pt x="330" y="175"/>
                  </a:lnTo>
                  <a:lnTo>
                    <a:pt x="327" y="175"/>
                  </a:lnTo>
                  <a:lnTo>
                    <a:pt x="327" y="172"/>
                  </a:lnTo>
                  <a:lnTo>
                    <a:pt x="327" y="168"/>
                  </a:lnTo>
                  <a:lnTo>
                    <a:pt x="323" y="162"/>
                  </a:lnTo>
                  <a:lnTo>
                    <a:pt x="323" y="159"/>
                  </a:lnTo>
                  <a:lnTo>
                    <a:pt x="323" y="159"/>
                  </a:lnTo>
                  <a:lnTo>
                    <a:pt x="323" y="159"/>
                  </a:lnTo>
                  <a:lnTo>
                    <a:pt x="323" y="162"/>
                  </a:lnTo>
                  <a:lnTo>
                    <a:pt x="320" y="165"/>
                  </a:lnTo>
                  <a:lnTo>
                    <a:pt x="317" y="162"/>
                  </a:lnTo>
                  <a:lnTo>
                    <a:pt x="313" y="165"/>
                  </a:lnTo>
                  <a:lnTo>
                    <a:pt x="310" y="165"/>
                  </a:lnTo>
                  <a:lnTo>
                    <a:pt x="306" y="165"/>
                  </a:lnTo>
                  <a:lnTo>
                    <a:pt x="303" y="165"/>
                  </a:lnTo>
                  <a:lnTo>
                    <a:pt x="299" y="162"/>
                  </a:lnTo>
                  <a:lnTo>
                    <a:pt x="299" y="165"/>
                  </a:lnTo>
                  <a:lnTo>
                    <a:pt x="296" y="165"/>
                  </a:lnTo>
                  <a:lnTo>
                    <a:pt x="293" y="159"/>
                  </a:lnTo>
                  <a:lnTo>
                    <a:pt x="293" y="156"/>
                  </a:lnTo>
                  <a:lnTo>
                    <a:pt x="293" y="149"/>
                  </a:lnTo>
                  <a:lnTo>
                    <a:pt x="289" y="146"/>
                  </a:lnTo>
                  <a:lnTo>
                    <a:pt x="289" y="146"/>
                  </a:lnTo>
                  <a:lnTo>
                    <a:pt x="289" y="143"/>
                  </a:lnTo>
                  <a:lnTo>
                    <a:pt x="293" y="139"/>
                  </a:lnTo>
                  <a:lnTo>
                    <a:pt x="293" y="136"/>
                  </a:lnTo>
                  <a:lnTo>
                    <a:pt x="289" y="133"/>
                  </a:lnTo>
                  <a:lnTo>
                    <a:pt x="286" y="130"/>
                  </a:lnTo>
                  <a:lnTo>
                    <a:pt x="279" y="126"/>
                  </a:lnTo>
                  <a:lnTo>
                    <a:pt x="275" y="126"/>
                  </a:lnTo>
                  <a:lnTo>
                    <a:pt x="275" y="123"/>
                  </a:lnTo>
                  <a:lnTo>
                    <a:pt x="279" y="123"/>
                  </a:lnTo>
                  <a:lnTo>
                    <a:pt x="282" y="120"/>
                  </a:lnTo>
                  <a:lnTo>
                    <a:pt x="289" y="120"/>
                  </a:lnTo>
                  <a:lnTo>
                    <a:pt x="293" y="117"/>
                  </a:lnTo>
                  <a:lnTo>
                    <a:pt x="296" y="117"/>
                  </a:lnTo>
                  <a:lnTo>
                    <a:pt x="293" y="117"/>
                  </a:lnTo>
                  <a:lnTo>
                    <a:pt x="289" y="120"/>
                  </a:lnTo>
                  <a:lnTo>
                    <a:pt x="282" y="120"/>
                  </a:lnTo>
                  <a:lnTo>
                    <a:pt x="279" y="120"/>
                  </a:lnTo>
                  <a:lnTo>
                    <a:pt x="275" y="120"/>
                  </a:lnTo>
                  <a:lnTo>
                    <a:pt x="275" y="117"/>
                  </a:lnTo>
                  <a:lnTo>
                    <a:pt x="275" y="114"/>
                  </a:lnTo>
                  <a:lnTo>
                    <a:pt x="279" y="117"/>
                  </a:lnTo>
                  <a:lnTo>
                    <a:pt x="275" y="114"/>
                  </a:lnTo>
                  <a:lnTo>
                    <a:pt x="268" y="107"/>
                  </a:lnTo>
                  <a:lnTo>
                    <a:pt x="268" y="101"/>
                  </a:lnTo>
                  <a:lnTo>
                    <a:pt x="272" y="101"/>
                  </a:lnTo>
                  <a:lnTo>
                    <a:pt x="272" y="97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2" y="94"/>
                  </a:lnTo>
                  <a:close/>
                  <a:moveTo>
                    <a:pt x="774" y="130"/>
                  </a:moveTo>
                  <a:lnTo>
                    <a:pt x="771" y="130"/>
                  </a:lnTo>
                  <a:lnTo>
                    <a:pt x="774" y="130"/>
                  </a:lnTo>
                  <a:lnTo>
                    <a:pt x="774" y="130"/>
                  </a:lnTo>
                  <a:lnTo>
                    <a:pt x="774" y="130"/>
                  </a:lnTo>
                  <a:lnTo>
                    <a:pt x="774" y="130"/>
                  </a:lnTo>
                  <a:close/>
                  <a:moveTo>
                    <a:pt x="781" y="139"/>
                  </a:moveTo>
                  <a:lnTo>
                    <a:pt x="778" y="139"/>
                  </a:lnTo>
                  <a:lnTo>
                    <a:pt x="778" y="139"/>
                  </a:lnTo>
                  <a:lnTo>
                    <a:pt x="781" y="139"/>
                  </a:lnTo>
                  <a:lnTo>
                    <a:pt x="781" y="139"/>
                  </a:lnTo>
                  <a:close/>
                  <a:moveTo>
                    <a:pt x="784" y="139"/>
                  </a:moveTo>
                  <a:lnTo>
                    <a:pt x="784" y="139"/>
                  </a:lnTo>
                  <a:lnTo>
                    <a:pt x="784" y="139"/>
                  </a:lnTo>
                  <a:lnTo>
                    <a:pt x="791" y="143"/>
                  </a:lnTo>
                  <a:lnTo>
                    <a:pt x="802" y="143"/>
                  </a:lnTo>
                  <a:lnTo>
                    <a:pt x="809" y="143"/>
                  </a:lnTo>
                  <a:lnTo>
                    <a:pt x="812" y="143"/>
                  </a:lnTo>
                  <a:lnTo>
                    <a:pt x="805" y="139"/>
                  </a:lnTo>
                  <a:lnTo>
                    <a:pt x="802" y="143"/>
                  </a:lnTo>
                  <a:lnTo>
                    <a:pt x="795" y="139"/>
                  </a:lnTo>
                  <a:lnTo>
                    <a:pt x="791" y="143"/>
                  </a:lnTo>
                  <a:lnTo>
                    <a:pt x="784" y="139"/>
                  </a:lnTo>
                  <a:lnTo>
                    <a:pt x="784" y="139"/>
                  </a:lnTo>
                  <a:close/>
                  <a:moveTo>
                    <a:pt x="784" y="123"/>
                  </a:moveTo>
                  <a:lnTo>
                    <a:pt x="788" y="126"/>
                  </a:lnTo>
                  <a:lnTo>
                    <a:pt x="788" y="123"/>
                  </a:lnTo>
                  <a:lnTo>
                    <a:pt x="788" y="123"/>
                  </a:lnTo>
                  <a:lnTo>
                    <a:pt x="791" y="130"/>
                  </a:lnTo>
                  <a:lnTo>
                    <a:pt x="791" y="130"/>
                  </a:lnTo>
                  <a:lnTo>
                    <a:pt x="795" y="130"/>
                  </a:lnTo>
                  <a:lnTo>
                    <a:pt x="795" y="130"/>
                  </a:lnTo>
                  <a:lnTo>
                    <a:pt x="798" y="133"/>
                  </a:lnTo>
                  <a:lnTo>
                    <a:pt x="802" y="130"/>
                  </a:lnTo>
                  <a:lnTo>
                    <a:pt x="802" y="130"/>
                  </a:lnTo>
                  <a:lnTo>
                    <a:pt x="798" y="130"/>
                  </a:lnTo>
                  <a:lnTo>
                    <a:pt x="795" y="126"/>
                  </a:lnTo>
                  <a:lnTo>
                    <a:pt x="791" y="123"/>
                  </a:lnTo>
                  <a:lnTo>
                    <a:pt x="788" y="123"/>
                  </a:lnTo>
                  <a:lnTo>
                    <a:pt x="784" y="123"/>
                  </a:lnTo>
                  <a:lnTo>
                    <a:pt x="784" y="123"/>
                  </a:lnTo>
                  <a:lnTo>
                    <a:pt x="784" y="123"/>
                  </a:lnTo>
                  <a:close/>
                  <a:moveTo>
                    <a:pt x="729" y="207"/>
                  </a:moveTo>
                  <a:lnTo>
                    <a:pt x="729" y="210"/>
                  </a:lnTo>
                  <a:lnTo>
                    <a:pt x="729" y="210"/>
                  </a:lnTo>
                  <a:lnTo>
                    <a:pt x="729" y="214"/>
                  </a:lnTo>
                  <a:lnTo>
                    <a:pt x="729" y="210"/>
                  </a:lnTo>
                  <a:lnTo>
                    <a:pt x="729" y="207"/>
                  </a:lnTo>
                  <a:lnTo>
                    <a:pt x="729" y="207"/>
                  </a:lnTo>
                  <a:close/>
                  <a:moveTo>
                    <a:pt x="740" y="204"/>
                  </a:moveTo>
                  <a:lnTo>
                    <a:pt x="733" y="204"/>
                  </a:lnTo>
                  <a:lnTo>
                    <a:pt x="733" y="210"/>
                  </a:lnTo>
                  <a:lnTo>
                    <a:pt x="733" y="214"/>
                  </a:lnTo>
                  <a:lnTo>
                    <a:pt x="733" y="214"/>
                  </a:lnTo>
                  <a:lnTo>
                    <a:pt x="736" y="207"/>
                  </a:lnTo>
                  <a:lnTo>
                    <a:pt x="740" y="204"/>
                  </a:lnTo>
                  <a:lnTo>
                    <a:pt x="740" y="204"/>
                  </a:lnTo>
                  <a:close/>
                  <a:moveTo>
                    <a:pt x="767" y="223"/>
                  </a:moveTo>
                  <a:lnTo>
                    <a:pt x="767" y="227"/>
                  </a:lnTo>
                  <a:lnTo>
                    <a:pt x="767" y="227"/>
                  </a:lnTo>
                  <a:lnTo>
                    <a:pt x="771" y="227"/>
                  </a:lnTo>
                  <a:lnTo>
                    <a:pt x="767" y="223"/>
                  </a:lnTo>
                  <a:lnTo>
                    <a:pt x="767" y="223"/>
                  </a:lnTo>
                  <a:close/>
                  <a:moveTo>
                    <a:pt x="757" y="220"/>
                  </a:moveTo>
                  <a:lnTo>
                    <a:pt x="757" y="217"/>
                  </a:lnTo>
                  <a:lnTo>
                    <a:pt x="757" y="220"/>
                  </a:lnTo>
                  <a:lnTo>
                    <a:pt x="757" y="223"/>
                  </a:lnTo>
                  <a:lnTo>
                    <a:pt x="757" y="223"/>
                  </a:lnTo>
                  <a:lnTo>
                    <a:pt x="760" y="227"/>
                  </a:lnTo>
                  <a:lnTo>
                    <a:pt x="757" y="223"/>
                  </a:lnTo>
                  <a:lnTo>
                    <a:pt x="757" y="223"/>
                  </a:lnTo>
                  <a:lnTo>
                    <a:pt x="757" y="227"/>
                  </a:lnTo>
                  <a:lnTo>
                    <a:pt x="757" y="230"/>
                  </a:lnTo>
                  <a:lnTo>
                    <a:pt x="760" y="230"/>
                  </a:lnTo>
                  <a:lnTo>
                    <a:pt x="764" y="227"/>
                  </a:lnTo>
                  <a:lnTo>
                    <a:pt x="764" y="223"/>
                  </a:lnTo>
                  <a:lnTo>
                    <a:pt x="764" y="223"/>
                  </a:lnTo>
                  <a:lnTo>
                    <a:pt x="760" y="220"/>
                  </a:lnTo>
                  <a:lnTo>
                    <a:pt x="757" y="220"/>
                  </a:lnTo>
                  <a:lnTo>
                    <a:pt x="757" y="220"/>
                  </a:lnTo>
                  <a:close/>
                  <a:moveTo>
                    <a:pt x="764" y="220"/>
                  </a:moveTo>
                  <a:lnTo>
                    <a:pt x="764" y="220"/>
                  </a:lnTo>
                  <a:lnTo>
                    <a:pt x="764" y="220"/>
                  </a:lnTo>
                  <a:lnTo>
                    <a:pt x="764" y="223"/>
                  </a:lnTo>
                  <a:lnTo>
                    <a:pt x="764" y="223"/>
                  </a:lnTo>
                  <a:lnTo>
                    <a:pt x="767" y="223"/>
                  </a:lnTo>
                  <a:lnTo>
                    <a:pt x="767" y="220"/>
                  </a:lnTo>
                  <a:lnTo>
                    <a:pt x="764" y="220"/>
                  </a:lnTo>
                  <a:lnTo>
                    <a:pt x="764" y="220"/>
                  </a:lnTo>
                  <a:close/>
                  <a:moveTo>
                    <a:pt x="760" y="214"/>
                  </a:moveTo>
                  <a:lnTo>
                    <a:pt x="757" y="214"/>
                  </a:lnTo>
                  <a:lnTo>
                    <a:pt x="757" y="217"/>
                  </a:lnTo>
                  <a:lnTo>
                    <a:pt x="760" y="220"/>
                  </a:lnTo>
                  <a:lnTo>
                    <a:pt x="760" y="220"/>
                  </a:lnTo>
                  <a:lnTo>
                    <a:pt x="764" y="220"/>
                  </a:lnTo>
                  <a:lnTo>
                    <a:pt x="760" y="217"/>
                  </a:lnTo>
                  <a:lnTo>
                    <a:pt x="760" y="214"/>
                  </a:lnTo>
                  <a:lnTo>
                    <a:pt x="760" y="214"/>
                  </a:lnTo>
                  <a:close/>
                  <a:moveTo>
                    <a:pt x="767" y="214"/>
                  </a:moveTo>
                  <a:lnTo>
                    <a:pt x="764" y="214"/>
                  </a:lnTo>
                  <a:lnTo>
                    <a:pt x="760" y="217"/>
                  </a:lnTo>
                  <a:lnTo>
                    <a:pt x="760" y="217"/>
                  </a:lnTo>
                  <a:lnTo>
                    <a:pt x="764" y="220"/>
                  </a:lnTo>
                  <a:lnTo>
                    <a:pt x="767" y="220"/>
                  </a:lnTo>
                  <a:lnTo>
                    <a:pt x="767" y="217"/>
                  </a:lnTo>
                  <a:lnTo>
                    <a:pt x="767" y="217"/>
                  </a:lnTo>
                  <a:lnTo>
                    <a:pt x="767" y="217"/>
                  </a:lnTo>
                  <a:lnTo>
                    <a:pt x="767" y="214"/>
                  </a:lnTo>
                  <a:lnTo>
                    <a:pt x="767" y="214"/>
                  </a:lnTo>
                  <a:lnTo>
                    <a:pt x="767" y="214"/>
                  </a:lnTo>
                  <a:lnTo>
                    <a:pt x="767" y="214"/>
                  </a:lnTo>
                  <a:close/>
                  <a:moveTo>
                    <a:pt x="760" y="210"/>
                  </a:moveTo>
                  <a:lnTo>
                    <a:pt x="757" y="210"/>
                  </a:lnTo>
                  <a:lnTo>
                    <a:pt x="757" y="210"/>
                  </a:lnTo>
                  <a:lnTo>
                    <a:pt x="760" y="210"/>
                  </a:lnTo>
                  <a:lnTo>
                    <a:pt x="760" y="210"/>
                  </a:lnTo>
                  <a:lnTo>
                    <a:pt x="760" y="210"/>
                  </a:lnTo>
                  <a:close/>
                  <a:moveTo>
                    <a:pt x="764" y="204"/>
                  </a:moveTo>
                  <a:lnTo>
                    <a:pt x="767" y="207"/>
                  </a:lnTo>
                  <a:lnTo>
                    <a:pt x="767" y="207"/>
                  </a:lnTo>
                  <a:lnTo>
                    <a:pt x="767" y="204"/>
                  </a:lnTo>
                  <a:lnTo>
                    <a:pt x="764" y="204"/>
                  </a:lnTo>
                  <a:lnTo>
                    <a:pt x="764" y="204"/>
                  </a:lnTo>
                  <a:close/>
                  <a:moveTo>
                    <a:pt x="764" y="204"/>
                  </a:moveTo>
                  <a:lnTo>
                    <a:pt x="764" y="204"/>
                  </a:lnTo>
                  <a:lnTo>
                    <a:pt x="760" y="207"/>
                  </a:lnTo>
                  <a:lnTo>
                    <a:pt x="760" y="207"/>
                  </a:lnTo>
                  <a:lnTo>
                    <a:pt x="760" y="207"/>
                  </a:lnTo>
                  <a:lnTo>
                    <a:pt x="760" y="210"/>
                  </a:lnTo>
                  <a:lnTo>
                    <a:pt x="764" y="210"/>
                  </a:lnTo>
                  <a:lnTo>
                    <a:pt x="760" y="210"/>
                  </a:lnTo>
                  <a:lnTo>
                    <a:pt x="760" y="214"/>
                  </a:lnTo>
                  <a:lnTo>
                    <a:pt x="764" y="214"/>
                  </a:lnTo>
                  <a:lnTo>
                    <a:pt x="764" y="210"/>
                  </a:lnTo>
                  <a:lnTo>
                    <a:pt x="767" y="210"/>
                  </a:lnTo>
                  <a:lnTo>
                    <a:pt x="767" y="210"/>
                  </a:lnTo>
                  <a:lnTo>
                    <a:pt x="767" y="207"/>
                  </a:lnTo>
                  <a:lnTo>
                    <a:pt x="767" y="207"/>
                  </a:lnTo>
                  <a:lnTo>
                    <a:pt x="764" y="204"/>
                  </a:lnTo>
                  <a:lnTo>
                    <a:pt x="764" y="204"/>
                  </a:lnTo>
                  <a:close/>
                  <a:moveTo>
                    <a:pt x="712" y="230"/>
                  </a:moveTo>
                  <a:lnTo>
                    <a:pt x="716" y="230"/>
                  </a:lnTo>
                  <a:lnTo>
                    <a:pt x="716" y="230"/>
                  </a:lnTo>
                  <a:lnTo>
                    <a:pt x="712" y="230"/>
                  </a:lnTo>
                  <a:lnTo>
                    <a:pt x="712" y="230"/>
                  </a:lnTo>
                  <a:close/>
                  <a:moveTo>
                    <a:pt x="709" y="233"/>
                  </a:moveTo>
                  <a:lnTo>
                    <a:pt x="716" y="236"/>
                  </a:lnTo>
                  <a:lnTo>
                    <a:pt x="712" y="233"/>
                  </a:lnTo>
                  <a:lnTo>
                    <a:pt x="709" y="233"/>
                  </a:lnTo>
                  <a:lnTo>
                    <a:pt x="709" y="233"/>
                  </a:lnTo>
                  <a:close/>
                  <a:moveTo>
                    <a:pt x="695" y="239"/>
                  </a:moveTo>
                  <a:lnTo>
                    <a:pt x="692" y="239"/>
                  </a:lnTo>
                  <a:lnTo>
                    <a:pt x="692" y="239"/>
                  </a:lnTo>
                  <a:lnTo>
                    <a:pt x="692" y="239"/>
                  </a:lnTo>
                  <a:lnTo>
                    <a:pt x="695" y="239"/>
                  </a:lnTo>
                  <a:lnTo>
                    <a:pt x="695" y="239"/>
                  </a:lnTo>
                  <a:close/>
                  <a:moveTo>
                    <a:pt x="698" y="236"/>
                  </a:moveTo>
                  <a:lnTo>
                    <a:pt x="692" y="239"/>
                  </a:lnTo>
                  <a:lnTo>
                    <a:pt x="695" y="239"/>
                  </a:lnTo>
                  <a:lnTo>
                    <a:pt x="698" y="239"/>
                  </a:lnTo>
                  <a:lnTo>
                    <a:pt x="698" y="236"/>
                  </a:lnTo>
                  <a:lnTo>
                    <a:pt x="698" y="236"/>
                  </a:lnTo>
                  <a:close/>
                  <a:moveTo>
                    <a:pt x="698" y="249"/>
                  </a:moveTo>
                  <a:lnTo>
                    <a:pt x="695" y="249"/>
                  </a:lnTo>
                  <a:lnTo>
                    <a:pt x="692" y="252"/>
                  </a:lnTo>
                  <a:lnTo>
                    <a:pt x="692" y="252"/>
                  </a:lnTo>
                  <a:lnTo>
                    <a:pt x="695" y="252"/>
                  </a:lnTo>
                  <a:lnTo>
                    <a:pt x="698" y="249"/>
                  </a:lnTo>
                  <a:lnTo>
                    <a:pt x="698" y="249"/>
                  </a:lnTo>
                  <a:lnTo>
                    <a:pt x="698" y="249"/>
                  </a:lnTo>
                  <a:close/>
                  <a:moveTo>
                    <a:pt x="705" y="236"/>
                  </a:moveTo>
                  <a:lnTo>
                    <a:pt x="698" y="239"/>
                  </a:lnTo>
                  <a:lnTo>
                    <a:pt x="698" y="243"/>
                  </a:lnTo>
                  <a:lnTo>
                    <a:pt x="698" y="243"/>
                  </a:lnTo>
                  <a:lnTo>
                    <a:pt x="698" y="246"/>
                  </a:lnTo>
                  <a:lnTo>
                    <a:pt x="698" y="246"/>
                  </a:lnTo>
                  <a:lnTo>
                    <a:pt x="702" y="249"/>
                  </a:lnTo>
                  <a:lnTo>
                    <a:pt x="702" y="249"/>
                  </a:lnTo>
                  <a:lnTo>
                    <a:pt x="709" y="243"/>
                  </a:lnTo>
                  <a:lnTo>
                    <a:pt x="709" y="239"/>
                  </a:lnTo>
                  <a:lnTo>
                    <a:pt x="709" y="236"/>
                  </a:lnTo>
                  <a:lnTo>
                    <a:pt x="709" y="236"/>
                  </a:lnTo>
                  <a:lnTo>
                    <a:pt x="709" y="233"/>
                  </a:lnTo>
                  <a:lnTo>
                    <a:pt x="705" y="233"/>
                  </a:lnTo>
                  <a:lnTo>
                    <a:pt x="705" y="236"/>
                  </a:lnTo>
                  <a:lnTo>
                    <a:pt x="705" y="236"/>
                  </a:lnTo>
                  <a:lnTo>
                    <a:pt x="705" y="236"/>
                  </a:lnTo>
                  <a:close/>
                  <a:moveTo>
                    <a:pt x="674" y="220"/>
                  </a:moveTo>
                  <a:lnTo>
                    <a:pt x="678" y="220"/>
                  </a:lnTo>
                  <a:lnTo>
                    <a:pt x="678" y="217"/>
                  </a:lnTo>
                  <a:lnTo>
                    <a:pt x="674" y="220"/>
                  </a:lnTo>
                  <a:lnTo>
                    <a:pt x="674" y="220"/>
                  </a:lnTo>
                  <a:close/>
                  <a:moveTo>
                    <a:pt x="667" y="227"/>
                  </a:moveTo>
                  <a:lnTo>
                    <a:pt x="664" y="227"/>
                  </a:lnTo>
                  <a:lnTo>
                    <a:pt x="667" y="227"/>
                  </a:lnTo>
                  <a:lnTo>
                    <a:pt x="667" y="227"/>
                  </a:lnTo>
                  <a:lnTo>
                    <a:pt x="667" y="227"/>
                  </a:lnTo>
                  <a:close/>
                  <a:moveTo>
                    <a:pt x="674" y="249"/>
                  </a:moveTo>
                  <a:lnTo>
                    <a:pt x="671" y="252"/>
                  </a:lnTo>
                  <a:lnTo>
                    <a:pt x="671" y="252"/>
                  </a:lnTo>
                  <a:lnTo>
                    <a:pt x="674" y="249"/>
                  </a:lnTo>
                  <a:lnTo>
                    <a:pt x="674" y="249"/>
                  </a:lnTo>
                  <a:close/>
                  <a:moveTo>
                    <a:pt x="667" y="246"/>
                  </a:moveTo>
                  <a:lnTo>
                    <a:pt x="671" y="243"/>
                  </a:lnTo>
                  <a:lnTo>
                    <a:pt x="671" y="246"/>
                  </a:lnTo>
                  <a:lnTo>
                    <a:pt x="674" y="249"/>
                  </a:lnTo>
                  <a:lnTo>
                    <a:pt x="671" y="249"/>
                  </a:lnTo>
                  <a:lnTo>
                    <a:pt x="667" y="246"/>
                  </a:lnTo>
                  <a:lnTo>
                    <a:pt x="667" y="246"/>
                  </a:lnTo>
                  <a:lnTo>
                    <a:pt x="667" y="246"/>
                  </a:lnTo>
                  <a:close/>
                  <a:moveTo>
                    <a:pt x="647" y="233"/>
                  </a:moveTo>
                  <a:lnTo>
                    <a:pt x="647" y="233"/>
                  </a:lnTo>
                  <a:lnTo>
                    <a:pt x="650" y="233"/>
                  </a:lnTo>
                  <a:lnTo>
                    <a:pt x="650" y="236"/>
                  </a:lnTo>
                  <a:lnTo>
                    <a:pt x="647" y="236"/>
                  </a:lnTo>
                  <a:lnTo>
                    <a:pt x="647" y="233"/>
                  </a:lnTo>
                  <a:lnTo>
                    <a:pt x="647" y="233"/>
                  </a:lnTo>
                  <a:close/>
                  <a:moveTo>
                    <a:pt x="650" y="252"/>
                  </a:moveTo>
                  <a:lnTo>
                    <a:pt x="654" y="252"/>
                  </a:lnTo>
                  <a:lnTo>
                    <a:pt x="657" y="252"/>
                  </a:lnTo>
                  <a:lnTo>
                    <a:pt x="654" y="252"/>
                  </a:lnTo>
                  <a:lnTo>
                    <a:pt x="650" y="252"/>
                  </a:lnTo>
                  <a:lnTo>
                    <a:pt x="650" y="252"/>
                  </a:lnTo>
                  <a:close/>
                  <a:moveTo>
                    <a:pt x="619" y="243"/>
                  </a:moveTo>
                  <a:lnTo>
                    <a:pt x="626" y="239"/>
                  </a:lnTo>
                  <a:lnTo>
                    <a:pt x="623" y="239"/>
                  </a:lnTo>
                  <a:lnTo>
                    <a:pt x="619" y="239"/>
                  </a:lnTo>
                  <a:lnTo>
                    <a:pt x="619" y="243"/>
                  </a:lnTo>
                  <a:lnTo>
                    <a:pt x="619" y="243"/>
                  </a:lnTo>
                  <a:close/>
                  <a:moveTo>
                    <a:pt x="630" y="252"/>
                  </a:moveTo>
                  <a:lnTo>
                    <a:pt x="637" y="252"/>
                  </a:lnTo>
                  <a:lnTo>
                    <a:pt x="640" y="252"/>
                  </a:lnTo>
                  <a:lnTo>
                    <a:pt x="640" y="252"/>
                  </a:lnTo>
                  <a:lnTo>
                    <a:pt x="637" y="252"/>
                  </a:lnTo>
                  <a:lnTo>
                    <a:pt x="633" y="252"/>
                  </a:lnTo>
                  <a:lnTo>
                    <a:pt x="630" y="252"/>
                  </a:lnTo>
                  <a:lnTo>
                    <a:pt x="630" y="252"/>
                  </a:lnTo>
                  <a:close/>
                  <a:moveTo>
                    <a:pt x="626" y="252"/>
                  </a:moveTo>
                  <a:lnTo>
                    <a:pt x="630" y="252"/>
                  </a:lnTo>
                  <a:lnTo>
                    <a:pt x="630" y="252"/>
                  </a:lnTo>
                  <a:lnTo>
                    <a:pt x="626" y="252"/>
                  </a:lnTo>
                  <a:lnTo>
                    <a:pt x="626" y="252"/>
                  </a:lnTo>
                  <a:close/>
                  <a:moveTo>
                    <a:pt x="616" y="252"/>
                  </a:moveTo>
                  <a:lnTo>
                    <a:pt x="619" y="249"/>
                  </a:lnTo>
                  <a:lnTo>
                    <a:pt x="623" y="252"/>
                  </a:lnTo>
                  <a:lnTo>
                    <a:pt x="619" y="252"/>
                  </a:lnTo>
                  <a:lnTo>
                    <a:pt x="616" y="252"/>
                  </a:lnTo>
                  <a:lnTo>
                    <a:pt x="616" y="252"/>
                  </a:lnTo>
                  <a:close/>
                  <a:moveTo>
                    <a:pt x="544" y="285"/>
                  </a:moveTo>
                  <a:lnTo>
                    <a:pt x="544" y="288"/>
                  </a:lnTo>
                  <a:lnTo>
                    <a:pt x="547" y="291"/>
                  </a:lnTo>
                  <a:lnTo>
                    <a:pt x="551" y="291"/>
                  </a:lnTo>
                  <a:lnTo>
                    <a:pt x="557" y="288"/>
                  </a:lnTo>
                  <a:lnTo>
                    <a:pt x="561" y="288"/>
                  </a:lnTo>
                  <a:lnTo>
                    <a:pt x="564" y="288"/>
                  </a:lnTo>
                  <a:lnTo>
                    <a:pt x="568" y="285"/>
                  </a:lnTo>
                  <a:lnTo>
                    <a:pt x="571" y="281"/>
                  </a:lnTo>
                  <a:lnTo>
                    <a:pt x="578" y="278"/>
                  </a:lnTo>
                  <a:lnTo>
                    <a:pt x="578" y="275"/>
                  </a:lnTo>
                  <a:lnTo>
                    <a:pt x="581" y="275"/>
                  </a:lnTo>
                  <a:lnTo>
                    <a:pt x="575" y="272"/>
                  </a:lnTo>
                  <a:lnTo>
                    <a:pt x="571" y="265"/>
                  </a:lnTo>
                  <a:lnTo>
                    <a:pt x="571" y="269"/>
                  </a:lnTo>
                  <a:lnTo>
                    <a:pt x="568" y="269"/>
                  </a:lnTo>
                  <a:lnTo>
                    <a:pt x="568" y="272"/>
                  </a:lnTo>
                  <a:lnTo>
                    <a:pt x="564" y="272"/>
                  </a:lnTo>
                  <a:lnTo>
                    <a:pt x="561" y="275"/>
                  </a:lnTo>
                  <a:lnTo>
                    <a:pt x="557" y="272"/>
                  </a:lnTo>
                  <a:lnTo>
                    <a:pt x="554" y="272"/>
                  </a:lnTo>
                  <a:lnTo>
                    <a:pt x="551" y="275"/>
                  </a:lnTo>
                  <a:lnTo>
                    <a:pt x="551" y="278"/>
                  </a:lnTo>
                  <a:lnTo>
                    <a:pt x="547" y="281"/>
                  </a:lnTo>
                  <a:lnTo>
                    <a:pt x="547" y="285"/>
                  </a:lnTo>
                  <a:lnTo>
                    <a:pt x="547" y="285"/>
                  </a:lnTo>
                  <a:lnTo>
                    <a:pt x="547" y="288"/>
                  </a:lnTo>
                  <a:lnTo>
                    <a:pt x="547" y="288"/>
                  </a:lnTo>
                  <a:lnTo>
                    <a:pt x="544" y="285"/>
                  </a:lnTo>
                  <a:lnTo>
                    <a:pt x="544" y="285"/>
                  </a:lnTo>
                  <a:close/>
                  <a:moveTo>
                    <a:pt x="540" y="291"/>
                  </a:moveTo>
                  <a:lnTo>
                    <a:pt x="544" y="288"/>
                  </a:lnTo>
                  <a:lnTo>
                    <a:pt x="540" y="285"/>
                  </a:lnTo>
                  <a:lnTo>
                    <a:pt x="540" y="288"/>
                  </a:lnTo>
                  <a:lnTo>
                    <a:pt x="540" y="291"/>
                  </a:lnTo>
                  <a:lnTo>
                    <a:pt x="540" y="291"/>
                  </a:lnTo>
                  <a:close/>
                  <a:moveTo>
                    <a:pt x="540" y="291"/>
                  </a:moveTo>
                  <a:lnTo>
                    <a:pt x="537" y="294"/>
                  </a:lnTo>
                  <a:lnTo>
                    <a:pt x="537" y="294"/>
                  </a:lnTo>
                  <a:lnTo>
                    <a:pt x="533" y="298"/>
                  </a:lnTo>
                  <a:lnTo>
                    <a:pt x="530" y="298"/>
                  </a:lnTo>
                  <a:lnTo>
                    <a:pt x="533" y="301"/>
                  </a:lnTo>
                  <a:lnTo>
                    <a:pt x="540" y="298"/>
                  </a:lnTo>
                  <a:lnTo>
                    <a:pt x="544" y="294"/>
                  </a:lnTo>
                  <a:lnTo>
                    <a:pt x="540" y="291"/>
                  </a:lnTo>
                  <a:lnTo>
                    <a:pt x="540" y="291"/>
                  </a:lnTo>
                  <a:close/>
                  <a:moveTo>
                    <a:pt x="513" y="291"/>
                  </a:moveTo>
                  <a:lnTo>
                    <a:pt x="516" y="291"/>
                  </a:lnTo>
                  <a:lnTo>
                    <a:pt x="516" y="294"/>
                  </a:lnTo>
                  <a:lnTo>
                    <a:pt x="513" y="294"/>
                  </a:lnTo>
                  <a:lnTo>
                    <a:pt x="509" y="294"/>
                  </a:lnTo>
                  <a:lnTo>
                    <a:pt x="513" y="291"/>
                  </a:lnTo>
                  <a:lnTo>
                    <a:pt x="513" y="291"/>
                  </a:lnTo>
                  <a:lnTo>
                    <a:pt x="513" y="291"/>
                  </a:lnTo>
                  <a:close/>
                  <a:moveTo>
                    <a:pt x="458" y="275"/>
                  </a:moveTo>
                  <a:lnTo>
                    <a:pt x="465" y="269"/>
                  </a:lnTo>
                  <a:lnTo>
                    <a:pt x="471" y="275"/>
                  </a:lnTo>
                  <a:lnTo>
                    <a:pt x="475" y="275"/>
                  </a:lnTo>
                  <a:lnTo>
                    <a:pt x="478" y="272"/>
                  </a:lnTo>
                  <a:lnTo>
                    <a:pt x="482" y="275"/>
                  </a:lnTo>
                  <a:lnTo>
                    <a:pt x="482" y="278"/>
                  </a:lnTo>
                  <a:lnTo>
                    <a:pt x="485" y="278"/>
                  </a:lnTo>
                  <a:lnTo>
                    <a:pt x="489" y="281"/>
                  </a:lnTo>
                  <a:lnTo>
                    <a:pt x="492" y="285"/>
                  </a:lnTo>
                  <a:lnTo>
                    <a:pt x="492" y="285"/>
                  </a:lnTo>
                  <a:lnTo>
                    <a:pt x="489" y="288"/>
                  </a:lnTo>
                  <a:lnTo>
                    <a:pt x="482" y="288"/>
                  </a:lnTo>
                  <a:lnTo>
                    <a:pt x="478" y="288"/>
                  </a:lnTo>
                  <a:lnTo>
                    <a:pt x="475" y="281"/>
                  </a:lnTo>
                  <a:lnTo>
                    <a:pt x="471" y="281"/>
                  </a:lnTo>
                  <a:lnTo>
                    <a:pt x="468" y="278"/>
                  </a:lnTo>
                  <a:lnTo>
                    <a:pt x="465" y="278"/>
                  </a:lnTo>
                  <a:lnTo>
                    <a:pt x="458" y="278"/>
                  </a:lnTo>
                  <a:lnTo>
                    <a:pt x="458" y="275"/>
                  </a:lnTo>
                  <a:lnTo>
                    <a:pt x="458" y="275"/>
                  </a:lnTo>
                  <a:lnTo>
                    <a:pt x="458" y="275"/>
                  </a:lnTo>
                  <a:close/>
                  <a:moveTo>
                    <a:pt x="396" y="236"/>
                  </a:moveTo>
                  <a:lnTo>
                    <a:pt x="399" y="236"/>
                  </a:lnTo>
                  <a:lnTo>
                    <a:pt x="399" y="236"/>
                  </a:lnTo>
                  <a:lnTo>
                    <a:pt x="399" y="236"/>
                  </a:lnTo>
                  <a:lnTo>
                    <a:pt x="396" y="236"/>
                  </a:lnTo>
                  <a:lnTo>
                    <a:pt x="396" y="236"/>
                  </a:lnTo>
                  <a:lnTo>
                    <a:pt x="396" y="236"/>
                  </a:lnTo>
                  <a:close/>
                  <a:moveTo>
                    <a:pt x="385" y="230"/>
                  </a:moveTo>
                  <a:lnTo>
                    <a:pt x="389" y="233"/>
                  </a:lnTo>
                  <a:lnTo>
                    <a:pt x="392" y="230"/>
                  </a:lnTo>
                  <a:lnTo>
                    <a:pt x="392" y="230"/>
                  </a:lnTo>
                  <a:lnTo>
                    <a:pt x="392" y="230"/>
                  </a:lnTo>
                  <a:lnTo>
                    <a:pt x="392" y="230"/>
                  </a:lnTo>
                  <a:lnTo>
                    <a:pt x="389" y="230"/>
                  </a:lnTo>
                  <a:lnTo>
                    <a:pt x="385" y="230"/>
                  </a:lnTo>
                  <a:lnTo>
                    <a:pt x="385" y="230"/>
                  </a:lnTo>
                  <a:lnTo>
                    <a:pt x="385" y="230"/>
                  </a:lnTo>
                  <a:lnTo>
                    <a:pt x="385" y="230"/>
                  </a:lnTo>
                  <a:close/>
                  <a:moveTo>
                    <a:pt x="595" y="249"/>
                  </a:moveTo>
                  <a:lnTo>
                    <a:pt x="599" y="246"/>
                  </a:lnTo>
                  <a:lnTo>
                    <a:pt x="606" y="246"/>
                  </a:lnTo>
                  <a:lnTo>
                    <a:pt x="606" y="249"/>
                  </a:lnTo>
                  <a:lnTo>
                    <a:pt x="606" y="246"/>
                  </a:lnTo>
                  <a:lnTo>
                    <a:pt x="609" y="246"/>
                  </a:lnTo>
                  <a:lnTo>
                    <a:pt x="612" y="243"/>
                  </a:lnTo>
                  <a:lnTo>
                    <a:pt x="612" y="243"/>
                  </a:lnTo>
                  <a:lnTo>
                    <a:pt x="609" y="239"/>
                  </a:lnTo>
                  <a:lnTo>
                    <a:pt x="606" y="243"/>
                  </a:lnTo>
                  <a:lnTo>
                    <a:pt x="599" y="243"/>
                  </a:lnTo>
                  <a:lnTo>
                    <a:pt x="599" y="243"/>
                  </a:lnTo>
                  <a:lnTo>
                    <a:pt x="595" y="243"/>
                  </a:lnTo>
                  <a:lnTo>
                    <a:pt x="592" y="246"/>
                  </a:lnTo>
                  <a:lnTo>
                    <a:pt x="595" y="249"/>
                  </a:lnTo>
                  <a:lnTo>
                    <a:pt x="595" y="249"/>
                  </a:lnTo>
                  <a:close/>
                  <a:moveTo>
                    <a:pt x="588" y="252"/>
                  </a:moveTo>
                  <a:lnTo>
                    <a:pt x="585" y="252"/>
                  </a:lnTo>
                  <a:lnTo>
                    <a:pt x="588" y="256"/>
                  </a:lnTo>
                  <a:lnTo>
                    <a:pt x="588" y="252"/>
                  </a:lnTo>
                  <a:lnTo>
                    <a:pt x="588" y="252"/>
                  </a:lnTo>
                  <a:lnTo>
                    <a:pt x="588" y="252"/>
                  </a:lnTo>
                  <a:close/>
                  <a:moveTo>
                    <a:pt x="571" y="252"/>
                  </a:moveTo>
                  <a:lnTo>
                    <a:pt x="564" y="252"/>
                  </a:lnTo>
                  <a:lnTo>
                    <a:pt x="568" y="256"/>
                  </a:lnTo>
                  <a:lnTo>
                    <a:pt x="568" y="256"/>
                  </a:lnTo>
                  <a:lnTo>
                    <a:pt x="568" y="256"/>
                  </a:lnTo>
                  <a:lnTo>
                    <a:pt x="571" y="259"/>
                  </a:lnTo>
                  <a:lnTo>
                    <a:pt x="578" y="256"/>
                  </a:lnTo>
                  <a:lnTo>
                    <a:pt x="578" y="252"/>
                  </a:lnTo>
                  <a:lnTo>
                    <a:pt x="578" y="252"/>
                  </a:lnTo>
                  <a:lnTo>
                    <a:pt x="571" y="252"/>
                  </a:lnTo>
                  <a:lnTo>
                    <a:pt x="571" y="252"/>
                  </a:lnTo>
                  <a:lnTo>
                    <a:pt x="571" y="252"/>
                  </a:lnTo>
                  <a:close/>
                  <a:moveTo>
                    <a:pt x="554" y="259"/>
                  </a:moveTo>
                  <a:lnTo>
                    <a:pt x="557" y="259"/>
                  </a:lnTo>
                  <a:lnTo>
                    <a:pt x="561" y="259"/>
                  </a:lnTo>
                  <a:lnTo>
                    <a:pt x="564" y="256"/>
                  </a:lnTo>
                  <a:lnTo>
                    <a:pt x="564" y="256"/>
                  </a:lnTo>
                  <a:lnTo>
                    <a:pt x="561" y="256"/>
                  </a:lnTo>
                  <a:lnTo>
                    <a:pt x="557" y="256"/>
                  </a:lnTo>
                  <a:lnTo>
                    <a:pt x="554" y="259"/>
                  </a:lnTo>
                  <a:lnTo>
                    <a:pt x="554" y="259"/>
                  </a:lnTo>
                  <a:close/>
                  <a:moveTo>
                    <a:pt x="544" y="259"/>
                  </a:moveTo>
                  <a:lnTo>
                    <a:pt x="547" y="256"/>
                  </a:lnTo>
                  <a:lnTo>
                    <a:pt x="547" y="256"/>
                  </a:lnTo>
                  <a:lnTo>
                    <a:pt x="547" y="256"/>
                  </a:lnTo>
                  <a:lnTo>
                    <a:pt x="551" y="256"/>
                  </a:lnTo>
                  <a:lnTo>
                    <a:pt x="554" y="252"/>
                  </a:lnTo>
                  <a:lnTo>
                    <a:pt x="554" y="256"/>
                  </a:lnTo>
                  <a:lnTo>
                    <a:pt x="551" y="259"/>
                  </a:lnTo>
                  <a:lnTo>
                    <a:pt x="551" y="259"/>
                  </a:lnTo>
                  <a:lnTo>
                    <a:pt x="547" y="259"/>
                  </a:lnTo>
                  <a:lnTo>
                    <a:pt x="544" y="259"/>
                  </a:lnTo>
                  <a:lnTo>
                    <a:pt x="544" y="259"/>
                  </a:lnTo>
                  <a:close/>
                  <a:moveTo>
                    <a:pt x="540" y="259"/>
                  </a:moveTo>
                  <a:lnTo>
                    <a:pt x="537" y="259"/>
                  </a:lnTo>
                  <a:lnTo>
                    <a:pt x="537" y="262"/>
                  </a:lnTo>
                  <a:lnTo>
                    <a:pt x="537" y="259"/>
                  </a:lnTo>
                  <a:lnTo>
                    <a:pt x="540" y="259"/>
                  </a:lnTo>
                  <a:lnTo>
                    <a:pt x="540" y="259"/>
                  </a:lnTo>
                  <a:close/>
                  <a:moveTo>
                    <a:pt x="544" y="252"/>
                  </a:moveTo>
                  <a:lnTo>
                    <a:pt x="540" y="256"/>
                  </a:lnTo>
                  <a:lnTo>
                    <a:pt x="540" y="256"/>
                  </a:lnTo>
                  <a:lnTo>
                    <a:pt x="544" y="256"/>
                  </a:lnTo>
                  <a:lnTo>
                    <a:pt x="544" y="252"/>
                  </a:lnTo>
                  <a:lnTo>
                    <a:pt x="544" y="252"/>
                  </a:lnTo>
                  <a:close/>
                  <a:moveTo>
                    <a:pt x="475" y="259"/>
                  </a:moveTo>
                  <a:lnTo>
                    <a:pt x="475" y="259"/>
                  </a:lnTo>
                  <a:lnTo>
                    <a:pt x="475" y="256"/>
                  </a:lnTo>
                  <a:lnTo>
                    <a:pt x="482" y="256"/>
                  </a:lnTo>
                  <a:lnTo>
                    <a:pt x="489" y="252"/>
                  </a:lnTo>
                  <a:lnTo>
                    <a:pt x="495" y="256"/>
                  </a:lnTo>
                  <a:lnTo>
                    <a:pt x="499" y="252"/>
                  </a:lnTo>
                  <a:lnTo>
                    <a:pt x="502" y="256"/>
                  </a:lnTo>
                  <a:lnTo>
                    <a:pt x="509" y="259"/>
                  </a:lnTo>
                  <a:lnTo>
                    <a:pt x="513" y="256"/>
                  </a:lnTo>
                  <a:lnTo>
                    <a:pt x="516" y="256"/>
                  </a:lnTo>
                  <a:lnTo>
                    <a:pt x="520" y="259"/>
                  </a:lnTo>
                  <a:lnTo>
                    <a:pt x="523" y="259"/>
                  </a:lnTo>
                  <a:lnTo>
                    <a:pt x="526" y="256"/>
                  </a:lnTo>
                  <a:lnTo>
                    <a:pt x="530" y="256"/>
                  </a:lnTo>
                  <a:lnTo>
                    <a:pt x="533" y="252"/>
                  </a:lnTo>
                  <a:lnTo>
                    <a:pt x="530" y="252"/>
                  </a:lnTo>
                  <a:lnTo>
                    <a:pt x="533" y="249"/>
                  </a:lnTo>
                  <a:lnTo>
                    <a:pt x="537" y="249"/>
                  </a:lnTo>
                  <a:lnTo>
                    <a:pt x="537" y="252"/>
                  </a:lnTo>
                  <a:lnTo>
                    <a:pt x="537" y="256"/>
                  </a:lnTo>
                  <a:lnTo>
                    <a:pt x="533" y="259"/>
                  </a:lnTo>
                  <a:lnTo>
                    <a:pt x="530" y="259"/>
                  </a:lnTo>
                  <a:lnTo>
                    <a:pt x="526" y="262"/>
                  </a:lnTo>
                  <a:lnTo>
                    <a:pt x="526" y="262"/>
                  </a:lnTo>
                  <a:lnTo>
                    <a:pt x="523" y="262"/>
                  </a:lnTo>
                  <a:lnTo>
                    <a:pt x="516" y="262"/>
                  </a:lnTo>
                  <a:lnTo>
                    <a:pt x="513" y="262"/>
                  </a:lnTo>
                  <a:lnTo>
                    <a:pt x="506" y="262"/>
                  </a:lnTo>
                  <a:lnTo>
                    <a:pt x="502" y="265"/>
                  </a:lnTo>
                  <a:lnTo>
                    <a:pt x="499" y="265"/>
                  </a:lnTo>
                  <a:lnTo>
                    <a:pt x="499" y="265"/>
                  </a:lnTo>
                  <a:lnTo>
                    <a:pt x="495" y="265"/>
                  </a:lnTo>
                  <a:lnTo>
                    <a:pt x="492" y="265"/>
                  </a:lnTo>
                  <a:lnTo>
                    <a:pt x="489" y="262"/>
                  </a:lnTo>
                  <a:lnTo>
                    <a:pt x="485" y="262"/>
                  </a:lnTo>
                  <a:lnTo>
                    <a:pt x="485" y="265"/>
                  </a:lnTo>
                  <a:lnTo>
                    <a:pt x="482" y="262"/>
                  </a:lnTo>
                  <a:lnTo>
                    <a:pt x="478" y="262"/>
                  </a:lnTo>
                  <a:lnTo>
                    <a:pt x="475" y="262"/>
                  </a:lnTo>
                  <a:lnTo>
                    <a:pt x="475" y="259"/>
                  </a:lnTo>
                  <a:lnTo>
                    <a:pt x="475" y="259"/>
                  </a:lnTo>
                  <a:close/>
                  <a:moveTo>
                    <a:pt x="471" y="259"/>
                  </a:moveTo>
                  <a:lnTo>
                    <a:pt x="471" y="262"/>
                  </a:lnTo>
                  <a:lnTo>
                    <a:pt x="471" y="262"/>
                  </a:lnTo>
                  <a:lnTo>
                    <a:pt x="471" y="262"/>
                  </a:lnTo>
                  <a:lnTo>
                    <a:pt x="471" y="259"/>
                  </a:lnTo>
                  <a:lnTo>
                    <a:pt x="471" y="259"/>
                  </a:lnTo>
                  <a:close/>
                  <a:moveTo>
                    <a:pt x="468" y="259"/>
                  </a:moveTo>
                  <a:lnTo>
                    <a:pt x="465" y="256"/>
                  </a:lnTo>
                  <a:lnTo>
                    <a:pt x="465" y="262"/>
                  </a:lnTo>
                  <a:lnTo>
                    <a:pt x="468" y="262"/>
                  </a:lnTo>
                  <a:lnTo>
                    <a:pt x="468" y="259"/>
                  </a:lnTo>
                  <a:lnTo>
                    <a:pt x="468" y="259"/>
                  </a:lnTo>
                  <a:lnTo>
                    <a:pt x="468" y="259"/>
                  </a:lnTo>
                  <a:close/>
                  <a:moveTo>
                    <a:pt x="413" y="259"/>
                  </a:moveTo>
                  <a:lnTo>
                    <a:pt x="413" y="262"/>
                  </a:lnTo>
                  <a:lnTo>
                    <a:pt x="416" y="262"/>
                  </a:lnTo>
                  <a:lnTo>
                    <a:pt x="413" y="265"/>
                  </a:lnTo>
                  <a:lnTo>
                    <a:pt x="416" y="265"/>
                  </a:lnTo>
                  <a:lnTo>
                    <a:pt x="420" y="269"/>
                  </a:lnTo>
                  <a:lnTo>
                    <a:pt x="423" y="265"/>
                  </a:lnTo>
                  <a:lnTo>
                    <a:pt x="427" y="269"/>
                  </a:lnTo>
                  <a:lnTo>
                    <a:pt x="430" y="265"/>
                  </a:lnTo>
                  <a:lnTo>
                    <a:pt x="434" y="265"/>
                  </a:lnTo>
                  <a:lnTo>
                    <a:pt x="437" y="265"/>
                  </a:lnTo>
                  <a:lnTo>
                    <a:pt x="440" y="265"/>
                  </a:lnTo>
                  <a:lnTo>
                    <a:pt x="444" y="265"/>
                  </a:lnTo>
                  <a:lnTo>
                    <a:pt x="447" y="262"/>
                  </a:lnTo>
                  <a:lnTo>
                    <a:pt x="451" y="265"/>
                  </a:lnTo>
                  <a:lnTo>
                    <a:pt x="454" y="262"/>
                  </a:lnTo>
                  <a:lnTo>
                    <a:pt x="458" y="265"/>
                  </a:lnTo>
                  <a:lnTo>
                    <a:pt x="458" y="262"/>
                  </a:lnTo>
                  <a:lnTo>
                    <a:pt x="461" y="262"/>
                  </a:lnTo>
                  <a:lnTo>
                    <a:pt x="461" y="259"/>
                  </a:lnTo>
                  <a:lnTo>
                    <a:pt x="461" y="259"/>
                  </a:lnTo>
                  <a:lnTo>
                    <a:pt x="458" y="259"/>
                  </a:lnTo>
                  <a:lnTo>
                    <a:pt x="461" y="256"/>
                  </a:lnTo>
                  <a:lnTo>
                    <a:pt x="454" y="252"/>
                  </a:lnTo>
                  <a:lnTo>
                    <a:pt x="458" y="256"/>
                  </a:lnTo>
                  <a:lnTo>
                    <a:pt x="454" y="256"/>
                  </a:lnTo>
                  <a:lnTo>
                    <a:pt x="454" y="256"/>
                  </a:lnTo>
                  <a:lnTo>
                    <a:pt x="451" y="252"/>
                  </a:lnTo>
                  <a:lnTo>
                    <a:pt x="447" y="252"/>
                  </a:lnTo>
                  <a:lnTo>
                    <a:pt x="444" y="252"/>
                  </a:lnTo>
                  <a:lnTo>
                    <a:pt x="440" y="249"/>
                  </a:lnTo>
                  <a:lnTo>
                    <a:pt x="434" y="252"/>
                  </a:lnTo>
                  <a:lnTo>
                    <a:pt x="434" y="256"/>
                  </a:lnTo>
                  <a:lnTo>
                    <a:pt x="444" y="256"/>
                  </a:lnTo>
                  <a:lnTo>
                    <a:pt x="444" y="259"/>
                  </a:lnTo>
                  <a:lnTo>
                    <a:pt x="440" y="259"/>
                  </a:lnTo>
                  <a:lnTo>
                    <a:pt x="437" y="262"/>
                  </a:lnTo>
                  <a:lnTo>
                    <a:pt x="434" y="259"/>
                  </a:lnTo>
                  <a:lnTo>
                    <a:pt x="430" y="256"/>
                  </a:lnTo>
                  <a:lnTo>
                    <a:pt x="430" y="256"/>
                  </a:lnTo>
                  <a:lnTo>
                    <a:pt x="427" y="256"/>
                  </a:lnTo>
                  <a:lnTo>
                    <a:pt x="423" y="256"/>
                  </a:lnTo>
                  <a:lnTo>
                    <a:pt x="416" y="259"/>
                  </a:lnTo>
                  <a:lnTo>
                    <a:pt x="416" y="259"/>
                  </a:lnTo>
                  <a:lnTo>
                    <a:pt x="413" y="259"/>
                  </a:lnTo>
                  <a:lnTo>
                    <a:pt x="413" y="259"/>
                  </a:lnTo>
                  <a:close/>
                  <a:moveTo>
                    <a:pt x="403" y="256"/>
                  </a:moveTo>
                  <a:lnTo>
                    <a:pt x="406" y="252"/>
                  </a:lnTo>
                  <a:lnTo>
                    <a:pt x="413" y="256"/>
                  </a:lnTo>
                  <a:lnTo>
                    <a:pt x="413" y="259"/>
                  </a:lnTo>
                  <a:lnTo>
                    <a:pt x="409" y="262"/>
                  </a:lnTo>
                  <a:lnTo>
                    <a:pt x="409" y="265"/>
                  </a:lnTo>
                  <a:lnTo>
                    <a:pt x="409" y="262"/>
                  </a:lnTo>
                  <a:lnTo>
                    <a:pt x="403" y="265"/>
                  </a:lnTo>
                  <a:lnTo>
                    <a:pt x="399" y="262"/>
                  </a:lnTo>
                  <a:lnTo>
                    <a:pt x="396" y="262"/>
                  </a:lnTo>
                  <a:lnTo>
                    <a:pt x="399" y="259"/>
                  </a:lnTo>
                  <a:lnTo>
                    <a:pt x="403" y="259"/>
                  </a:lnTo>
                  <a:lnTo>
                    <a:pt x="403" y="256"/>
                  </a:lnTo>
                  <a:lnTo>
                    <a:pt x="403" y="256"/>
                  </a:lnTo>
                  <a:close/>
                  <a:moveTo>
                    <a:pt x="389" y="262"/>
                  </a:moveTo>
                  <a:lnTo>
                    <a:pt x="392" y="259"/>
                  </a:lnTo>
                  <a:lnTo>
                    <a:pt x="392" y="262"/>
                  </a:lnTo>
                  <a:lnTo>
                    <a:pt x="392" y="262"/>
                  </a:lnTo>
                  <a:lnTo>
                    <a:pt x="389" y="262"/>
                  </a:lnTo>
                  <a:lnTo>
                    <a:pt x="389" y="262"/>
                  </a:lnTo>
                  <a:close/>
                  <a:moveTo>
                    <a:pt x="372" y="252"/>
                  </a:moveTo>
                  <a:lnTo>
                    <a:pt x="372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82" y="259"/>
                  </a:lnTo>
                  <a:lnTo>
                    <a:pt x="385" y="262"/>
                  </a:lnTo>
                  <a:lnTo>
                    <a:pt x="385" y="259"/>
                  </a:lnTo>
                  <a:lnTo>
                    <a:pt x="389" y="259"/>
                  </a:lnTo>
                  <a:lnTo>
                    <a:pt x="392" y="256"/>
                  </a:lnTo>
                  <a:lnTo>
                    <a:pt x="396" y="256"/>
                  </a:lnTo>
                  <a:lnTo>
                    <a:pt x="396" y="256"/>
                  </a:lnTo>
                  <a:lnTo>
                    <a:pt x="392" y="249"/>
                  </a:lnTo>
                  <a:lnTo>
                    <a:pt x="385" y="249"/>
                  </a:lnTo>
                  <a:lnTo>
                    <a:pt x="382" y="252"/>
                  </a:lnTo>
                  <a:lnTo>
                    <a:pt x="375" y="249"/>
                  </a:lnTo>
                  <a:lnTo>
                    <a:pt x="372" y="252"/>
                  </a:lnTo>
                  <a:lnTo>
                    <a:pt x="372" y="252"/>
                  </a:lnTo>
                  <a:close/>
                  <a:moveTo>
                    <a:pt x="843" y="252"/>
                  </a:moveTo>
                  <a:lnTo>
                    <a:pt x="843" y="252"/>
                  </a:lnTo>
                  <a:lnTo>
                    <a:pt x="846" y="256"/>
                  </a:lnTo>
                  <a:lnTo>
                    <a:pt x="850" y="252"/>
                  </a:lnTo>
                  <a:lnTo>
                    <a:pt x="846" y="249"/>
                  </a:lnTo>
                  <a:lnTo>
                    <a:pt x="846" y="249"/>
                  </a:lnTo>
                  <a:lnTo>
                    <a:pt x="843" y="252"/>
                  </a:lnTo>
                  <a:lnTo>
                    <a:pt x="843" y="252"/>
                  </a:lnTo>
                  <a:lnTo>
                    <a:pt x="843" y="252"/>
                  </a:lnTo>
                  <a:close/>
                  <a:moveTo>
                    <a:pt x="822" y="256"/>
                  </a:moveTo>
                  <a:lnTo>
                    <a:pt x="822" y="256"/>
                  </a:lnTo>
                  <a:lnTo>
                    <a:pt x="829" y="252"/>
                  </a:lnTo>
                  <a:lnTo>
                    <a:pt x="833" y="252"/>
                  </a:lnTo>
                  <a:lnTo>
                    <a:pt x="836" y="252"/>
                  </a:lnTo>
                  <a:lnTo>
                    <a:pt x="839" y="252"/>
                  </a:lnTo>
                  <a:lnTo>
                    <a:pt x="843" y="249"/>
                  </a:lnTo>
                  <a:lnTo>
                    <a:pt x="846" y="249"/>
                  </a:lnTo>
                  <a:lnTo>
                    <a:pt x="846" y="246"/>
                  </a:lnTo>
                  <a:lnTo>
                    <a:pt x="846" y="246"/>
                  </a:lnTo>
                  <a:lnTo>
                    <a:pt x="850" y="246"/>
                  </a:lnTo>
                  <a:lnTo>
                    <a:pt x="850" y="243"/>
                  </a:lnTo>
                  <a:lnTo>
                    <a:pt x="850" y="239"/>
                  </a:lnTo>
                  <a:lnTo>
                    <a:pt x="846" y="239"/>
                  </a:lnTo>
                  <a:lnTo>
                    <a:pt x="846" y="239"/>
                  </a:lnTo>
                  <a:lnTo>
                    <a:pt x="839" y="236"/>
                  </a:lnTo>
                  <a:lnTo>
                    <a:pt x="836" y="239"/>
                  </a:lnTo>
                  <a:lnTo>
                    <a:pt x="833" y="243"/>
                  </a:lnTo>
                  <a:lnTo>
                    <a:pt x="829" y="246"/>
                  </a:lnTo>
                  <a:lnTo>
                    <a:pt x="822" y="256"/>
                  </a:lnTo>
                  <a:lnTo>
                    <a:pt x="822" y="256"/>
                  </a:lnTo>
                  <a:close/>
                  <a:moveTo>
                    <a:pt x="341" y="230"/>
                  </a:moveTo>
                  <a:lnTo>
                    <a:pt x="341" y="233"/>
                  </a:lnTo>
                  <a:lnTo>
                    <a:pt x="344" y="236"/>
                  </a:lnTo>
                  <a:lnTo>
                    <a:pt x="348" y="236"/>
                  </a:lnTo>
                  <a:lnTo>
                    <a:pt x="348" y="236"/>
                  </a:lnTo>
                  <a:lnTo>
                    <a:pt x="354" y="236"/>
                  </a:lnTo>
                  <a:lnTo>
                    <a:pt x="358" y="233"/>
                  </a:lnTo>
                  <a:lnTo>
                    <a:pt x="361" y="233"/>
                  </a:lnTo>
                  <a:lnTo>
                    <a:pt x="365" y="233"/>
                  </a:lnTo>
                  <a:lnTo>
                    <a:pt x="361" y="230"/>
                  </a:lnTo>
                  <a:lnTo>
                    <a:pt x="358" y="233"/>
                  </a:lnTo>
                  <a:lnTo>
                    <a:pt x="354" y="230"/>
                  </a:lnTo>
                  <a:lnTo>
                    <a:pt x="344" y="230"/>
                  </a:lnTo>
                  <a:lnTo>
                    <a:pt x="341" y="230"/>
                  </a:lnTo>
                  <a:lnTo>
                    <a:pt x="341" y="230"/>
                  </a:lnTo>
                  <a:close/>
                  <a:moveTo>
                    <a:pt x="196" y="223"/>
                  </a:moveTo>
                  <a:lnTo>
                    <a:pt x="196" y="227"/>
                  </a:lnTo>
                  <a:lnTo>
                    <a:pt x="200" y="227"/>
                  </a:lnTo>
                  <a:lnTo>
                    <a:pt x="200" y="223"/>
                  </a:lnTo>
                  <a:lnTo>
                    <a:pt x="196" y="223"/>
                  </a:lnTo>
                  <a:lnTo>
                    <a:pt x="196" y="223"/>
                  </a:lnTo>
                  <a:close/>
                  <a:moveTo>
                    <a:pt x="200" y="227"/>
                  </a:moveTo>
                  <a:lnTo>
                    <a:pt x="200" y="227"/>
                  </a:lnTo>
                  <a:lnTo>
                    <a:pt x="203" y="227"/>
                  </a:lnTo>
                  <a:lnTo>
                    <a:pt x="203" y="223"/>
                  </a:lnTo>
                  <a:lnTo>
                    <a:pt x="207" y="223"/>
                  </a:lnTo>
                  <a:lnTo>
                    <a:pt x="210" y="220"/>
                  </a:lnTo>
                  <a:lnTo>
                    <a:pt x="210" y="217"/>
                  </a:lnTo>
                  <a:lnTo>
                    <a:pt x="213" y="214"/>
                  </a:lnTo>
                  <a:lnTo>
                    <a:pt x="217" y="214"/>
                  </a:lnTo>
                  <a:lnTo>
                    <a:pt x="220" y="214"/>
                  </a:lnTo>
                  <a:lnTo>
                    <a:pt x="227" y="214"/>
                  </a:lnTo>
                  <a:lnTo>
                    <a:pt x="231" y="217"/>
                  </a:lnTo>
                  <a:lnTo>
                    <a:pt x="231" y="214"/>
                  </a:lnTo>
                  <a:lnTo>
                    <a:pt x="234" y="214"/>
                  </a:lnTo>
                  <a:lnTo>
                    <a:pt x="237" y="214"/>
                  </a:lnTo>
                  <a:lnTo>
                    <a:pt x="241" y="217"/>
                  </a:lnTo>
                  <a:lnTo>
                    <a:pt x="248" y="217"/>
                  </a:lnTo>
                  <a:lnTo>
                    <a:pt x="258" y="220"/>
                  </a:lnTo>
                  <a:lnTo>
                    <a:pt x="258" y="223"/>
                  </a:lnTo>
                  <a:lnTo>
                    <a:pt x="258" y="227"/>
                  </a:lnTo>
                  <a:lnTo>
                    <a:pt x="262" y="227"/>
                  </a:lnTo>
                  <a:lnTo>
                    <a:pt x="268" y="230"/>
                  </a:lnTo>
                  <a:lnTo>
                    <a:pt x="279" y="230"/>
                  </a:lnTo>
                  <a:lnTo>
                    <a:pt x="289" y="230"/>
                  </a:lnTo>
                  <a:lnTo>
                    <a:pt x="299" y="230"/>
                  </a:lnTo>
                  <a:lnTo>
                    <a:pt x="299" y="227"/>
                  </a:lnTo>
                  <a:lnTo>
                    <a:pt x="303" y="220"/>
                  </a:lnTo>
                  <a:lnTo>
                    <a:pt x="306" y="220"/>
                  </a:lnTo>
                  <a:lnTo>
                    <a:pt x="310" y="223"/>
                  </a:lnTo>
                  <a:lnTo>
                    <a:pt x="313" y="223"/>
                  </a:lnTo>
                  <a:lnTo>
                    <a:pt x="317" y="223"/>
                  </a:lnTo>
                  <a:lnTo>
                    <a:pt x="320" y="223"/>
                  </a:lnTo>
                  <a:lnTo>
                    <a:pt x="323" y="227"/>
                  </a:lnTo>
                  <a:lnTo>
                    <a:pt x="327" y="227"/>
                  </a:lnTo>
                  <a:lnTo>
                    <a:pt x="330" y="230"/>
                  </a:lnTo>
                  <a:lnTo>
                    <a:pt x="330" y="230"/>
                  </a:lnTo>
                  <a:lnTo>
                    <a:pt x="337" y="230"/>
                  </a:lnTo>
                  <a:lnTo>
                    <a:pt x="337" y="233"/>
                  </a:lnTo>
                  <a:lnTo>
                    <a:pt x="341" y="236"/>
                  </a:lnTo>
                  <a:lnTo>
                    <a:pt x="341" y="239"/>
                  </a:lnTo>
                  <a:lnTo>
                    <a:pt x="344" y="243"/>
                  </a:lnTo>
                  <a:lnTo>
                    <a:pt x="348" y="246"/>
                  </a:lnTo>
                  <a:lnTo>
                    <a:pt x="351" y="243"/>
                  </a:lnTo>
                  <a:lnTo>
                    <a:pt x="354" y="246"/>
                  </a:lnTo>
                  <a:lnTo>
                    <a:pt x="358" y="246"/>
                  </a:lnTo>
                  <a:lnTo>
                    <a:pt x="361" y="243"/>
                  </a:lnTo>
                  <a:lnTo>
                    <a:pt x="365" y="243"/>
                  </a:lnTo>
                  <a:lnTo>
                    <a:pt x="365" y="243"/>
                  </a:lnTo>
                  <a:lnTo>
                    <a:pt x="368" y="246"/>
                  </a:lnTo>
                  <a:lnTo>
                    <a:pt x="372" y="246"/>
                  </a:lnTo>
                  <a:lnTo>
                    <a:pt x="368" y="252"/>
                  </a:lnTo>
                  <a:lnTo>
                    <a:pt x="368" y="256"/>
                  </a:lnTo>
                  <a:lnTo>
                    <a:pt x="368" y="259"/>
                  </a:lnTo>
                  <a:lnTo>
                    <a:pt x="372" y="262"/>
                  </a:lnTo>
                  <a:lnTo>
                    <a:pt x="368" y="262"/>
                  </a:lnTo>
                  <a:lnTo>
                    <a:pt x="365" y="259"/>
                  </a:lnTo>
                  <a:lnTo>
                    <a:pt x="361" y="262"/>
                  </a:lnTo>
                  <a:lnTo>
                    <a:pt x="358" y="256"/>
                  </a:lnTo>
                  <a:lnTo>
                    <a:pt x="351" y="256"/>
                  </a:lnTo>
                  <a:lnTo>
                    <a:pt x="348" y="252"/>
                  </a:lnTo>
                  <a:lnTo>
                    <a:pt x="344" y="252"/>
                  </a:lnTo>
                  <a:lnTo>
                    <a:pt x="341" y="256"/>
                  </a:lnTo>
                  <a:lnTo>
                    <a:pt x="334" y="256"/>
                  </a:lnTo>
                  <a:lnTo>
                    <a:pt x="330" y="252"/>
                  </a:lnTo>
                  <a:lnTo>
                    <a:pt x="323" y="252"/>
                  </a:lnTo>
                  <a:lnTo>
                    <a:pt x="320" y="256"/>
                  </a:lnTo>
                  <a:lnTo>
                    <a:pt x="313" y="252"/>
                  </a:lnTo>
                  <a:lnTo>
                    <a:pt x="306" y="252"/>
                  </a:lnTo>
                  <a:lnTo>
                    <a:pt x="303" y="252"/>
                  </a:lnTo>
                  <a:lnTo>
                    <a:pt x="293" y="249"/>
                  </a:lnTo>
                  <a:lnTo>
                    <a:pt x="286" y="246"/>
                  </a:lnTo>
                  <a:lnTo>
                    <a:pt x="279" y="246"/>
                  </a:lnTo>
                  <a:lnTo>
                    <a:pt x="272" y="243"/>
                  </a:lnTo>
                  <a:lnTo>
                    <a:pt x="272" y="243"/>
                  </a:lnTo>
                  <a:lnTo>
                    <a:pt x="268" y="246"/>
                  </a:lnTo>
                  <a:lnTo>
                    <a:pt x="265" y="246"/>
                  </a:lnTo>
                  <a:lnTo>
                    <a:pt x="262" y="243"/>
                  </a:lnTo>
                  <a:lnTo>
                    <a:pt x="258" y="243"/>
                  </a:lnTo>
                  <a:lnTo>
                    <a:pt x="255" y="246"/>
                  </a:lnTo>
                  <a:lnTo>
                    <a:pt x="248" y="243"/>
                  </a:lnTo>
                  <a:lnTo>
                    <a:pt x="241" y="239"/>
                  </a:lnTo>
                  <a:lnTo>
                    <a:pt x="234" y="239"/>
                  </a:lnTo>
                  <a:lnTo>
                    <a:pt x="234" y="239"/>
                  </a:lnTo>
                  <a:lnTo>
                    <a:pt x="231" y="239"/>
                  </a:lnTo>
                  <a:lnTo>
                    <a:pt x="224" y="239"/>
                  </a:lnTo>
                  <a:lnTo>
                    <a:pt x="220" y="239"/>
                  </a:lnTo>
                  <a:lnTo>
                    <a:pt x="217" y="236"/>
                  </a:lnTo>
                  <a:lnTo>
                    <a:pt x="220" y="233"/>
                  </a:lnTo>
                  <a:lnTo>
                    <a:pt x="220" y="230"/>
                  </a:lnTo>
                  <a:lnTo>
                    <a:pt x="220" y="230"/>
                  </a:lnTo>
                  <a:lnTo>
                    <a:pt x="217" y="233"/>
                  </a:lnTo>
                  <a:lnTo>
                    <a:pt x="213" y="230"/>
                  </a:lnTo>
                  <a:lnTo>
                    <a:pt x="213" y="227"/>
                  </a:lnTo>
                  <a:lnTo>
                    <a:pt x="210" y="230"/>
                  </a:lnTo>
                  <a:lnTo>
                    <a:pt x="200" y="230"/>
                  </a:lnTo>
                  <a:lnTo>
                    <a:pt x="200" y="227"/>
                  </a:lnTo>
                  <a:lnTo>
                    <a:pt x="200" y="227"/>
                  </a:lnTo>
                  <a:lnTo>
                    <a:pt x="200" y="227"/>
                  </a:lnTo>
                  <a:lnTo>
                    <a:pt x="200" y="227"/>
                  </a:lnTo>
                  <a:close/>
                  <a:moveTo>
                    <a:pt x="248" y="42"/>
                  </a:moveTo>
                  <a:lnTo>
                    <a:pt x="255" y="46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8" y="46"/>
                  </a:lnTo>
                  <a:lnTo>
                    <a:pt x="258" y="42"/>
                  </a:lnTo>
                  <a:lnTo>
                    <a:pt x="255" y="36"/>
                  </a:lnTo>
                  <a:lnTo>
                    <a:pt x="251" y="39"/>
                  </a:lnTo>
                  <a:lnTo>
                    <a:pt x="248" y="42"/>
                  </a:lnTo>
                  <a:lnTo>
                    <a:pt x="248" y="42"/>
                  </a:lnTo>
                  <a:close/>
                  <a:moveTo>
                    <a:pt x="217" y="62"/>
                  </a:moveTo>
                  <a:lnTo>
                    <a:pt x="217" y="65"/>
                  </a:lnTo>
                  <a:lnTo>
                    <a:pt x="220" y="62"/>
                  </a:lnTo>
                  <a:lnTo>
                    <a:pt x="217" y="62"/>
                  </a:lnTo>
                  <a:lnTo>
                    <a:pt x="217" y="62"/>
                  </a:lnTo>
                  <a:close/>
                  <a:moveTo>
                    <a:pt x="217" y="55"/>
                  </a:moveTo>
                  <a:lnTo>
                    <a:pt x="220" y="52"/>
                  </a:lnTo>
                  <a:lnTo>
                    <a:pt x="217" y="52"/>
                  </a:lnTo>
                  <a:lnTo>
                    <a:pt x="217" y="55"/>
                  </a:lnTo>
                  <a:lnTo>
                    <a:pt x="217" y="55"/>
                  </a:lnTo>
                  <a:close/>
                  <a:moveTo>
                    <a:pt x="217" y="55"/>
                  </a:moveTo>
                  <a:lnTo>
                    <a:pt x="217" y="59"/>
                  </a:lnTo>
                  <a:lnTo>
                    <a:pt x="220" y="59"/>
                  </a:lnTo>
                  <a:lnTo>
                    <a:pt x="217" y="55"/>
                  </a:lnTo>
                  <a:lnTo>
                    <a:pt x="217" y="55"/>
                  </a:lnTo>
                  <a:close/>
                  <a:moveTo>
                    <a:pt x="207" y="59"/>
                  </a:moveTo>
                  <a:lnTo>
                    <a:pt x="207" y="62"/>
                  </a:lnTo>
                  <a:lnTo>
                    <a:pt x="207" y="62"/>
                  </a:lnTo>
                  <a:lnTo>
                    <a:pt x="210" y="59"/>
                  </a:lnTo>
                  <a:lnTo>
                    <a:pt x="207" y="59"/>
                  </a:lnTo>
                  <a:lnTo>
                    <a:pt x="207" y="59"/>
                  </a:lnTo>
                  <a:lnTo>
                    <a:pt x="207" y="59"/>
                  </a:lnTo>
                  <a:close/>
                  <a:moveTo>
                    <a:pt x="172" y="94"/>
                  </a:moveTo>
                  <a:lnTo>
                    <a:pt x="176" y="97"/>
                  </a:lnTo>
                  <a:lnTo>
                    <a:pt x="179" y="94"/>
                  </a:lnTo>
                  <a:lnTo>
                    <a:pt x="179" y="91"/>
                  </a:lnTo>
                  <a:lnTo>
                    <a:pt x="172" y="94"/>
                  </a:lnTo>
                  <a:lnTo>
                    <a:pt x="172" y="94"/>
                  </a:lnTo>
                  <a:close/>
                  <a:moveTo>
                    <a:pt x="182" y="91"/>
                  </a:moveTo>
                  <a:lnTo>
                    <a:pt x="179" y="94"/>
                  </a:lnTo>
                  <a:lnTo>
                    <a:pt x="186" y="97"/>
                  </a:lnTo>
                  <a:lnTo>
                    <a:pt x="186" y="101"/>
                  </a:lnTo>
                  <a:lnTo>
                    <a:pt x="189" y="101"/>
                  </a:lnTo>
                  <a:lnTo>
                    <a:pt x="189" y="94"/>
                  </a:lnTo>
                  <a:lnTo>
                    <a:pt x="186" y="94"/>
                  </a:lnTo>
                  <a:lnTo>
                    <a:pt x="189" y="91"/>
                  </a:lnTo>
                  <a:lnTo>
                    <a:pt x="186" y="91"/>
                  </a:lnTo>
                  <a:lnTo>
                    <a:pt x="186" y="91"/>
                  </a:lnTo>
                  <a:lnTo>
                    <a:pt x="182" y="91"/>
                  </a:lnTo>
                  <a:lnTo>
                    <a:pt x="182" y="91"/>
                  </a:lnTo>
                  <a:close/>
                  <a:moveTo>
                    <a:pt x="268" y="143"/>
                  </a:moveTo>
                  <a:lnTo>
                    <a:pt x="268" y="143"/>
                  </a:lnTo>
                  <a:lnTo>
                    <a:pt x="272" y="143"/>
                  </a:lnTo>
                  <a:lnTo>
                    <a:pt x="272" y="143"/>
                  </a:lnTo>
                  <a:lnTo>
                    <a:pt x="272" y="143"/>
                  </a:lnTo>
                  <a:lnTo>
                    <a:pt x="268" y="143"/>
                  </a:lnTo>
                  <a:lnTo>
                    <a:pt x="268" y="143"/>
                  </a:lnTo>
                  <a:close/>
                  <a:moveTo>
                    <a:pt x="241" y="156"/>
                  </a:moveTo>
                  <a:lnTo>
                    <a:pt x="244" y="159"/>
                  </a:lnTo>
                  <a:lnTo>
                    <a:pt x="244" y="162"/>
                  </a:lnTo>
                  <a:lnTo>
                    <a:pt x="241" y="162"/>
                  </a:lnTo>
                  <a:lnTo>
                    <a:pt x="237" y="165"/>
                  </a:lnTo>
                  <a:lnTo>
                    <a:pt x="241" y="165"/>
                  </a:lnTo>
                  <a:lnTo>
                    <a:pt x="241" y="162"/>
                  </a:lnTo>
                  <a:lnTo>
                    <a:pt x="244" y="162"/>
                  </a:lnTo>
                  <a:lnTo>
                    <a:pt x="244" y="165"/>
                  </a:lnTo>
                  <a:lnTo>
                    <a:pt x="248" y="168"/>
                  </a:lnTo>
                  <a:lnTo>
                    <a:pt x="251" y="165"/>
                  </a:lnTo>
                  <a:lnTo>
                    <a:pt x="251" y="168"/>
                  </a:lnTo>
                  <a:lnTo>
                    <a:pt x="255" y="168"/>
                  </a:lnTo>
                  <a:lnTo>
                    <a:pt x="255" y="165"/>
                  </a:lnTo>
                  <a:lnTo>
                    <a:pt x="258" y="165"/>
                  </a:lnTo>
                  <a:lnTo>
                    <a:pt x="258" y="162"/>
                  </a:lnTo>
                  <a:lnTo>
                    <a:pt x="251" y="159"/>
                  </a:lnTo>
                  <a:lnTo>
                    <a:pt x="244" y="156"/>
                  </a:lnTo>
                  <a:lnTo>
                    <a:pt x="241" y="156"/>
                  </a:lnTo>
                  <a:lnTo>
                    <a:pt x="241" y="156"/>
                  </a:lnTo>
                  <a:close/>
                  <a:moveTo>
                    <a:pt x="231" y="162"/>
                  </a:moveTo>
                  <a:lnTo>
                    <a:pt x="231" y="165"/>
                  </a:lnTo>
                  <a:lnTo>
                    <a:pt x="231" y="165"/>
                  </a:lnTo>
                  <a:lnTo>
                    <a:pt x="231" y="162"/>
                  </a:lnTo>
                  <a:lnTo>
                    <a:pt x="231" y="162"/>
                  </a:lnTo>
                  <a:close/>
                  <a:moveTo>
                    <a:pt x="203" y="143"/>
                  </a:moveTo>
                  <a:lnTo>
                    <a:pt x="203" y="146"/>
                  </a:lnTo>
                  <a:lnTo>
                    <a:pt x="200" y="146"/>
                  </a:lnTo>
                  <a:lnTo>
                    <a:pt x="200" y="149"/>
                  </a:lnTo>
                  <a:lnTo>
                    <a:pt x="207" y="149"/>
                  </a:lnTo>
                  <a:lnTo>
                    <a:pt x="210" y="152"/>
                  </a:lnTo>
                  <a:lnTo>
                    <a:pt x="210" y="156"/>
                  </a:lnTo>
                  <a:lnTo>
                    <a:pt x="213" y="156"/>
                  </a:lnTo>
                  <a:lnTo>
                    <a:pt x="213" y="162"/>
                  </a:lnTo>
                  <a:lnTo>
                    <a:pt x="217" y="162"/>
                  </a:lnTo>
                  <a:lnTo>
                    <a:pt x="220" y="162"/>
                  </a:lnTo>
                  <a:lnTo>
                    <a:pt x="224" y="165"/>
                  </a:lnTo>
                  <a:lnTo>
                    <a:pt x="224" y="168"/>
                  </a:lnTo>
                  <a:lnTo>
                    <a:pt x="227" y="165"/>
                  </a:lnTo>
                  <a:lnTo>
                    <a:pt x="224" y="162"/>
                  </a:lnTo>
                  <a:lnTo>
                    <a:pt x="227" y="159"/>
                  </a:lnTo>
                  <a:lnTo>
                    <a:pt x="220" y="156"/>
                  </a:lnTo>
                  <a:lnTo>
                    <a:pt x="217" y="152"/>
                  </a:lnTo>
                  <a:lnTo>
                    <a:pt x="213" y="146"/>
                  </a:lnTo>
                  <a:lnTo>
                    <a:pt x="213" y="143"/>
                  </a:lnTo>
                  <a:lnTo>
                    <a:pt x="213" y="139"/>
                  </a:lnTo>
                  <a:lnTo>
                    <a:pt x="210" y="139"/>
                  </a:lnTo>
                  <a:lnTo>
                    <a:pt x="207" y="139"/>
                  </a:lnTo>
                  <a:lnTo>
                    <a:pt x="207" y="143"/>
                  </a:lnTo>
                  <a:lnTo>
                    <a:pt x="210" y="146"/>
                  </a:lnTo>
                  <a:lnTo>
                    <a:pt x="207" y="143"/>
                  </a:lnTo>
                  <a:lnTo>
                    <a:pt x="203" y="143"/>
                  </a:lnTo>
                  <a:lnTo>
                    <a:pt x="203" y="143"/>
                  </a:lnTo>
                  <a:lnTo>
                    <a:pt x="203" y="143"/>
                  </a:lnTo>
                  <a:close/>
                  <a:moveTo>
                    <a:pt x="182" y="123"/>
                  </a:moveTo>
                  <a:lnTo>
                    <a:pt x="182" y="123"/>
                  </a:lnTo>
                  <a:lnTo>
                    <a:pt x="186" y="126"/>
                  </a:lnTo>
                  <a:lnTo>
                    <a:pt x="189" y="123"/>
                  </a:lnTo>
                  <a:lnTo>
                    <a:pt x="186" y="123"/>
                  </a:lnTo>
                  <a:lnTo>
                    <a:pt x="182" y="123"/>
                  </a:lnTo>
                  <a:lnTo>
                    <a:pt x="182" y="123"/>
                  </a:lnTo>
                  <a:close/>
                  <a:moveTo>
                    <a:pt x="186" y="114"/>
                  </a:moveTo>
                  <a:lnTo>
                    <a:pt x="186" y="117"/>
                  </a:lnTo>
                  <a:lnTo>
                    <a:pt x="186" y="120"/>
                  </a:lnTo>
                  <a:lnTo>
                    <a:pt x="189" y="120"/>
                  </a:lnTo>
                  <a:lnTo>
                    <a:pt x="193" y="120"/>
                  </a:lnTo>
                  <a:lnTo>
                    <a:pt x="196" y="120"/>
                  </a:lnTo>
                  <a:lnTo>
                    <a:pt x="189" y="117"/>
                  </a:lnTo>
                  <a:lnTo>
                    <a:pt x="186" y="114"/>
                  </a:lnTo>
                  <a:lnTo>
                    <a:pt x="186" y="114"/>
                  </a:lnTo>
                  <a:close/>
                  <a:moveTo>
                    <a:pt x="148" y="94"/>
                  </a:moveTo>
                  <a:lnTo>
                    <a:pt x="145" y="97"/>
                  </a:lnTo>
                  <a:lnTo>
                    <a:pt x="145" y="101"/>
                  </a:lnTo>
                  <a:lnTo>
                    <a:pt x="151" y="101"/>
                  </a:lnTo>
                  <a:lnTo>
                    <a:pt x="158" y="104"/>
                  </a:lnTo>
                  <a:lnTo>
                    <a:pt x="158" y="101"/>
                  </a:lnTo>
                  <a:lnTo>
                    <a:pt x="158" y="97"/>
                  </a:lnTo>
                  <a:lnTo>
                    <a:pt x="151" y="94"/>
                  </a:lnTo>
                  <a:lnTo>
                    <a:pt x="148" y="94"/>
                  </a:lnTo>
                  <a:lnTo>
                    <a:pt x="148" y="94"/>
                  </a:lnTo>
                  <a:close/>
                  <a:moveTo>
                    <a:pt x="138" y="88"/>
                  </a:moveTo>
                  <a:lnTo>
                    <a:pt x="138" y="88"/>
                  </a:lnTo>
                  <a:lnTo>
                    <a:pt x="145" y="88"/>
                  </a:lnTo>
                  <a:lnTo>
                    <a:pt x="145" y="91"/>
                  </a:lnTo>
                  <a:lnTo>
                    <a:pt x="145" y="94"/>
                  </a:lnTo>
                  <a:lnTo>
                    <a:pt x="141" y="94"/>
                  </a:lnTo>
                  <a:lnTo>
                    <a:pt x="138" y="88"/>
                  </a:lnTo>
                  <a:lnTo>
                    <a:pt x="138" y="88"/>
                  </a:lnTo>
                  <a:close/>
                  <a:moveTo>
                    <a:pt x="124" y="78"/>
                  </a:moveTo>
                  <a:lnTo>
                    <a:pt x="124" y="84"/>
                  </a:lnTo>
                  <a:lnTo>
                    <a:pt x="127" y="84"/>
                  </a:lnTo>
                  <a:lnTo>
                    <a:pt x="131" y="81"/>
                  </a:lnTo>
                  <a:lnTo>
                    <a:pt x="131" y="78"/>
                  </a:lnTo>
                  <a:lnTo>
                    <a:pt x="127" y="78"/>
                  </a:lnTo>
                  <a:lnTo>
                    <a:pt x="124" y="78"/>
                  </a:lnTo>
                  <a:lnTo>
                    <a:pt x="124" y="78"/>
                  </a:lnTo>
                  <a:close/>
                  <a:moveTo>
                    <a:pt x="138" y="204"/>
                  </a:moveTo>
                  <a:lnTo>
                    <a:pt x="141" y="207"/>
                  </a:lnTo>
                  <a:lnTo>
                    <a:pt x="141" y="204"/>
                  </a:lnTo>
                  <a:lnTo>
                    <a:pt x="138" y="201"/>
                  </a:lnTo>
                  <a:lnTo>
                    <a:pt x="138" y="204"/>
                  </a:lnTo>
                  <a:lnTo>
                    <a:pt x="138" y="204"/>
                  </a:lnTo>
                  <a:close/>
                  <a:moveTo>
                    <a:pt x="100" y="162"/>
                  </a:moveTo>
                  <a:lnTo>
                    <a:pt x="100" y="165"/>
                  </a:lnTo>
                  <a:lnTo>
                    <a:pt x="107" y="168"/>
                  </a:lnTo>
                  <a:lnTo>
                    <a:pt x="103" y="165"/>
                  </a:lnTo>
                  <a:lnTo>
                    <a:pt x="107" y="165"/>
                  </a:lnTo>
                  <a:lnTo>
                    <a:pt x="100" y="162"/>
                  </a:lnTo>
                  <a:lnTo>
                    <a:pt x="100" y="162"/>
                  </a:lnTo>
                  <a:close/>
                  <a:moveTo>
                    <a:pt x="96" y="159"/>
                  </a:moveTo>
                  <a:lnTo>
                    <a:pt x="100" y="159"/>
                  </a:lnTo>
                  <a:lnTo>
                    <a:pt x="96" y="162"/>
                  </a:lnTo>
                  <a:lnTo>
                    <a:pt x="96" y="159"/>
                  </a:lnTo>
                  <a:lnTo>
                    <a:pt x="96" y="159"/>
                  </a:lnTo>
                  <a:close/>
                  <a:moveTo>
                    <a:pt x="90" y="149"/>
                  </a:moveTo>
                  <a:lnTo>
                    <a:pt x="86" y="149"/>
                  </a:lnTo>
                  <a:lnTo>
                    <a:pt x="90" y="152"/>
                  </a:lnTo>
                  <a:lnTo>
                    <a:pt x="93" y="152"/>
                  </a:lnTo>
                  <a:lnTo>
                    <a:pt x="90" y="149"/>
                  </a:lnTo>
                  <a:lnTo>
                    <a:pt x="90" y="149"/>
                  </a:lnTo>
                  <a:close/>
                  <a:moveTo>
                    <a:pt x="65" y="133"/>
                  </a:moveTo>
                  <a:lnTo>
                    <a:pt x="65" y="136"/>
                  </a:lnTo>
                  <a:lnTo>
                    <a:pt x="72" y="136"/>
                  </a:lnTo>
                  <a:lnTo>
                    <a:pt x="76" y="143"/>
                  </a:lnTo>
                  <a:lnTo>
                    <a:pt x="83" y="146"/>
                  </a:lnTo>
                  <a:lnTo>
                    <a:pt x="83" y="139"/>
                  </a:lnTo>
                  <a:lnTo>
                    <a:pt x="76" y="130"/>
                  </a:lnTo>
                  <a:lnTo>
                    <a:pt x="72" y="130"/>
                  </a:lnTo>
                  <a:lnTo>
                    <a:pt x="65" y="133"/>
                  </a:lnTo>
                  <a:lnTo>
                    <a:pt x="65" y="133"/>
                  </a:lnTo>
                  <a:close/>
                  <a:moveTo>
                    <a:pt x="65" y="120"/>
                  </a:moveTo>
                  <a:lnTo>
                    <a:pt x="62" y="123"/>
                  </a:lnTo>
                  <a:lnTo>
                    <a:pt x="65" y="126"/>
                  </a:lnTo>
                  <a:lnTo>
                    <a:pt x="69" y="123"/>
                  </a:lnTo>
                  <a:lnTo>
                    <a:pt x="69" y="123"/>
                  </a:lnTo>
                  <a:lnTo>
                    <a:pt x="65" y="120"/>
                  </a:lnTo>
                  <a:lnTo>
                    <a:pt x="65" y="120"/>
                  </a:lnTo>
                  <a:close/>
                  <a:moveTo>
                    <a:pt x="69" y="110"/>
                  </a:moveTo>
                  <a:lnTo>
                    <a:pt x="72" y="110"/>
                  </a:lnTo>
                  <a:lnTo>
                    <a:pt x="72" y="114"/>
                  </a:lnTo>
                  <a:lnTo>
                    <a:pt x="72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close/>
                  <a:moveTo>
                    <a:pt x="38" y="91"/>
                  </a:moveTo>
                  <a:lnTo>
                    <a:pt x="45" y="88"/>
                  </a:lnTo>
                  <a:lnTo>
                    <a:pt x="45" y="88"/>
                  </a:lnTo>
                  <a:lnTo>
                    <a:pt x="48" y="88"/>
                  </a:lnTo>
                  <a:lnTo>
                    <a:pt x="52" y="94"/>
                  </a:lnTo>
                  <a:lnTo>
                    <a:pt x="55" y="97"/>
                  </a:lnTo>
                  <a:lnTo>
                    <a:pt x="55" y="97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97"/>
                  </a:lnTo>
                  <a:lnTo>
                    <a:pt x="45" y="97"/>
                  </a:lnTo>
                  <a:lnTo>
                    <a:pt x="45" y="94"/>
                  </a:lnTo>
                  <a:lnTo>
                    <a:pt x="38" y="91"/>
                  </a:lnTo>
                  <a:lnTo>
                    <a:pt x="38" y="91"/>
                  </a:lnTo>
                  <a:close/>
                  <a:moveTo>
                    <a:pt x="38" y="78"/>
                  </a:moveTo>
                  <a:lnTo>
                    <a:pt x="45" y="78"/>
                  </a:lnTo>
                  <a:lnTo>
                    <a:pt x="41" y="75"/>
                  </a:lnTo>
                  <a:lnTo>
                    <a:pt x="38" y="78"/>
                  </a:lnTo>
                  <a:lnTo>
                    <a:pt x="38" y="78"/>
                  </a:lnTo>
                  <a:close/>
                  <a:moveTo>
                    <a:pt x="14" y="62"/>
                  </a:moveTo>
                  <a:lnTo>
                    <a:pt x="10" y="65"/>
                  </a:lnTo>
                  <a:lnTo>
                    <a:pt x="10" y="65"/>
                  </a:lnTo>
                  <a:lnTo>
                    <a:pt x="14" y="68"/>
                  </a:lnTo>
                  <a:lnTo>
                    <a:pt x="17" y="68"/>
                  </a:lnTo>
                  <a:lnTo>
                    <a:pt x="17" y="65"/>
                  </a:lnTo>
                  <a:lnTo>
                    <a:pt x="14" y="62"/>
                  </a:lnTo>
                  <a:lnTo>
                    <a:pt x="14" y="62"/>
                  </a:lnTo>
                  <a:close/>
                  <a:moveTo>
                    <a:pt x="4" y="17"/>
                  </a:moveTo>
                  <a:lnTo>
                    <a:pt x="0" y="17"/>
                  </a:lnTo>
                  <a:lnTo>
                    <a:pt x="4" y="23"/>
                  </a:lnTo>
                  <a:lnTo>
                    <a:pt x="7" y="33"/>
                  </a:lnTo>
                  <a:lnTo>
                    <a:pt x="10" y="33"/>
                  </a:lnTo>
                  <a:lnTo>
                    <a:pt x="17" y="39"/>
                  </a:lnTo>
                  <a:lnTo>
                    <a:pt x="21" y="39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31" y="46"/>
                  </a:lnTo>
                  <a:lnTo>
                    <a:pt x="38" y="52"/>
                  </a:lnTo>
                  <a:lnTo>
                    <a:pt x="45" y="59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8"/>
                  </a:lnTo>
                  <a:lnTo>
                    <a:pt x="55" y="72"/>
                  </a:lnTo>
                  <a:lnTo>
                    <a:pt x="55" y="75"/>
                  </a:lnTo>
                  <a:lnTo>
                    <a:pt x="59" y="78"/>
                  </a:lnTo>
                  <a:lnTo>
                    <a:pt x="62" y="78"/>
                  </a:lnTo>
                  <a:lnTo>
                    <a:pt x="69" y="81"/>
                  </a:lnTo>
                  <a:lnTo>
                    <a:pt x="69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6" y="91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9" y="104"/>
                  </a:lnTo>
                  <a:lnTo>
                    <a:pt x="83" y="110"/>
                  </a:lnTo>
                  <a:lnTo>
                    <a:pt x="86" y="110"/>
                  </a:lnTo>
                  <a:lnTo>
                    <a:pt x="93" y="114"/>
                  </a:lnTo>
                  <a:lnTo>
                    <a:pt x="93" y="117"/>
                  </a:lnTo>
                  <a:lnTo>
                    <a:pt x="96" y="123"/>
                  </a:lnTo>
                  <a:lnTo>
                    <a:pt x="100" y="126"/>
                  </a:lnTo>
                  <a:lnTo>
                    <a:pt x="103" y="133"/>
                  </a:lnTo>
                  <a:lnTo>
                    <a:pt x="110" y="146"/>
                  </a:lnTo>
                  <a:lnTo>
                    <a:pt x="110" y="149"/>
                  </a:lnTo>
                  <a:lnTo>
                    <a:pt x="110" y="156"/>
                  </a:lnTo>
                  <a:lnTo>
                    <a:pt x="117" y="159"/>
                  </a:lnTo>
                  <a:lnTo>
                    <a:pt x="124" y="165"/>
                  </a:lnTo>
                  <a:lnTo>
                    <a:pt x="127" y="172"/>
                  </a:lnTo>
                  <a:lnTo>
                    <a:pt x="131" y="172"/>
                  </a:lnTo>
                  <a:lnTo>
                    <a:pt x="134" y="175"/>
                  </a:lnTo>
                  <a:lnTo>
                    <a:pt x="138" y="175"/>
                  </a:lnTo>
                  <a:lnTo>
                    <a:pt x="141" y="181"/>
                  </a:lnTo>
                  <a:lnTo>
                    <a:pt x="145" y="181"/>
                  </a:lnTo>
                  <a:lnTo>
                    <a:pt x="148" y="188"/>
                  </a:lnTo>
                  <a:lnTo>
                    <a:pt x="158" y="191"/>
                  </a:lnTo>
                  <a:lnTo>
                    <a:pt x="158" y="194"/>
                  </a:lnTo>
                  <a:lnTo>
                    <a:pt x="165" y="198"/>
                  </a:lnTo>
                  <a:lnTo>
                    <a:pt x="176" y="207"/>
                  </a:lnTo>
                  <a:lnTo>
                    <a:pt x="179" y="210"/>
                  </a:lnTo>
                  <a:lnTo>
                    <a:pt x="179" y="210"/>
                  </a:lnTo>
                  <a:lnTo>
                    <a:pt x="182" y="214"/>
                  </a:lnTo>
                  <a:lnTo>
                    <a:pt x="186" y="214"/>
                  </a:lnTo>
                  <a:lnTo>
                    <a:pt x="186" y="210"/>
                  </a:lnTo>
                  <a:lnTo>
                    <a:pt x="182" y="207"/>
                  </a:lnTo>
                  <a:lnTo>
                    <a:pt x="182" y="207"/>
                  </a:lnTo>
                  <a:lnTo>
                    <a:pt x="186" y="207"/>
                  </a:lnTo>
                  <a:lnTo>
                    <a:pt x="193" y="214"/>
                  </a:lnTo>
                  <a:lnTo>
                    <a:pt x="196" y="210"/>
                  </a:lnTo>
                  <a:lnTo>
                    <a:pt x="196" y="207"/>
                  </a:lnTo>
                  <a:lnTo>
                    <a:pt x="196" y="204"/>
                  </a:lnTo>
                  <a:lnTo>
                    <a:pt x="200" y="204"/>
                  </a:lnTo>
                  <a:lnTo>
                    <a:pt x="203" y="210"/>
                  </a:lnTo>
                  <a:lnTo>
                    <a:pt x="207" y="210"/>
                  </a:lnTo>
                  <a:lnTo>
                    <a:pt x="210" y="207"/>
                  </a:lnTo>
                  <a:lnTo>
                    <a:pt x="210" y="201"/>
                  </a:lnTo>
                  <a:lnTo>
                    <a:pt x="210" y="191"/>
                  </a:lnTo>
                  <a:lnTo>
                    <a:pt x="210" y="185"/>
                  </a:lnTo>
                  <a:lnTo>
                    <a:pt x="210" y="178"/>
                  </a:lnTo>
                  <a:lnTo>
                    <a:pt x="210" y="178"/>
                  </a:lnTo>
                  <a:lnTo>
                    <a:pt x="210" y="172"/>
                  </a:lnTo>
                  <a:lnTo>
                    <a:pt x="213" y="172"/>
                  </a:lnTo>
                  <a:lnTo>
                    <a:pt x="217" y="168"/>
                  </a:lnTo>
                  <a:lnTo>
                    <a:pt x="213" y="165"/>
                  </a:lnTo>
                  <a:lnTo>
                    <a:pt x="213" y="165"/>
                  </a:lnTo>
                  <a:lnTo>
                    <a:pt x="207" y="162"/>
                  </a:lnTo>
                  <a:lnTo>
                    <a:pt x="207" y="159"/>
                  </a:lnTo>
                  <a:lnTo>
                    <a:pt x="203" y="156"/>
                  </a:lnTo>
                  <a:lnTo>
                    <a:pt x="203" y="156"/>
                  </a:lnTo>
                  <a:lnTo>
                    <a:pt x="200" y="152"/>
                  </a:lnTo>
                  <a:lnTo>
                    <a:pt x="193" y="152"/>
                  </a:lnTo>
                  <a:lnTo>
                    <a:pt x="189" y="152"/>
                  </a:lnTo>
                  <a:lnTo>
                    <a:pt x="189" y="149"/>
                  </a:lnTo>
                  <a:lnTo>
                    <a:pt x="186" y="146"/>
                  </a:lnTo>
                  <a:lnTo>
                    <a:pt x="182" y="146"/>
                  </a:lnTo>
                  <a:lnTo>
                    <a:pt x="186" y="143"/>
                  </a:lnTo>
                  <a:lnTo>
                    <a:pt x="186" y="139"/>
                  </a:lnTo>
                  <a:lnTo>
                    <a:pt x="182" y="133"/>
                  </a:lnTo>
                  <a:lnTo>
                    <a:pt x="179" y="133"/>
                  </a:lnTo>
                  <a:lnTo>
                    <a:pt x="176" y="133"/>
                  </a:lnTo>
                  <a:lnTo>
                    <a:pt x="169" y="130"/>
                  </a:lnTo>
                  <a:lnTo>
                    <a:pt x="162" y="126"/>
                  </a:lnTo>
                  <a:lnTo>
                    <a:pt x="162" y="123"/>
                  </a:lnTo>
                  <a:lnTo>
                    <a:pt x="169" y="123"/>
                  </a:lnTo>
                  <a:lnTo>
                    <a:pt x="172" y="120"/>
                  </a:lnTo>
                  <a:lnTo>
                    <a:pt x="169" y="120"/>
                  </a:lnTo>
                  <a:lnTo>
                    <a:pt x="165" y="120"/>
                  </a:lnTo>
                  <a:lnTo>
                    <a:pt x="162" y="120"/>
                  </a:lnTo>
                  <a:lnTo>
                    <a:pt x="158" y="120"/>
                  </a:lnTo>
                  <a:lnTo>
                    <a:pt x="162" y="120"/>
                  </a:lnTo>
                  <a:lnTo>
                    <a:pt x="165" y="117"/>
                  </a:lnTo>
                  <a:lnTo>
                    <a:pt x="172" y="114"/>
                  </a:lnTo>
                  <a:lnTo>
                    <a:pt x="169" y="110"/>
                  </a:lnTo>
                  <a:lnTo>
                    <a:pt x="165" y="107"/>
                  </a:lnTo>
                  <a:lnTo>
                    <a:pt x="162" y="107"/>
                  </a:lnTo>
                  <a:lnTo>
                    <a:pt x="155" y="107"/>
                  </a:lnTo>
                  <a:lnTo>
                    <a:pt x="151" y="110"/>
                  </a:lnTo>
                  <a:lnTo>
                    <a:pt x="148" y="110"/>
                  </a:lnTo>
                  <a:lnTo>
                    <a:pt x="151" y="110"/>
                  </a:lnTo>
                  <a:lnTo>
                    <a:pt x="151" y="107"/>
                  </a:lnTo>
                  <a:lnTo>
                    <a:pt x="155" y="107"/>
                  </a:lnTo>
                  <a:lnTo>
                    <a:pt x="155" y="107"/>
                  </a:lnTo>
                  <a:lnTo>
                    <a:pt x="155" y="104"/>
                  </a:lnTo>
                  <a:lnTo>
                    <a:pt x="151" y="101"/>
                  </a:lnTo>
                  <a:lnTo>
                    <a:pt x="145" y="101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1"/>
                  </a:lnTo>
                  <a:lnTo>
                    <a:pt x="131" y="84"/>
                  </a:lnTo>
                  <a:lnTo>
                    <a:pt x="127" y="84"/>
                  </a:lnTo>
                  <a:lnTo>
                    <a:pt x="124" y="84"/>
                  </a:lnTo>
                  <a:lnTo>
                    <a:pt x="121" y="84"/>
                  </a:lnTo>
                  <a:lnTo>
                    <a:pt x="121" y="78"/>
                  </a:lnTo>
                  <a:lnTo>
                    <a:pt x="117" y="72"/>
                  </a:lnTo>
                  <a:lnTo>
                    <a:pt x="107" y="68"/>
                  </a:lnTo>
                  <a:lnTo>
                    <a:pt x="103" y="68"/>
                  </a:lnTo>
                  <a:lnTo>
                    <a:pt x="103" y="72"/>
                  </a:lnTo>
                  <a:lnTo>
                    <a:pt x="100" y="68"/>
                  </a:lnTo>
                  <a:lnTo>
                    <a:pt x="100" y="65"/>
                  </a:lnTo>
                  <a:lnTo>
                    <a:pt x="96" y="68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0" y="55"/>
                  </a:lnTo>
                  <a:lnTo>
                    <a:pt x="86" y="55"/>
                  </a:lnTo>
                  <a:lnTo>
                    <a:pt x="86" y="52"/>
                  </a:lnTo>
                  <a:lnTo>
                    <a:pt x="72" y="46"/>
                  </a:lnTo>
                  <a:lnTo>
                    <a:pt x="69" y="46"/>
                  </a:lnTo>
                  <a:lnTo>
                    <a:pt x="65" y="42"/>
                  </a:lnTo>
                  <a:lnTo>
                    <a:pt x="62" y="42"/>
                  </a:lnTo>
                  <a:lnTo>
                    <a:pt x="59" y="39"/>
                  </a:lnTo>
                  <a:lnTo>
                    <a:pt x="59" y="33"/>
                  </a:lnTo>
                  <a:lnTo>
                    <a:pt x="55" y="33"/>
                  </a:lnTo>
                  <a:lnTo>
                    <a:pt x="52" y="30"/>
                  </a:lnTo>
                  <a:lnTo>
                    <a:pt x="52" y="26"/>
                  </a:lnTo>
                  <a:lnTo>
                    <a:pt x="48" y="23"/>
                  </a:lnTo>
                  <a:lnTo>
                    <a:pt x="45" y="23"/>
                  </a:lnTo>
                  <a:lnTo>
                    <a:pt x="41" y="23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1" y="23"/>
                  </a:lnTo>
                  <a:lnTo>
                    <a:pt x="24" y="23"/>
                  </a:lnTo>
                  <a:lnTo>
                    <a:pt x="21" y="20"/>
                  </a:lnTo>
                  <a:lnTo>
                    <a:pt x="14" y="1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" name="Freeform 22"/>
            <p:cNvSpPr>
              <a:spLocks noEditPoints="1"/>
            </p:cNvSpPr>
            <p:nvPr/>
          </p:nvSpPr>
          <p:spPr bwMode="auto">
            <a:xfrm>
              <a:off x="10088563" y="4867930"/>
              <a:ext cx="98425" cy="25400"/>
            </a:xfrm>
            <a:custGeom>
              <a:avLst/>
              <a:gdLst>
                <a:gd name="T0" fmla="*/ 0 w 62"/>
                <a:gd name="T1" fmla="*/ 13 h 16"/>
                <a:gd name="T2" fmla="*/ 4 w 62"/>
                <a:gd name="T3" fmla="*/ 16 h 16"/>
                <a:gd name="T4" fmla="*/ 7 w 62"/>
                <a:gd name="T5" fmla="*/ 13 h 16"/>
                <a:gd name="T6" fmla="*/ 11 w 62"/>
                <a:gd name="T7" fmla="*/ 13 h 16"/>
                <a:gd name="T8" fmla="*/ 11 w 62"/>
                <a:gd name="T9" fmla="*/ 10 h 16"/>
                <a:gd name="T10" fmla="*/ 7 w 62"/>
                <a:gd name="T11" fmla="*/ 10 h 16"/>
                <a:gd name="T12" fmla="*/ 4 w 62"/>
                <a:gd name="T13" fmla="*/ 10 h 16"/>
                <a:gd name="T14" fmla="*/ 0 w 62"/>
                <a:gd name="T15" fmla="*/ 13 h 16"/>
                <a:gd name="T16" fmla="*/ 0 w 62"/>
                <a:gd name="T17" fmla="*/ 13 h 16"/>
                <a:gd name="T18" fmla="*/ 14 w 62"/>
                <a:gd name="T19" fmla="*/ 6 h 16"/>
                <a:gd name="T20" fmla="*/ 18 w 62"/>
                <a:gd name="T21" fmla="*/ 13 h 16"/>
                <a:gd name="T22" fmla="*/ 24 w 62"/>
                <a:gd name="T23" fmla="*/ 16 h 16"/>
                <a:gd name="T24" fmla="*/ 24 w 62"/>
                <a:gd name="T25" fmla="*/ 16 h 16"/>
                <a:gd name="T26" fmla="*/ 28 w 62"/>
                <a:gd name="T27" fmla="*/ 13 h 16"/>
                <a:gd name="T28" fmla="*/ 31 w 62"/>
                <a:gd name="T29" fmla="*/ 10 h 16"/>
                <a:gd name="T30" fmla="*/ 35 w 62"/>
                <a:gd name="T31" fmla="*/ 13 h 16"/>
                <a:gd name="T32" fmla="*/ 42 w 62"/>
                <a:gd name="T33" fmla="*/ 10 h 16"/>
                <a:gd name="T34" fmla="*/ 49 w 62"/>
                <a:gd name="T35" fmla="*/ 6 h 16"/>
                <a:gd name="T36" fmla="*/ 55 w 62"/>
                <a:gd name="T37" fmla="*/ 6 h 16"/>
                <a:gd name="T38" fmla="*/ 55 w 62"/>
                <a:gd name="T39" fmla="*/ 3 h 16"/>
                <a:gd name="T40" fmla="*/ 59 w 62"/>
                <a:gd name="T41" fmla="*/ 3 h 16"/>
                <a:gd name="T42" fmla="*/ 62 w 62"/>
                <a:gd name="T43" fmla="*/ 0 h 16"/>
                <a:gd name="T44" fmla="*/ 62 w 62"/>
                <a:gd name="T45" fmla="*/ 0 h 16"/>
                <a:gd name="T46" fmla="*/ 59 w 62"/>
                <a:gd name="T47" fmla="*/ 0 h 16"/>
                <a:gd name="T48" fmla="*/ 52 w 62"/>
                <a:gd name="T49" fmla="*/ 0 h 16"/>
                <a:gd name="T50" fmla="*/ 49 w 62"/>
                <a:gd name="T51" fmla="*/ 0 h 16"/>
                <a:gd name="T52" fmla="*/ 42 w 62"/>
                <a:gd name="T53" fmla="*/ 0 h 16"/>
                <a:gd name="T54" fmla="*/ 38 w 62"/>
                <a:gd name="T55" fmla="*/ 0 h 16"/>
                <a:gd name="T56" fmla="*/ 35 w 62"/>
                <a:gd name="T57" fmla="*/ 0 h 16"/>
                <a:gd name="T58" fmla="*/ 24 w 62"/>
                <a:gd name="T59" fmla="*/ 0 h 16"/>
                <a:gd name="T60" fmla="*/ 21 w 62"/>
                <a:gd name="T61" fmla="*/ 6 h 16"/>
                <a:gd name="T62" fmla="*/ 14 w 62"/>
                <a:gd name="T6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2" h="16">
                  <a:moveTo>
                    <a:pt x="0" y="13"/>
                  </a:moveTo>
                  <a:lnTo>
                    <a:pt x="4" y="16"/>
                  </a:lnTo>
                  <a:lnTo>
                    <a:pt x="7" y="13"/>
                  </a:lnTo>
                  <a:lnTo>
                    <a:pt x="11" y="13"/>
                  </a:lnTo>
                  <a:lnTo>
                    <a:pt x="11" y="10"/>
                  </a:lnTo>
                  <a:lnTo>
                    <a:pt x="7" y="10"/>
                  </a:lnTo>
                  <a:lnTo>
                    <a:pt x="4" y="10"/>
                  </a:lnTo>
                  <a:lnTo>
                    <a:pt x="0" y="13"/>
                  </a:lnTo>
                  <a:lnTo>
                    <a:pt x="0" y="13"/>
                  </a:lnTo>
                  <a:close/>
                  <a:moveTo>
                    <a:pt x="14" y="6"/>
                  </a:moveTo>
                  <a:lnTo>
                    <a:pt x="18" y="13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3"/>
                  </a:lnTo>
                  <a:lnTo>
                    <a:pt x="31" y="10"/>
                  </a:lnTo>
                  <a:lnTo>
                    <a:pt x="35" y="13"/>
                  </a:lnTo>
                  <a:lnTo>
                    <a:pt x="42" y="10"/>
                  </a:lnTo>
                  <a:lnTo>
                    <a:pt x="49" y="6"/>
                  </a:lnTo>
                  <a:lnTo>
                    <a:pt x="55" y="6"/>
                  </a:lnTo>
                  <a:lnTo>
                    <a:pt x="55" y="3"/>
                  </a:lnTo>
                  <a:lnTo>
                    <a:pt x="59" y="3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24" y="0"/>
                  </a:lnTo>
                  <a:lnTo>
                    <a:pt x="21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" name="Freeform 23"/>
            <p:cNvSpPr>
              <a:spLocks noEditPoints="1"/>
            </p:cNvSpPr>
            <p:nvPr/>
          </p:nvSpPr>
          <p:spPr bwMode="auto">
            <a:xfrm>
              <a:off x="9356726" y="4431367"/>
              <a:ext cx="590550" cy="179387"/>
            </a:xfrm>
            <a:custGeom>
              <a:avLst/>
              <a:gdLst>
                <a:gd name="T0" fmla="*/ 224 w 372"/>
                <a:gd name="T1" fmla="*/ 81 h 113"/>
                <a:gd name="T2" fmla="*/ 4 w 372"/>
                <a:gd name="T3" fmla="*/ 39 h 113"/>
                <a:gd name="T4" fmla="*/ 0 w 372"/>
                <a:gd name="T5" fmla="*/ 33 h 113"/>
                <a:gd name="T6" fmla="*/ 203 w 372"/>
                <a:gd name="T7" fmla="*/ 110 h 113"/>
                <a:gd name="T8" fmla="*/ 217 w 372"/>
                <a:gd name="T9" fmla="*/ 110 h 113"/>
                <a:gd name="T10" fmla="*/ 255 w 372"/>
                <a:gd name="T11" fmla="*/ 104 h 113"/>
                <a:gd name="T12" fmla="*/ 283 w 372"/>
                <a:gd name="T13" fmla="*/ 104 h 113"/>
                <a:gd name="T14" fmla="*/ 303 w 372"/>
                <a:gd name="T15" fmla="*/ 62 h 113"/>
                <a:gd name="T16" fmla="*/ 313 w 372"/>
                <a:gd name="T17" fmla="*/ 52 h 113"/>
                <a:gd name="T18" fmla="*/ 338 w 372"/>
                <a:gd name="T19" fmla="*/ 55 h 113"/>
                <a:gd name="T20" fmla="*/ 355 w 372"/>
                <a:gd name="T21" fmla="*/ 55 h 113"/>
                <a:gd name="T22" fmla="*/ 362 w 372"/>
                <a:gd name="T23" fmla="*/ 42 h 113"/>
                <a:gd name="T24" fmla="*/ 362 w 372"/>
                <a:gd name="T25" fmla="*/ 36 h 113"/>
                <a:gd name="T26" fmla="*/ 344 w 372"/>
                <a:gd name="T27" fmla="*/ 33 h 113"/>
                <a:gd name="T28" fmla="*/ 341 w 372"/>
                <a:gd name="T29" fmla="*/ 29 h 113"/>
                <a:gd name="T30" fmla="*/ 341 w 372"/>
                <a:gd name="T31" fmla="*/ 20 h 113"/>
                <a:gd name="T32" fmla="*/ 327 w 372"/>
                <a:gd name="T33" fmla="*/ 7 h 113"/>
                <a:gd name="T34" fmla="*/ 324 w 372"/>
                <a:gd name="T35" fmla="*/ 13 h 113"/>
                <a:gd name="T36" fmla="*/ 310 w 372"/>
                <a:gd name="T37" fmla="*/ 26 h 113"/>
                <a:gd name="T38" fmla="*/ 293 w 372"/>
                <a:gd name="T39" fmla="*/ 39 h 113"/>
                <a:gd name="T40" fmla="*/ 296 w 372"/>
                <a:gd name="T41" fmla="*/ 42 h 113"/>
                <a:gd name="T42" fmla="*/ 293 w 372"/>
                <a:gd name="T43" fmla="*/ 55 h 113"/>
                <a:gd name="T44" fmla="*/ 289 w 372"/>
                <a:gd name="T45" fmla="*/ 46 h 113"/>
                <a:gd name="T46" fmla="*/ 283 w 372"/>
                <a:gd name="T47" fmla="*/ 55 h 113"/>
                <a:gd name="T48" fmla="*/ 269 w 372"/>
                <a:gd name="T49" fmla="*/ 55 h 113"/>
                <a:gd name="T50" fmla="*/ 252 w 372"/>
                <a:gd name="T51" fmla="*/ 75 h 113"/>
                <a:gd name="T52" fmla="*/ 231 w 372"/>
                <a:gd name="T53" fmla="*/ 88 h 113"/>
                <a:gd name="T54" fmla="*/ 221 w 372"/>
                <a:gd name="T55" fmla="*/ 94 h 113"/>
                <a:gd name="T56" fmla="*/ 200 w 372"/>
                <a:gd name="T57" fmla="*/ 100 h 113"/>
                <a:gd name="T58" fmla="*/ 190 w 372"/>
                <a:gd name="T59" fmla="*/ 97 h 113"/>
                <a:gd name="T60" fmla="*/ 327 w 372"/>
                <a:gd name="T61" fmla="*/ 0 h 113"/>
                <a:gd name="T62" fmla="*/ 334 w 372"/>
                <a:gd name="T63" fmla="*/ 4 h 113"/>
                <a:gd name="T64" fmla="*/ 221 w 372"/>
                <a:gd name="T65" fmla="*/ 91 h 113"/>
                <a:gd name="T66" fmla="*/ 224 w 372"/>
                <a:gd name="T67" fmla="*/ 88 h 113"/>
                <a:gd name="T68" fmla="*/ 227 w 372"/>
                <a:gd name="T69" fmla="*/ 81 h 113"/>
                <a:gd name="T70" fmla="*/ 224 w 372"/>
                <a:gd name="T71" fmla="*/ 81 h 113"/>
                <a:gd name="T72" fmla="*/ 0 w 372"/>
                <a:gd name="T73" fmla="*/ 13 h 113"/>
                <a:gd name="T74" fmla="*/ 18 w 372"/>
                <a:gd name="T75" fmla="*/ 16 h 113"/>
                <a:gd name="T76" fmla="*/ 21 w 372"/>
                <a:gd name="T77" fmla="*/ 29 h 113"/>
                <a:gd name="T78" fmla="*/ 35 w 372"/>
                <a:gd name="T79" fmla="*/ 23 h 113"/>
                <a:gd name="T80" fmla="*/ 42 w 372"/>
                <a:gd name="T81" fmla="*/ 20 h 113"/>
                <a:gd name="T82" fmla="*/ 66 w 372"/>
                <a:gd name="T83" fmla="*/ 52 h 113"/>
                <a:gd name="T84" fmla="*/ 66 w 372"/>
                <a:gd name="T85" fmla="*/ 75 h 113"/>
                <a:gd name="T86" fmla="*/ 76 w 372"/>
                <a:gd name="T87" fmla="*/ 84 h 113"/>
                <a:gd name="T88" fmla="*/ 80 w 372"/>
                <a:gd name="T89" fmla="*/ 94 h 113"/>
                <a:gd name="T90" fmla="*/ 80 w 372"/>
                <a:gd name="T91" fmla="*/ 100 h 113"/>
                <a:gd name="T92" fmla="*/ 80 w 372"/>
                <a:gd name="T93" fmla="*/ 104 h 113"/>
                <a:gd name="T94" fmla="*/ 69 w 372"/>
                <a:gd name="T95" fmla="*/ 104 h 113"/>
                <a:gd name="T96" fmla="*/ 49 w 372"/>
                <a:gd name="T97" fmla="*/ 94 h 113"/>
                <a:gd name="T98" fmla="*/ 35 w 372"/>
                <a:gd name="T99" fmla="*/ 81 h 113"/>
                <a:gd name="T100" fmla="*/ 25 w 372"/>
                <a:gd name="T101" fmla="*/ 71 h 113"/>
                <a:gd name="T102" fmla="*/ 11 w 372"/>
                <a:gd name="T103" fmla="*/ 58 h 113"/>
                <a:gd name="T104" fmla="*/ 7 w 372"/>
                <a:gd name="T105" fmla="*/ 4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2" h="113">
                  <a:moveTo>
                    <a:pt x="224" y="81"/>
                  </a:moveTo>
                  <a:lnTo>
                    <a:pt x="224" y="84"/>
                  </a:lnTo>
                  <a:lnTo>
                    <a:pt x="224" y="84"/>
                  </a:lnTo>
                  <a:lnTo>
                    <a:pt x="224" y="84"/>
                  </a:lnTo>
                  <a:lnTo>
                    <a:pt x="224" y="81"/>
                  </a:lnTo>
                  <a:lnTo>
                    <a:pt x="224" y="81"/>
                  </a:lnTo>
                  <a:lnTo>
                    <a:pt x="224" y="81"/>
                  </a:lnTo>
                  <a:close/>
                  <a:moveTo>
                    <a:pt x="0" y="33"/>
                  </a:moveTo>
                  <a:lnTo>
                    <a:pt x="0" y="36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  <a:moveTo>
                    <a:pt x="190" y="97"/>
                  </a:moveTo>
                  <a:lnTo>
                    <a:pt x="193" y="100"/>
                  </a:lnTo>
                  <a:lnTo>
                    <a:pt x="197" y="107"/>
                  </a:lnTo>
                  <a:lnTo>
                    <a:pt x="200" y="107"/>
                  </a:lnTo>
                  <a:lnTo>
                    <a:pt x="203" y="110"/>
                  </a:lnTo>
                  <a:lnTo>
                    <a:pt x="203" y="113"/>
                  </a:lnTo>
                  <a:lnTo>
                    <a:pt x="207" y="113"/>
                  </a:lnTo>
                  <a:lnTo>
                    <a:pt x="214" y="113"/>
                  </a:lnTo>
                  <a:lnTo>
                    <a:pt x="214" y="110"/>
                  </a:lnTo>
                  <a:lnTo>
                    <a:pt x="217" y="110"/>
                  </a:lnTo>
                  <a:lnTo>
                    <a:pt x="221" y="110"/>
                  </a:lnTo>
                  <a:lnTo>
                    <a:pt x="231" y="110"/>
                  </a:lnTo>
                  <a:lnTo>
                    <a:pt x="241" y="107"/>
                  </a:lnTo>
                  <a:lnTo>
                    <a:pt x="245" y="104"/>
                  </a:lnTo>
                  <a:lnTo>
                    <a:pt x="255" y="104"/>
                  </a:lnTo>
                  <a:lnTo>
                    <a:pt x="258" y="107"/>
                  </a:lnTo>
                  <a:lnTo>
                    <a:pt x="262" y="107"/>
                  </a:lnTo>
                  <a:lnTo>
                    <a:pt x="265" y="107"/>
                  </a:lnTo>
                  <a:lnTo>
                    <a:pt x="276" y="104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89" y="91"/>
                  </a:lnTo>
                  <a:lnTo>
                    <a:pt x="293" y="84"/>
                  </a:lnTo>
                  <a:lnTo>
                    <a:pt x="300" y="75"/>
                  </a:lnTo>
                  <a:lnTo>
                    <a:pt x="303" y="62"/>
                  </a:lnTo>
                  <a:lnTo>
                    <a:pt x="303" y="62"/>
                  </a:lnTo>
                  <a:lnTo>
                    <a:pt x="307" y="58"/>
                  </a:lnTo>
                  <a:lnTo>
                    <a:pt x="307" y="55"/>
                  </a:lnTo>
                  <a:lnTo>
                    <a:pt x="310" y="52"/>
                  </a:lnTo>
                  <a:lnTo>
                    <a:pt x="313" y="52"/>
                  </a:lnTo>
                  <a:lnTo>
                    <a:pt x="317" y="52"/>
                  </a:lnTo>
                  <a:lnTo>
                    <a:pt x="327" y="52"/>
                  </a:lnTo>
                  <a:lnTo>
                    <a:pt x="331" y="55"/>
                  </a:lnTo>
                  <a:lnTo>
                    <a:pt x="334" y="55"/>
                  </a:lnTo>
                  <a:lnTo>
                    <a:pt x="338" y="55"/>
                  </a:lnTo>
                  <a:lnTo>
                    <a:pt x="338" y="52"/>
                  </a:lnTo>
                  <a:lnTo>
                    <a:pt x="344" y="55"/>
                  </a:lnTo>
                  <a:lnTo>
                    <a:pt x="348" y="55"/>
                  </a:lnTo>
                  <a:lnTo>
                    <a:pt x="351" y="55"/>
                  </a:lnTo>
                  <a:lnTo>
                    <a:pt x="355" y="55"/>
                  </a:lnTo>
                  <a:lnTo>
                    <a:pt x="355" y="52"/>
                  </a:lnTo>
                  <a:lnTo>
                    <a:pt x="351" y="49"/>
                  </a:lnTo>
                  <a:lnTo>
                    <a:pt x="351" y="46"/>
                  </a:lnTo>
                  <a:lnTo>
                    <a:pt x="355" y="42"/>
                  </a:lnTo>
                  <a:lnTo>
                    <a:pt x="362" y="42"/>
                  </a:lnTo>
                  <a:lnTo>
                    <a:pt x="369" y="42"/>
                  </a:lnTo>
                  <a:lnTo>
                    <a:pt x="372" y="39"/>
                  </a:lnTo>
                  <a:lnTo>
                    <a:pt x="372" y="36"/>
                  </a:lnTo>
                  <a:lnTo>
                    <a:pt x="369" y="36"/>
                  </a:lnTo>
                  <a:lnTo>
                    <a:pt x="362" y="36"/>
                  </a:lnTo>
                  <a:lnTo>
                    <a:pt x="358" y="33"/>
                  </a:lnTo>
                  <a:lnTo>
                    <a:pt x="355" y="33"/>
                  </a:lnTo>
                  <a:lnTo>
                    <a:pt x="351" y="29"/>
                  </a:lnTo>
                  <a:lnTo>
                    <a:pt x="348" y="29"/>
                  </a:lnTo>
                  <a:lnTo>
                    <a:pt x="344" y="33"/>
                  </a:lnTo>
                  <a:lnTo>
                    <a:pt x="344" y="29"/>
                  </a:lnTo>
                  <a:lnTo>
                    <a:pt x="348" y="29"/>
                  </a:lnTo>
                  <a:lnTo>
                    <a:pt x="348" y="26"/>
                  </a:lnTo>
                  <a:lnTo>
                    <a:pt x="344" y="26"/>
                  </a:lnTo>
                  <a:lnTo>
                    <a:pt x="341" y="29"/>
                  </a:lnTo>
                  <a:lnTo>
                    <a:pt x="341" y="26"/>
                  </a:lnTo>
                  <a:lnTo>
                    <a:pt x="338" y="26"/>
                  </a:lnTo>
                  <a:lnTo>
                    <a:pt x="338" y="23"/>
                  </a:lnTo>
                  <a:lnTo>
                    <a:pt x="341" y="20"/>
                  </a:lnTo>
                  <a:lnTo>
                    <a:pt x="341" y="20"/>
                  </a:lnTo>
                  <a:lnTo>
                    <a:pt x="338" y="16"/>
                  </a:lnTo>
                  <a:lnTo>
                    <a:pt x="334" y="16"/>
                  </a:lnTo>
                  <a:lnTo>
                    <a:pt x="331" y="13"/>
                  </a:lnTo>
                  <a:lnTo>
                    <a:pt x="331" y="10"/>
                  </a:lnTo>
                  <a:lnTo>
                    <a:pt x="327" y="7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4" y="16"/>
                  </a:lnTo>
                  <a:lnTo>
                    <a:pt x="320" y="13"/>
                  </a:lnTo>
                  <a:lnTo>
                    <a:pt x="324" y="13"/>
                  </a:lnTo>
                  <a:lnTo>
                    <a:pt x="320" y="10"/>
                  </a:lnTo>
                  <a:lnTo>
                    <a:pt x="320" y="10"/>
                  </a:lnTo>
                  <a:lnTo>
                    <a:pt x="317" y="16"/>
                  </a:lnTo>
                  <a:lnTo>
                    <a:pt x="313" y="16"/>
                  </a:lnTo>
                  <a:lnTo>
                    <a:pt x="310" y="26"/>
                  </a:lnTo>
                  <a:lnTo>
                    <a:pt x="310" y="29"/>
                  </a:lnTo>
                  <a:lnTo>
                    <a:pt x="303" y="36"/>
                  </a:lnTo>
                  <a:lnTo>
                    <a:pt x="300" y="36"/>
                  </a:lnTo>
                  <a:lnTo>
                    <a:pt x="293" y="36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42"/>
                  </a:lnTo>
                  <a:lnTo>
                    <a:pt x="293" y="42"/>
                  </a:lnTo>
                  <a:lnTo>
                    <a:pt x="300" y="39"/>
                  </a:lnTo>
                  <a:lnTo>
                    <a:pt x="296" y="42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6" y="52"/>
                  </a:lnTo>
                  <a:lnTo>
                    <a:pt x="293" y="55"/>
                  </a:lnTo>
                  <a:lnTo>
                    <a:pt x="293" y="52"/>
                  </a:lnTo>
                  <a:lnTo>
                    <a:pt x="293" y="49"/>
                  </a:lnTo>
                  <a:lnTo>
                    <a:pt x="289" y="46"/>
                  </a:lnTo>
                  <a:lnTo>
                    <a:pt x="289" y="46"/>
                  </a:lnTo>
                  <a:lnTo>
                    <a:pt x="289" y="46"/>
                  </a:lnTo>
                  <a:lnTo>
                    <a:pt x="289" y="46"/>
                  </a:lnTo>
                  <a:lnTo>
                    <a:pt x="286" y="49"/>
                  </a:lnTo>
                  <a:lnTo>
                    <a:pt x="286" y="55"/>
                  </a:lnTo>
                  <a:lnTo>
                    <a:pt x="286" y="55"/>
                  </a:lnTo>
                  <a:lnTo>
                    <a:pt x="283" y="55"/>
                  </a:lnTo>
                  <a:lnTo>
                    <a:pt x="279" y="49"/>
                  </a:lnTo>
                  <a:lnTo>
                    <a:pt x="276" y="49"/>
                  </a:lnTo>
                  <a:lnTo>
                    <a:pt x="272" y="49"/>
                  </a:lnTo>
                  <a:lnTo>
                    <a:pt x="272" y="52"/>
                  </a:lnTo>
                  <a:lnTo>
                    <a:pt x="269" y="55"/>
                  </a:lnTo>
                  <a:lnTo>
                    <a:pt x="265" y="58"/>
                  </a:lnTo>
                  <a:lnTo>
                    <a:pt x="265" y="62"/>
                  </a:lnTo>
                  <a:lnTo>
                    <a:pt x="258" y="65"/>
                  </a:lnTo>
                  <a:lnTo>
                    <a:pt x="258" y="68"/>
                  </a:lnTo>
                  <a:lnTo>
                    <a:pt x="252" y="75"/>
                  </a:lnTo>
                  <a:lnTo>
                    <a:pt x="248" y="78"/>
                  </a:lnTo>
                  <a:lnTo>
                    <a:pt x="231" y="81"/>
                  </a:lnTo>
                  <a:lnTo>
                    <a:pt x="231" y="81"/>
                  </a:lnTo>
                  <a:lnTo>
                    <a:pt x="231" y="88"/>
                  </a:lnTo>
                  <a:lnTo>
                    <a:pt x="231" y="88"/>
                  </a:lnTo>
                  <a:lnTo>
                    <a:pt x="231" y="88"/>
                  </a:lnTo>
                  <a:lnTo>
                    <a:pt x="227" y="88"/>
                  </a:lnTo>
                  <a:lnTo>
                    <a:pt x="224" y="88"/>
                  </a:lnTo>
                  <a:lnTo>
                    <a:pt x="221" y="91"/>
                  </a:lnTo>
                  <a:lnTo>
                    <a:pt x="221" y="94"/>
                  </a:lnTo>
                  <a:lnTo>
                    <a:pt x="221" y="100"/>
                  </a:lnTo>
                  <a:lnTo>
                    <a:pt x="217" y="104"/>
                  </a:lnTo>
                  <a:lnTo>
                    <a:pt x="217" y="104"/>
                  </a:lnTo>
                  <a:lnTo>
                    <a:pt x="207" y="104"/>
                  </a:lnTo>
                  <a:lnTo>
                    <a:pt x="200" y="100"/>
                  </a:lnTo>
                  <a:lnTo>
                    <a:pt x="197" y="100"/>
                  </a:lnTo>
                  <a:lnTo>
                    <a:pt x="193" y="97"/>
                  </a:lnTo>
                  <a:lnTo>
                    <a:pt x="190" y="94"/>
                  </a:lnTo>
                  <a:lnTo>
                    <a:pt x="190" y="97"/>
                  </a:lnTo>
                  <a:lnTo>
                    <a:pt x="190" y="97"/>
                  </a:lnTo>
                  <a:close/>
                  <a:moveTo>
                    <a:pt x="327" y="0"/>
                  </a:moveTo>
                  <a:lnTo>
                    <a:pt x="320" y="4"/>
                  </a:lnTo>
                  <a:lnTo>
                    <a:pt x="324" y="4"/>
                  </a:lnTo>
                  <a:lnTo>
                    <a:pt x="327" y="4"/>
                  </a:lnTo>
                  <a:lnTo>
                    <a:pt x="327" y="0"/>
                  </a:lnTo>
                  <a:lnTo>
                    <a:pt x="327" y="0"/>
                  </a:lnTo>
                  <a:close/>
                  <a:moveTo>
                    <a:pt x="331" y="0"/>
                  </a:moveTo>
                  <a:lnTo>
                    <a:pt x="327" y="4"/>
                  </a:lnTo>
                  <a:lnTo>
                    <a:pt x="327" y="7"/>
                  </a:lnTo>
                  <a:lnTo>
                    <a:pt x="334" y="4"/>
                  </a:lnTo>
                  <a:lnTo>
                    <a:pt x="334" y="4"/>
                  </a:lnTo>
                  <a:lnTo>
                    <a:pt x="331" y="0"/>
                  </a:lnTo>
                  <a:lnTo>
                    <a:pt x="331" y="0"/>
                  </a:lnTo>
                  <a:close/>
                  <a:moveTo>
                    <a:pt x="224" y="88"/>
                  </a:moveTo>
                  <a:lnTo>
                    <a:pt x="221" y="91"/>
                  </a:lnTo>
                  <a:lnTo>
                    <a:pt x="224" y="88"/>
                  </a:lnTo>
                  <a:lnTo>
                    <a:pt x="224" y="88"/>
                  </a:lnTo>
                  <a:lnTo>
                    <a:pt x="224" y="88"/>
                  </a:lnTo>
                  <a:close/>
                  <a:moveTo>
                    <a:pt x="227" y="88"/>
                  </a:moveTo>
                  <a:lnTo>
                    <a:pt x="224" y="88"/>
                  </a:lnTo>
                  <a:lnTo>
                    <a:pt x="224" y="88"/>
                  </a:lnTo>
                  <a:lnTo>
                    <a:pt x="224" y="84"/>
                  </a:lnTo>
                  <a:lnTo>
                    <a:pt x="227" y="88"/>
                  </a:lnTo>
                  <a:lnTo>
                    <a:pt x="227" y="88"/>
                  </a:lnTo>
                  <a:close/>
                  <a:moveTo>
                    <a:pt x="227" y="81"/>
                  </a:moveTo>
                  <a:lnTo>
                    <a:pt x="231" y="84"/>
                  </a:lnTo>
                  <a:lnTo>
                    <a:pt x="227" y="88"/>
                  </a:lnTo>
                  <a:lnTo>
                    <a:pt x="224" y="84"/>
                  </a:lnTo>
                  <a:lnTo>
                    <a:pt x="224" y="84"/>
                  </a:lnTo>
                  <a:lnTo>
                    <a:pt x="224" y="81"/>
                  </a:lnTo>
                  <a:lnTo>
                    <a:pt x="227" y="81"/>
                  </a:lnTo>
                  <a:lnTo>
                    <a:pt x="227" y="81"/>
                  </a:lnTo>
                  <a:lnTo>
                    <a:pt x="227" y="81"/>
                  </a:lnTo>
                  <a:close/>
                  <a:moveTo>
                    <a:pt x="0" y="16"/>
                  </a:moveTo>
                  <a:lnTo>
                    <a:pt x="0" y="13"/>
                  </a:lnTo>
                  <a:lnTo>
                    <a:pt x="4" y="10"/>
                  </a:lnTo>
                  <a:lnTo>
                    <a:pt x="7" y="13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8" y="16"/>
                  </a:lnTo>
                  <a:lnTo>
                    <a:pt x="21" y="20"/>
                  </a:lnTo>
                  <a:lnTo>
                    <a:pt x="21" y="23"/>
                  </a:lnTo>
                  <a:lnTo>
                    <a:pt x="18" y="26"/>
                  </a:lnTo>
                  <a:lnTo>
                    <a:pt x="18" y="29"/>
                  </a:lnTo>
                  <a:lnTo>
                    <a:pt x="21" y="29"/>
                  </a:lnTo>
                  <a:lnTo>
                    <a:pt x="28" y="26"/>
                  </a:lnTo>
                  <a:lnTo>
                    <a:pt x="31" y="26"/>
                  </a:lnTo>
                  <a:lnTo>
                    <a:pt x="31" y="29"/>
                  </a:lnTo>
                  <a:lnTo>
                    <a:pt x="35" y="26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8" y="23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5" y="26"/>
                  </a:lnTo>
                  <a:lnTo>
                    <a:pt x="59" y="36"/>
                  </a:lnTo>
                  <a:lnTo>
                    <a:pt x="62" y="42"/>
                  </a:lnTo>
                  <a:lnTo>
                    <a:pt x="66" y="49"/>
                  </a:lnTo>
                  <a:lnTo>
                    <a:pt x="66" y="52"/>
                  </a:lnTo>
                  <a:lnTo>
                    <a:pt x="66" y="58"/>
                  </a:lnTo>
                  <a:lnTo>
                    <a:pt x="62" y="62"/>
                  </a:lnTo>
                  <a:lnTo>
                    <a:pt x="62" y="65"/>
                  </a:lnTo>
                  <a:lnTo>
                    <a:pt x="66" y="65"/>
                  </a:lnTo>
                  <a:lnTo>
                    <a:pt x="66" y="75"/>
                  </a:lnTo>
                  <a:lnTo>
                    <a:pt x="69" y="78"/>
                  </a:lnTo>
                  <a:lnTo>
                    <a:pt x="73" y="81"/>
                  </a:lnTo>
                  <a:lnTo>
                    <a:pt x="76" y="81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3" y="100"/>
                  </a:lnTo>
                  <a:lnTo>
                    <a:pt x="83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7"/>
                  </a:lnTo>
                  <a:lnTo>
                    <a:pt x="73" y="104"/>
                  </a:lnTo>
                  <a:lnTo>
                    <a:pt x="73" y="104"/>
                  </a:lnTo>
                  <a:lnTo>
                    <a:pt x="69" y="104"/>
                  </a:lnTo>
                  <a:lnTo>
                    <a:pt x="66" y="100"/>
                  </a:lnTo>
                  <a:lnTo>
                    <a:pt x="59" y="100"/>
                  </a:lnTo>
                  <a:lnTo>
                    <a:pt x="55" y="97"/>
                  </a:lnTo>
                  <a:lnTo>
                    <a:pt x="52" y="94"/>
                  </a:lnTo>
                  <a:lnTo>
                    <a:pt x="49" y="94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38" y="91"/>
                  </a:lnTo>
                  <a:lnTo>
                    <a:pt x="38" y="88"/>
                  </a:lnTo>
                  <a:lnTo>
                    <a:pt x="35" y="81"/>
                  </a:lnTo>
                  <a:lnTo>
                    <a:pt x="28" y="81"/>
                  </a:lnTo>
                  <a:lnTo>
                    <a:pt x="25" y="78"/>
                  </a:lnTo>
                  <a:lnTo>
                    <a:pt x="25" y="75"/>
                  </a:lnTo>
                  <a:lnTo>
                    <a:pt x="28" y="75"/>
                  </a:lnTo>
                  <a:lnTo>
                    <a:pt x="25" y="71"/>
                  </a:lnTo>
                  <a:lnTo>
                    <a:pt x="21" y="68"/>
                  </a:lnTo>
                  <a:lnTo>
                    <a:pt x="18" y="65"/>
                  </a:lnTo>
                  <a:lnTo>
                    <a:pt x="14" y="62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5"/>
                  </a:lnTo>
                  <a:lnTo>
                    <a:pt x="7" y="52"/>
                  </a:lnTo>
                  <a:lnTo>
                    <a:pt x="11" y="52"/>
                  </a:lnTo>
                  <a:lnTo>
                    <a:pt x="11" y="46"/>
                  </a:lnTo>
                  <a:lnTo>
                    <a:pt x="7" y="42"/>
                  </a:lnTo>
                  <a:lnTo>
                    <a:pt x="7" y="36"/>
                  </a:lnTo>
                  <a:lnTo>
                    <a:pt x="4" y="23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" name="Freeform 24"/>
            <p:cNvSpPr>
              <a:spLocks noEditPoints="1"/>
            </p:cNvSpPr>
            <p:nvPr/>
          </p:nvSpPr>
          <p:spPr bwMode="auto">
            <a:xfrm>
              <a:off x="9788526" y="4498042"/>
              <a:ext cx="38100" cy="20637"/>
            </a:xfrm>
            <a:custGeom>
              <a:avLst/>
              <a:gdLst>
                <a:gd name="T0" fmla="*/ 0 w 24"/>
                <a:gd name="T1" fmla="*/ 7 h 13"/>
                <a:gd name="T2" fmla="*/ 4 w 24"/>
                <a:gd name="T3" fmla="*/ 7 h 13"/>
                <a:gd name="T4" fmla="*/ 7 w 24"/>
                <a:gd name="T5" fmla="*/ 7 h 13"/>
                <a:gd name="T6" fmla="*/ 11 w 24"/>
                <a:gd name="T7" fmla="*/ 13 h 13"/>
                <a:gd name="T8" fmla="*/ 14 w 24"/>
                <a:gd name="T9" fmla="*/ 13 h 13"/>
                <a:gd name="T10" fmla="*/ 14 w 24"/>
                <a:gd name="T11" fmla="*/ 13 h 13"/>
                <a:gd name="T12" fmla="*/ 14 w 24"/>
                <a:gd name="T13" fmla="*/ 7 h 13"/>
                <a:gd name="T14" fmla="*/ 17 w 24"/>
                <a:gd name="T15" fmla="*/ 4 h 13"/>
                <a:gd name="T16" fmla="*/ 17 w 24"/>
                <a:gd name="T17" fmla="*/ 4 h 13"/>
                <a:gd name="T18" fmla="*/ 17 w 24"/>
                <a:gd name="T19" fmla="*/ 4 h 13"/>
                <a:gd name="T20" fmla="*/ 17 w 24"/>
                <a:gd name="T21" fmla="*/ 0 h 13"/>
                <a:gd name="T22" fmla="*/ 14 w 24"/>
                <a:gd name="T23" fmla="*/ 0 h 13"/>
                <a:gd name="T24" fmla="*/ 11 w 24"/>
                <a:gd name="T25" fmla="*/ 4 h 13"/>
                <a:gd name="T26" fmla="*/ 4 w 24"/>
                <a:gd name="T27" fmla="*/ 7 h 13"/>
                <a:gd name="T28" fmla="*/ 0 w 24"/>
                <a:gd name="T29" fmla="*/ 7 h 13"/>
                <a:gd name="T30" fmla="*/ 0 w 24"/>
                <a:gd name="T31" fmla="*/ 7 h 13"/>
                <a:gd name="T32" fmla="*/ 17 w 24"/>
                <a:gd name="T33" fmla="*/ 4 h 13"/>
                <a:gd name="T34" fmla="*/ 21 w 24"/>
                <a:gd name="T35" fmla="*/ 7 h 13"/>
                <a:gd name="T36" fmla="*/ 21 w 24"/>
                <a:gd name="T37" fmla="*/ 10 h 13"/>
                <a:gd name="T38" fmla="*/ 21 w 24"/>
                <a:gd name="T39" fmla="*/ 13 h 13"/>
                <a:gd name="T40" fmla="*/ 24 w 24"/>
                <a:gd name="T41" fmla="*/ 10 h 13"/>
                <a:gd name="T42" fmla="*/ 21 w 24"/>
                <a:gd name="T43" fmla="*/ 4 h 13"/>
                <a:gd name="T44" fmla="*/ 21 w 24"/>
                <a:gd name="T45" fmla="*/ 4 h 13"/>
                <a:gd name="T46" fmla="*/ 21 w 24"/>
                <a:gd name="T47" fmla="*/ 4 h 13"/>
                <a:gd name="T48" fmla="*/ 17 w 24"/>
                <a:gd name="T4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" h="13">
                  <a:moveTo>
                    <a:pt x="0" y="7"/>
                  </a:moveTo>
                  <a:lnTo>
                    <a:pt x="4" y="7"/>
                  </a:lnTo>
                  <a:lnTo>
                    <a:pt x="7" y="7"/>
                  </a:lnTo>
                  <a:lnTo>
                    <a:pt x="11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7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1" y="4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17" y="4"/>
                  </a:moveTo>
                  <a:lnTo>
                    <a:pt x="21" y="7"/>
                  </a:lnTo>
                  <a:lnTo>
                    <a:pt x="21" y="10"/>
                  </a:lnTo>
                  <a:lnTo>
                    <a:pt x="21" y="13"/>
                  </a:lnTo>
                  <a:lnTo>
                    <a:pt x="24" y="10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17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" name="Freeform 25"/>
            <p:cNvSpPr>
              <a:spLocks noEditPoints="1"/>
            </p:cNvSpPr>
            <p:nvPr/>
          </p:nvSpPr>
          <p:spPr bwMode="auto">
            <a:xfrm>
              <a:off x="9378951" y="3980517"/>
              <a:ext cx="257175" cy="420687"/>
            </a:xfrm>
            <a:custGeom>
              <a:avLst/>
              <a:gdLst>
                <a:gd name="T0" fmla="*/ 7 w 162"/>
                <a:gd name="T1" fmla="*/ 13 h 265"/>
                <a:gd name="T2" fmla="*/ 17 w 162"/>
                <a:gd name="T3" fmla="*/ 16 h 265"/>
                <a:gd name="T4" fmla="*/ 31 w 162"/>
                <a:gd name="T5" fmla="*/ 13 h 265"/>
                <a:gd name="T6" fmla="*/ 45 w 162"/>
                <a:gd name="T7" fmla="*/ 13 h 265"/>
                <a:gd name="T8" fmla="*/ 62 w 162"/>
                <a:gd name="T9" fmla="*/ 0 h 265"/>
                <a:gd name="T10" fmla="*/ 83 w 162"/>
                <a:gd name="T11" fmla="*/ 10 h 265"/>
                <a:gd name="T12" fmla="*/ 90 w 162"/>
                <a:gd name="T13" fmla="*/ 13 h 265"/>
                <a:gd name="T14" fmla="*/ 100 w 162"/>
                <a:gd name="T15" fmla="*/ 29 h 265"/>
                <a:gd name="T16" fmla="*/ 114 w 162"/>
                <a:gd name="T17" fmla="*/ 32 h 265"/>
                <a:gd name="T18" fmla="*/ 114 w 162"/>
                <a:gd name="T19" fmla="*/ 36 h 265"/>
                <a:gd name="T20" fmla="*/ 103 w 162"/>
                <a:gd name="T21" fmla="*/ 42 h 265"/>
                <a:gd name="T22" fmla="*/ 97 w 162"/>
                <a:gd name="T23" fmla="*/ 45 h 265"/>
                <a:gd name="T24" fmla="*/ 90 w 162"/>
                <a:gd name="T25" fmla="*/ 48 h 265"/>
                <a:gd name="T26" fmla="*/ 86 w 162"/>
                <a:gd name="T27" fmla="*/ 55 h 265"/>
                <a:gd name="T28" fmla="*/ 83 w 162"/>
                <a:gd name="T29" fmla="*/ 65 h 265"/>
                <a:gd name="T30" fmla="*/ 76 w 162"/>
                <a:gd name="T31" fmla="*/ 68 h 265"/>
                <a:gd name="T32" fmla="*/ 76 w 162"/>
                <a:gd name="T33" fmla="*/ 81 h 265"/>
                <a:gd name="T34" fmla="*/ 83 w 162"/>
                <a:gd name="T35" fmla="*/ 90 h 265"/>
                <a:gd name="T36" fmla="*/ 93 w 162"/>
                <a:gd name="T37" fmla="*/ 100 h 265"/>
                <a:gd name="T38" fmla="*/ 107 w 162"/>
                <a:gd name="T39" fmla="*/ 116 h 265"/>
                <a:gd name="T40" fmla="*/ 141 w 162"/>
                <a:gd name="T41" fmla="*/ 139 h 265"/>
                <a:gd name="T42" fmla="*/ 148 w 162"/>
                <a:gd name="T43" fmla="*/ 149 h 265"/>
                <a:gd name="T44" fmla="*/ 152 w 162"/>
                <a:gd name="T45" fmla="*/ 162 h 265"/>
                <a:gd name="T46" fmla="*/ 155 w 162"/>
                <a:gd name="T47" fmla="*/ 178 h 265"/>
                <a:gd name="T48" fmla="*/ 158 w 162"/>
                <a:gd name="T49" fmla="*/ 187 h 265"/>
                <a:gd name="T50" fmla="*/ 158 w 162"/>
                <a:gd name="T51" fmla="*/ 191 h 265"/>
                <a:gd name="T52" fmla="*/ 158 w 162"/>
                <a:gd name="T53" fmla="*/ 197 h 265"/>
                <a:gd name="T54" fmla="*/ 155 w 162"/>
                <a:gd name="T55" fmla="*/ 210 h 265"/>
                <a:gd name="T56" fmla="*/ 145 w 162"/>
                <a:gd name="T57" fmla="*/ 220 h 265"/>
                <a:gd name="T58" fmla="*/ 131 w 162"/>
                <a:gd name="T59" fmla="*/ 229 h 265"/>
                <a:gd name="T60" fmla="*/ 110 w 162"/>
                <a:gd name="T61" fmla="*/ 233 h 265"/>
                <a:gd name="T62" fmla="*/ 107 w 162"/>
                <a:gd name="T63" fmla="*/ 233 h 265"/>
                <a:gd name="T64" fmla="*/ 110 w 162"/>
                <a:gd name="T65" fmla="*/ 236 h 265"/>
                <a:gd name="T66" fmla="*/ 107 w 162"/>
                <a:gd name="T67" fmla="*/ 242 h 265"/>
                <a:gd name="T68" fmla="*/ 100 w 162"/>
                <a:gd name="T69" fmla="*/ 242 h 265"/>
                <a:gd name="T70" fmla="*/ 100 w 162"/>
                <a:gd name="T71" fmla="*/ 249 h 265"/>
                <a:gd name="T72" fmla="*/ 90 w 162"/>
                <a:gd name="T73" fmla="*/ 255 h 265"/>
                <a:gd name="T74" fmla="*/ 76 w 162"/>
                <a:gd name="T75" fmla="*/ 265 h 265"/>
                <a:gd name="T76" fmla="*/ 79 w 162"/>
                <a:gd name="T77" fmla="*/ 258 h 265"/>
                <a:gd name="T78" fmla="*/ 76 w 162"/>
                <a:gd name="T79" fmla="*/ 252 h 265"/>
                <a:gd name="T80" fmla="*/ 83 w 162"/>
                <a:gd name="T81" fmla="*/ 236 h 265"/>
                <a:gd name="T82" fmla="*/ 69 w 162"/>
                <a:gd name="T83" fmla="*/ 236 h 265"/>
                <a:gd name="T84" fmla="*/ 76 w 162"/>
                <a:gd name="T85" fmla="*/ 229 h 265"/>
                <a:gd name="T86" fmla="*/ 97 w 162"/>
                <a:gd name="T87" fmla="*/ 223 h 265"/>
                <a:gd name="T88" fmla="*/ 100 w 162"/>
                <a:gd name="T89" fmla="*/ 216 h 265"/>
                <a:gd name="T90" fmla="*/ 107 w 162"/>
                <a:gd name="T91" fmla="*/ 207 h 265"/>
                <a:gd name="T92" fmla="*/ 124 w 162"/>
                <a:gd name="T93" fmla="*/ 194 h 265"/>
                <a:gd name="T94" fmla="*/ 121 w 162"/>
                <a:gd name="T95" fmla="*/ 171 h 265"/>
                <a:gd name="T96" fmla="*/ 117 w 162"/>
                <a:gd name="T97" fmla="*/ 155 h 265"/>
                <a:gd name="T98" fmla="*/ 121 w 162"/>
                <a:gd name="T99" fmla="*/ 142 h 265"/>
                <a:gd name="T100" fmla="*/ 117 w 162"/>
                <a:gd name="T101" fmla="*/ 132 h 265"/>
                <a:gd name="T102" fmla="*/ 107 w 162"/>
                <a:gd name="T103" fmla="*/ 123 h 265"/>
                <a:gd name="T104" fmla="*/ 97 w 162"/>
                <a:gd name="T105" fmla="*/ 116 h 265"/>
                <a:gd name="T106" fmla="*/ 83 w 162"/>
                <a:gd name="T107" fmla="*/ 103 h 265"/>
                <a:gd name="T108" fmla="*/ 59 w 162"/>
                <a:gd name="T109" fmla="*/ 87 h 265"/>
                <a:gd name="T110" fmla="*/ 48 w 162"/>
                <a:gd name="T111" fmla="*/ 78 h 265"/>
                <a:gd name="T112" fmla="*/ 55 w 162"/>
                <a:gd name="T113" fmla="*/ 68 h 265"/>
                <a:gd name="T114" fmla="*/ 59 w 162"/>
                <a:gd name="T115" fmla="*/ 55 h 265"/>
                <a:gd name="T116" fmla="*/ 45 w 162"/>
                <a:gd name="T117" fmla="*/ 45 h 265"/>
                <a:gd name="T118" fmla="*/ 14 w 162"/>
                <a:gd name="T119" fmla="*/ 36 h 265"/>
                <a:gd name="T120" fmla="*/ 4 w 162"/>
                <a:gd name="T121" fmla="*/ 19 h 265"/>
                <a:gd name="T122" fmla="*/ 55 w 162"/>
                <a:gd name="T123" fmla="*/ 239 h 265"/>
                <a:gd name="T124" fmla="*/ 59 w 162"/>
                <a:gd name="T125" fmla="*/ 233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265">
                  <a:moveTo>
                    <a:pt x="0" y="19"/>
                  </a:moveTo>
                  <a:lnTo>
                    <a:pt x="4" y="19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7" y="13"/>
                  </a:lnTo>
                  <a:lnTo>
                    <a:pt x="11" y="13"/>
                  </a:lnTo>
                  <a:lnTo>
                    <a:pt x="14" y="13"/>
                  </a:lnTo>
                  <a:lnTo>
                    <a:pt x="14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8" y="16"/>
                  </a:lnTo>
                  <a:lnTo>
                    <a:pt x="28" y="13"/>
                  </a:lnTo>
                  <a:lnTo>
                    <a:pt x="31" y="13"/>
                  </a:lnTo>
                  <a:lnTo>
                    <a:pt x="31" y="16"/>
                  </a:lnTo>
                  <a:lnTo>
                    <a:pt x="35" y="13"/>
                  </a:lnTo>
                  <a:lnTo>
                    <a:pt x="35" y="10"/>
                  </a:lnTo>
                  <a:lnTo>
                    <a:pt x="41" y="10"/>
                  </a:lnTo>
                  <a:lnTo>
                    <a:pt x="45" y="13"/>
                  </a:lnTo>
                  <a:lnTo>
                    <a:pt x="52" y="10"/>
                  </a:lnTo>
                  <a:lnTo>
                    <a:pt x="52" y="6"/>
                  </a:lnTo>
                  <a:lnTo>
                    <a:pt x="55" y="3"/>
                  </a:lnTo>
                  <a:lnTo>
                    <a:pt x="59" y="3"/>
                  </a:lnTo>
                  <a:lnTo>
                    <a:pt x="62" y="0"/>
                  </a:lnTo>
                  <a:lnTo>
                    <a:pt x="66" y="3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90" y="10"/>
                  </a:lnTo>
                  <a:lnTo>
                    <a:pt x="93" y="10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86" y="19"/>
                  </a:lnTo>
                  <a:lnTo>
                    <a:pt x="90" y="19"/>
                  </a:lnTo>
                  <a:lnTo>
                    <a:pt x="90" y="26"/>
                  </a:lnTo>
                  <a:lnTo>
                    <a:pt x="97" y="26"/>
                  </a:lnTo>
                  <a:lnTo>
                    <a:pt x="100" y="29"/>
                  </a:lnTo>
                  <a:lnTo>
                    <a:pt x="103" y="29"/>
                  </a:lnTo>
                  <a:lnTo>
                    <a:pt x="107" y="32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4" y="32"/>
                  </a:lnTo>
                  <a:lnTo>
                    <a:pt x="117" y="32"/>
                  </a:lnTo>
                  <a:lnTo>
                    <a:pt x="117" y="32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0" y="39"/>
                  </a:lnTo>
                  <a:lnTo>
                    <a:pt x="107" y="39"/>
                  </a:lnTo>
                  <a:lnTo>
                    <a:pt x="103" y="39"/>
                  </a:lnTo>
                  <a:lnTo>
                    <a:pt x="103" y="42"/>
                  </a:lnTo>
                  <a:lnTo>
                    <a:pt x="103" y="42"/>
                  </a:lnTo>
                  <a:lnTo>
                    <a:pt x="100" y="45"/>
                  </a:lnTo>
                  <a:lnTo>
                    <a:pt x="100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8"/>
                  </a:lnTo>
                  <a:lnTo>
                    <a:pt x="86" y="48"/>
                  </a:lnTo>
                  <a:lnTo>
                    <a:pt x="90" y="48"/>
                  </a:lnTo>
                  <a:lnTo>
                    <a:pt x="90" y="52"/>
                  </a:lnTo>
                  <a:lnTo>
                    <a:pt x="90" y="55"/>
                  </a:lnTo>
                  <a:lnTo>
                    <a:pt x="86" y="55"/>
                  </a:lnTo>
                  <a:lnTo>
                    <a:pt x="90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79" y="61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9" y="74"/>
                  </a:lnTo>
                  <a:lnTo>
                    <a:pt x="76" y="78"/>
                  </a:lnTo>
                  <a:lnTo>
                    <a:pt x="76" y="81"/>
                  </a:lnTo>
                  <a:lnTo>
                    <a:pt x="79" y="84"/>
                  </a:lnTo>
                  <a:lnTo>
                    <a:pt x="79" y="87"/>
                  </a:lnTo>
                  <a:lnTo>
                    <a:pt x="76" y="87"/>
                  </a:lnTo>
                  <a:lnTo>
                    <a:pt x="79" y="87"/>
                  </a:lnTo>
                  <a:lnTo>
                    <a:pt x="83" y="90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107"/>
                  </a:lnTo>
                  <a:lnTo>
                    <a:pt x="97" y="107"/>
                  </a:lnTo>
                  <a:lnTo>
                    <a:pt x="103" y="113"/>
                  </a:lnTo>
                  <a:lnTo>
                    <a:pt x="107" y="113"/>
                  </a:lnTo>
                  <a:lnTo>
                    <a:pt x="107" y="116"/>
                  </a:lnTo>
                  <a:lnTo>
                    <a:pt x="117" y="120"/>
                  </a:lnTo>
                  <a:lnTo>
                    <a:pt x="127" y="126"/>
                  </a:lnTo>
                  <a:lnTo>
                    <a:pt x="127" y="129"/>
                  </a:lnTo>
                  <a:lnTo>
                    <a:pt x="138" y="136"/>
                  </a:lnTo>
                  <a:lnTo>
                    <a:pt x="141" y="139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41" y="145"/>
                  </a:lnTo>
                  <a:lnTo>
                    <a:pt x="148" y="149"/>
                  </a:lnTo>
                  <a:lnTo>
                    <a:pt x="148" y="149"/>
                  </a:lnTo>
                  <a:lnTo>
                    <a:pt x="148" y="152"/>
                  </a:lnTo>
                  <a:lnTo>
                    <a:pt x="148" y="152"/>
                  </a:lnTo>
                  <a:lnTo>
                    <a:pt x="152" y="155"/>
                  </a:lnTo>
                  <a:lnTo>
                    <a:pt x="152" y="162"/>
                  </a:lnTo>
                  <a:lnTo>
                    <a:pt x="152" y="162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71"/>
                  </a:lnTo>
                  <a:lnTo>
                    <a:pt x="155" y="174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5" y="181"/>
                  </a:lnTo>
                  <a:lnTo>
                    <a:pt x="155" y="184"/>
                  </a:lnTo>
                  <a:lnTo>
                    <a:pt x="158" y="184"/>
                  </a:lnTo>
                  <a:lnTo>
                    <a:pt x="158" y="187"/>
                  </a:lnTo>
                  <a:lnTo>
                    <a:pt x="162" y="191"/>
                  </a:lnTo>
                  <a:lnTo>
                    <a:pt x="162" y="194"/>
                  </a:lnTo>
                  <a:lnTo>
                    <a:pt x="158" y="194"/>
                  </a:lnTo>
                  <a:lnTo>
                    <a:pt x="158" y="191"/>
                  </a:lnTo>
                  <a:lnTo>
                    <a:pt x="158" y="191"/>
                  </a:lnTo>
                  <a:lnTo>
                    <a:pt x="158" y="191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7"/>
                  </a:lnTo>
                  <a:lnTo>
                    <a:pt x="158" y="197"/>
                  </a:lnTo>
                  <a:lnTo>
                    <a:pt x="155" y="200"/>
                  </a:lnTo>
                  <a:lnTo>
                    <a:pt x="155" y="204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10"/>
                  </a:lnTo>
                  <a:lnTo>
                    <a:pt x="155" y="213"/>
                  </a:lnTo>
                  <a:lnTo>
                    <a:pt x="152" y="213"/>
                  </a:lnTo>
                  <a:lnTo>
                    <a:pt x="152" y="216"/>
                  </a:lnTo>
                  <a:lnTo>
                    <a:pt x="148" y="216"/>
                  </a:lnTo>
                  <a:lnTo>
                    <a:pt x="145" y="220"/>
                  </a:lnTo>
                  <a:lnTo>
                    <a:pt x="141" y="223"/>
                  </a:lnTo>
                  <a:lnTo>
                    <a:pt x="138" y="223"/>
                  </a:lnTo>
                  <a:lnTo>
                    <a:pt x="138" y="226"/>
                  </a:lnTo>
                  <a:lnTo>
                    <a:pt x="134" y="226"/>
                  </a:lnTo>
                  <a:lnTo>
                    <a:pt x="131" y="229"/>
                  </a:lnTo>
                  <a:lnTo>
                    <a:pt x="124" y="233"/>
                  </a:lnTo>
                  <a:lnTo>
                    <a:pt x="117" y="233"/>
                  </a:lnTo>
                  <a:lnTo>
                    <a:pt x="117" y="233"/>
                  </a:lnTo>
                  <a:lnTo>
                    <a:pt x="114" y="233"/>
                  </a:lnTo>
                  <a:lnTo>
                    <a:pt x="110" y="233"/>
                  </a:lnTo>
                  <a:lnTo>
                    <a:pt x="110" y="233"/>
                  </a:lnTo>
                  <a:lnTo>
                    <a:pt x="110" y="229"/>
                  </a:lnTo>
                  <a:lnTo>
                    <a:pt x="110" y="233"/>
                  </a:lnTo>
                  <a:lnTo>
                    <a:pt x="110" y="233"/>
                  </a:lnTo>
                  <a:lnTo>
                    <a:pt x="107" y="233"/>
                  </a:lnTo>
                  <a:lnTo>
                    <a:pt x="110" y="233"/>
                  </a:lnTo>
                  <a:lnTo>
                    <a:pt x="110" y="233"/>
                  </a:lnTo>
                  <a:lnTo>
                    <a:pt x="107" y="236"/>
                  </a:lnTo>
                  <a:lnTo>
                    <a:pt x="103" y="233"/>
                  </a:lnTo>
                  <a:lnTo>
                    <a:pt x="110" y="236"/>
                  </a:lnTo>
                  <a:lnTo>
                    <a:pt x="110" y="239"/>
                  </a:lnTo>
                  <a:lnTo>
                    <a:pt x="110" y="239"/>
                  </a:lnTo>
                  <a:lnTo>
                    <a:pt x="107" y="242"/>
                  </a:lnTo>
                  <a:lnTo>
                    <a:pt x="103" y="239"/>
                  </a:lnTo>
                  <a:lnTo>
                    <a:pt x="107" y="242"/>
                  </a:lnTo>
                  <a:lnTo>
                    <a:pt x="107" y="242"/>
                  </a:lnTo>
                  <a:lnTo>
                    <a:pt x="107" y="246"/>
                  </a:lnTo>
                  <a:lnTo>
                    <a:pt x="103" y="246"/>
                  </a:lnTo>
                  <a:lnTo>
                    <a:pt x="103" y="242"/>
                  </a:lnTo>
                  <a:lnTo>
                    <a:pt x="100" y="242"/>
                  </a:lnTo>
                  <a:lnTo>
                    <a:pt x="100" y="246"/>
                  </a:lnTo>
                  <a:lnTo>
                    <a:pt x="100" y="246"/>
                  </a:lnTo>
                  <a:lnTo>
                    <a:pt x="100" y="249"/>
                  </a:lnTo>
                  <a:lnTo>
                    <a:pt x="100" y="249"/>
                  </a:lnTo>
                  <a:lnTo>
                    <a:pt x="100" y="249"/>
                  </a:lnTo>
                  <a:lnTo>
                    <a:pt x="97" y="249"/>
                  </a:lnTo>
                  <a:lnTo>
                    <a:pt x="93" y="252"/>
                  </a:lnTo>
                  <a:lnTo>
                    <a:pt x="93" y="255"/>
                  </a:lnTo>
                  <a:lnTo>
                    <a:pt x="90" y="252"/>
                  </a:lnTo>
                  <a:lnTo>
                    <a:pt x="90" y="255"/>
                  </a:lnTo>
                  <a:lnTo>
                    <a:pt x="86" y="258"/>
                  </a:lnTo>
                  <a:lnTo>
                    <a:pt x="86" y="262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76" y="265"/>
                  </a:lnTo>
                  <a:lnTo>
                    <a:pt x="72" y="265"/>
                  </a:lnTo>
                  <a:lnTo>
                    <a:pt x="76" y="262"/>
                  </a:lnTo>
                  <a:lnTo>
                    <a:pt x="79" y="262"/>
                  </a:lnTo>
                  <a:lnTo>
                    <a:pt x="79" y="258"/>
                  </a:lnTo>
                  <a:lnTo>
                    <a:pt x="79" y="258"/>
                  </a:lnTo>
                  <a:lnTo>
                    <a:pt x="76" y="258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6" y="246"/>
                  </a:lnTo>
                  <a:lnTo>
                    <a:pt x="79" y="242"/>
                  </a:lnTo>
                  <a:lnTo>
                    <a:pt x="83" y="239"/>
                  </a:lnTo>
                  <a:lnTo>
                    <a:pt x="86" y="236"/>
                  </a:lnTo>
                  <a:lnTo>
                    <a:pt x="83" y="236"/>
                  </a:lnTo>
                  <a:lnTo>
                    <a:pt x="79" y="236"/>
                  </a:lnTo>
                  <a:lnTo>
                    <a:pt x="76" y="239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72" y="229"/>
                  </a:lnTo>
                  <a:lnTo>
                    <a:pt x="76" y="229"/>
                  </a:lnTo>
                  <a:lnTo>
                    <a:pt x="76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93" y="223"/>
                  </a:lnTo>
                  <a:lnTo>
                    <a:pt x="97" y="223"/>
                  </a:lnTo>
                  <a:lnTo>
                    <a:pt x="97" y="226"/>
                  </a:lnTo>
                  <a:lnTo>
                    <a:pt x="103" y="226"/>
                  </a:lnTo>
                  <a:lnTo>
                    <a:pt x="100" y="223"/>
                  </a:lnTo>
                  <a:lnTo>
                    <a:pt x="103" y="220"/>
                  </a:lnTo>
                  <a:lnTo>
                    <a:pt x="100" y="216"/>
                  </a:lnTo>
                  <a:lnTo>
                    <a:pt x="93" y="216"/>
                  </a:lnTo>
                  <a:lnTo>
                    <a:pt x="93" y="210"/>
                  </a:lnTo>
                  <a:lnTo>
                    <a:pt x="97" y="207"/>
                  </a:lnTo>
                  <a:lnTo>
                    <a:pt x="103" y="210"/>
                  </a:lnTo>
                  <a:lnTo>
                    <a:pt x="107" y="207"/>
                  </a:lnTo>
                  <a:lnTo>
                    <a:pt x="114" y="204"/>
                  </a:lnTo>
                  <a:lnTo>
                    <a:pt x="117" y="200"/>
                  </a:lnTo>
                  <a:lnTo>
                    <a:pt x="117" y="197"/>
                  </a:lnTo>
                  <a:lnTo>
                    <a:pt x="121" y="197"/>
                  </a:lnTo>
                  <a:lnTo>
                    <a:pt x="124" y="194"/>
                  </a:lnTo>
                  <a:lnTo>
                    <a:pt x="124" y="187"/>
                  </a:lnTo>
                  <a:lnTo>
                    <a:pt x="124" y="184"/>
                  </a:lnTo>
                  <a:lnTo>
                    <a:pt x="124" y="181"/>
                  </a:lnTo>
                  <a:lnTo>
                    <a:pt x="124" y="178"/>
                  </a:lnTo>
                  <a:lnTo>
                    <a:pt x="121" y="171"/>
                  </a:lnTo>
                  <a:lnTo>
                    <a:pt x="117" y="168"/>
                  </a:lnTo>
                  <a:lnTo>
                    <a:pt x="114" y="162"/>
                  </a:lnTo>
                  <a:lnTo>
                    <a:pt x="117" y="162"/>
                  </a:lnTo>
                  <a:lnTo>
                    <a:pt x="121" y="162"/>
                  </a:lnTo>
                  <a:lnTo>
                    <a:pt x="117" y="155"/>
                  </a:lnTo>
                  <a:lnTo>
                    <a:pt x="117" y="155"/>
                  </a:lnTo>
                  <a:lnTo>
                    <a:pt x="117" y="149"/>
                  </a:lnTo>
                  <a:lnTo>
                    <a:pt x="121" y="145"/>
                  </a:lnTo>
                  <a:lnTo>
                    <a:pt x="121" y="142"/>
                  </a:lnTo>
                  <a:lnTo>
                    <a:pt x="121" y="142"/>
                  </a:lnTo>
                  <a:lnTo>
                    <a:pt x="117" y="139"/>
                  </a:lnTo>
                  <a:lnTo>
                    <a:pt x="117" y="136"/>
                  </a:lnTo>
                  <a:lnTo>
                    <a:pt x="121" y="132"/>
                  </a:lnTo>
                  <a:lnTo>
                    <a:pt x="121" y="129"/>
                  </a:lnTo>
                  <a:lnTo>
                    <a:pt x="117" y="132"/>
                  </a:lnTo>
                  <a:lnTo>
                    <a:pt x="114" y="132"/>
                  </a:lnTo>
                  <a:lnTo>
                    <a:pt x="110" y="129"/>
                  </a:lnTo>
                  <a:lnTo>
                    <a:pt x="107" y="129"/>
                  </a:lnTo>
                  <a:lnTo>
                    <a:pt x="107" y="126"/>
                  </a:lnTo>
                  <a:lnTo>
                    <a:pt x="107" y="123"/>
                  </a:lnTo>
                  <a:lnTo>
                    <a:pt x="103" y="123"/>
                  </a:lnTo>
                  <a:lnTo>
                    <a:pt x="103" y="123"/>
                  </a:lnTo>
                  <a:lnTo>
                    <a:pt x="100" y="123"/>
                  </a:lnTo>
                  <a:lnTo>
                    <a:pt x="100" y="120"/>
                  </a:lnTo>
                  <a:lnTo>
                    <a:pt x="97" y="116"/>
                  </a:lnTo>
                  <a:lnTo>
                    <a:pt x="93" y="116"/>
                  </a:lnTo>
                  <a:lnTo>
                    <a:pt x="90" y="113"/>
                  </a:lnTo>
                  <a:lnTo>
                    <a:pt x="86" y="110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79" y="97"/>
                  </a:lnTo>
                  <a:lnTo>
                    <a:pt x="72" y="97"/>
                  </a:lnTo>
                  <a:lnTo>
                    <a:pt x="69" y="90"/>
                  </a:lnTo>
                  <a:lnTo>
                    <a:pt x="62" y="90"/>
                  </a:lnTo>
                  <a:lnTo>
                    <a:pt x="59" y="87"/>
                  </a:lnTo>
                  <a:lnTo>
                    <a:pt x="52" y="87"/>
                  </a:lnTo>
                  <a:lnTo>
                    <a:pt x="48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8" y="78"/>
                  </a:lnTo>
                  <a:lnTo>
                    <a:pt x="45" y="74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52" y="68"/>
                  </a:lnTo>
                  <a:lnTo>
                    <a:pt x="55" y="68"/>
                  </a:lnTo>
                  <a:lnTo>
                    <a:pt x="59" y="68"/>
                  </a:lnTo>
                  <a:lnTo>
                    <a:pt x="59" y="61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59" y="55"/>
                  </a:lnTo>
                  <a:lnTo>
                    <a:pt x="59" y="52"/>
                  </a:lnTo>
                  <a:lnTo>
                    <a:pt x="55" y="48"/>
                  </a:lnTo>
                  <a:lnTo>
                    <a:pt x="52" y="48"/>
                  </a:lnTo>
                  <a:lnTo>
                    <a:pt x="48" y="45"/>
                  </a:lnTo>
                  <a:lnTo>
                    <a:pt x="45" y="45"/>
                  </a:lnTo>
                  <a:lnTo>
                    <a:pt x="38" y="48"/>
                  </a:lnTo>
                  <a:lnTo>
                    <a:pt x="35" y="48"/>
                  </a:lnTo>
                  <a:lnTo>
                    <a:pt x="28" y="48"/>
                  </a:lnTo>
                  <a:lnTo>
                    <a:pt x="21" y="42"/>
                  </a:lnTo>
                  <a:lnTo>
                    <a:pt x="14" y="36"/>
                  </a:lnTo>
                  <a:lnTo>
                    <a:pt x="17" y="32"/>
                  </a:lnTo>
                  <a:lnTo>
                    <a:pt x="17" y="29"/>
                  </a:lnTo>
                  <a:lnTo>
                    <a:pt x="14" y="26"/>
                  </a:lnTo>
                  <a:lnTo>
                    <a:pt x="11" y="23"/>
                  </a:lnTo>
                  <a:lnTo>
                    <a:pt x="4" y="19"/>
                  </a:lnTo>
                  <a:lnTo>
                    <a:pt x="0" y="19"/>
                  </a:lnTo>
                  <a:lnTo>
                    <a:pt x="0" y="19"/>
                  </a:lnTo>
                  <a:close/>
                  <a:moveTo>
                    <a:pt x="55" y="233"/>
                  </a:moveTo>
                  <a:lnTo>
                    <a:pt x="59" y="236"/>
                  </a:lnTo>
                  <a:lnTo>
                    <a:pt x="55" y="239"/>
                  </a:lnTo>
                  <a:lnTo>
                    <a:pt x="59" y="239"/>
                  </a:lnTo>
                  <a:lnTo>
                    <a:pt x="59" y="239"/>
                  </a:lnTo>
                  <a:lnTo>
                    <a:pt x="62" y="236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5" y="2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" name="Freeform 26"/>
            <p:cNvSpPr>
              <a:spLocks/>
            </p:cNvSpPr>
            <p:nvPr/>
          </p:nvSpPr>
          <p:spPr bwMode="auto">
            <a:xfrm>
              <a:off x="9417051" y="4231342"/>
              <a:ext cx="158750" cy="119062"/>
            </a:xfrm>
            <a:custGeom>
              <a:avLst/>
              <a:gdLst>
                <a:gd name="T0" fmla="*/ 48 w 100"/>
                <a:gd name="T1" fmla="*/ 71 h 75"/>
                <a:gd name="T2" fmla="*/ 52 w 100"/>
                <a:gd name="T3" fmla="*/ 65 h 75"/>
                <a:gd name="T4" fmla="*/ 59 w 100"/>
                <a:gd name="T5" fmla="*/ 65 h 75"/>
                <a:gd name="T6" fmla="*/ 73 w 100"/>
                <a:gd name="T7" fmla="*/ 65 h 75"/>
                <a:gd name="T8" fmla="*/ 79 w 100"/>
                <a:gd name="T9" fmla="*/ 68 h 75"/>
                <a:gd name="T10" fmla="*/ 79 w 100"/>
                <a:gd name="T11" fmla="*/ 62 h 75"/>
                <a:gd name="T12" fmla="*/ 69 w 100"/>
                <a:gd name="T13" fmla="*/ 58 h 75"/>
                <a:gd name="T14" fmla="*/ 73 w 100"/>
                <a:gd name="T15" fmla="*/ 49 h 75"/>
                <a:gd name="T16" fmla="*/ 83 w 100"/>
                <a:gd name="T17" fmla="*/ 49 h 75"/>
                <a:gd name="T18" fmla="*/ 93 w 100"/>
                <a:gd name="T19" fmla="*/ 42 h 75"/>
                <a:gd name="T20" fmla="*/ 97 w 100"/>
                <a:gd name="T21" fmla="*/ 39 h 75"/>
                <a:gd name="T22" fmla="*/ 100 w 100"/>
                <a:gd name="T23" fmla="*/ 29 h 75"/>
                <a:gd name="T24" fmla="*/ 100 w 100"/>
                <a:gd name="T25" fmla="*/ 23 h 75"/>
                <a:gd name="T26" fmla="*/ 97 w 100"/>
                <a:gd name="T27" fmla="*/ 13 h 75"/>
                <a:gd name="T28" fmla="*/ 90 w 100"/>
                <a:gd name="T29" fmla="*/ 4 h 75"/>
                <a:gd name="T30" fmla="*/ 83 w 100"/>
                <a:gd name="T31" fmla="*/ 4 h 75"/>
                <a:gd name="T32" fmla="*/ 79 w 100"/>
                <a:gd name="T33" fmla="*/ 0 h 75"/>
                <a:gd name="T34" fmla="*/ 69 w 100"/>
                <a:gd name="T35" fmla="*/ 4 h 75"/>
                <a:gd name="T36" fmla="*/ 73 w 100"/>
                <a:gd name="T37" fmla="*/ 10 h 75"/>
                <a:gd name="T38" fmla="*/ 73 w 100"/>
                <a:gd name="T39" fmla="*/ 16 h 75"/>
                <a:gd name="T40" fmla="*/ 66 w 100"/>
                <a:gd name="T41" fmla="*/ 10 h 75"/>
                <a:gd name="T42" fmla="*/ 59 w 100"/>
                <a:gd name="T43" fmla="*/ 7 h 75"/>
                <a:gd name="T44" fmla="*/ 52 w 100"/>
                <a:gd name="T45" fmla="*/ 4 h 75"/>
                <a:gd name="T46" fmla="*/ 42 w 100"/>
                <a:gd name="T47" fmla="*/ 4 h 75"/>
                <a:gd name="T48" fmla="*/ 35 w 100"/>
                <a:gd name="T49" fmla="*/ 4 h 75"/>
                <a:gd name="T50" fmla="*/ 28 w 100"/>
                <a:gd name="T51" fmla="*/ 4 h 75"/>
                <a:gd name="T52" fmla="*/ 11 w 100"/>
                <a:gd name="T53" fmla="*/ 4 h 75"/>
                <a:gd name="T54" fmla="*/ 4 w 100"/>
                <a:gd name="T55" fmla="*/ 10 h 75"/>
                <a:gd name="T56" fmla="*/ 0 w 100"/>
                <a:gd name="T57" fmla="*/ 16 h 75"/>
                <a:gd name="T58" fmla="*/ 0 w 100"/>
                <a:gd name="T59" fmla="*/ 29 h 75"/>
                <a:gd name="T60" fmla="*/ 7 w 100"/>
                <a:gd name="T61" fmla="*/ 36 h 75"/>
                <a:gd name="T62" fmla="*/ 4 w 100"/>
                <a:gd name="T63" fmla="*/ 46 h 75"/>
                <a:gd name="T64" fmla="*/ 7 w 100"/>
                <a:gd name="T65" fmla="*/ 46 h 75"/>
                <a:gd name="T66" fmla="*/ 11 w 100"/>
                <a:gd name="T67" fmla="*/ 52 h 75"/>
                <a:gd name="T68" fmla="*/ 14 w 100"/>
                <a:gd name="T69" fmla="*/ 58 h 75"/>
                <a:gd name="T70" fmla="*/ 17 w 100"/>
                <a:gd name="T71" fmla="*/ 62 h 75"/>
                <a:gd name="T72" fmla="*/ 17 w 100"/>
                <a:gd name="T73" fmla="*/ 65 h 75"/>
                <a:gd name="T74" fmla="*/ 21 w 100"/>
                <a:gd name="T75" fmla="*/ 68 h 75"/>
                <a:gd name="T76" fmla="*/ 24 w 100"/>
                <a:gd name="T77" fmla="*/ 65 h 75"/>
                <a:gd name="T78" fmla="*/ 28 w 100"/>
                <a:gd name="T79" fmla="*/ 62 h 75"/>
                <a:gd name="T80" fmla="*/ 28 w 100"/>
                <a:gd name="T81" fmla="*/ 65 h 75"/>
                <a:gd name="T82" fmla="*/ 24 w 100"/>
                <a:gd name="T83" fmla="*/ 71 h 75"/>
                <a:gd name="T84" fmla="*/ 28 w 100"/>
                <a:gd name="T85" fmla="*/ 75 h 75"/>
                <a:gd name="T86" fmla="*/ 31 w 100"/>
                <a:gd name="T87" fmla="*/ 71 h 75"/>
                <a:gd name="T88" fmla="*/ 35 w 100"/>
                <a:gd name="T89" fmla="*/ 71 h 75"/>
                <a:gd name="T90" fmla="*/ 42 w 100"/>
                <a:gd name="T91" fmla="*/ 7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0" h="75">
                  <a:moveTo>
                    <a:pt x="45" y="75"/>
                  </a:moveTo>
                  <a:lnTo>
                    <a:pt x="48" y="71"/>
                  </a:lnTo>
                  <a:lnTo>
                    <a:pt x="52" y="71"/>
                  </a:lnTo>
                  <a:lnTo>
                    <a:pt x="52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69" y="65"/>
                  </a:lnTo>
                  <a:lnTo>
                    <a:pt x="73" y="65"/>
                  </a:lnTo>
                  <a:lnTo>
                    <a:pt x="73" y="68"/>
                  </a:lnTo>
                  <a:lnTo>
                    <a:pt x="79" y="68"/>
                  </a:lnTo>
                  <a:lnTo>
                    <a:pt x="76" y="65"/>
                  </a:lnTo>
                  <a:lnTo>
                    <a:pt x="79" y="62"/>
                  </a:lnTo>
                  <a:lnTo>
                    <a:pt x="76" y="58"/>
                  </a:lnTo>
                  <a:lnTo>
                    <a:pt x="69" y="58"/>
                  </a:lnTo>
                  <a:lnTo>
                    <a:pt x="69" y="52"/>
                  </a:lnTo>
                  <a:lnTo>
                    <a:pt x="73" y="49"/>
                  </a:lnTo>
                  <a:lnTo>
                    <a:pt x="79" y="52"/>
                  </a:lnTo>
                  <a:lnTo>
                    <a:pt x="83" y="49"/>
                  </a:lnTo>
                  <a:lnTo>
                    <a:pt x="90" y="46"/>
                  </a:lnTo>
                  <a:lnTo>
                    <a:pt x="93" y="42"/>
                  </a:lnTo>
                  <a:lnTo>
                    <a:pt x="93" y="39"/>
                  </a:lnTo>
                  <a:lnTo>
                    <a:pt x="97" y="39"/>
                  </a:lnTo>
                  <a:lnTo>
                    <a:pt x="100" y="36"/>
                  </a:lnTo>
                  <a:lnTo>
                    <a:pt x="100" y="29"/>
                  </a:lnTo>
                  <a:lnTo>
                    <a:pt x="100" y="26"/>
                  </a:lnTo>
                  <a:lnTo>
                    <a:pt x="100" y="23"/>
                  </a:lnTo>
                  <a:lnTo>
                    <a:pt x="100" y="20"/>
                  </a:lnTo>
                  <a:lnTo>
                    <a:pt x="97" y="13"/>
                  </a:lnTo>
                  <a:lnTo>
                    <a:pt x="93" y="10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79" y="0"/>
                  </a:lnTo>
                  <a:lnTo>
                    <a:pt x="73" y="0"/>
                  </a:lnTo>
                  <a:lnTo>
                    <a:pt x="69" y="4"/>
                  </a:lnTo>
                  <a:lnTo>
                    <a:pt x="73" y="7"/>
                  </a:lnTo>
                  <a:lnTo>
                    <a:pt x="73" y="10"/>
                  </a:lnTo>
                  <a:lnTo>
                    <a:pt x="76" y="13"/>
                  </a:lnTo>
                  <a:lnTo>
                    <a:pt x="73" y="16"/>
                  </a:lnTo>
                  <a:lnTo>
                    <a:pt x="69" y="13"/>
                  </a:lnTo>
                  <a:lnTo>
                    <a:pt x="66" y="10"/>
                  </a:lnTo>
                  <a:lnTo>
                    <a:pt x="59" y="10"/>
                  </a:lnTo>
                  <a:lnTo>
                    <a:pt x="59" y="7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48" y="4"/>
                  </a:lnTo>
                  <a:lnTo>
                    <a:pt x="42" y="4"/>
                  </a:lnTo>
                  <a:lnTo>
                    <a:pt x="38" y="4"/>
                  </a:lnTo>
                  <a:lnTo>
                    <a:pt x="35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1" y="4"/>
                  </a:lnTo>
                  <a:lnTo>
                    <a:pt x="11" y="4"/>
                  </a:lnTo>
                  <a:lnTo>
                    <a:pt x="7" y="4"/>
                  </a:lnTo>
                  <a:lnTo>
                    <a:pt x="4" y="10"/>
                  </a:lnTo>
                  <a:lnTo>
                    <a:pt x="4" y="13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29"/>
                  </a:lnTo>
                  <a:lnTo>
                    <a:pt x="4" y="33"/>
                  </a:lnTo>
                  <a:lnTo>
                    <a:pt x="7" y="36"/>
                  </a:lnTo>
                  <a:lnTo>
                    <a:pt x="4" y="42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46"/>
                  </a:lnTo>
                  <a:lnTo>
                    <a:pt x="7" y="49"/>
                  </a:lnTo>
                  <a:lnTo>
                    <a:pt x="11" y="52"/>
                  </a:lnTo>
                  <a:lnTo>
                    <a:pt x="11" y="55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7" y="62"/>
                  </a:lnTo>
                  <a:lnTo>
                    <a:pt x="14" y="62"/>
                  </a:lnTo>
                  <a:lnTo>
                    <a:pt x="17" y="65"/>
                  </a:lnTo>
                  <a:lnTo>
                    <a:pt x="17" y="68"/>
                  </a:lnTo>
                  <a:lnTo>
                    <a:pt x="21" y="68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62"/>
                  </a:lnTo>
                  <a:lnTo>
                    <a:pt x="28" y="62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8" y="68"/>
                  </a:lnTo>
                  <a:lnTo>
                    <a:pt x="24" y="71"/>
                  </a:lnTo>
                  <a:lnTo>
                    <a:pt x="28" y="71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5" y="71"/>
                  </a:lnTo>
                  <a:lnTo>
                    <a:pt x="38" y="71"/>
                  </a:lnTo>
                  <a:lnTo>
                    <a:pt x="42" y="71"/>
                  </a:lnTo>
                  <a:lnTo>
                    <a:pt x="45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6" name="Freeform 27"/>
            <p:cNvSpPr>
              <a:spLocks/>
            </p:cNvSpPr>
            <p:nvPr/>
          </p:nvSpPr>
          <p:spPr bwMode="auto">
            <a:xfrm>
              <a:off x="9324976" y="4010680"/>
              <a:ext cx="246063" cy="246062"/>
            </a:xfrm>
            <a:custGeom>
              <a:avLst/>
              <a:gdLst>
                <a:gd name="T0" fmla="*/ 20 w 155"/>
                <a:gd name="T1" fmla="*/ 20 h 155"/>
                <a:gd name="T2" fmla="*/ 27 w 155"/>
                <a:gd name="T3" fmla="*/ 17 h 155"/>
                <a:gd name="T4" fmla="*/ 27 w 155"/>
                <a:gd name="T5" fmla="*/ 4 h 155"/>
                <a:gd name="T6" fmla="*/ 34 w 155"/>
                <a:gd name="T7" fmla="*/ 0 h 155"/>
                <a:gd name="T8" fmla="*/ 48 w 155"/>
                <a:gd name="T9" fmla="*/ 7 h 155"/>
                <a:gd name="T10" fmla="*/ 48 w 155"/>
                <a:gd name="T11" fmla="*/ 17 h 155"/>
                <a:gd name="T12" fmla="*/ 69 w 155"/>
                <a:gd name="T13" fmla="*/ 29 h 155"/>
                <a:gd name="T14" fmla="*/ 82 w 155"/>
                <a:gd name="T15" fmla="*/ 26 h 155"/>
                <a:gd name="T16" fmla="*/ 93 w 155"/>
                <a:gd name="T17" fmla="*/ 33 h 155"/>
                <a:gd name="T18" fmla="*/ 96 w 155"/>
                <a:gd name="T19" fmla="*/ 39 h 155"/>
                <a:gd name="T20" fmla="*/ 89 w 155"/>
                <a:gd name="T21" fmla="*/ 49 h 155"/>
                <a:gd name="T22" fmla="*/ 79 w 155"/>
                <a:gd name="T23" fmla="*/ 52 h 155"/>
                <a:gd name="T24" fmla="*/ 79 w 155"/>
                <a:gd name="T25" fmla="*/ 62 h 155"/>
                <a:gd name="T26" fmla="*/ 86 w 155"/>
                <a:gd name="T27" fmla="*/ 68 h 155"/>
                <a:gd name="T28" fmla="*/ 103 w 155"/>
                <a:gd name="T29" fmla="*/ 71 h 155"/>
                <a:gd name="T30" fmla="*/ 117 w 155"/>
                <a:gd name="T31" fmla="*/ 84 h 155"/>
                <a:gd name="T32" fmla="*/ 124 w 155"/>
                <a:gd name="T33" fmla="*/ 94 h 155"/>
                <a:gd name="T34" fmla="*/ 134 w 155"/>
                <a:gd name="T35" fmla="*/ 101 h 155"/>
                <a:gd name="T36" fmla="*/ 137 w 155"/>
                <a:gd name="T37" fmla="*/ 104 h 155"/>
                <a:gd name="T38" fmla="*/ 141 w 155"/>
                <a:gd name="T39" fmla="*/ 110 h 155"/>
                <a:gd name="T40" fmla="*/ 151 w 155"/>
                <a:gd name="T41" fmla="*/ 113 h 155"/>
                <a:gd name="T42" fmla="*/ 151 w 155"/>
                <a:gd name="T43" fmla="*/ 117 h 155"/>
                <a:gd name="T44" fmla="*/ 155 w 155"/>
                <a:gd name="T45" fmla="*/ 123 h 155"/>
                <a:gd name="T46" fmla="*/ 151 w 155"/>
                <a:gd name="T47" fmla="*/ 136 h 155"/>
                <a:gd name="T48" fmla="*/ 151 w 155"/>
                <a:gd name="T49" fmla="*/ 143 h 155"/>
                <a:gd name="T50" fmla="*/ 141 w 155"/>
                <a:gd name="T51" fmla="*/ 143 h 155"/>
                <a:gd name="T52" fmla="*/ 127 w 155"/>
                <a:gd name="T53" fmla="*/ 143 h 155"/>
                <a:gd name="T54" fmla="*/ 134 w 155"/>
                <a:gd name="T55" fmla="*/ 152 h 155"/>
                <a:gd name="T56" fmla="*/ 124 w 155"/>
                <a:gd name="T57" fmla="*/ 149 h 155"/>
                <a:gd name="T58" fmla="*/ 110 w 155"/>
                <a:gd name="T59" fmla="*/ 143 h 155"/>
                <a:gd name="T60" fmla="*/ 117 w 155"/>
                <a:gd name="T61" fmla="*/ 133 h 155"/>
                <a:gd name="T62" fmla="*/ 117 w 155"/>
                <a:gd name="T63" fmla="*/ 126 h 155"/>
                <a:gd name="T64" fmla="*/ 110 w 155"/>
                <a:gd name="T65" fmla="*/ 117 h 155"/>
                <a:gd name="T66" fmla="*/ 106 w 155"/>
                <a:gd name="T67" fmla="*/ 113 h 155"/>
                <a:gd name="T68" fmla="*/ 100 w 155"/>
                <a:gd name="T69" fmla="*/ 107 h 155"/>
                <a:gd name="T70" fmla="*/ 100 w 155"/>
                <a:gd name="T71" fmla="*/ 94 h 155"/>
                <a:gd name="T72" fmla="*/ 93 w 155"/>
                <a:gd name="T73" fmla="*/ 84 h 155"/>
                <a:gd name="T74" fmla="*/ 72 w 155"/>
                <a:gd name="T75" fmla="*/ 75 h 155"/>
                <a:gd name="T76" fmla="*/ 55 w 155"/>
                <a:gd name="T77" fmla="*/ 84 h 155"/>
                <a:gd name="T78" fmla="*/ 41 w 155"/>
                <a:gd name="T79" fmla="*/ 78 h 155"/>
                <a:gd name="T80" fmla="*/ 27 w 155"/>
                <a:gd name="T81" fmla="*/ 84 h 155"/>
                <a:gd name="T82" fmla="*/ 24 w 155"/>
                <a:gd name="T83" fmla="*/ 71 h 155"/>
                <a:gd name="T84" fmla="*/ 24 w 155"/>
                <a:gd name="T85" fmla="*/ 62 h 155"/>
                <a:gd name="T86" fmla="*/ 24 w 155"/>
                <a:gd name="T87" fmla="*/ 52 h 155"/>
                <a:gd name="T88" fmla="*/ 10 w 155"/>
                <a:gd name="T89" fmla="*/ 55 h 155"/>
                <a:gd name="T90" fmla="*/ 10 w 155"/>
                <a:gd name="T91" fmla="*/ 42 h 155"/>
                <a:gd name="T92" fmla="*/ 0 w 155"/>
                <a:gd name="T93" fmla="*/ 36 h 155"/>
                <a:gd name="T94" fmla="*/ 7 w 155"/>
                <a:gd name="T95" fmla="*/ 29 h 155"/>
                <a:gd name="T96" fmla="*/ 7 w 155"/>
                <a:gd name="T97" fmla="*/ 2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5" h="155">
                  <a:moveTo>
                    <a:pt x="17" y="17"/>
                  </a:moveTo>
                  <a:lnTo>
                    <a:pt x="17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7" y="20"/>
                  </a:lnTo>
                  <a:lnTo>
                    <a:pt x="27" y="17"/>
                  </a:lnTo>
                  <a:lnTo>
                    <a:pt x="27" y="13"/>
                  </a:lnTo>
                  <a:lnTo>
                    <a:pt x="27" y="1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38" y="0"/>
                  </a:lnTo>
                  <a:lnTo>
                    <a:pt x="45" y="4"/>
                  </a:lnTo>
                  <a:lnTo>
                    <a:pt x="48" y="7"/>
                  </a:lnTo>
                  <a:lnTo>
                    <a:pt x="51" y="10"/>
                  </a:lnTo>
                  <a:lnTo>
                    <a:pt x="51" y="13"/>
                  </a:lnTo>
                  <a:lnTo>
                    <a:pt x="48" y="17"/>
                  </a:lnTo>
                  <a:lnTo>
                    <a:pt x="55" y="23"/>
                  </a:lnTo>
                  <a:lnTo>
                    <a:pt x="62" y="29"/>
                  </a:lnTo>
                  <a:lnTo>
                    <a:pt x="69" y="29"/>
                  </a:lnTo>
                  <a:lnTo>
                    <a:pt x="72" y="29"/>
                  </a:lnTo>
                  <a:lnTo>
                    <a:pt x="79" y="26"/>
                  </a:lnTo>
                  <a:lnTo>
                    <a:pt x="82" y="26"/>
                  </a:lnTo>
                  <a:lnTo>
                    <a:pt x="86" y="29"/>
                  </a:lnTo>
                  <a:lnTo>
                    <a:pt x="89" y="29"/>
                  </a:lnTo>
                  <a:lnTo>
                    <a:pt x="93" y="33"/>
                  </a:lnTo>
                  <a:lnTo>
                    <a:pt x="93" y="36"/>
                  </a:lnTo>
                  <a:lnTo>
                    <a:pt x="96" y="39"/>
                  </a:lnTo>
                  <a:lnTo>
                    <a:pt x="96" y="39"/>
                  </a:lnTo>
                  <a:lnTo>
                    <a:pt x="93" y="42"/>
                  </a:lnTo>
                  <a:lnTo>
                    <a:pt x="93" y="49"/>
                  </a:lnTo>
                  <a:lnTo>
                    <a:pt x="89" y="49"/>
                  </a:lnTo>
                  <a:lnTo>
                    <a:pt x="86" y="49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9" y="55"/>
                  </a:lnTo>
                  <a:lnTo>
                    <a:pt x="82" y="59"/>
                  </a:lnTo>
                  <a:lnTo>
                    <a:pt x="79" y="62"/>
                  </a:lnTo>
                  <a:lnTo>
                    <a:pt x="79" y="62"/>
                  </a:lnTo>
                  <a:lnTo>
                    <a:pt x="82" y="62"/>
                  </a:lnTo>
                  <a:lnTo>
                    <a:pt x="86" y="68"/>
                  </a:lnTo>
                  <a:lnTo>
                    <a:pt x="93" y="68"/>
                  </a:lnTo>
                  <a:lnTo>
                    <a:pt x="96" y="71"/>
                  </a:lnTo>
                  <a:lnTo>
                    <a:pt x="103" y="71"/>
                  </a:lnTo>
                  <a:lnTo>
                    <a:pt x="106" y="78"/>
                  </a:lnTo>
                  <a:lnTo>
                    <a:pt x="113" y="78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20" y="91"/>
                  </a:lnTo>
                  <a:lnTo>
                    <a:pt x="124" y="94"/>
                  </a:lnTo>
                  <a:lnTo>
                    <a:pt x="127" y="97"/>
                  </a:lnTo>
                  <a:lnTo>
                    <a:pt x="131" y="97"/>
                  </a:lnTo>
                  <a:lnTo>
                    <a:pt x="134" y="101"/>
                  </a:lnTo>
                  <a:lnTo>
                    <a:pt x="134" y="104"/>
                  </a:lnTo>
                  <a:lnTo>
                    <a:pt x="137" y="104"/>
                  </a:lnTo>
                  <a:lnTo>
                    <a:pt x="137" y="104"/>
                  </a:lnTo>
                  <a:lnTo>
                    <a:pt x="141" y="104"/>
                  </a:lnTo>
                  <a:lnTo>
                    <a:pt x="141" y="107"/>
                  </a:lnTo>
                  <a:lnTo>
                    <a:pt x="141" y="110"/>
                  </a:lnTo>
                  <a:lnTo>
                    <a:pt x="144" y="110"/>
                  </a:lnTo>
                  <a:lnTo>
                    <a:pt x="148" y="113"/>
                  </a:lnTo>
                  <a:lnTo>
                    <a:pt x="151" y="113"/>
                  </a:lnTo>
                  <a:lnTo>
                    <a:pt x="155" y="110"/>
                  </a:lnTo>
                  <a:lnTo>
                    <a:pt x="155" y="113"/>
                  </a:lnTo>
                  <a:lnTo>
                    <a:pt x="151" y="117"/>
                  </a:lnTo>
                  <a:lnTo>
                    <a:pt x="151" y="120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5" y="126"/>
                  </a:lnTo>
                  <a:lnTo>
                    <a:pt x="151" y="130"/>
                  </a:lnTo>
                  <a:lnTo>
                    <a:pt x="151" y="136"/>
                  </a:lnTo>
                  <a:lnTo>
                    <a:pt x="151" y="136"/>
                  </a:lnTo>
                  <a:lnTo>
                    <a:pt x="155" y="143"/>
                  </a:lnTo>
                  <a:lnTo>
                    <a:pt x="151" y="143"/>
                  </a:lnTo>
                  <a:lnTo>
                    <a:pt x="148" y="143"/>
                  </a:lnTo>
                  <a:lnTo>
                    <a:pt x="141" y="143"/>
                  </a:lnTo>
                  <a:lnTo>
                    <a:pt x="141" y="143"/>
                  </a:lnTo>
                  <a:lnTo>
                    <a:pt x="137" y="139"/>
                  </a:lnTo>
                  <a:lnTo>
                    <a:pt x="131" y="139"/>
                  </a:lnTo>
                  <a:lnTo>
                    <a:pt x="127" y="143"/>
                  </a:lnTo>
                  <a:lnTo>
                    <a:pt x="131" y="146"/>
                  </a:lnTo>
                  <a:lnTo>
                    <a:pt x="131" y="149"/>
                  </a:lnTo>
                  <a:lnTo>
                    <a:pt x="134" y="152"/>
                  </a:lnTo>
                  <a:lnTo>
                    <a:pt x="131" y="155"/>
                  </a:lnTo>
                  <a:lnTo>
                    <a:pt x="127" y="152"/>
                  </a:lnTo>
                  <a:lnTo>
                    <a:pt x="124" y="149"/>
                  </a:lnTo>
                  <a:lnTo>
                    <a:pt x="117" y="149"/>
                  </a:lnTo>
                  <a:lnTo>
                    <a:pt x="117" y="146"/>
                  </a:lnTo>
                  <a:lnTo>
                    <a:pt x="110" y="143"/>
                  </a:lnTo>
                  <a:lnTo>
                    <a:pt x="113" y="143"/>
                  </a:lnTo>
                  <a:lnTo>
                    <a:pt x="117" y="139"/>
                  </a:lnTo>
                  <a:lnTo>
                    <a:pt x="117" y="133"/>
                  </a:lnTo>
                  <a:lnTo>
                    <a:pt x="113" y="130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3"/>
                  </a:lnTo>
                  <a:lnTo>
                    <a:pt x="117" y="120"/>
                  </a:lnTo>
                  <a:lnTo>
                    <a:pt x="110" y="117"/>
                  </a:lnTo>
                  <a:lnTo>
                    <a:pt x="113" y="117"/>
                  </a:lnTo>
                  <a:lnTo>
                    <a:pt x="110" y="113"/>
                  </a:lnTo>
                  <a:lnTo>
                    <a:pt x="106" y="113"/>
                  </a:lnTo>
                  <a:lnTo>
                    <a:pt x="100" y="110"/>
                  </a:lnTo>
                  <a:lnTo>
                    <a:pt x="96" y="107"/>
                  </a:lnTo>
                  <a:lnTo>
                    <a:pt x="100" y="107"/>
                  </a:lnTo>
                  <a:lnTo>
                    <a:pt x="100" y="101"/>
                  </a:lnTo>
                  <a:lnTo>
                    <a:pt x="96" y="97"/>
                  </a:lnTo>
                  <a:lnTo>
                    <a:pt x="100" y="94"/>
                  </a:lnTo>
                  <a:lnTo>
                    <a:pt x="100" y="91"/>
                  </a:lnTo>
                  <a:lnTo>
                    <a:pt x="96" y="88"/>
                  </a:lnTo>
                  <a:lnTo>
                    <a:pt x="93" y="84"/>
                  </a:lnTo>
                  <a:lnTo>
                    <a:pt x="82" y="81"/>
                  </a:lnTo>
                  <a:lnTo>
                    <a:pt x="82" y="75"/>
                  </a:lnTo>
                  <a:lnTo>
                    <a:pt x="72" y="75"/>
                  </a:lnTo>
                  <a:lnTo>
                    <a:pt x="65" y="75"/>
                  </a:lnTo>
                  <a:lnTo>
                    <a:pt x="62" y="81"/>
                  </a:lnTo>
                  <a:lnTo>
                    <a:pt x="55" y="84"/>
                  </a:lnTo>
                  <a:lnTo>
                    <a:pt x="51" y="78"/>
                  </a:lnTo>
                  <a:lnTo>
                    <a:pt x="48" y="81"/>
                  </a:lnTo>
                  <a:lnTo>
                    <a:pt x="41" y="78"/>
                  </a:lnTo>
                  <a:lnTo>
                    <a:pt x="34" y="78"/>
                  </a:lnTo>
                  <a:lnTo>
                    <a:pt x="34" y="81"/>
                  </a:lnTo>
                  <a:lnTo>
                    <a:pt x="27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24" y="71"/>
                  </a:lnTo>
                  <a:lnTo>
                    <a:pt x="20" y="68"/>
                  </a:lnTo>
                  <a:lnTo>
                    <a:pt x="24" y="65"/>
                  </a:lnTo>
                  <a:lnTo>
                    <a:pt x="24" y="62"/>
                  </a:lnTo>
                  <a:lnTo>
                    <a:pt x="20" y="59"/>
                  </a:lnTo>
                  <a:lnTo>
                    <a:pt x="24" y="55"/>
                  </a:lnTo>
                  <a:lnTo>
                    <a:pt x="24" y="52"/>
                  </a:lnTo>
                  <a:lnTo>
                    <a:pt x="17" y="52"/>
                  </a:lnTo>
                  <a:lnTo>
                    <a:pt x="14" y="55"/>
                  </a:lnTo>
                  <a:lnTo>
                    <a:pt x="10" y="55"/>
                  </a:lnTo>
                  <a:lnTo>
                    <a:pt x="7" y="49"/>
                  </a:lnTo>
                  <a:lnTo>
                    <a:pt x="10" y="49"/>
                  </a:lnTo>
                  <a:lnTo>
                    <a:pt x="10" y="42"/>
                  </a:lnTo>
                  <a:lnTo>
                    <a:pt x="7" y="39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3" y="33"/>
                  </a:lnTo>
                  <a:lnTo>
                    <a:pt x="7" y="29"/>
                  </a:lnTo>
                  <a:lnTo>
                    <a:pt x="3" y="26"/>
                  </a:lnTo>
                  <a:lnTo>
                    <a:pt x="7" y="23"/>
                  </a:lnTo>
                  <a:lnTo>
                    <a:pt x="7" y="20"/>
                  </a:lnTo>
                  <a:lnTo>
                    <a:pt x="14" y="20"/>
                  </a:lnTo>
                  <a:lnTo>
                    <a:pt x="17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7" name="Freeform 28"/>
            <p:cNvSpPr>
              <a:spLocks noEditPoints="1"/>
            </p:cNvSpPr>
            <p:nvPr/>
          </p:nvSpPr>
          <p:spPr bwMode="auto">
            <a:xfrm>
              <a:off x="9248776" y="4067830"/>
              <a:ext cx="261938" cy="409575"/>
            </a:xfrm>
            <a:custGeom>
              <a:avLst/>
              <a:gdLst>
                <a:gd name="T0" fmla="*/ 58 w 165"/>
                <a:gd name="T1" fmla="*/ 13 h 258"/>
                <a:gd name="T2" fmla="*/ 72 w 165"/>
                <a:gd name="T3" fmla="*/ 16 h 258"/>
                <a:gd name="T4" fmla="*/ 68 w 165"/>
                <a:gd name="T5" fmla="*/ 32 h 258"/>
                <a:gd name="T6" fmla="*/ 82 w 165"/>
                <a:gd name="T7" fmla="*/ 45 h 258"/>
                <a:gd name="T8" fmla="*/ 103 w 165"/>
                <a:gd name="T9" fmla="*/ 48 h 258"/>
                <a:gd name="T10" fmla="*/ 130 w 165"/>
                <a:gd name="T11" fmla="*/ 45 h 258"/>
                <a:gd name="T12" fmla="*/ 144 w 165"/>
                <a:gd name="T13" fmla="*/ 61 h 258"/>
                <a:gd name="T14" fmla="*/ 154 w 165"/>
                <a:gd name="T15" fmla="*/ 77 h 258"/>
                <a:gd name="T16" fmla="*/ 165 w 165"/>
                <a:gd name="T17" fmla="*/ 87 h 258"/>
                <a:gd name="T18" fmla="*/ 165 w 165"/>
                <a:gd name="T19" fmla="*/ 103 h 258"/>
                <a:gd name="T20" fmla="*/ 144 w 165"/>
                <a:gd name="T21" fmla="*/ 107 h 258"/>
                <a:gd name="T22" fmla="*/ 117 w 165"/>
                <a:gd name="T23" fmla="*/ 107 h 258"/>
                <a:gd name="T24" fmla="*/ 106 w 165"/>
                <a:gd name="T25" fmla="*/ 126 h 258"/>
                <a:gd name="T26" fmla="*/ 110 w 165"/>
                <a:gd name="T27" fmla="*/ 149 h 258"/>
                <a:gd name="T28" fmla="*/ 103 w 165"/>
                <a:gd name="T29" fmla="*/ 145 h 258"/>
                <a:gd name="T30" fmla="*/ 93 w 165"/>
                <a:gd name="T31" fmla="*/ 139 h 258"/>
                <a:gd name="T32" fmla="*/ 82 w 165"/>
                <a:gd name="T33" fmla="*/ 139 h 258"/>
                <a:gd name="T34" fmla="*/ 75 w 165"/>
                <a:gd name="T35" fmla="*/ 136 h 258"/>
                <a:gd name="T36" fmla="*/ 72 w 165"/>
                <a:gd name="T37" fmla="*/ 126 h 258"/>
                <a:gd name="T38" fmla="*/ 62 w 165"/>
                <a:gd name="T39" fmla="*/ 126 h 258"/>
                <a:gd name="T40" fmla="*/ 58 w 165"/>
                <a:gd name="T41" fmla="*/ 126 h 258"/>
                <a:gd name="T42" fmla="*/ 58 w 165"/>
                <a:gd name="T43" fmla="*/ 139 h 258"/>
                <a:gd name="T44" fmla="*/ 55 w 165"/>
                <a:gd name="T45" fmla="*/ 152 h 258"/>
                <a:gd name="T46" fmla="*/ 44 w 165"/>
                <a:gd name="T47" fmla="*/ 181 h 258"/>
                <a:gd name="T48" fmla="*/ 48 w 165"/>
                <a:gd name="T49" fmla="*/ 187 h 258"/>
                <a:gd name="T50" fmla="*/ 51 w 165"/>
                <a:gd name="T51" fmla="*/ 200 h 258"/>
                <a:gd name="T52" fmla="*/ 62 w 165"/>
                <a:gd name="T53" fmla="*/ 200 h 258"/>
                <a:gd name="T54" fmla="*/ 65 w 165"/>
                <a:gd name="T55" fmla="*/ 213 h 258"/>
                <a:gd name="T56" fmla="*/ 72 w 165"/>
                <a:gd name="T57" fmla="*/ 213 h 258"/>
                <a:gd name="T58" fmla="*/ 72 w 165"/>
                <a:gd name="T59" fmla="*/ 226 h 258"/>
                <a:gd name="T60" fmla="*/ 75 w 165"/>
                <a:gd name="T61" fmla="*/ 229 h 258"/>
                <a:gd name="T62" fmla="*/ 86 w 165"/>
                <a:gd name="T63" fmla="*/ 239 h 258"/>
                <a:gd name="T64" fmla="*/ 99 w 165"/>
                <a:gd name="T65" fmla="*/ 249 h 258"/>
                <a:gd name="T66" fmla="*/ 99 w 165"/>
                <a:gd name="T67" fmla="*/ 258 h 258"/>
                <a:gd name="T68" fmla="*/ 86 w 165"/>
                <a:gd name="T69" fmla="*/ 255 h 258"/>
                <a:gd name="T70" fmla="*/ 82 w 165"/>
                <a:gd name="T71" fmla="*/ 245 h 258"/>
                <a:gd name="T72" fmla="*/ 65 w 165"/>
                <a:gd name="T73" fmla="*/ 245 h 258"/>
                <a:gd name="T74" fmla="*/ 58 w 165"/>
                <a:gd name="T75" fmla="*/ 236 h 258"/>
                <a:gd name="T76" fmla="*/ 44 w 165"/>
                <a:gd name="T77" fmla="*/ 223 h 258"/>
                <a:gd name="T78" fmla="*/ 37 w 165"/>
                <a:gd name="T79" fmla="*/ 213 h 258"/>
                <a:gd name="T80" fmla="*/ 27 w 165"/>
                <a:gd name="T81" fmla="*/ 210 h 258"/>
                <a:gd name="T82" fmla="*/ 34 w 165"/>
                <a:gd name="T83" fmla="*/ 197 h 258"/>
                <a:gd name="T84" fmla="*/ 37 w 165"/>
                <a:gd name="T85" fmla="*/ 184 h 258"/>
                <a:gd name="T86" fmla="*/ 37 w 165"/>
                <a:gd name="T87" fmla="*/ 171 h 258"/>
                <a:gd name="T88" fmla="*/ 48 w 165"/>
                <a:gd name="T89" fmla="*/ 145 h 258"/>
                <a:gd name="T90" fmla="*/ 44 w 165"/>
                <a:gd name="T91" fmla="*/ 129 h 258"/>
                <a:gd name="T92" fmla="*/ 31 w 165"/>
                <a:gd name="T93" fmla="*/ 107 h 258"/>
                <a:gd name="T94" fmla="*/ 27 w 165"/>
                <a:gd name="T95" fmla="*/ 87 h 258"/>
                <a:gd name="T96" fmla="*/ 27 w 165"/>
                <a:gd name="T97" fmla="*/ 71 h 258"/>
                <a:gd name="T98" fmla="*/ 10 w 165"/>
                <a:gd name="T99" fmla="*/ 52 h 258"/>
                <a:gd name="T100" fmla="*/ 0 w 165"/>
                <a:gd name="T101" fmla="*/ 39 h 258"/>
                <a:gd name="T102" fmla="*/ 10 w 165"/>
                <a:gd name="T103" fmla="*/ 26 h 258"/>
                <a:gd name="T104" fmla="*/ 27 w 165"/>
                <a:gd name="T105" fmla="*/ 16 h 258"/>
                <a:gd name="T106" fmla="*/ 37 w 165"/>
                <a:gd name="T107" fmla="*/ 6 h 258"/>
                <a:gd name="T108" fmla="*/ 48 w 165"/>
                <a:gd name="T109" fmla="*/ 0 h 258"/>
                <a:gd name="T110" fmla="*/ 58 w 165"/>
                <a:gd name="T111" fmla="*/ 242 h 258"/>
                <a:gd name="T112" fmla="*/ 44 w 165"/>
                <a:gd name="T113" fmla="*/ 229 h 258"/>
                <a:gd name="T114" fmla="*/ 31 w 165"/>
                <a:gd name="T115" fmla="*/ 216 h 258"/>
                <a:gd name="T116" fmla="*/ 34 w 165"/>
                <a:gd name="T117" fmla="*/ 216 h 258"/>
                <a:gd name="T118" fmla="*/ 103 w 165"/>
                <a:gd name="T119" fmla="*/ 149 h 258"/>
                <a:gd name="T120" fmla="*/ 62 w 165"/>
                <a:gd name="T121" fmla="*/ 187 h 258"/>
                <a:gd name="T122" fmla="*/ 65 w 165"/>
                <a:gd name="T123" fmla="*/ 191 h 258"/>
                <a:gd name="T124" fmla="*/ 65 w 165"/>
                <a:gd name="T125" fmla="*/ 19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5" h="258">
                  <a:moveTo>
                    <a:pt x="48" y="0"/>
                  </a:moveTo>
                  <a:lnTo>
                    <a:pt x="48" y="3"/>
                  </a:lnTo>
                  <a:lnTo>
                    <a:pt x="55" y="3"/>
                  </a:lnTo>
                  <a:lnTo>
                    <a:pt x="58" y="6"/>
                  </a:lnTo>
                  <a:lnTo>
                    <a:pt x="58" y="13"/>
                  </a:lnTo>
                  <a:lnTo>
                    <a:pt x="55" y="13"/>
                  </a:lnTo>
                  <a:lnTo>
                    <a:pt x="58" y="19"/>
                  </a:lnTo>
                  <a:lnTo>
                    <a:pt x="62" y="19"/>
                  </a:lnTo>
                  <a:lnTo>
                    <a:pt x="65" y="16"/>
                  </a:lnTo>
                  <a:lnTo>
                    <a:pt x="72" y="16"/>
                  </a:lnTo>
                  <a:lnTo>
                    <a:pt x="72" y="19"/>
                  </a:lnTo>
                  <a:lnTo>
                    <a:pt x="68" y="23"/>
                  </a:lnTo>
                  <a:lnTo>
                    <a:pt x="72" y="26"/>
                  </a:lnTo>
                  <a:lnTo>
                    <a:pt x="72" y="29"/>
                  </a:lnTo>
                  <a:lnTo>
                    <a:pt x="68" y="32"/>
                  </a:lnTo>
                  <a:lnTo>
                    <a:pt x="72" y="35"/>
                  </a:lnTo>
                  <a:lnTo>
                    <a:pt x="72" y="42"/>
                  </a:lnTo>
                  <a:lnTo>
                    <a:pt x="72" y="48"/>
                  </a:lnTo>
                  <a:lnTo>
                    <a:pt x="75" y="48"/>
                  </a:lnTo>
                  <a:lnTo>
                    <a:pt x="82" y="45"/>
                  </a:lnTo>
                  <a:lnTo>
                    <a:pt x="82" y="42"/>
                  </a:lnTo>
                  <a:lnTo>
                    <a:pt x="89" y="42"/>
                  </a:lnTo>
                  <a:lnTo>
                    <a:pt x="96" y="45"/>
                  </a:lnTo>
                  <a:lnTo>
                    <a:pt x="99" y="42"/>
                  </a:lnTo>
                  <a:lnTo>
                    <a:pt x="103" y="48"/>
                  </a:lnTo>
                  <a:lnTo>
                    <a:pt x="110" y="45"/>
                  </a:lnTo>
                  <a:lnTo>
                    <a:pt x="113" y="39"/>
                  </a:lnTo>
                  <a:lnTo>
                    <a:pt x="120" y="39"/>
                  </a:lnTo>
                  <a:lnTo>
                    <a:pt x="130" y="39"/>
                  </a:lnTo>
                  <a:lnTo>
                    <a:pt x="130" y="45"/>
                  </a:lnTo>
                  <a:lnTo>
                    <a:pt x="141" y="48"/>
                  </a:lnTo>
                  <a:lnTo>
                    <a:pt x="144" y="52"/>
                  </a:lnTo>
                  <a:lnTo>
                    <a:pt x="148" y="55"/>
                  </a:lnTo>
                  <a:lnTo>
                    <a:pt x="148" y="58"/>
                  </a:lnTo>
                  <a:lnTo>
                    <a:pt x="144" y="61"/>
                  </a:lnTo>
                  <a:lnTo>
                    <a:pt x="148" y="65"/>
                  </a:lnTo>
                  <a:lnTo>
                    <a:pt x="148" y="71"/>
                  </a:lnTo>
                  <a:lnTo>
                    <a:pt x="144" y="71"/>
                  </a:lnTo>
                  <a:lnTo>
                    <a:pt x="148" y="74"/>
                  </a:lnTo>
                  <a:lnTo>
                    <a:pt x="154" y="77"/>
                  </a:lnTo>
                  <a:lnTo>
                    <a:pt x="158" y="77"/>
                  </a:lnTo>
                  <a:lnTo>
                    <a:pt x="161" y="81"/>
                  </a:lnTo>
                  <a:lnTo>
                    <a:pt x="158" y="81"/>
                  </a:lnTo>
                  <a:lnTo>
                    <a:pt x="165" y="84"/>
                  </a:lnTo>
                  <a:lnTo>
                    <a:pt x="165" y="87"/>
                  </a:lnTo>
                  <a:lnTo>
                    <a:pt x="165" y="90"/>
                  </a:lnTo>
                  <a:lnTo>
                    <a:pt x="165" y="90"/>
                  </a:lnTo>
                  <a:lnTo>
                    <a:pt x="161" y="94"/>
                  </a:lnTo>
                  <a:lnTo>
                    <a:pt x="165" y="97"/>
                  </a:lnTo>
                  <a:lnTo>
                    <a:pt x="165" y="103"/>
                  </a:lnTo>
                  <a:lnTo>
                    <a:pt x="161" y="107"/>
                  </a:lnTo>
                  <a:lnTo>
                    <a:pt x="158" y="107"/>
                  </a:lnTo>
                  <a:lnTo>
                    <a:pt x="154" y="107"/>
                  </a:lnTo>
                  <a:lnTo>
                    <a:pt x="148" y="107"/>
                  </a:lnTo>
                  <a:lnTo>
                    <a:pt x="144" y="107"/>
                  </a:lnTo>
                  <a:lnTo>
                    <a:pt x="141" y="107"/>
                  </a:lnTo>
                  <a:lnTo>
                    <a:pt x="134" y="107"/>
                  </a:lnTo>
                  <a:lnTo>
                    <a:pt x="134" y="107"/>
                  </a:lnTo>
                  <a:lnTo>
                    <a:pt x="127" y="107"/>
                  </a:lnTo>
                  <a:lnTo>
                    <a:pt x="117" y="107"/>
                  </a:lnTo>
                  <a:lnTo>
                    <a:pt x="113" y="107"/>
                  </a:lnTo>
                  <a:lnTo>
                    <a:pt x="110" y="113"/>
                  </a:lnTo>
                  <a:lnTo>
                    <a:pt x="110" y="116"/>
                  </a:lnTo>
                  <a:lnTo>
                    <a:pt x="106" y="119"/>
                  </a:lnTo>
                  <a:lnTo>
                    <a:pt x="106" y="126"/>
                  </a:lnTo>
                  <a:lnTo>
                    <a:pt x="106" y="132"/>
                  </a:lnTo>
                  <a:lnTo>
                    <a:pt x="110" y="136"/>
                  </a:lnTo>
                  <a:lnTo>
                    <a:pt x="113" y="139"/>
                  </a:lnTo>
                  <a:lnTo>
                    <a:pt x="110" y="145"/>
                  </a:lnTo>
                  <a:lnTo>
                    <a:pt x="110" y="149"/>
                  </a:lnTo>
                  <a:lnTo>
                    <a:pt x="110" y="149"/>
                  </a:lnTo>
                  <a:lnTo>
                    <a:pt x="110" y="149"/>
                  </a:lnTo>
                  <a:lnTo>
                    <a:pt x="110" y="149"/>
                  </a:lnTo>
                  <a:lnTo>
                    <a:pt x="106" y="149"/>
                  </a:lnTo>
                  <a:lnTo>
                    <a:pt x="103" y="145"/>
                  </a:lnTo>
                  <a:lnTo>
                    <a:pt x="103" y="145"/>
                  </a:lnTo>
                  <a:lnTo>
                    <a:pt x="103" y="145"/>
                  </a:lnTo>
                  <a:lnTo>
                    <a:pt x="99" y="142"/>
                  </a:lnTo>
                  <a:lnTo>
                    <a:pt x="96" y="139"/>
                  </a:lnTo>
                  <a:lnTo>
                    <a:pt x="93" y="139"/>
                  </a:lnTo>
                  <a:lnTo>
                    <a:pt x="89" y="139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39"/>
                  </a:lnTo>
                  <a:lnTo>
                    <a:pt x="82" y="139"/>
                  </a:lnTo>
                  <a:lnTo>
                    <a:pt x="79" y="139"/>
                  </a:lnTo>
                  <a:lnTo>
                    <a:pt x="79" y="139"/>
                  </a:lnTo>
                  <a:lnTo>
                    <a:pt x="75" y="139"/>
                  </a:lnTo>
                  <a:lnTo>
                    <a:pt x="75" y="136"/>
                  </a:lnTo>
                  <a:lnTo>
                    <a:pt x="75" y="136"/>
                  </a:lnTo>
                  <a:lnTo>
                    <a:pt x="75" y="132"/>
                  </a:lnTo>
                  <a:lnTo>
                    <a:pt x="75" y="129"/>
                  </a:lnTo>
                  <a:lnTo>
                    <a:pt x="75" y="129"/>
                  </a:lnTo>
                  <a:lnTo>
                    <a:pt x="75" y="126"/>
                  </a:lnTo>
                  <a:lnTo>
                    <a:pt x="72" y="126"/>
                  </a:lnTo>
                  <a:lnTo>
                    <a:pt x="72" y="126"/>
                  </a:lnTo>
                  <a:lnTo>
                    <a:pt x="68" y="126"/>
                  </a:lnTo>
                  <a:lnTo>
                    <a:pt x="68" y="123"/>
                  </a:lnTo>
                  <a:lnTo>
                    <a:pt x="65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5" y="129"/>
                  </a:lnTo>
                  <a:lnTo>
                    <a:pt x="58" y="129"/>
                  </a:lnTo>
                  <a:lnTo>
                    <a:pt x="62" y="132"/>
                  </a:lnTo>
                  <a:lnTo>
                    <a:pt x="58" y="136"/>
                  </a:lnTo>
                  <a:lnTo>
                    <a:pt x="58" y="139"/>
                  </a:lnTo>
                  <a:lnTo>
                    <a:pt x="58" y="142"/>
                  </a:lnTo>
                  <a:lnTo>
                    <a:pt x="58" y="142"/>
                  </a:lnTo>
                  <a:lnTo>
                    <a:pt x="58" y="145"/>
                  </a:lnTo>
                  <a:lnTo>
                    <a:pt x="55" y="149"/>
                  </a:lnTo>
                  <a:lnTo>
                    <a:pt x="55" y="152"/>
                  </a:lnTo>
                  <a:lnTo>
                    <a:pt x="51" y="158"/>
                  </a:lnTo>
                  <a:lnTo>
                    <a:pt x="51" y="168"/>
                  </a:lnTo>
                  <a:lnTo>
                    <a:pt x="48" y="174"/>
                  </a:lnTo>
                  <a:lnTo>
                    <a:pt x="48" y="178"/>
                  </a:lnTo>
                  <a:lnTo>
                    <a:pt x="44" y="181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44" y="184"/>
                  </a:lnTo>
                  <a:lnTo>
                    <a:pt x="44" y="184"/>
                  </a:lnTo>
                  <a:lnTo>
                    <a:pt x="48" y="187"/>
                  </a:lnTo>
                  <a:lnTo>
                    <a:pt x="48" y="191"/>
                  </a:lnTo>
                  <a:lnTo>
                    <a:pt x="51" y="197"/>
                  </a:lnTo>
                  <a:lnTo>
                    <a:pt x="48" y="200"/>
                  </a:lnTo>
                  <a:lnTo>
                    <a:pt x="51" y="200"/>
                  </a:lnTo>
                  <a:lnTo>
                    <a:pt x="51" y="200"/>
                  </a:lnTo>
                  <a:lnTo>
                    <a:pt x="51" y="197"/>
                  </a:lnTo>
                  <a:lnTo>
                    <a:pt x="55" y="197"/>
                  </a:lnTo>
                  <a:lnTo>
                    <a:pt x="55" y="197"/>
                  </a:lnTo>
                  <a:lnTo>
                    <a:pt x="58" y="197"/>
                  </a:lnTo>
                  <a:lnTo>
                    <a:pt x="62" y="200"/>
                  </a:lnTo>
                  <a:lnTo>
                    <a:pt x="62" y="203"/>
                  </a:lnTo>
                  <a:lnTo>
                    <a:pt x="62" y="203"/>
                  </a:lnTo>
                  <a:lnTo>
                    <a:pt x="62" y="207"/>
                  </a:lnTo>
                  <a:lnTo>
                    <a:pt x="65" y="210"/>
                  </a:lnTo>
                  <a:lnTo>
                    <a:pt x="65" y="213"/>
                  </a:lnTo>
                  <a:lnTo>
                    <a:pt x="68" y="213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72" y="213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2" y="226"/>
                  </a:lnTo>
                  <a:lnTo>
                    <a:pt x="72" y="226"/>
                  </a:lnTo>
                  <a:lnTo>
                    <a:pt x="68" y="226"/>
                  </a:lnTo>
                  <a:lnTo>
                    <a:pt x="68" y="229"/>
                  </a:lnTo>
                  <a:lnTo>
                    <a:pt x="75" y="233"/>
                  </a:lnTo>
                  <a:lnTo>
                    <a:pt x="75" y="229"/>
                  </a:lnTo>
                  <a:lnTo>
                    <a:pt x="75" y="229"/>
                  </a:lnTo>
                  <a:lnTo>
                    <a:pt x="75" y="233"/>
                  </a:lnTo>
                  <a:lnTo>
                    <a:pt x="79" y="236"/>
                  </a:lnTo>
                  <a:lnTo>
                    <a:pt x="86" y="239"/>
                  </a:lnTo>
                  <a:lnTo>
                    <a:pt x="86" y="239"/>
                  </a:lnTo>
                  <a:lnTo>
                    <a:pt x="89" y="239"/>
                  </a:lnTo>
                  <a:lnTo>
                    <a:pt x="93" y="239"/>
                  </a:lnTo>
                  <a:lnTo>
                    <a:pt x="96" y="242"/>
                  </a:lnTo>
                  <a:lnTo>
                    <a:pt x="99" y="245"/>
                  </a:lnTo>
                  <a:lnTo>
                    <a:pt x="99" y="249"/>
                  </a:lnTo>
                  <a:lnTo>
                    <a:pt x="103" y="249"/>
                  </a:lnTo>
                  <a:lnTo>
                    <a:pt x="103" y="252"/>
                  </a:lnTo>
                  <a:lnTo>
                    <a:pt x="103" y="252"/>
                  </a:lnTo>
                  <a:lnTo>
                    <a:pt x="103" y="255"/>
                  </a:lnTo>
                  <a:lnTo>
                    <a:pt x="99" y="258"/>
                  </a:lnTo>
                  <a:lnTo>
                    <a:pt x="99" y="255"/>
                  </a:lnTo>
                  <a:lnTo>
                    <a:pt x="96" y="255"/>
                  </a:lnTo>
                  <a:lnTo>
                    <a:pt x="89" y="258"/>
                  </a:lnTo>
                  <a:lnTo>
                    <a:pt x="86" y="258"/>
                  </a:lnTo>
                  <a:lnTo>
                    <a:pt x="86" y="255"/>
                  </a:lnTo>
                  <a:lnTo>
                    <a:pt x="89" y="252"/>
                  </a:lnTo>
                  <a:lnTo>
                    <a:pt x="89" y="249"/>
                  </a:lnTo>
                  <a:lnTo>
                    <a:pt x="86" y="245"/>
                  </a:lnTo>
                  <a:lnTo>
                    <a:pt x="82" y="245"/>
                  </a:lnTo>
                  <a:lnTo>
                    <a:pt x="82" y="245"/>
                  </a:lnTo>
                  <a:lnTo>
                    <a:pt x="75" y="242"/>
                  </a:lnTo>
                  <a:lnTo>
                    <a:pt x="72" y="239"/>
                  </a:lnTo>
                  <a:lnTo>
                    <a:pt x="68" y="242"/>
                  </a:lnTo>
                  <a:lnTo>
                    <a:pt x="68" y="245"/>
                  </a:lnTo>
                  <a:lnTo>
                    <a:pt x="65" y="245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5" y="233"/>
                  </a:lnTo>
                  <a:lnTo>
                    <a:pt x="51" y="233"/>
                  </a:lnTo>
                  <a:lnTo>
                    <a:pt x="51" y="229"/>
                  </a:lnTo>
                  <a:lnTo>
                    <a:pt x="48" y="223"/>
                  </a:lnTo>
                  <a:lnTo>
                    <a:pt x="44" y="223"/>
                  </a:lnTo>
                  <a:lnTo>
                    <a:pt x="44" y="220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37" y="213"/>
                  </a:lnTo>
                  <a:lnTo>
                    <a:pt x="37" y="213"/>
                  </a:lnTo>
                  <a:lnTo>
                    <a:pt x="34" y="213"/>
                  </a:lnTo>
                  <a:lnTo>
                    <a:pt x="34" y="216"/>
                  </a:lnTo>
                  <a:lnTo>
                    <a:pt x="31" y="216"/>
                  </a:lnTo>
                  <a:lnTo>
                    <a:pt x="31" y="213"/>
                  </a:lnTo>
                  <a:lnTo>
                    <a:pt x="27" y="210"/>
                  </a:lnTo>
                  <a:lnTo>
                    <a:pt x="31" y="207"/>
                  </a:lnTo>
                  <a:lnTo>
                    <a:pt x="31" y="203"/>
                  </a:lnTo>
                  <a:lnTo>
                    <a:pt x="31" y="200"/>
                  </a:lnTo>
                  <a:lnTo>
                    <a:pt x="31" y="194"/>
                  </a:lnTo>
                  <a:lnTo>
                    <a:pt x="34" y="197"/>
                  </a:lnTo>
                  <a:lnTo>
                    <a:pt x="34" y="194"/>
                  </a:lnTo>
                  <a:lnTo>
                    <a:pt x="34" y="194"/>
                  </a:lnTo>
                  <a:lnTo>
                    <a:pt x="34" y="191"/>
                  </a:lnTo>
                  <a:lnTo>
                    <a:pt x="34" y="187"/>
                  </a:lnTo>
                  <a:lnTo>
                    <a:pt x="37" y="184"/>
                  </a:lnTo>
                  <a:lnTo>
                    <a:pt x="34" y="184"/>
                  </a:lnTo>
                  <a:lnTo>
                    <a:pt x="34" y="178"/>
                  </a:lnTo>
                  <a:lnTo>
                    <a:pt x="37" y="178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44" y="168"/>
                  </a:lnTo>
                  <a:lnTo>
                    <a:pt x="48" y="158"/>
                  </a:lnTo>
                  <a:lnTo>
                    <a:pt x="51" y="155"/>
                  </a:lnTo>
                  <a:lnTo>
                    <a:pt x="51" y="152"/>
                  </a:lnTo>
                  <a:lnTo>
                    <a:pt x="48" y="145"/>
                  </a:lnTo>
                  <a:lnTo>
                    <a:pt x="48" y="142"/>
                  </a:lnTo>
                  <a:lnTo>
                    <a:pt x="48" y="139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29"/>
                  </a:lnTo>
                  <a:lnTo>
                    <a:pt x="44" y="126"/>
                  </a:lnTo>
                  <a:lnTo>
                    <a:pt x="44" y="123"/>
                  </a:lnTo>
                  <a:lnTo>
                    <a:pt x="41" y="116"/>
                  </a:lnTo>
                  <a:lnTo>
                    <a:pt x="37" y="110"/>
                  </a:lnTo>
                  <a:lnTo>
                    <a:pt x="31" y="107"/>
                  </a:lnTo>
                  <a:lnTo>
                    <a:pt x="27" y="103"/>
                  </a:lnTo>
                  <a:lnTo>
                    <a:pt x="27" y="100"/>
                  </a:lnTo>
                  <a:lnTo>
                    <a:pt x="24" y="94"/>
                  </a:lnTo>
                  <a:lnTo>
                    <a:pt x="27" y="90"/>
                  </a:lnTo>
                  <a:lnTo>
                    <a:pt x="27" y="87"/>
                  </a:lnTo>
                  <a:lnTo>
                    <a:pt x="24" y="81"/>
                  </a:lnTo>
                  <a:lnTo>
                    <a:pt x="27" y="77"/>
                  </a:lnTo>
                  <a:lnTo>
                    <a:pt x="31" y="77"/>
                  </a:lnTo>
                  <a:lnTo>
                    <a:pt x="31" y="74"/>
                  </a:lnTo>
                  <a:lnTo>
                    <a:pt x="27" y="71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0" y="61"/>
                  </a:lnTo>
                  <a:lnTo>
                    <a:pt x="17" y="55"/>
                  </a:lnTo>
                  <a:lnTo>
                    <a:pt x="10" y="52"/>
                  </a:lnTo>
                  <a:lnTo>
                    <a:pt x="10" y="48"/>
                  </a:lnTo>
                  <a:lnTo>
                    <a:pt x="7" y="45"/>
                  </a:lnTo>
                  <a:lnTo>
                    <a:pt x="3" y="42"/>
                  </a:lnTo>
                  <a:lnTo>
                    <a:pt x="0" y="42"/>
                  </a:lnTo>
                  <a:lnTo>
                    <a:pt x="0" y="39"/>
                  </a:lnTo>
                  <a:lnTo>
                    <a:pt x="3" y="35"/>
                  </a:lnTo>
                  <a:lnTo>
                    <a:pt x="10" y="35"/>
                  </a:lnTo>
                  <a:lnTo>
                    <a:pt x="7" y="32"/>
                  </a:lnTo>
                  <a:lnTo>
                    <a:pt x="7" y="26"/>
                  </a:lnTo>
                  <a:lnTo>
                    <a:pt x="10" y="26"/>
                  </a:lnTo>
                  <a:lnTo>
                    <a:pt x="10" y="19"/>
                  </a:lnTo>
                  <a:lnTo>
                    <a:pt x="13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7" y="16"/>
                  </a:lnTo>
                  <a:lnTo>
                    <a:pt x="31" y="13"/>
                  </a:lnTo>
                  <a:lnTo>
                    <a:pt x="31" y="10"/>
                  </a:lnTo>
                  <a:lnTo>
                    <a:pt x="31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3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close/>
                  <a:moveTo>
                    <a:pt x="58" y="242"/>
                  </a:moveTo>
                  <a:lnTo>
                    <a:pt x="58" y="245"/>
                  </a:lnTo>
                  <a:lnTo>
                    <a:pt x="58" y="245"/>
                  </a:lnTo>
                  <a:lnTo>
                    <a:pt x="58" y="242"/>
                  </a:lnTo>
                  <a:lnTo>
                    <a:pt x="58" y="242"/>
                  </a:lnTo>
                  <a:lnTo>
                    <a:pt x="58" y="242"/>
                  </a:lnTo>
                  <a:lnTo>
                    <a:pt x="58" y="242"/>
                  </a:lnTo>
                  <a:close/>
                  <a:moveTo>
                    <a:pt x="44" y="226"/>
                  </a:moveTo>
                  <a:lnTo>
                    <a:pt x="44" y="229"/>
                  </a:lnTo>
                  <a:lnTo>
                    <a:pt x="44" y="226"/>
                  </a:lnTo>
                  <a:lnTo>
                    <a:pt x="44" y="226"/>
                  </a:lnTo>
                  <a:lnTo>
                    <a:pt x="44" y="226"/>
                  </a:lnTo>
                  <a:lnTo>
                    <a:pt x="44" y="226"/>
                  </a:lnTo>
                  <a:close/>
                  <a:moveTo>
                    <a:pt x="31" y="216"/>
                  </a:moveTo>
                  <a:lnTo>
                    <a:pt x="31" y="220"/>
                  </a:lnTo>
                  <a:lnTo>
                    <a:pt x="31" y="220"/>
                  </a:lnTo>
                  <a:lnTo>
                    <a:pt x="31" y="223"/>
                  </a:lnTo>
                  <a:lnTo>
                    <a:pt x="34" y="223"/>
                  </a:lnTo>
                  <a:lnTo>
                    <a:pt x="34" y="216"/>
                  </a:lnTo>
                  <a:lnTo>
                    <a:pt x="34" y="216"/>
                  </a:lnTo>
                  <a:lnTo>
                    <a:pt x="31" y="216"/>
                  </a:lnTo>
                  <a:lnTo>
                    <a:pt x="31" y="216"/>
                  </a:lnTo>
                  <a:close/>
                  <a:moveTo>
                    <a:pt x="103" y="145"/>
                  </a:moveTo>
                  <a:lnTo>
                    <a:pt x="103" y="149"/>
                  </a:lnTo>
                  <a:lnTo>
                    <a:pt x="103" y="152"/>
                  </a:lnTo>
                  <a:lnTo>
                    <a:pt x="106" y="152"/>
                  </a:lnTo>
                  <a:lnTo>
                    <a:pt x="103" y="145"/>
                  </a:lnTo>
                  <a:lnTo>
                    <a:pt x="103" y="145"/>
                  </a:lnTo>
                  <a:close/>
                  <a:moveTo>
                    <a:pt x="62" y="187"/>
                  </a:moveTo>
                  <a:lnTo>
                    <a:pt x="58" y="187"/>
                  </a:lnTo>
                  <a:lnTo>
                    <a:pt x="62" y="191"/>
                  </a:lnTo>
                  <a:lnTo>
                    <a:pt x="62" y="187"/>
                  </a:lnTo>
                  <a:lnTo>
                    <a:pt x="62" y="187"/>
                  </a:lnTo>
                  <a:close/>
                  <a:moveTo>
                    <a:pt x="65" y="191"/>
                  </a:moveTo>
                  <a:lnTo>
                    <a:pt x="62" y="194"/>
                  </a:lnTo>
                  <a:lnTo>
                    <a:pt x="62" y="194"/>
                  </a:lnTo>
                  <a:lnTo>
                    <a:pt x="65" y="197"/>
                  </a:lnTo>
                  <a:lnTo>
                    <a:pt x="65" y="194"/>
                  </a:lnTo>
                  <a:lnTo>
                    <a:pt x="65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8" name="Freeform 29"/>
            <p:cNvSpPr>
              <a:spLocks noEditPoints="1"/>
            </p:cNvSpPr>
            <p:nvPr/>
          </p:nvSpPr>
          <p:spPr bwMode="auto">
            <a:xfrm>
              <a:off x="9078913" y="3842405"/>
              <a:ext cx="273050" cy="522287"/>
            </a:xfrm>
            <a:custGeom>
              <a:avLst/>
              <a:gdLst>
                <a:gd name="T0" fmla="*/ 96 w 172"/>
                <a:gd name="T1" fmla="*/ 6 h 329"/>
                <a:gd name="T2" fmla="*/ 110 w 172"/>
                <a:gd name="T3" fmla="*/ 26 h 329"/>
                <a:gd name="T4" fmla="*/ 107 w 172"/>
                <a:gd name="T5" fmla="*/ 48 h 329"/>
                <a:gd name="T6" fmla="*/ 96 w 172"/>
                <a:gd name="T7" fmla="*/ 58 h 329"/>
                <a:gd name="T8" fmla="*/ 100 w 172"/>
                <a:gd name="T9" fmla="*/ 71 h 329"/>
                <a:gd name="T10" fmla="*/ 120 w 172"/>
                <a:gd name="T11" fmla="*/ 77 h 329"/>
                <a:gd name="T12" fmla="*/ 127 w 172"/>
                <a:gd name="T13" fmla="*/ 90 h 329"/>
                <a:gd name="T14" fmla="*/ 141 w 172"/>
                <a:gd name="T15" fmla="*/ 93 h 329"/>
                <a:gd name="T16" fmla="*/ 134 w 172"/>
                <a:gd name="T17" fmla="*/ 113 h 329"/>
                <a:gd name="T18" fmla="*/ 148 w 172"/>
                <a:gd name="T19" fmla="*/ 119 h 329"/>
                <a:gd name="T20" fmla="*/ 172 w 172"/>
                <a:gd name="T21" fmla="*/ 119 h 329"/>
                <a:gd name="T22" fmla="*/ 162 w 172"/>
                <a:gd name="T23" fmla="*/ 135 h 329"/>
                <a:gd name="T24" fmla="*/ 144 w 172"/>
                <a:gd name="T25" fmla="*/ 145 h 329"/>
                <a:gd name="T26" fmla="*/ 134 w 172"/>
                <a:gd name="T27" fmla="*/ 158 h 329"/>
                <a:gd name="T28" fmla="*/ 114 w 172"/>
                <a:gd name="T29" fmla="*/ 168 h 329"/>
                <a:gd name="T30" fmla="*/ 110 w 172"/>
                <a:gd name="T31" fmla="*/ 184 h 329"/>
                <a:gd name="T32" fmla="*/ 131 w 172"/>
                <a:gd name="T33" fmla="*/ 207 h 329"/>
                <a:gd name="T34" fmla="*/ 131 w 172"/>
                <a:gd name="T35" fmla="*/ 223 h 329"/>
                <a:gd name="T36" fmla="*/ 138 w 172"/>
                <a:gd name="T37" fmla="*/ 249 h 329"/>
                <a:gd name="T38" fmla="*/ 151 w 172"/>
                <a:gd name="T39" fmla="*/ 274 h 329"/>
                <a:gd name="T40" fmla="*/ 158 w 172"/>
                <a:gd name="T41" fmla="*/ 297 h 329"/>
                <a:gd name="T42" fmla="*/ 141 w 172"/>
                <a:gd name="T43" fmla="*/ 320 h 329"/>
                <a:gd name="T44" fmla="*/ 138 w 172"/>
                <a:gd name="T45" fmla="*/ 316 h 329"/>
                <a:gd name="T46" fmla="*/ 141 w 172"/>
                <a:gd name="T47" fmla="*/ 307 h 329"/>
                <a:gd name="T48" fmla="*/ 141 w 172"/>
                <a:gd name="T49" fmla="*/ 294 h 329"/>
                <a:gd name="T50" fmla="*/ 138 w 172"/>
                <a:gd name="T51" fmla="*/ 271 h 329"/>
                <a:gd name="T52" fmla="*/ 127 w 172"/>
                <a:gd name="T53" fmla="*/ 265 h 329"/>
                <a:gd name="T54" fmla="*/ 120 w 172"/>
                <a:gd name="T55" fmla="*/ 242 h 329"/>
                <a:gd name="T56" fmla="*/ 117 w 172"/>
                <a:gd name="T57" fmla="*/ 219 h 329"/>
                <a:gd name="T58" fmla="*/ 110 w 172"/>
                <a:gd name="T59" fmla="*/ 213 h 329"/>
                <a:gd name="T60" fmla="*/ 100 w 172"/>
                <a:gd name="T61" fmla="*/ 200 h 329"/>
                <a:gd name="T62" fmla="*/ 100 w 172"/>
                <a:gd name="T63" fmla="*/ 203 h 329"/>
                <a:gd name="T64" fmla="*/ 86 w 172"/>
                <a:gd name="T65" fmla="*/ 210 h 329"/>
                <a:gd name="T66" fmla="*/ 83 w 172"/>
                <a:gd name="T67" fmla="*/ 216 h 329"/>
                <a:gd name="T68" fmla="*/ 65 w 172"/>
                <a:gd name="T69" fmla="*/ 223 h 329"/>
                <a:gd name="T70" fmla="*/ 55 w 172"/>
                <a:gd name="T71" fmla="*/ 226 h 329"/>
                <a:gd name="T72" fmla="*/ 52 w 172"/>
                <a:gd name="T73" fmla="*/ 223 h 329"/>
                <a:gd name="T74" fmla="*/ 55 w 172"/>
                <a:gd name="T75" fmla="*/ 200 h 329"/>
                <a:gd name="T76" fmla="*/ 48 w 172"/>
                <a:gd name="T77" fmla="*/ 181 h 329"/>
                <a:gd name="T78" fmla="*/ 34 w 172"/>
                <a:gd name="T79" fmla="*/ 165 h 329"/>
                <a:gd name="T80" fmla="*/ 24 w 172"/>
                <a:gd name="T81" fmla="*/ 165 h 329"/>
                <a:gd name="T82" fmla="*/ 31 w 172"/>
                <a:gd name="T83" fmla="*/ 165 h 329"/>
                <a:gd name="T84" fmla="*/ 31 w 172"/>
                <a:gd name="T85" fmla="*/ 155 h 329"/>
                <a:gd name="T86" fmla="*/ 14 w 172"/>
                <a:gd name="T87" fmla="*/ 152 h 329"/>
                <a:gd name="T88" fmla="*/ 14 w 172"/>
                <a:gd name="T89" fmla="*/ 148 h 329"/>
                <a:gd name="T90" fmla="*/ 0 w 172"/>
                <a:gd name="T91" fmla="*/ 132 h 329"/>
                <a:gd name="T92" fmla="*/ 10 w 172"/>
                <a:gd name="T93" fmla="*/ 116 h 329"/>
                <a:gd name="T94" fmla="*/ 17 w 172"/>
                <a:gd name="T95" fmla="*/ 97 h 329"/>
                <a:gd name="T96" fmla="*/ 31 w 172"/>
                <a:gd name="T97" fmla="*/ 81 h 329"/>
                <a:gd name="T98" fmla="*/ 38 w 172"/>
                <a:gd name="T99" fmla="*/ 48 h 329"/>
                <a:gd name="T100" fmla="*/ 55 w 172"/>
                <a:gd name="T101" fmla="*/ 19 h 329"/>
                <a:gd name="T102" fmla="*/ 76 w 172"/>
                <a:gd name="T103" fmla="*/ 13 h 329"/>
                <a:gd name="T104" fmla="*/ 28 w 172"/>
                <a:gd name="T105" fmla="*/ 17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2" h="329">
                  <a:moveTo>
                    <a:pt x="79" y="0"/>
                  </a:moveTo>
                  <a:lnTo>
                    <a:pt x="83" y="0"/>
                  </a:lnTo>
                  <a:lnTo>
                    <a:pt x="86" y="3"/>
                  </a:lnTo>
                  <a:lnTo>
                    <a:pt x="89" y="0"/>
                  </a:lnTo>
                  <a:lnTo>
                    <a:pt x="93" y="0"/>
                  </a:lnTo>
                  <a:lnTo>
                    <a:pt x="96" y="6"/>
                  </a:lnTo>
                  <a:lnTo>
                    <a:pt x="100" y="6"/>
                  </a:lnTo>
                  <a:lnTo>
                    <a:pt x="100" y="13"/>
                  </a:lnTo>
                  <a:lnTo>
                    <a:pt x="103" y="13"/>
                  </a:lnTo>
                  <a:lnTo>
                    <a:pt x="107" y="16"/>
                  </a:lnTo>
                  <a:lnTo>
                    <a:pt x="107" y="19"/>
                  </a:lnTo>
                  <a:lnTo>
                    <a:pt x="110" y="26"/>
                  </a:lnTo>
                  <a:lnTo>
                    <a:pt x="110" y="32"/>
                  </a:lnTo>
                  <a:lnTo>
                    <a:pt x="110" y="39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07" y="45"/>
                  </a:lnTo>
                  <a:lnTo>
                    <a:pt x="107" y="48"/>
                  </a:lnTo>
                  <a:lnTo>
                    <a:pt x="103" y="48"/>
                  </a:lnTo>
                  <a:lnTo>
                    <a:pt x="103" y="51"/>
                  </a:lnTo>
                  <a:lnTo>
                    <a:pt x="103" y="55"/>
                  </a:lnTo>
                  <a:lnTo>
                    <a:pt x="103" y="55"/>
                  </a:lnTo>
                  <a:lnTo>
                    <a:pt x="100" y="55"/>
                  </a:lnTo>
                  <a:lnTo>
                    <a:pt x="96" y="58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100" y="68"/>
                  </a:lnTo>
                  <a:lnTo>
                    <a:pt x="100" y="71"/>
                  </a:lnTo>
                  <a:lnTo>
                    <a:pt x="103" y="74"/>
                  </a:lnTo>
                  <a:lnTo>
                    <a:pt x="103" y="77"/>
                  </a:lnTo>
                  <a:lnTo>
                    <a:pt x="103" y="81"/>
                  </a:lnTo>
                  <a:lnTo>
                    <a:pt x="110" y="77"/>
                  </a:lnTo>
                  <a:lnTo>
                    <a:pt x="117" y="77"/>
                  </a:lnTo>
                  <a:lnTo>
                    <a:pt x="120" y="77"/>
                  </a:lnTo>
                  <a:lnTo>
                    <a:pt x="117" y="81"/>
                  </a:lnTo>
                  <a:lnTo>
                    <a:pt x="120" y="84"/>
                  </a:lnTo>
                  <a:lnTo>
                    <a:pt x="124" y="81"/>
                  </a:lnTo>
                  <a:lnTo>
                    <a:pt x="127" y="84"/>
                  </a:lnTo>
                  <a:lnTo>
                    <a:pt x="124" y="87"/>
                  </a:lnTo>
                  <a:lnTo>
                    <a:pt x="127" y="90"/>
                  </a:lnTo>
                  <a:lnTo>
                    <a:pt x="131" y="90"/>
                  </a:lnTo>
                  <a:lnTo>
                    <a:pt x="131" y="93"/>
                  </a:lnTo>
                  <a:lnTo>
                    <a:pt x="131" y="93"/>
                  </a:lnTo>
                  <a:lnTo>
                    <a:pt x="134" y="93"/>
                  </a:lnTo>
                  <a:lnTo>
                    <a:pt x="138" y="93"/>
                  </a:lnTo>
                  <a:lnTo>
                    <a:pt x="141" y="93"/>
                  </a:lnTo>
                  <a:lnTo>
                    <a:pt x="141" y="97"/>
                  </a:lnTo>
                  <a:lnTo>
                    <a:pt x="141" y="100"/>
                  </a:lnTo>
                  <a:lnTo>
                    <a:pt x="141" y="103"/>
                  </a:lnTo>
                  <a:lnTo>
                    <a:pt x="138" y="106"/>
                  </a:lnTo>
                  <a:lnTo>
                    <a:pt x="134" y="110"/>
                  </a:lnTo>
                  <a:lnTo>
                    <a:pt x="134" y="113"/>
                  </a:lnTo>
                  <a:lnTo>
                    <a:pt x="138" y="113"/>
                  </a:lnTo>
                  <a:lnTo>
                    <a:pt x="141" y="113"/>
                  </a:lnTo>
                  <a:lnTo>
                    <a:pt x="144" y="113"/>
                  </a:lnTo>
                  <a:lnTo>
                    <a:pt x="148" y="110"/>
                  </a:lnTo>
                  <a:lnTo>
                    <a:pt x="148" y="113"/>
                  </a:lnTo>
                  <a:lnTo>
                    <a:pt x="148" y="119"/>
                  </a:lnTo>
                  <a:lnTo>
                    <a:pt x="148" y="123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62" y="123"/>
                  </a:lnTo>
                  <a:lnTo>
                    <a:pt x="169" y="119"/>
                  </a:lnTo>
                  <a:lnTo>
                    <a:pt x="172" y="119"/>
                  </a:lnTo>
                  <a:lnTo>
                    <a:pt x="172" y="123"/>
                  </a:lnTo>
                  <a:lnTo>
                    <a:pt x="169" y="126"/>
                  </a:lnTo>
                  <a:lnTo>
                    <a:pt x="162" y="126"/>
                  </a:lnTo>
                  <a:lnTo>
                    <a:pt x="162" y="129"/>
                  </a:lnTo>
                  <a:lnTo>
                    <a:pt x="158" y="132"/>
                  </a:lnTo>
                  <a:lnTo>
                    <a:pt x="162" y="135"/>
                  </a:lnTo>
                  <a:lnTo>
                    <a:pt x="158" y="139"/>
                  </a:lnTo>
                  <a:lnTo>
                    <a:pt x="155" y="139"/>
                  </a:lnTo>
                  <a:lnTo>
                    <a:pt x="151" y="142"/>
                  </a:lnTo>
                  <a:lnTo>
                    <a:pt x="148" y="142"/>
                  </a:lnTo>
                  <a:lnTo>
                    <a:pt x="144" y="142"/>
                  </a:lnTo>
                  <a:lnTo>
                    <a:pt x="144" y="145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38" y="148"/>
                  </a:lnTo>
                  <a:lnTo>
                    <a:pt x="138" y="152"/>
                  </a:lnTo>
                  <a:lnTo>
                    <a:pt x="138" y="155"/>
                  </a:lnTo>
                  <a:lnTo>
                    <a:pt x="134" y="158"/>
                  </a:lnTo>
                  <a:lnTo>
                    <a:pt x="131" y="158"/>
                  </a:lnTo>
                  <a:lnTo>
                    <a:pt x="127" y="158"/>
                  </a:lnTo>
                  <a:lnTo>
                    <a:pt x="120" y="158"/>
                  </a:lnTo>
                  <a:lnTo>
                    <a:pt x="117" y="161"/>
                  </a:lnTo>
                  <a:lnTo>
                    <a:pt x="117" y="168"/>
                  </a:lnTo>
                  <a:lnTo>
                    <a:pt x="114" y="168"/>
                  </a:lnTo>
                  <a:lnTo>
                    <a:pt x="114" y="174"/>
                  </a:lnTo>
                  <a:lnTo>
                    <a:pt x="117" y="177"/>
                  </a:lnTo>
                  <a:lnTo>
                    <a:pt x="110" y="177"/>
                  </a:lnTo>
                  <a:lnTo>
                    <a:pt x="107" y="181"/>
                  </a:lnTo>
                  <a:lnTo>
                    <a:pt x="107" y="184"/>
                  </a:lnTo>
                  <a:lnTo>
                    <a:pt x="110" y="184"/>
                  </a:lnTo>
                  <a:lnTo>
                    <a:pt x="114" y="187"/>
                  </a:lnTo>
                  <a:lnTo>
                    <a:pt x="117" y="190"/>
                  </a:lnTo>
                  <a:lnTo>
                    <a:pt x="117" y="194"/>
                  </a:lnTo>
                  <a:lnTo>
                    <a:pt x="124" y="197"/>
                  </a:lnTo>
                  <a:lnTo>
                    <a:pt x="127" y="203"/>
                  </a:lnTo>
                  <a:lnTo>
                    <a:pt x="131" y="207"/>
                  </a:lnTo>
                  <a:lnTo>
                    <a:pt x="131" y="210"/>
                  </a:lnTo>
                  <a:lnTo>
                    <a:pt x="134" y="213"/>
                  </a:lnTo>
                  <a:lnTo>
                    <a:pt x="138" y="216"/>
                  </a:lnTo>
                  <a:lnTo>
                    <a:pt x="138" y="219"/>
                  </a:lnTo>
                  <a:lnTo>
                    <a:pt x="134" y="219"/>
                  </a:lnTo>
                  <a:lnTo>
                    <a:pt x="131" y="223"/>
                  </a:lnTo>
                  <a:lnTo>
                    <a:pt x="134" y="229"/>
                  </a:lnTo>
                  <a:lnTo>
                    <a:pt x="134" y="232"/>
                  </a:lnTo>
                  <a:lnTo>
                    <a:pt x="131" y="236"/>
                  </a:lnTo>
                  <a:lnTo>
                    <a:pt x="134" y="242"/>
                  </a:lnTo>
                  <a:lnTo>
                    <a:pt x="134" y="245"/>
                  </a:lnTo>
                  <a:lnTo>
                    <a:pt x="138" y="249"/>
                  </a:lnTo>
                  <a:lnTo>
                    <a:pt x="144" y="252"/>
                  </a:lnTo>
                  <a:lnTo>
                    <a:pt x="148" y="258"/>
                  </a:lnTo>
                  <a:lnTo>
                    <a:pt x="151" y="265"/>
                  </a:lnTo>
                  <a:lnTo>
                    <a:pt x="151" y="268"/>
                  </a:lnTo>
                  <a:lnTo>
                    <a:pt x="151" y="271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5" y="281"/>
                  </a:lnTo>
                  <a:lnTo>
                    <a:pt x="155" y="284"/>
                  </a:lnTo>
                  <a:lnTo>
                    <a:pt x="155" y="287"/>
                  </a:lnTo>
                  <a:lnTo>
                    <a:pt x="158" y="294"/>
                  </a:lnTo>
                  <a:lnTo>
                    <a:pt x="158" y="297"/>
                  </a:lnTo>
                  <a:lnTo>
                    <a:pt x="155" y="300"/>
                  </a:lnTo>
                  <a:lnTo>
                    <a:pt x="151" y="310"/>
                  </a:lnTo>
                  <a:lnTo>
                    <a:pt x="144" y="313"/>
                  </a:lnTo>
                  <a:lnTo>
                    <a:pt x="144" y="316"/>
                  </a:lnTo>
                  <a:lnTo>
                    <a:pt x="144" y="320"/>
                  </a:lnTo>
                  <a:lnTo>
                    <a:pt x="141" y="320"/>
                  </a:lnTo>
                  <a:lnTo>
                    <a:pt x="144" y="320"/>
                  </a:lnTo>
                  <a:lnTo>
                    <a:pt x="141" y="323"/>
                  </a:lnTo>
                  <a:lnTo>
                    <a:pt x="141" y="329"/>
                  </a:lnTo>
                  <a:lnTo>
                    <a:pt x="138" y="323"/>
                  </a:lnTo>
                  <a:lnTo>
                    <a:pt x="138" y="320"/>
                  </a:lnTo>
                  <a:lnTo>
                    <a:pt x="138" y="316"/>
                  </a:lnTo>
                  <a:lnTo>
                    <a:pt x="138" y="316"/>
                  </a:lnTo>
                  <a:lnTo>
                    <a:pt x="138" y="316"/>
                  </a:lnTo>
                  <a:lnTo>
                    <a:pt x="141" y="313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07"/>
                  </a:lnTo>
                  <a:lnTo>
                    <a:pt x="141" y="303"/>
                  </a:lnTo>
                  <a:lnTo>
                    <a:pt x="144" y="303"/>
                  </a:lnTo>
                  <a:lnTo>
                    <a:pt x="144" y="300"/>
                  </a:lnTo>
                  <a:lnTo>
                    <a:pt x="141" y="297"/>
                  </a:lnTo>
                  <a:lnTo>
                    <a:pt x="144" y="294"/>
                  </a:lnTo>
                  <a:lnTo>
                    <a:pt x="141" y="294"/>
                  </a:lnTo>
                  <a:lnTo>
                    <a:pt x="141" y="291"/>
                  </a:lnTo>
                  <a:lnTo>
                    <a:pt x="141" y="284"/>
                  </a:lnTo>
                  <a:lnTo>
                    <a:pt x="141" y="284"/>
                  </a:lnTo>
                  <a:lnTo>
                    <a:pt x="141" y="281"/>
                  </a:lnTo>
                  <a:lnTo>
                    <a:pt x="138" y="281"/>
                  </a:lnTo>
                  <a:lnTo>
                    <a:pt x="138" y="271"/>
                  </a:lnTo>
                  <a:lnTo>
                    <a:pt x="134" y="268"/>
                  </a:lnTo>
                  <a:lnTo>
                    <a:pt x="134" y="265"/>
                  </a:lnTo>
                  <a:lnTo>
                    <a:pt x="131" y="261"/>
                  </a:lnTo>
                  <a:lnTo>
                    <a:pt x="131" y="265"/>
                  </a:lnTo>
                  <a:lnTo>
                    <a:pt x="127" y="265"/>
                  </a:lnTo>
                  <a:lnTo>
                    <a:pt x="127" y="265"/>
                  </a:lnTo>
                  <a:lnTo>
                    <a:pt x="127" y="261"/>
                  </a:lnTo>
                  <a:lnTo>
                    <a:pt x="127" y="252"/>
                  </a:lnTo>
                  <a:lnTo>
                    <a:pt x="124" y="252"/>
                  </a:lnTo>
                  <a:lnTo>
                    <a:pt x="124" y="249"/>
                  </a:lnTo>
                  <a:lnTo>
                    <a:pt x="127" y="245"/>
                  </a:lnTo>
                  <a:lnTo>
                    <a:pt x="120" y="242"/>
                  </a:lnTo>
                  <a:lnTo>
                    <a:pt x="120" y="239"/>
                  </a:lnTo>
                  <a:lnTo>
                    <a:pt x="120" y="239"/>
                  </a:lnTo>
                  <a:lnTo>
                    <a:pt x="117" y="226"/>
                  </a:lnTo>
                  <a:lnTo>
                    <a:pt x="117" y="223"/>
                  </a:lnTo>
                  <a:lnTo>
                    <a:pt x="114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14" y="213"/>
                  </a:lnTo>
                  <a:lnTo>
                    <a:pt x="114" y="213"/>
                  </a:lnTo>
                  <a:lnTo>
                    <a:pt x="114" y="210"/>
                  </a:lnTo>
                  <a:lnTo>
                    <a:pt x="114" y="213"/>
                  </a:lnTo>
                  <a:lnTo>
                    <a:pt x="110" y="213"/>
                  </a:lnTo>
                  <a:lnTo>
                    <a:pt x="107" y="213"/>
                  </a:lnTo>
                  <a:lnTo>
                    <a:pt x="107" y="210"/>
                  </a:lnTo>
                  <a:lnTo>
                    <a:pt x="107" y="210"/>
                  </a:lnTo>
                  <a:lnTo>
                    <a:pt x="100" y="203"/>
                  </a:lnTo>
                  <a:lnTo>
                    <a:pt x="100" y="200"/>
                  </a:lnTo>
                  <a:lnTo>
                    <a:pt x="100" y="200"/>
                  </a:lnTo>
                  <a:lnTo>
                    <a:pt x="100" y="197"/>
                  </a:lnTo>
                  <a:lnTo>
                    <a:pt x="96" y="197"/>
                  </a:lnTo>
                  <a:lnTo>
                    <a:pt x="96" y="200"/>
                  </a:lnTo>
                  <a:lnTo>
                    <a:pt x="96" y="200"/>
                  </a:lnTo>
                  <a:lnTo>
                    <a:pt x="96" y="200"/>
                  </a:lnTo>
                  <a:lnTo>
                    <a:pt x="100" y="203"/>
                  </a:lnTo>
                  <a:lnTo>
                    <a:pt x="100" y="207"/>
                  </a:lnTo>
                  <a:lnTo>
                    <a:pt x="96" y="207"/>
                  </a:lnTo>
                  <a:lnTo>
                    <a:pt x="96" y="210"/>
                  </a:lnTo>
                  <a:lnTo>
                    <a:pt x="93" y="213"/>
                  </a:lnTo>
                  <a:lnTo>
                    <a:pt x="89" y="213"/>
                  </a:lnTo>
                  <a:lnTo>
                    <a:pt x="86" y="210"/>
                  </a:lnTo>
                  <a:lnTo>
                    <a:pt x="86" y="210"/>
                  </a:lnTo>
                  <a:lnTo>
                    <a:pt x="86" y="213"/>
                  </a:lnTo>
                  <a:lnTo>
                    <a:pt x="86" y="213"/>
                  </a:lnTo>
                  <a:lnTo>
                    <a:pt x="89" y="216"/>
                  </a:lnTo>
                  <a:lnTo>
                    <a:pt x="86" y="216"/>
                  </a:lnTo>
                  <a:lnTo>
                    <a:pt x="83" y="216"/>
                  </a:lnTo>
                  <a:lnTo>
                    <a:pt x="79" y="216"/>
                  </a:lnTo>
                  <a:lnTo>
                    <a:pt x="79" y="219"/>
                  </a:lnTo>
                  <a:lnTo>
                    <a:pt x="72" y="223"/>
                  </a:lnTo>
                  <a:lnTo>
                    <a:pt x="69" y="223"/>
                  </a:lnTo>
                  <a:lnTo>
                    <a:pt x="69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6"/>
                  </a:lnTo>
                  <a:lnTo>
                    <a:pt x="62" y="226"/>
                  </a:lnTo>
                  <a:lnTo>
                    <a:pt x="62" y="223"/>
                  </a:lnTo>
                  <a:lnTo>
                    <a:pt x="55" y="226"/>
                  </a:lnTo>
                  <a:lnTo>
                    <a:pt x="55" y="226"/>
                  </a:lnTo>
                  <a:lnTo>
                    <a:pt x="52" y="226"/>
                  </a:lnTo>
                  <a:lnTo>
                    <a:pt x="52" y="223"/>
                  </a:lnTo>
                  <a:lnTo>
                    <a:pt x="58" y="219"/>
                  </a:lnTo>
                  <a:lnTo>
                    <a:pt x="58" y="213"/>
                  </a:lnTo>
                  <a:lnTo>
                    <a:pt x="55" y="219"/>
                  </a:lnTo>
                  <a:lnTo>
                    <a:pt x="52" y="223"/>
                  </a:lnTo>
                  <a:lnTo>
                    <a:pt x="48" y="226"/>
                  </a:lnTo>
                  <a:lnTo>
                    <a:pt x="48" y="223"/>
                  </a:lnTo>
                  <a:lnTo>
                    <a:pt x="48" y="223"/>
                  </a:lnTo>
                  <a:lnTo>
                    <a:pt x="48" y="219"/>
                  </a:lnTo>
                  <a:lnTo>
                    <a:pt x="52" y="203"/>
                  </a:lnTo>
                  <a:lnTo>
                    <a:pt x="55" y="200"/>
                  </a:lnTo>
                  <a:lnTo>
                    <a:pt x="55" y="200"/>
                  </a:lnTo>
                  <a:lnTo>
                    <a:pt x="52" y="190"/>
                  </a:lnTo>
                  <a:lnTo>
                    <a:pt x="48" y="184"/>
                  </a:lnTo>
                  <a:lnTo>
                    <a:pt x="48" y="184"/>
                  </a:lnTo>
                  <a:lnTo>
                    <a:pt x="48" y="184"/>
                  </a:lnTo>
                  <a:lnTo>
                    <a:pt x="48" y="181"/>
                  </a:lnTo>
                  <a:lnTo>
                    <a:pt x="45" y="181"/>
                  </a:lnTo>
                  <a:lnTo>
                    <a:pt x="45" y="174"/>
                  </a:lnTo>
                  <a:lnTo>
                    <a:pt x="41" y="174"/>
                  </a:lnTo>
                  <a:lnTo>
                    <a:pt x="41" y="171"/>
                  </a:lnTo>
                  <a:lnTo>
                    <a:pt x="41" y="168"/>
                  </a:lnTo>
                  <a:lnTo>
                    <a:pt x="34" y="165"/>
                  </a:lnTo>
                  <a:lnTo>
                    <a:pt x="38" y="168"/>
                  </a:lnTo>
                  <a:lnTo>
                    <a:pt x="38" y="174"/>
                  </a:lnTo>
                  <a:lnTo>
                    <a:pt x="31" y="171"/>
                  </a:lnTo>
                  <a:lnTo>
                    <a:pt x="28" y="168"/>
                  </a:lnTo>
                  <a:lnTo>
                    <a:pt x="28" y="168"/>
                  </a:lnTo>
                  <a:lnTo>
                    <a:pt x="24" y="165"/>
                  </a:lnTo>
                  <a:lnTo>
                    <a:pt x="24" y="161"/>
                  </a:lnTo>
                  <a:lnTo>
                    <a:pt x="28" y="161"/>
                  </a:lnTo>
                  <a:lnTo>
                    <a:pt x="28" y="165"/>
                  </a:lnTo>
                  <a:lnTo>
                    <a:pt x="31" y="165"/>
                  </a:lnTo>
                  <a:lnTo>
                    <a:pt x="31" y="165"/>
                  </a:lnTo>
                  <a:lnTo>
                    <a:pt x="31" y="165"/>
                  </a:lnTo>
                  <a:lnTo>
                    <a:pt x="28" y="161"/>
                  </a:lnTo>
                  <a:lnTo>
                    <a:pt x="31" y="161"/>
                  </a:lnTo>
                  <a:lnTo>
                    <a:pt x="34" y="161"/>
                  </a:lnTo>
                  <a:lnTo>
                    <a:pt x="34" y="161"/>
                  </a:lnTo>
                  <a:lnTo>
                    <a:pt x="34" y="158"/>
                  </a:lnTo>
                  <a:lnTo>
                    <a:pt x="31" y="155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1" y="152"/>
                  </a:lnTo>
                  <a:lnTo>
                    <a:pt x="21" y="148"/>
                  </a:lnTo>
                  <a:lnTo>
                    <a:pt x="21" y="152"/>
                  </a:lnTo>
                  <a:lnTo>
                    <a:pt x="14" y="152"/>
                  </a:lnTo>
                  <a:lnTo>
                    <a:pt x="14" y="148"/>
                  </a:lnTo>
                  <a:lnTo>
                    <a:pt x="17" y="145"/>
                  </a:lnTo>
                  <a:lnTo>
                    <a:pt x="14" y="148"/>
                  </a:lnTo>
                  <a:lnTo>
                    <a:pt x="10" y="145"/>
                  </a:lnTo>
                  <a:lnTo>
                    <a:pt x="10" y="145"/>
                  </a:lnTo>
                  <a:lnTo>
                    <a:pt x="14" y="148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7" y="126"/>
                  </a:lnTo>
                  <a:lnTo>
                    <a:pt x="7" y="129"/>
                  </a:lnTo>
                  <a:lnTo>
                    <a:pt x="10" y="123"/>
                  </a:lnTo>
                  <a:lnTo>
                    <a:pt x="10" y="119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4" y="116"/>
                  </a:lnTo>
                  <a:lnTo>
                    <a:pt x="17" y="110"/>
                  </a:lnTo>
                  <a:lnTo>
                    <a:pt x="14" y="106"/>
                  </a:lnTo>
                  <a:lnTo>
                    <a:pt x="17" y="103"/>
                  </a:lnTo>
                  <a:lnTo>
                    <a:pt x="14" y="97"/>
                  </a:lnTo>
                  <a:lnTo>
                    <a:pt x="17" y="97"/>
                  </a:lnTo>
                  <a:lnTo>
                    <a:pt x="21" y="93"/>
                  </a:lnTo>
                  <a:lnTo>
                    <a:pt x="21" y="87"/>
                  </a:lnTo>
                  <a:lnTo>
                    <a:pt x="17" y="81"/>
                  </a:lnTo>
                  <a:lnTo>
                    <a:pt x="21" y="81"/>
                  </a:lnTo>
                  <a:lnTo>
                    <a:pt x="24" y="81"/>
                  </a:lnTo>
                  <a:lnTo>
                    <a:pt x="31" y="81"/>
                  </a:lnTo>
                  <a:lnTo>
                    <a:pt x="31" y="74"/>
                  </a:lnTo>
                  <a:lnTo>
                    <a:pt x="34" y="68"/>
                  </a:lnTo>
                  <a:lnTo>
                    <a:pt x="38" y="58"/>
                  </a:lnTo>
                  <a:lnTo>
                    <a:pt x="34" y="58"/>
                  </a:lnTo>
                  <a:lnTo>
                    <a:pt x="34" y="55"/>
                  </a:lnTo>
                  <a:lnTo>
                    <a:pt x="38" y="48"/>
                  </a:lnTo>
                  <a:lnTo>
                    <a:pt x="41" y="42"/>
                  </a:lnTo>
                  <a:lnTo>
                    <a:pt x="41" y="39"/>
                  </a:lnTo>
                  <a:lnTo>
                    <a:pt x="41" y="35"/>
                  </a:lnTo>
                  <a:lnTo>
                    <a:pt x="48" y="26"/>
                  </a:lnTo>
                  <a:lnTo>
                    <a:pt x="52" y="26"/>
                  </a:lnTo>
                  <a:lnTo>
                    <a:pt x="55" y="19"/>
                  </a:lnTo>
                  <a:lnTo>
                    <a:pt x="58" y="16"/>
                  </a:lnTo>
                  <a:lnTo>
                    <a:pt x="65" y="13"/>
                  </a:lnTo>
                  <a:lnTo>
                    <a:pt x="69" y="9"/>
                  </a:lnTo>
                  <a:lnTo>
                    <a:pt x="72" y="13"/>
                  </a:lnTo>
                  <a:lnTo>
                    <a:pt x="76" y="16"/>
                  </a:lnTo>
                  <a:lnTo>
                    <a:pt x="76" y="13"/>
                  </a:lnTo>
                  <a:lnTo>
                    <a:pt x="76" y="6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0"/>
                  </a:lnTo>
                  <a:lnTo>
                    <a:pt x="79" y="0"/>
                  </a:lnTo>
                  <a:close/>
                  <a:moveTo>
                    <a:pt x="28" y="174"/>
                  </a:moveTo>
                  <a:lnTo>
                    <a:pt x="28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28" y="174"/>
                  </a:lnTo>
                  <a:lnTo>
                    <a:pt x="28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9" name="Freeform 30"/>
            <p:cNvSpPr>
              <a:spLocks noEditPoints="1"/>
            </p:cNvSpPr>
            <p:nvPr/>
          </p:nvSpPr>
          <p:spPr bwMode="auto">
            <a:xfrm>
              <a:off x="8723313" y="4364692"/>
              <a:ext cx="66675" cy="107950"/>
            </a:xfrm>
            <a:custGeom>
              <a:avLst/>
              <a:gdLst>
                <a:gd name="T0" fmla="*/ 0 w 42"/>
                <a:gd name="T1" fmla="*/ 29 h 68"/>
                <a:gd name="T2" fmla="*/ 4 w 42"/>
                <a:gd name="T3" fmla="*/ 26 h 68"/>
                <a:gd name="T4" fmla="*/ 0 w 42"/>
                <a:gd name="T5" fmla="*/ 29 h 68"/>
                <a:gd name="T6" fmla="*/ 0 w 42"/>
                <a:gd name="T7" fmla="*/ 36 h 68"/>
                <a:gd name="T8" fmla="*/ 7 w 42"/>
                <a:gd name="T9" fmla="*/ 7 h 68"/>
                <a:gd name="T10" fmla="*/ 4 w 42"/>
                <a:gd name="T11" fmla="*/ 4 h 68"/>
                <a:gd name="T12" fmla="*/ 11 w 42"/>
                <a:gd name="T13" fmla="*/ 4 h 68"/>
                <a:gd name="T14" fmla="*/ 7 w 42"/>
                <a:gd name="T15" fmla="*/ 7 h 68"/>
                <a:gd name="T16" fmla="*/ 7 w 42"/>
                <a:gd name="T17" fmla="*/ 7 h 68"/>
                <a:gd name="T18" fmla="*/ 14 w 42"/>
                <a:gd name="T19" fmla="*/ 4 h 68"/>
                <a:gd name="T20" fmla="*/ 21 w 42"/>
                <a:gd name="T21" fmla="*/ 10 h 68"/>
                <a:gd name="T22" fmla="*/ 18 w 42"/>
                <a:gd name="T23" fmla="*/ 10 h 68"/>
                <a:gd name="T24" fmla="*/ 14 w 42"/>
                <a:gd name="T25" fmla="*/ 7 h 68"/>
                <a:gd name="T26" fmla="*/ 11 w 42"/>
                <a:gd name="T27" fmla="*/ 4 h 68"/>
                <a:gd name="T28" fmla="*/ 11 w 42"/>
                <a:gd name="T29" fmla="*/ 4 h 68"/>
                <a:gd name="T30" fmla="*/ 11 w 42"/>
                <a:gd name="T31" fmla="*/ 4 h 68"/>
                <a:gd name="T32" fmla="*/ 7 w 42"/>
                <a:gd name="T33" fmla="*/ 10 h 68"/>
                <a:gd name="T34" fmla="*/ 7 w 42"/>
                <a:gd name="T35" fmla="*/ 10 h 68"/>
                <a:gd name="T36" fmla="*/ 7 w 42"/>
                <a:gd name="T37" fmla="*/ 13 h 68"/>
                <a:gd name="T38" fmla="*/ 7 w 42"/>
                <a:gd name="T39" fmla="*/ 16 h 68"/>
                <a:gd name="T40" fmla="*/ 4 w 42"/>
                <a:gd name="T41" fmla="*/ 16 h 68"/>
                <a:gd name="T42" fmla="*/ 0 w 42"/>
                <a:gd name="T43" fmla="*/ 16 h 68"/>
                <a:gd name="T44" fmla="*/ 4 w 42"/>
                <a:gd name="T45" fmla="*/ 16 h 68"/>
                <a:gd name="T46" fmla="*/ 4 w 42"/>
                <a:gd name="T47" fmla="*/ 23 h 68"/>
                <a:gd name="T48" fmla="*/ 4 w 42"/>
                <a:gd name="T49" fmla="*/ 29 h 68"/>
                <a:gd name="T50" fmla="*/ 4 w 42"/>
                <a:gd name="T51" fmla="*/ 36 h 68"/>
                <a:gd name="T52" fmla="*/ 4 w 42"/>
                <a:gd name="T53" fmla="*/ 46 h 68"/>
                <a:gd name="T54" fmla="*/ 4 w 42"/>
                <a:gd name="T55" fmla="*/ 55 h 68"/>
                <a:gd name="T56" fmla="*/ 11 w 42"/>
                <a:gd name="T57" fmla="*/ 68 h 68"/>
                <a:gd name="T58" fmla="*/ 18 w 42"/>
                <a:gd name="T59" fmla="*/ 68 h 68"/>
                <a:gd name="T60" fmla="*/ 31 w 42"/>
                <a:gd name="T61" fmla="*/ 65 h 68"/>
                <a:gd name="T62" fmla="*/ 42 w 42"/>
                <a:gd name="T63" fmla="*/ 55 h 68"/>
                <a:gd name="T64" fmla="*/ 42 w 42"/>
                <a:gd name="T65" fmla="*/ 49 h 68"/>
                <a:gd name="T66" fmla="*/ 42 w 42"/>
                <a:gd name="T67" fmla="*/ 46 h 68"/>
                <a:gd name="T68" fmla="*/ 42 w 42"/>
                <a:gd name="T69" fmla="*/ 39 h 68"/>
                <a:gd name="T70" fmla="*/ 35 w 42"/>
                <a:gd name="T71" fmla="*/ 29 h 68"/>
                <a:gd name="T72" fmla="*/ 31 w 42"/>
                <a:gd name="T73" fmla="*/ 26 h 68"/>
                <a:gd name="T74" fmla="*/ 28 w 42"/>
                <a:gd name="T75" fmla="*/ 26 h 68"/>
                <a:gd name="T76" fmla="*/ 31 w 42"/>
                <a:gd name="T77" fmla="*/ 23 h 68"/>
                <a:gd name="T78" fmla="*/ 24 w 42"/>
                <a:gd name="T79" fmla="*/ 16 h 68"/>
                <a:gd name="T80" fmla="*/ 24 w 42"/>
                <a:gd name="T81" fmla="*/ 13 h 68"/>
                <a:gd name="T82" fmla="*/ 21 w 42"/>
                <a:gd name="T83" fmla="*/ 10 h 68"/>
                <a:gd name="T84" fmla="*/ 14 w 42"/>
                <a:gd name="T85" fmla="*/ 10 h 68"/>
                <a:gd name="T86" fmla="*/ 14 w 42"/>
                <a:gd name="T87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" h="68">
                  <a:moveTo>
                    <a:pt x="0" y="36"/>
                  </a:moveTo>
                  <a:lnTo>
                    <a:pt x="0" y="29"/>
                  </a:lnTo>
                  <a:lnTo>
                    <a:pt x="0" y="29"/>
                  </a:lnTo>
                  <a:lnTo>
                    <a:pt x="4" y="26"/>
                  </a:lnTo>
                  <a:lnTo>
                    <a:pt x="4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36"/>
                  </a:lnTo>
                  <a:close/>
                  <a:moveTo>
                    <a:pt x="7" y="7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4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close/>
                  <a:moveTo>
                    <a:pt x="11" y="4"/>
                  </a:moveTo>
                  <a:lnTo>
                    <a:pt x="14" y="4"/>
                  </a:lnTo>
                  <a:lnTo>
                    <a:pt x="14" y="7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7"/>
                  </a:lnTo>
                  <a:lnTo>
                    <a:pt x="11" y="7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close/>
                  <a:moveTo>
                    <a:pt x="7" y="7"/>
                  </a:moveTo>
                  <a:lnTo>
                    <a:pt x="7" y="10"/>
                  </a:lnTo>
                  <a:lnTo>
                    <a:pt x="11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3"/>
                  </a:lnTo>
                  <a:lnTo>
                    <a:pt x="4" y="26"/>
                  </a:lnTo>
                  <a:lnTo>
                    <a:pt x="4" y="29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9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55"/>
                  </a:lnTo>
                  <a:lnTo>
                    <a:pt x="7" y="65"/>
                  </a:lnTo>
                  <a:lnTo>
                    <a:pt x="11" y="68"/>
                  </a:lnTo>
                  <a:lnTo>
                    <a:pt x="14" y="68"/>
                  </a:lnTo>
                  <a:lnTo>
                    <a:pt x="18" y="68"/>
                  </a:lnTo>
                  <a:lnTo>
                    <a:pt x="24" y="68"/>
                  </a:lnTo>
                  <a:lnTo>
                    <a:pt x="31" y="65"/>
                  </a:lnTo>
                  <a:lnTo>
                    <a:pt x="38" y="62"/>
                  </a:lnTo>
                  <a:lnTo>
                    <a:pt x="42" y="55"/>
                  </a:lnTo>
                  <a:lnTo>
                    <a:pt x="42" y="52"/>
                  </a:lnTo>
                  <a:lnTo>
                    <a:pt x="42" y="49"/>
                  </a:lnTo>
                  <a:lnTo>
                    <a:pt x="42" y="49"/>
                  </a:lnTo>
                  <a:lnTo>
                    <a:pt x="42" y="46"/>
                  </a:lnTo>
                  <a:lnTo>
                    <a:pt x="42" y="42"/>
                  </a:lnTo>
                  <a:lnTo>
                    <a:pt x="42" y="39"/>
                  </a:lnTo>
                  <a:lnTo>
                    <a:pt x="38" y="39"/>
                  </a:lnTo>
                  <a:lnTo>
                    <a:pt x="35" y="29"/>
                  </a:lnTo>
                  <a:lnTo>
                    <a:pt x="35" y="26"/>
                  </a:lnTo>
                  <a:lnTo>
                    <a:pt x="31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28" y="23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3"/>
                  </a:lnTo>
                  <a:lnTo>
                    <a:pt x="21" y="13"/>
                  </a:lnTo>
                  <a:lnTo>
                    <a:pt x="21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7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0" name="Freeform 31"/>
            <p:cNvSpPr>
              <a:spLocks noEditPoints="1"/>
            </p:cNvSpPr>
            <p:nvPr/>
          </p:nvSpPr>
          <p:spPr bwMode="auto">
            <a:xfrm>
              <a:off x="8342313" y="3697942"/>
              <a:ext cx="862013" cy="719137"/>
            </a:xfrm>
            <a:custGeom>
              <a:avLst/>
              <a:gdLst>
                <a:gd name="T0" fmla="*/ 185 w 543"/>
                <a:gd name="T1" fmla="*/ 39 h 453"/>
                <a:gd name="T2" fmla="*/ 213 w 543"/>
                <a:gd name="T3" fmla="*/ 52 h 453"/>
                <a:gd name="T4" fmla="*/ 220 w 543"/>
                <a:gd name="T5" fmla="*/ 88 h 453"/>
                <a:gd name="T6" fmla="*/ 282 w 543"/>
                <a:gd name="T7" fmla="*/ 110 h 453"/>
                <a:gd name="T8" fmla="*/ 354 w 543"/>
                <a:gd name="T9" fmla="*/ 123 h 453"/>
                <a:gd name="T10" fmla="*/ 381 w 543"/>
                <a:gd name="T11" fmla="*/ 100 h 453"/>
                <a:gd name="T12" fmla="*/ 412 w 543"/>
                <a:gd name="T13" fmla="*/ 123 h 453"/>
                <a:gd name="T14" fmla="*/ 436 w 543"/>
                <a:gd name="T15" fmla="*/ 104 h 453"/>
                <a:gd name="T16" fmla="*/ 464 w 543"/>
                <a:gd name="T17" fmla="*/ 84 h 453"/>
                <a:gd name="T18" fmla="*/ 505 w 543"/>
                <a:gd name="T19" fmla="*/ 75 h 453"/>
                <a:gd name="T20" fmla="*/ 526 w 543"/>
                <a:gd name="T21" fmla="*/ 75 h 453"/>
                <a:gd name="T22" fmla="*/ 543 w 543"/>
                <a:gd name="T23" fmla="*/ 94 h 453"/>
                <a:gd name="T24" fmla="*/ 516 w 543"/>
                <a:gd name="T25" fmla="*/ 117 h 453"/>
                <a:gd name="T26" fmla="*/ 495 w 543"/>
                <a:gd name="T27" fmla="*/ 165 h 453"/>
                <a:gd name="T28" fmla="*/ 478 w 543"/>
                <a:gd name="T29" fmla="*/ 197 h 453"/>
                <a:gd name="T30" fmla="*/ 471 w 543"/>
                <a:gd name="T31" fmla="*/ 207 h 453"/>
                <a:gd name="T32" fmla="*/ 454 w 543"/>
                <a:gd name="T33" fmla="*/ 178 h 453"/>
                <a:gd name="T34" fmla="*/ 443 w 543"/>
                <a:gd name="T35" fmla="*/ 181 h 453"/>
                <a:gd name="T36" fmla="*/ 450 w 543"/>
                <a:gd name="T37" fmla="*/ 168 h 453"/>
                <a:gd name="T38" fmla="*/ 447 w 543"/>
                <a:gd name="T39" fmla="*/ 149 h 453"/>
                <a:gd name="T40" fmla="*/ 409 w 543"/>
                <a:gd name="T41" fmla="*/ 136 h 453"/>
                <a:gd name="T42" fmla="*/ 392 w 543"/>
                <a:gd name="T43" fmla="*/ 130 h 453"/>
                <a:gd name="T44" fmla="*/ 381 w 543"/>
                <a:gd name="T45" fmla="*/ 126 h 453"/>
                <a:gd name="T46" fmla="*/ 388 w 543"/>
                <a:gd name="T47" fmla="*/ 149 h 453"/>
                <a:gd name="T48" fmla="*/ 395 w 543"/>
                <a:gd name="T49" fmla="*/ 184 h 453"/>
                <a:gd name="T50" fmla="*/ 399 w 543"/>
                <a:gd name="T51" fmla="*/ 214 h 453"/>
                <a:gd name="T52" fmla="*/ 385 w 543"/>
                <a:gd name="T53" fmla="*/ 210 h 453"/>
                <a:gd name="T54" fmla="*/ 381 w 543"/>
                <a:gd name="T55" fmla="*/ 210 h 453"/>
                <a:gd name="T56" fmla="*/ 361 w 543"/>
                <a:gd name="T57" fmla="*/ 236 h 453"/>
                <a:gd name="T58" fmla="*/ 337 w 543"/>
                <a:gd name="T59" fmla="*/ 246 h 453"/>
                <a:gd name="T60" fmla="*/ 299 w 543"/>
                <a:gd name="T61" fmla="*/ 288 h 453"/>
                <a:gd name="T62" fmla="*/ 264 w 543"/>
                <a:gd name="T63" fmla="*/ 314 h 453"/>
                <a:gd name="T64" fmla="*/ 244 w 543"/>
                <a:gd name="T65" fmla="*/ 346 h 453"/>
                <a:gd name="T66" fmla="*/ 240 w 543"/>
                <a:gd name="T67" fmla="*/ 414 h 453"/>
                <a:gd name="T68" fmla="*/ 234 w 543"/>
                <a:gd name="T69" fmla="*/ 433 h 453"/>
                <a:gd name="T70" fmla="*/ 206 w 543"/>
                <a:gd name="T71" fmla="*/ 449 h 453"/>
                <a:gd name="T72" fmla="*/ 168 w 543"/>
                <a:gd name="T73" fmla="*/ 407 h 453"/>
                <a:gd name="T74" fmla="*/ 141 w 543"/>
                <a:gd name="T75" fmla="*/ 365 h 453"/>
                <a:gd name="T76" fmla="*/ 120 w 543"/>
                <a:gd name="T77" fmla="*/ 327 h 453"/>
                <a:gd name="T78" fmla="*/ 103 w 543"/>
                <a:gd name="T79" fmla="*/ 278 h 453"/>
                <a:gd name="T80" fmla="*/ 89 w 543"/>
                <a:gd name="T81" fmla="*/ 243 h 453"/>
                <a:gd name="T82" fmla="*/ 86 w 543"/>
                <a:gd name="T83" fmla="*/ 217 h 453"/>
                <a:gd name="T84" fmla="*/ 86 w 543"/>
                <a:gd name="T85" fmla="*/ 204 h 453"/>
                <a:gd name="T86" fmla="*/ 68 w 543"/>
                <a:gd name="T87" fmla="*/ 230 h 453"/>
                <a:gd name="T88" fmla="*/ 13 w 543"/>
                <a:gd name="T89" fmla="*/ 204 h 453"/>
                <a:gd name="T90" fmla="*/ 27 w 543"/>
                <a:gd name="T91" fmla="*/ 204 h 453"/>
                <a:gd name="T92" fmla="*/ 31 w 543"/>
                <a:gd name="T93" fmla="*/ 197 h 453"/>
                <a:gd name="T94" fmla="*/ 0 w 543"/>
                <a:gd name="T95" fmla="*/ 181 h 453"/>
                <a:gd name="T96" fmla="*/ 41 w 543"/>
                <a:gd name="T97" fmla="*/ 165 h 453"/>
                <a:gd name="T98" fmla="*/ 37 w 543"/>
                <a:gd name="T99" fmla="*/ 142 h 453"/>
                <a:gd name="T100" fmla="*/ 13 w 543"/>
                <a:gd name="T101" fmla="*/ 120 h 453"/>
                <a:gd name="T102" fmla="*/ 44 w 543"/>
                <a:gd name="T103" fmla="*/ 104 h 453"/>
                <a:gd name="T104" fmla="*/ 89 w 543"/>
                <a:gd name="T105" fmla="*/ 59 h 453"/>
                <a:gd name="T106" fmla="*/ 106 w 543"/>
                <a:gd name="T107" fmla="*/ 23 h 453"/>
                <a:gd name="T108" fmla="*/ 158 w 543"/>
                <a:gd name="T109" fmla="*/ 7 h 453"/>
                <a:gd name="T110" fmla="*/ 395 w 543"/>
                <a:gd name="T111" fmla="*/ 214 h 453"/>
                <a:gd name="T112" fmla="*/ 388 w 543"/>
                <a:gd name="T113" fmla="*/ 217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43" h="453">
                  <a:moveTo>
                    <a:pt x="175" y="13"/>
                  </a:moveTo>
                  <a:lnTo>
                    <a:pt x="175" y="17"/>
                  </a:lnTo>
                  <a:lnTo>
                    <a:pt x="175" y="20"/>
                  </a:lnTo>
                  <a:lnTo>
                    <a:pt x="182" y="20"/>
                  </a:lnTo>
                  <a:lnTo>
                    <a:pt x="178" y="26"/>
                  </a:lnTo>
                  <a:lnTo>
                    <a:pt x="182" y="29"/>
                  </a:lnTo>
                  <a:lnTo>
                    <a:pt x="182" y="33"/>
                  </a:lnTo>
                  <a:lnTo>
                    <a:pt x="182" y="33"/>
                  </a:lnTo>
                  <a:lnTo>
                    <a:pt x="185" y="36"/>
                  </a:lnTo>
                  <a:lnTo>
                    <a:pt x="185" y="39"/>
                  </a:lnTo>
                  <a:lnTo>
                    <a:pt x="185" y="39"/>
                  </a:lnTo>
                  <a:lnTo>
                    <a:pt x="189" y="42"/>
                  </a:lnTo>
                  <a:lnTo>
                    <a:pt x="192" y="46"/>
                  </a:lnTo>
                  <a:lnTo>
                    <a:pt x="196" y="42"/>
                  </a:lnTo>
                  <a:lnTo>
                    <a:pt x="199" y="42"/>
                  </a:lnTo>
                  <a:lnTo>
                    <a:pt x="203" y="42"/>
                  </a:lnTo>
                  <a:lnTo>
                    <a:pt x="206" y="46"/>
                  </a:lnTo>
                  <a:lnTo>
                    <a:pt x="209" y="49"/>
                  </a:lnTo>
                  <a:lnTo>
                    <a:pt x="213" y="49"/>
                  </a:lnTo>
                  <a:lnTo>
                    <a:pt x="213" y="52"/>
                  </a:lnTo>
                  <a:lnTo>
                    <a:pt x="216" y="52"/>
                  </a:lnTo>
                  <a:lnTo>
                    <a:pt x="220" y="55"/>
                  </a:lnTo>
                  <a:lnTo>
                    <a:pt x="220" y="55"/>
                  </a:lnTo>
                  <a:lnTo>
                    <a:pt x="220" y="62"/>
                  </a:lnTo>
                  <a:lnTo>
                    <a:pt x="216" y="71"/>
                  </a:lnTo>
                  <a:lnTo>
                    <a:pt x="216" y="75"/>
                  </a:lnTo>
                  <a:lnTo>
                    <a:pt x="213" y="81"/>
                  </a:lnTo>
                  <a:lnTo>
                    <a:pt x="213" y="84"/>
                  </a:lnTo>
                  <a:lnTo>
                    <a:pt x="216" y="84"/>
                  </a:lnTo>
                  <a:lnTo>
                    <a:pt x="220" y="88"/>
                  </a:lnTo>
                  <a:lnTo>
                    <a:pt x="223" y="88"/>
                  </a:lnTo>
                  <a:lnTo>
                    <a:pt x="227" y="91"/>
                  </a:lnTo>
                  <a:lnTo>
                    <a:pt x="234" y="91"/>
                  </a:lnTo>
                  <a:lnTo>
                    <a:pt x="244" y="97"/>
                  </a:lnTo>
                  <a:lnTo>
                    <a:pt x="251" y="104"/>
                  </a:lnTo>
                  <a:lnTo>
                    <a:pt x="258" y="104"/>
                  </a:lnTo>
                  <a:lnTo>
                    <a:pt x="261" y="107"/>
                  </a:lnTo>
                  <a:lnTo>
                    <a:pt x="264" y="107"/>
                  </a:lnTo>
                  <a:lnTo>
                    <a:pt x="271" y="110"/>
                  </a:lnTo>
                  <a:lnTo>
                    <a:pt x="282" y="110"/>
                  </a:lnTo>
                  <a:lnTo>
                    <a:pt x="285" y="113"/>
                  </a:lnTo>
                  <a:lnTo>
                    <a:pt x="295" y="110"/>
                  </a:lnTo>
                  <a:lnTo>
                    <a:pt x="306" y="110"/>
                  </a:lnTo>
                  <a:lnTo>
                    <a:pt x="306" y="117"/>
                  </a:lnTo>
                  <a:lnTo>
                    <a:pt x="313" y="120"/>
                  </a:lnTo>
                  <a:lnTo>
                    <a:pt x="323" y="123"/>
                  </a:lnTo>
                  <a:lnTo>
                    <a:pt x="326" y="120"/>
                  </a:lnTo>
                  <a:lnTo>
                    <a:pt x="333" y="120"/>
                  </a:lnTo>
                  <a:lnTo>
                    <a:pt x="347" y="126"/>
                  </a:lnTo>
                  <a:lnTo>
                    <a:pt x="354" y="123"/>
                  </a:lnTo>
                  <a:lnTo>
                    <a:pt x="361" y="126"/>
                  </a:lnTo>
                  <a:lnTo>
                    <a:pt x="371" y="123"/>
                  </a:lnTo>
                  <a:lnTo>
                    <a:pt x="375" y="117"/>
                  </a:lnTo>
                  <a:lnTo>
                    <a:pt x="371" y="110"/>
                  </a:lnTo>
                  <a:lnTo>
                    <a:pt x="371" y="104"/>
                  </a:lnTo>
                  <a:lnTo>
                    <a:pt x="371" y="100"/>
                  </a:lnTo>
                  <a:lnTo>
                    <a:pt x="371" y="100"/>
                  </a:lnTo>
                  <a:lnTo>
                    <a:pt x="375" y="97"/>
                  </a:lnTo>
                  <a:lnTo>
                    <a:pt x="378" y="97"/>
                  </a:lnTo>
                  <a:lnTo>
                    <a:pt x="381" y="100"/>
                  </a:lnTo>
                  <a:lnTo>
                    <a:pt x="381" y="104"/>
                  </a:lnTo>
                  <a:lnTo>
                    <a:pt x="385" y="107"/>
                  </a:lnTo>
                  <a:lnTo>
                    <a:pt x="385" y="107"/>
                  </a:lnTo>
                  <a:lnTo>
                    <a:pt x="385" y="110"/>
                  </a:lnTo>
                  <a:lnTo>
                    <a:pt x="381" y="113"/>
                  </a:lnTo>
                  <a:lnTo>
                    <a:pt x="388" y="117"/>
                  </a:lnTo>
                  <a:lnTo>
                    <a:pt x="392" y="120"/>
                  </a:lnTo>
                  <a:lnTo>
                    <a:pt x="395" y="117"/>
                  </a:lnTo>
                  <a:lnTo>
                    <a:pt x="406" y="123"/>
                  </a:lnTo>
                  <a:lnTo>
                    <a:pt x="412" y="123"/>
                  </a:lnTo>
                  <a:lnTo>
                    <a:pt x="416" y="117"/>
                  </a:lnTo>
                  <a:lnTo>
                    <a:pt x="419" y="117"/>
                  </a:lnTo>
                  <a:lnTo>
                    <a:pt x="423" y="120"/>
                  </a:lnTo>
                  <a:lnTo>
                    <a:pt x="430" y="117"/>
                  </a:lnTo>
                  <a:lnTo>
                    <a:pt x="436" y="117"/>
                  </a:lnTo>
                  <a:lnTo>
                    <a:pt x="443" y="117"/>
                  </a:lnTo>
                  <a:lnTo>
                    <a:pt x="443" y="113"/>
                  </a:lnTo>
                  <a:lnTo>
                    <a:pt x="443" y="107"/>
                  </a:lnTo>
                  <a:lnTo>
                    <a:pt x="436" y="107"/>
                  </a:lnTo>
                  <a:lnTo>
                    <a:pt x="436" y="104"/>
                  </a:lnTo>
                  <a:lnTo>
                    <a:pt x="436" y="97"/>
                  </a:lnTo>
                  <a:lnTo>
                    <a:pt x="440" y="97"/>
                  </a:lnTo>
                  <a:lnTo>
                    <a:pt x="447" y="97"/>
                  </a:lnTo>
                  <a:lnTo>
                    <a:pt x="450" y="97"/>
                  </a:lnTo>
                  <a:lnTo>
                    <a:pt x="454" y="94"/>
                  </a:lnTo>
                  <a:lnTo>
                    <a:pt x="457" y="91"/>
                  </a:lnTo>
                  <a:lnTo>
                    <a:pt x="457" y="91"/>
                  </a:lnTo>
                  <a:lnTo>
                    <a:pt x="457" y="91"/>
                  </a:lnTo>
                  <a:lnTo>
                    <a:pt x="464" y="88"/>
                  </a:lnTo>
                  <a:lnTo>
                    <a:pt x="464" y="84"/>
                  </a:lnTo>
                  <a:lnTo>
                    <a:pt x="467" y="81"/>
                  </a:lnTo>
                  <a:lnTo>
                    <a:pt x="471" y="81"/>
                  </a:lnTo>
                  <a:lnTo>
                    <a:pt x="478" y="81"/>
                  </a:lnTo>
                  <a:lnTo>
                    <a:pt x="481" y="75"/>
                  </a:lnTo>
                  <a:lnTo>
                    <a:pt x="481" y="71"/>
                  </a:lnTo>
                  <a:lnTo>
                    <a:pt x="485" y="71"/>
                  </a:lnTo>
                  <a:lnTo>
                    <a:pt x="488" y="68"/>
                  </a:lnTo>
                  <a:lnTo>
                    <a:pt x="492" y="71"/>
                  </a:lnTo>
                  <a:lnTo>
                    <a:pt x="498" y="71"/>
                  </a:lnTo>
                  <a:lnTo>
                    <a:pt x="505" y="75"/>
                  </a:lnTo>
                  <a:lnTo>
                    <a:pt x="509" y="71"/>
                  </a:lnTo>
                  <a:lnTo>
                    <a:pt x="509" y="68"/>
                  </a:lnTo>
                  <a:lnTo>
                    <a:pt x="516" y="65"/>
                  </a:lnTo>
                  <a:lnTo>
                    <a:pt x="519" y="65"/>
                  </a:lnTo>
                  <a:lnTo>
                    <a:pt x="519" y="68"/>
                  </a:lnTo>
                  <a:lnTo>
                    <a:pt x="522" y="68"/>
                  </a:lnTo>
                  <a:lnTo>
                    <a:pt x="522" y="68"/>
                  </a:lnTo>
                  <a:lnTo>
                    <a:pt x="522" y="75"/>
                  </a:lnTo>
                  <a:lnTo>
                    <a:pt x="522" y="78"/>
                  </a:lnTo>
                  <a:lnTo>
                    <a:pt x="526" y="75"/>
                  </a:lnTo>
                  <a:lnTo>
                    <a:pt x="529" y="75"/>
                  </a:lnTo>
                  <a:lnTo>
                    <a:pt x="529" y="78"/>
                  </a:lnTo>
                  <a:lnTo>
                    <a:pt x="533" y="81"/>
                  </a:lnTo>
                  <a:lnTo>
                    <a:pt x="533" y="84"/>
                  </a:lnTo>
                  <a:lnTo>
                    <a:pt x="529" y="84"/>
                  </a:lnTo>
                  <a:lnTo>
                    <a:pt x="529" y="88"/>
                  </a:lnTo>
                  <a:lnTo>
                    <a:pt x="533" y="88"/>
                  </a:lnTo>
                  <a:lnTo>
                    <a:pt x="536" y="88"/>
                  </a:lnTo>
                  <a:lnTo>
                    <a:pt x="540" y="91"/>
                  </a:lnTo>
                  <a:lnTo>
                    <a:pt x="543" y="94"/>
                  </a:lnTo>
                  <a:lnTo>
                    <a:pt x="543" y="94"/>
                  </a:lnTo>
                  <a:lnTo>
                    <a:pt x="540" y="97"/>
                  </a:lnTo>
                  <a:lnTo>
                    <a:pt x="540" y="104"/>
                  </a:lnTo>
                  <a:lnTo>
                    <a:pt x="540" y="107"/>
                  </a:lnTo>
                  <a:lnTo>
                    <a:pt x="536" y="104"/>
                  </a:lnTo>
                  <a:lnTo>
                    <a:pt x="533" y="100"/>
                  </a:lnTo>
                  <a:lnTo>
                    <a:pt x="529" y="104"/>
                  </a:lnTo>
                  <a:lnTo>
                    <a:pt x="522" y="107"/>
                  </a:lnTo>
                  <a:lnTo>
                    <a:pt x="519" y="110"/>
                  </a:lnTo>
                  <a:lnTo>
                    <a:pt x="516" y="117"/>
                  </a:lnTo>
                  <a:lnTo>
                    <a:pt x="512" y="117"/>
                  </a:lnTo>
                  <a:lnTo>
                    <a:pt x="505" y="126"/>
                  </a:lnTo>
                  <a:lnTo>
                    <a:pt x="505" y="130"/>
                  </a:lnTo>
                  <a:lnTo>
                    <a:pt x="505" y="133"/>
                  </a:lnTo>
                  <a:lnTo>
                    <a:pt x="502" y="139"/>
                  </a:lnTo>
                  <a:lnTo>
                    <a:pt x="498" y="146"/>
                  </a:lnTo>
                  <a:lnTo>
                    <a:pt x="498" y="149"/>
                  </a:lnTo>
                  <a:lnTo>
                    <a:pt x="502" y="149"/>
                  </a:lnTo>
                  <a:lnTo>
                    <a:pt x="498" y="159"/>
                  </a:lnTo>
                  <a:lnTo>
                    <a:pt x="495" y="165"/>
                  </a:lnTo>
                  <a:lnTo>
                    <a:pt x="495" y="172"/>
                  </a:lnTo>
                  <a:lnTo>
                    <a:pt x="488" y="172"/>
                  </a:lnTo>
                  <a:lnTo>
                    <a:pt x="485" y="172"/>
                  </a:lnTo>
                  <a:lnTo>
                    <a:pt x="481" y="172"/>
                  </a:lnTo>
                  <a:lnTo>
                    <a:pt x="485" y="178"/>
                  </a:lnTo>
                  <a:lnTo>
                    <a:pt x="485" y="184"/>
                  </a:lnTo>
                  <a:lnTo>
                    <a:pt x="481" y="188"/>
                  </a:lnTo>
                  <a:lnTo>
                    <a:pt x="478" y="188"/>
                  </a:lnTo>
                  <a:lnTo>
                    <a:pt x="481" y="194"/>
                  </a:lnTo>
                  <a:lnTo>
                    <a:pt x="478" y="197"/>
                  </a:lnTo>
                  <a:lnTo>
                    <a:pt x="481" y="201"/>
                  </a:lnTo>
                  <a:lnTo>
                    <a:pt x="478" y="207"/>
                  </a:lnTo>
                  <a:lnTo>
                    <a:pt x="474" y="207"/>
                  </a:lnTo>
                  <a:lnTo>
                    <a:pt x="474" y="207"/>
                  </a:lnTo>
                  <a:lnTo>
                    <a:pt x="474" y="210"/>
                  </a:lnTo>
                  <a:lnTo>
                    <a:pt x="474" y="210"/>
                  </a:lnTo>
                  <a:lnTo>
                    <a:pt x="471" y="210"/>
                  </a:lnTo>
                  <a:lnTo>
                    <a:pt x="471" y="210"/>
                  </a:lnTo>
                  <a:lnTo>
                    <a:pt x="471" y="207"/>
                  </a:lnTo>
                  <a:lnTo>
                    <a:pt x="471" y="207"/>
                  </a:lnTo>
                  <a:lnTo>
                    <a:pt x="467" y="204"/>
                  </a:lnTo>
                  <a:lnTo>
                    <a:pt x="467" y="197"/>
                  </a:lnTo>
                  <a:lnTo>
                    <a:pt x="467" y="191"/>
                  </a:lnTo>
                  <a:lnTo>
                    <a:pt x="464" y="191"/>
                  </a:lnTo>
                  <a:lnTo>
                    <a:pt x="464" y="188"/>
                  </a:lnTo>
                  <a:lnTo>
                    <a:pt x="464" y="181"/>
                  </a:lnTo>
                  <a:lnTo>
                    <a:pt x="461" y="178"/>
                  </a:lnTo>
                  <a:lnTo>
                    <a:pt x="461" y="178"/>
                  </a:lnTo>
                  <a:lnTo>
                    <a:pt x="457" y="178"/>
                  </a:lnTo>
                  <a:lnTo>
                    <a:pt x="454" y="178"/>
                  </a:lnTo>
                  <a:lnTo>
                    <a:pt x="454" y="178"/>
                  </a:lnTo>
                  <a:lnTo>
                    <a:pt x="454" y="178"/>
                  </a:lnTo>
                  <a:lnTo>
                    <a:pt x="454" y="181"/>
                  </a:lnTo>
                  <a:lnTo>
                    <a:pt x="454" y="181"/>
                  </a:lnTo>
                  <a:lnTo>
                    <a:pt x="450" y="184"/>
                  </a:lnTo>
                  <a:lnTo>
                    <a:pt x="454" y="184"/>
                  </a:lnTo>
                  <a:lnTo>
                    <a:pt x="454" y="188"/>
                  </a:lnTo>
                  <a:lnTo>
                    <a:pt x="450" y="188"/>
                  </a:lnTo>
                  <a:lnTo>
                    <a:pt x="447" y="184"/>
                  </a:lnTo>
                  <a:lnTo>
                    <a:pt x="443" y="181"/>
                  </a:lnTo>
                  <a:lnTo>
                    <a:pt x="443" y="181"/>
                  </a:lnTo>
                  <a:lnTo>
                    <a:pt x="440" y="181"/>
                  </a:lnTo>
                  <a:lnTo>
                    <a:pt x="440" y="175"/>
                  </a:lnTo>
                  <a:lnTo>
                    <a:pt x="440" y="175"/>
                  </a:lnTo>
                  <a:lnTo>
                    <a:pt x="440" y="172"/>
                  </a:lnTo>
                  <a:lnTo>
                    <a:pt x="440" y="172"/>
                  </a:lnTo>
                  <a:lnTo>
                    <a:pt x="447" y="168"/>
                  </a:lnTo>
                  <a:lnTo>
                    <a:pt x="447" y="168"/>
                  </a:lnTo>
                  <a:lnTo>
                    <a:pt x="450" y="168"/>
                  </a:lnTo>
                  <a:lnTo>
                    <a:pt x="450" y="168"/>
                  </a:lnTo>
                  <a:lnTo>
                    <a:pt x="450" y="165"/>
                  </a:lnTo>
                  <a:lnTo>
                    <a:pt x="454" y="165"/>
                  </a:lnTo>
                  <a:lnTo>
                    <a:pt x="454" y="159"/>
                  </a:lnTo>
                  <a:lnTo>
                    <a:pt x="457" y="155"/>
                  </a:lnTo>
                  <a:lnTo>
                    <a:pt x="457" y="152"/>
                  </a:lnTo>
                  <a:lnTo>
                    <a:pt x="457" y="152"/>
                  </a:lnTo>
                  <a:lnTo>
                    <a:pt x="454" y="149"/>
                  </a:lnTo>
                  <a:lnTo>
                    <a:pt x="450" y="149"/>
                  </a:lnTo>
                  <a:lnTo>
                    <a:pt x="450" y="149"/>
                  </a:lnTo>
                  <a:lnTo>
                    <a:pt x="447" y="149"/>
                  </a:lnTo>
                  <a:lnTo>
                    <a:pt x="440" y="149"/>
                  </a:lnTo>
                  <a:lnTo>
                    <a:pt x="433" y="149"/>
                  </a:lnTo>
                  <a:lnTo>
                    <a:pt x="426" y="149"/>
                  </a:lnTo>
                  <a:lnTo>
                    <a:pt x="419" y="149"/>
                  </a:lnTo>
                  <a:lnTo>
                    <a:pt x="416" y="146"/>
                  </a:lnTo>
                  <a:lnTo>
                    <a:pt x="412" y="146"/>
                  </a:lnTo>
                  <a:lnTo>
                    <a:pt x="409" y="146"/>
                  </a:lnTo>
                  <a:lnTo>
                    <a:pt x="409" y="142"/>
                  </a:lnTo>
                  <a:lnTo>
                    <a:pt x="409" y="139"/>
                  </a:lnTo>
                  <a:lnTo>
                    <a:pt x="409" y="136"/>
                  </a:lnTo>
                  <a:lnTo>
                    <a:pt x="406" y="133"/>
                  </a:lnTo>
                  <a:lnTo>
                    <a:pt x="406" y="130"/>
                  </a:lnTo>
                  <a:lnTo>
                    <a:pt x="402" y="130"/>
                  </a:lnTo>
                  <a:lnTo>
                    <a:pt x="402" y="130"/>
                  </a:lnTo>
                  <a:lnTo>
                    <a:pt x="399" y="130"/>
                  </a:lnTo>
                  <a:lnTo>
                    <a:pt x="395" y="130"/>
                  </a:lnTo>
                  <a:lnTo>
                    <a:pt x="392" y="126"/>
                  </a:lnTo>
                  <a:lnTo>
                    <a:pt x="392" y="126"/>
                  </a:lnTo>
                  <a:lnTo>
                    <a:pt x="392" y="130"/>
                  </a:lnTo>
                  <a:lnTo>
                    <a:pt x="392" y="130"/>
                  </a:lnTo>
                  <a:lnTo>
                    <a:pt x="392" y="130"/>
                  </a:lnTo>
                  <a:lnTo>
                    <a:pt x="388" y="130"/>
                  </a:lnTo>
                  <a:lnTo>
                    <a:pt x="385" y="126"/>
                  </a:lnTo>
                  <a:lnTo>
                    <a:pt x="385" y="126"/>
                  </a:lnTo>
                  <a:lnTo>
                    <a:pt x="381" y="123"/>
                  </a:lnTo>
                  <a:lnTo>
                    <a:pt x="381" y="120"/>
                  </a:lnTo>
                  <a:lnTo>
                    <a:pt x="378" y="123"/>
                  </a:lnTo>
                  <a:lnTo>
                    <a:pt x="378" y="123"/>
                  </a:lnTo>
                  <a:lnTo>
                    <a:pt x="378" y="126"/>
                  </a:lnTo>
                  <a:lnTo>
                    <a:pt x="381" y="126"/>
                  </a:lnTo>
                  <a:lnTo>
                    <a:pt x="378" y="130"/>
                  </a:lnTo>
                  <a:lnTo>
                    <a:pt x="375" y="136"/>
                  </a:lnTo>
                  <a:lnTo>
                    <a:pt x="375" y="139"/>
                  </a:lnTo>
                  <a:lnTo>
                    <a:pt x="381" y="142"/>
                  </a:lnTo>
                  <a:lnTo>
                    <a:pt x="385" y="139"/>
                  </a:lnTo>
                  <a:lnTo>
                    <a:pt x="392" y="139"/>
                  </a:lnTo>
                  <a:lnTo>
                    <a:pt x="392" y="142"/>
                  </a:lnTo>
                  <a:lnTo>
                    <a:pt x="392" y="146"/>
                  </a:lnTo>
                  <a:lnTo>
                    <a:pt x="388" y="149"/>
                  </a:lnTo>
                  <a:lnTo>
                    <a:pt x="388" y="149"/>
                  </a:lnTo>
                  <a:lnTo>
                    <a:pt x="385" y="149"/>
                  </a:lnTo>
                  <a:lnTo>
                    <a:pt x="381" y="152"/>
                  </a:lnTo>
                  <a:lnTo>
                    <a:pt x="378" y="155"/>
                  </a:lnTo>
                  <a:lnTo>
                    <a:pt x="378" y="162"/>
                  </a:lnTo>
                  <a:lnTo>
                    <a:pt x="381" y="165"/>
                  </a:lnTo>
                  <a:lnTo>
                    <a:pt x="388" y="168"/>
                  </a:lnTo>
                  <a:lnTo>
                    <a:pt x="392" y="172"/>
                  </a:lnTo>
                  <a:lnTo>
                    <a:pt x="392" y="178"/>
                  </a:lnTo>
                  <a:lnTo>
                    <a:pt x="395" y="181"/>
                  </a:lnTo>
                  <a:lnTo>
                    <a:pt x="395" y="184"/>
                  </a:lnTo>
                  <a:lnTo>
                    <a:pt x="395" y="191"/>
                  </a:lnTo>
                  <a:lnTo>
                    <a:pt x="399" y="197"/>
                  </a:lnTo>
                  <a:lnTo>
                    <a:pt x="402" y="201"/>
                  </a:lnTo>
                  <a:lnTo>
                    <a:pt x="402" y="204"/>
                  </a:lnTo>
                  <a:lnTo>
                    <a:pt x="402" y="207"/>
                  </a:lnTo>
                  <a:lnTo>
                    <a:pt x="402" y="210"/>
                  </a:lnTo>
                  <a:lnTo>
                    <a:pt x="402" y="214"/>
                  </a:lnTo>
                  <a:lnTo>
                    <a:pt x="402" y="217"/>
                  </a:lnTo>
                  <a:lnTo>
                    <a:pt x="399" y="214"/>
                  </a:lnTo>
                  <a:lnTo>
                    <a:pt x="399" y="214"/>
                  </a:lnTo>
                  <a:lnTo>
                    <a:pt x="395" y="214"/>
                  </a:lnTo>
                  <a:lnTo>
                    <a:pt x="395" y="210"/>
                  </a:lnTo>
                  <a:lnTo>
                    <a:pt x="395" y="207"/>
                  </a:lnTo>
                  <a:lnTo>
                    <a:pt x="395" y="210"/>
                  </a:lnTo>
                  <a:lnTo>
                    <a:pt x="392" y="210"/>
                  </a:lnTo>
                  <a:lnTo>
                    <a:pt x="392" y="210"/>
                  </a:lnTo>
                  <a:lnTo>
                    <a:pt x="392" y="210"/>
                  </a:lnTo>
                  <a:lnTo>
                    <a:pt x="388" y="210"/>
                  </a:lnTo>
                  <a:lnTo>
                    <a:pt x="388" y="214"/>
                  </a:lnTo>
                  <a:lnTo>
                    <a:pt x="385" y="210"/>
                  </a:lnTo>
                  <a:lnTo>
                    <a:pt x="385" y="207"/>
                  </a:lnTo>
                  <a:lnTo>
                    <a:pt x="385" y="204"/>
                  </a:lnTo>
                  <a:lnTo>
                    <a:pt x="381" y="204"/>
                  </a:lnTo>
                  <a:lnTo>
                    <a:pt x="378" y="204"/>
                  </a:lnTo>
                  <a:lnTo>
                    <a:pt x="378" y="204"/>
                  </a:lnTo>
                  <a:lnTo>
                    <a:pt x="381" y="204"/>
                  </a:lnTo>
                  <a:lnTo>
                    <a:pt x="381" y="204"/>
                  </a:lnTo>
                  <a:lnTo>
                    <a:pt x="381" y="207"/>
                  </a:lnTo>
                  <a:lnTo>
                    <a:pt x="381" y="207"/>
                  </a:lnTo>
                  <a:lnTo>
                    <a:pt x="381" y="210"/>
                  </a:lnTo>
                  <a:lnTo>
                    <a:pt x="378" y="214"/>
                  </a:lnTo>
                  <a:lnTo>
                    <a:pt x="364" y="217"/>
                  </a:lnTo>
                  <a:lnTo>
                    <a:pt x="364" y="220"/>
                  </a:lnTo>
                  <a:lnTo>
                    <a:pt x="364" y="220"/>
                  </a:lnTo>
                  <a:lnTo>
                    <a:pt x="361" y="223"/>
                  </a:lnTo>
                  <a:lnTo>
                    <a:pt x="361" y="226"/>
                  </a:lnTo>
                  <a:lnTo>
                    <a:pt x="364" y="230"/>
                  </a:lnTo>
                  <a:lnTo>
                    <a:pt x="364" y="230"/>
                  </a:lnTo>
                  <a:lnTo>
                    <a:pt x="364" y="233"/>
                  </a:lnTo>
                  <a:lnTo>
                    <a:pt x="361" y="236"/>
                  </a:lnTo>
                  <a:lnTo>
                    <a:pt x="357" y="239"/>
                  </a:lnTo>
                  <a:lnTo>
                    <a:pt x="357" y="239"/>
                  </a:lnTo>
                  <a:lnTo>
                    <a:pt x="357" y="239"/>
                  </a:lnTo>
                  <a:lnTo>
                    <a:pt x="350" y="246"/>
                  </a:lnTo>
                  <a:lnTo>
                    <a:pt x="350" y="246"/>
                  </a:lnTo>
                  <a:lnTo>
                    <a:pt x="340" y="252"/>
                  </a:lnTo>
                  <a:lnTo>
                    <a:pt x="340" y="249"/>
                  </a:lnTo>
                  <a:lnTo>
                    <a:pt x="340" y="249"/>
                  </a:lnTo>
                  <a:lnTo>
                    <a:pt x="337" y="246"/>
                  </a:lnTo>
                  <a:lnTo>
                    <a:pt x="337" y="246"/>
                  </a:lnTo>
                  <a:lnTo>
                    <a:pt x="333" y="249"/>
                  </a:lnTo>
                  <a:lnTo>
                    <a:pt x="330" y="249"/>
                  </a:lnTo>
                  <a:lnTo>
                    <a:pt x="330" y="256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7" y="252"/>
                  </a:lnTo>
                  <a:lnTo>
                    <a:pt x="323" y="262"/>
                  </a:lnTo>
                  <a:lnTo>
                    <a:pt x="320" y="272"/>
                  </a:lnTo>
                  <a:lnTo>
                    <a:pt x="302" y="281"/>
                  </a:lnTo>
                  <a:lnTo>
                    <a:pt x="299" y="288"/>
                  </a:lnTo>
                  <a:lnTo>
                    <a:pt x="295" y="291"/>
                  </a:lnTo>
                  <a:lnTo>
                    <a:pt x="289" y="291"/>
                  </a:lnTo>
                  <a:lnTo>
                    <a:pt x="282" y="294"/>
                  </a:lnTo>
                  <a:lnTo>
                    <a:pt x="282" y="301"/>
                  </a:lnTo>
                  <a:lnTo>
                    <a:pt x="282" y="304"/>
                  </a:lnTo>
                  <a:lnTo>
                    <a:pt x="278" y="307"/>
                  </a:lnTo>
                  <a:lnTo>
                    <a:pt x="275" y="310"/>
                  </a:lnTo>
                  <a:lnTo>
                    <a:pt x="268" y="307"/>
                  </a:lnTo>
                  <a:lnTo>
                    <a:pt x="264" y="310"/>
                  </a:lnTo>
                  <a:lnTo>
                    <a:pt x="264" y="314"/>
                  </a:lnTo>
                  <a:lnTo>
                    <a:pt x="258" y="320"/>
                  </a:lnTo>
                  <a:lnTo>
                    <a:pt x="254" y="320"/>
                  </a:lnTo>
                  <a:lnTo>
                    <a:pt x="254" y="317"/>
                  </a:lnTo>
                  <a:lnTo>
                    <a:pt x="251" y="317"/>
                  </a:lnTo>
                  <a:lnTo>
                    <a:pt x="244" y="323"/>
                  </a:lnTo>
                  <a:lnTo>
                    <a:pt x="244" y="327"/>
                  </a:lnTo>
                  <a:lnTo>
                    <a:pt x="244" y="333"/>
                  </a:lnTo>
                  <a:lnTo>
                    <a:pt x="247" y="340"/>
                  </a:lnTo>
                  <a:lnTo>
                    <a:pt x="244" y="343"/>
                  </a:lnTo>
                  <a:lnTo>
                    <a:pt x="244" y="346"/>
                  </a:lnTo>
                  <a:lnTo>
                    <a:pt x="244" y="359"/>
                  </a:lnTo>
                  <a:lnTo>
                    <a:pt x="247" y="362"/>
                  </a:lnTo>
                  <a:lnTo>
                    <a:pt x="251" y="369"/>
                  </a:lnTo>
                  <a:lnTo>
                    <a:pt x="244" y="382"/>
                  </a:lnTo>
                  <a:lnTo>
                    <a:pt x="240" y="388"/>
                  </a:lnTo>
                  <a:lnTo>
                    <a:pt x="240" y="394"/>
                  </a:lnTo>
                  <a:lnTo>
                    <a:pt x="240" y="398"/>
                  </a:lnTo>
                  <a:lnTo>
                    <a:pt x="244" y="411"/>
                  </a:lnTo>
                  <a:lnTo>
                    <a:pt x="244" y="414"/>
                  </a:lnTo>
                  <a:lnTo>
                    <a:pt x="240" y="414"/>
                  </a:lnTo>
                  <a:lnTo>
                    <a:pt x="237" y="414"/>
                  </a:lnTo>
                  <a:lnTo>
                    <a:pt x="234" y="414"/>
                  </a:lnTo>
                  <a:lnTo>
                    <a:pt x="230" y="417"/>
                  </a:lnTo>
                  <a:lnTo>
                    <a:pt x="230" y="420"/>
                  </a:lnTo>
                  <a:lnTo>
                    <a:pt x="227" y="427"/>
                  </a:lnTo>
                  <a:lnTo>
                    <a:pt x="223" y="427"/>
                  </a:lnTo>
                  <a:lnTo>
                    <a:pt x="227" y="430"/>
                  </a:lnTo>
                  <a:lnTo>
                    <a:pt x="230" y="433"/>
                  </a:lnTo>
                  <a:lnTo>
                    <a:pt x="234" y="433"/>
                  </a:lnTo>
                  <a:lnTo>
                    <a:pt x="234" y="433"/>
                  </a:lnTo>
                  <a:lnTo>
                    <a:pt x="230" y="433"/>
                  </a:lnTo>
                  <a:lnTo>
                    <a:pt x="227" y="433"/>
                  </a:lnTo>
                  <a:lnTo>
                    <a:pt x="220" y="433"/>
                  </a:lnTo>
                  <a:lnTo>
                    <a:pt x="220" y="433"/>
                  </a:lnTo>
                  <a:lnTo>
                    <a:pt x="213" y="436"/>
                  </a:lnTo>
                  <a:lnTo>
                    <a:pt x="209" y="440"/>
                  </a:lnTo>
                  <a:lnTo>
                    <a:pt x="209" y="443"/>
                  </a:lnTo>
                  <a:lnTo>
                    <a:pt x="209" y="443"/>
                  </a:lnTo>
                  <a:lnTo>
                    <a:pt x="209" y="443"/>
                  </a:lnTo>
                  <a:lnTo>
                    <a:pt x="206" y="449"/>
                  </a:lnTo>
                  <a:lnTo>
                    <a:pt x="199" y="453"/>
                  </a:lnTo>
                  <a:lnTo>
                    <a:pt x="192" y="453"/>
                  </a:lnTo>
                  <a:lnTo>
                    <a:pt x="189" y="449"/>
                  </a:lnTo>
                  <a:lnTo>
                    <a:pt x="182" y="443"/>
                  </a:lnTo>
                  <a:lnTo>
                    <a:pt x="175" y="430"/>
                  </a:lnTo>
                  <a:lnTo>
                    <a:pt x="175" y="424"/>
                  </a:lnTo>
                  <a:lnTo>
                    <a:pt x="172" y="417"/>
                  </a:lnTo>
                  <a:lnTo>
                    <a:pt x="168" y="411"/>
                  </a:lnTo>
                  <a:lnTo>
                    <a:pt x="168" y="407"/>
                  </a:lnTo>
                  <a:lnTo>
                    <a:pt x="168" y="407"/>
                  </a:lnTo>
                  <a:lnTo>
                    <a:pt x="165" y="401"/>
                  </a:lnTo>
                  <a:lnTo>
                    <a:pt x="165" y="398"/>
                  </a:lnTo>
                  <a:lnTo>
                    <a:pt x="158" y="391"/>
                  </a:lnTo>
                  <a:lnTo>
                    <a:pt x="154" y="388"/>
                  </a:lnTo>
                  <a:lnTo>
                    <a:pt x="154" y="385"/>
                  </a:lnTo>
                  <a:lnTo>
                    <a:pt x="148" y="382"/>
                  </a:lnTo>
                  <a:lnTo>
                    <a:pt x="144" y="378"/>
                  </a:lnTo>
                  <a:lnTo>
                    <a:pt x="144" y="375"/>
                  </a:lnTo>
                  <a:lnTo>
                    <a:pt x="144" y="369"/>
                  </a:lnTo>
                  <a:lnTo>
                    <a:pt x="141" y="365"/>
                  </a:lnTo>
                  <a:lnTo>
                    <a:pt x="137" y="359"/>
                  </a:lnTo>
                  <a:lnTo>
                    <a:pt x="137" y="352"/>
                  </a:lnTo>
                  <a:lnTo>
                    <a:pt x="134" y="349"/>
                  </a:lnTo>
                  <a:lnTo>
                    <a:pt x="130" y="346"/>
                  </a:lnTo>
                  <a:lnTo>
                    <a:pt x="130" y="343"/>
                  </a:lnTo>
                  <a:lnTo>
                    <a:pt x="130" y="343"/>
                  </a:lnTo>
                  <a:lnTo>
                    <a:pt x="127" y="336"/>
                  </a:lnTo>
                  <a:lnTo>
                    <a:pt x="127" y="333"/>
                  </a:lnTo>
                  <a:lnTo>
                    <a:pt x="123" y="333"/>
                  </a:lnTo>
                  <a:lnTo>
                    <a:pt x="120" y="327"/>
                  </a:lnTo>
                  <a:lnTo>
                    <a:pt x="120" y="327"/>
                  </a:lnTo>
                  <a:lnTo>
                    <a:pt x="117" y="323"/>
                  </a:lnTo>
                  <a:lnTo>
                    <a:pt x="117" y="320"/>
                  </a:lnTo>
                  <a:lnTo>
                    <a:pt x="113" y="317"/>
                  </a:lnTo>
                  <a:lnTo>
                    <a:pt x="110" y="310"/>
                  </a:lnTo>
                  <a:lnTo>
                    <a:pt x="110" y="301"/>
                  </a:lnTo>
                  <a:lnTo>
                    <a:pt x="99" y="288"/>
                  </a:lnTo>
                  <a:lnTo>
                    <a:pt x="99" y="285"/>
                  </a:lnTo>
                  <a:lnTo>
                    <a:pt x="96" y="278"/>
                  </a:lnTo>
                  <a:lnTo>
                    <a:pt x="103" y="278"/>
                  </a:lnTo>
                  <a:lnTo>
                    <a:pt x="96" y="272"/>
                  </a:lnTo>
                  <a:lnTo>
                    <a:pt x="96" y="268"/>
                  </a:lnTo>
                  <a:lnTo>
                    <a:pt x="99" y="268"/>
                  </a:lnTo>
                  <a:lnTo>
                    <a:pt x="96" y="265"/>
                  </a:lnTo>
                  <a:lnTo>
                    <a:pt x="96" y="262"/>
                  </a:lnTo>
                  <a:lnTo>
                    <a:pt x="89" y="252"/>
                  </a:lnTo>
                  <a:lnTo>
                    <a:pt x="89" y="249"/>
                  </a:lnTo>
                  <a:lnTo>
                    <a:pt x="92" y="246"/>
                  </a:lnTo>
                  <a:lnTo>
                    <a:pt x="89" y="246"/>
                  </a:lnTo>
                  <a:lnTo>
                    <a:pt x="89" y="243"/>
                  </a:lnTo>
                  <a:lnTo>
                    <a:pt x="92" y="239"/>
                  </a:lnTo>
                  <a:lnTo>
                    <a:pt x="92" y="233"/>
                  </a:lnTo>
                  <a:lnTo>
                    <a:pt x="89" y="230"/>
                  </a:lnTo>
                  <a:lnTo>
                    <a:pt x="86" y="226"/>
                  </a:lnTo>
                  <a:lnTo>
                    <a:pt x="86" y="220"/>
                  </a:lnTo>
                  <a:lnTo>
                    <a:pt x="89" y="217"/>
                  </a:lnTo>
                  <a:lnTo>
                    <a:pt x="92" y="217"/>
                  </a:lnTo>
                  <a:lnTo>
                    <a:pt x="96" y="217"/>
                  </a:lnTo>
                  <a:lnTo>
                    <a:pt x="92" y="217"/>
                  </a:lnTo>
                  <a:lnTo>
                    <a:pt x="86" y="217"/>
                  </a:lnTo>
                  <a:lnTo>
                    <a:pt x="86" y="217"/>
                  </a:lnTo>
                  <a:lnTo>
                    <a:pt x="86" y="214"/>
                  </a:lnTo>
                  <a:lnTo>
                    <a:pt x="82" y="210"/>
                  </a:lnTo>
                  <a:lnTo>
                    <a:pt x="82" y="207"/>
                  </a:lnTo>
                  <a:lnTo>
                    <a:pt x="86" y="207"/>
                  </a:lnTo>
                  <a:lnTo>
                    <a:pt x="86" y="207"/>
                  </a:lnTo>
                  <a:lnTo>
                    <a:pt x="89" y="204"/>
                  </a:lnTo>
                  <a:lnTo>
                    <a:pt x="92" y="201"/>
                  </a:lnTo>
                  <a:lnTo>
                    <a:pt x="89" y="204"/>
                  </a:lnTo>
                  <a:lnTo>
                    <a:pt x="86" y="204"/>
                  </a:lnTo>
                  <a:lnTo>
                    <a:pt x="82" y="204"/>
                  </a:lnTo>
                  <a:lnTo>
                    <a:pt x="79" y="201"/>
                  </a:lnTo>
                  <a:lnTo>
                    <a:pt x="79" y="204"/>
                  </a:lnTo>
                  <a:lnTo>
                    <a:pt x="79" y="207"/>
                  </a:lnTo>
                  <a:lnTo>
                    <a:pt x="75" y="214"/>
                  </a:lnTo>
                  <a:lnTo>
                    <a:pt x="79" y="214"/>
                  </a:lnTo>
                  <a:lnTo>
                    <a:pt x="79" y="220"/>
                  </a:lnTo>
                  <a:lnTo>
                    <a:pt x="75" y="223"/>
                  </a:lnTo>
                  <a:lnTo>
                    <a:pt x="75" y="226"/>
                  </a:lnTo>
                  <a:lnTo>
                    <a:pt x="68" y="230"/>
                  </a:lnTo>
                  <a:lnTo>
                    <a:pt x="58" y="233"/>
                  </a:lnTo>
                  <a:lnTo>
                    <a:pt x="55" y="236"/>
                  </a:lnTo>
                  <a:lnTo>
                    <a:pt x="48" y="233"/>
                  </a:lnTo>
                  <a:lnTo>
                    <a:pt x="31" y="223"/>
                  </a:lnTo>
                  <a:lnTo>
                    <a:pt x="27" y="217"/>
                  </a:lnTo>
                  <a:lnTo>
                    <a:pt x="27" y="217"/>
                  </a:lnTo>
                  <a:lnTo>
                    <a:pt x="24" y="217"/>
                  </a:lnTo>
                  <a:lnTo>
                    <a:pt x="20" y="214"/>
                  </a:lnTo>
                  <a:lnTo>
                    <a:pt x="13" y="207"/>
                  </a:lnTo>
                  <a:lnTo>
                    <a:pt x="13" y="204"/>
                  </a:lnTo>
                  <a:lnTo>
                    <a:pt x="13" y="204"/>
                  </a:lnTo>
                  <a:lnTo>
                    <a:pt x="17" y="204"/>
                  </a:lnTo>
                  <a:lnTo>
                    <a:pt x="17" y="204"/>
                  </a:lnTo>
                  <a:lnTo>
                    <a:pt x="17" y="204"/>
                  </a:lnTo>
                  <a:lnTo>
                    <a:pt x="17" y="207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7" y="207"/>
                  </a:lnTo>
                  <a:lnTo>
                    <a:pt x="27" y="204"/>
                  </a:lnTo>
                  <a:lnTo>
                    <a:pt x="34" y="201"/>
                  </a:lnTo>
                  <a:lnTo>
                    <a:pt x="37" y="201"/>
                  </a:lnTo>
                  <a:lnTo>
                    <a:pt x="41" y="194"/>
                  </a:lnTo>
                  <a:lnTo>
                    <a:pt x="44" y="194"/>
                  </a:lnTo>
                  <a:lnTo>
                    <a:pt x="44" y="191"/>
                  </a:lnTo>
                  <a:lnTo>
                    <a:pt x="41" y="191"/>
                  </a:lnTo>
                  <a:lnTo>
                    <a:pt x="41" y="191"/>
                  </a:lnTo>
                  <a:lnTo>
                    <a:pt x="41" y="191"/>
                  </a:lnTo>
                  <a:lnTo>
                    <a:pt x="41" y="194"/>
                  </a:lnTo>
                  <a:lnTo>
                    <a:pt x="31" y="197"/>
                  </a:lnTo>
                  <a:lnTo>
                    <a:pt x="27" y="197"/>
                  </a:lnTo>
                  <a:lnTo>
                    <a:pt x="24" y="197"/>
                  </a:lnTo>
                  <a:lnTo>
                    <a:pt x="10" y="194"/>
                  </a:lnTo>
                  <a:lnTo>
                    <a:pt x="3" y="188"/>
                  </a:lnTo>
                  <a:lnTo>
                    <a:pt x="3" y="188"/>
                  </a:lnTo>
                  <a:lnTo>
                    <a:pt x="3" y="184"/>
                  </a:lnTo>
                  <a:lnTo>
                    <a:pt x="6" y="181"/>
                  </a:lnTo>
                  <a:lnTo>
                    <a:pt x="10" y="178"/>
                  </a:lnTo>
                  <a:lnTo>
                    <a:pt x="6" y="178"/>
                  </a:lnTo>
                  <a:lnTo>
                    <a:pt x="0" y="181"/>
                  </a:lnTo>
                  <a:lnTo>
                    <a:pt x="0" y="178"/>
                  </a:lnTo>
                  <a:lnTo>
                    <a:pt x="3" y="175"/>
                  </a:lnTo>
                  <a:lnTo>
                    <a:pt x="6" y="175"/>
                  </a:lnTo>
                  <a:lnTo>
                    <a:pt x="6" y="172"/>
                  </a:lnTo>
                  <a:lnTo>
                    <a:pt x="10" y="172"/>
                  </a:lnTo>
                  <a:lnTo>
                    <a:pt x="13" y="168"/>
                  </a:lnTo>
                  <a:lnTo>
                    <a:pt x="27" y="172"/>
                  </a:lnTo>
                  <a:lnTo>
                    <a:pt x="34" y="168"/>
                  </a:lnTo>
                  <a:lnTo>
                    <a:pt x="37" y="165"/>
                  </a:lnTo>
                  <a:lnTo>
                    <a:pt x="41" y="165"/>
                  </a:lnTo>
                  <a:lnTo>
                    <a:pt x="41" y="168"/>
                  </a:lnTo>
                  <a:lnTo>
                    <a:pt x="41" y="168"/>
                  </a:lnTo>
                  <a:lnTo>
                    <a:pt x="44" y="168"/>
                  </a:lnTo>
                  <a:lnTo>
                    <a:pt x="48" y="165"/>
                  </a:lnTo>
                  <a:lnTo>
                    <a:pt x="48" y="165"/>
                  </a:lnTo>
                  <a:lnTo>
                    <a:pt x="48" y="162"/>
                  </a:lnTo>
                  <a:lnTo>
                    <a:pt x="44" y="152"/>
                  </a:lnTo>
                  <a:lnTo>
                    <a:pt x="41" y="149"/>
                  </a:lnTo>
                  <a:lnTo>
                    <a:pt x="41" y="146"/>
                  </a:lnTo>
                  <a:lnTo>
                    <a:pt x="37" y="142"/>
                  </a:lnTo>
                  <a:lnTo>
                    <a:pt x="34" y="142"/>
                  </a:lnTo>
                  <a:lnTo>
                    <a:pt x="27" y="139"/>
                  </a:lnTo>
                  <a:lnTo>
                    <a:pt x="27" y="133"/>
                  </a:lnTo>
                  <a:lnTo>
                    <a:pt x="27" y="130"/>
                  </a:lnTo>
                  <a:lnTo>
                    <a:pt x="24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13" y="126"/>
                  </a:lnTo>
                  <a:lnTo>
                    <a:pt x="13" y="126"/>
                  </a:lnTo>
                  <a:lnTo>
                    <a:pt x="13" y="120"/>
                  </a:lnTo>
                  <a:lnTo>
                    <a:pt x="13" y="113"/>
                  </a:lnTo>
                  <a:lnTo>
                    <a:pt x="17" y="113"/>
                  </a:lnTo>
                  <a:lnTo>
                    <a:pt x="24" y="107"/>
                  </a:lnTo>
                  <a:lnTo>
                    <a:pt x="24" y="104"/>
                  </a:lnTo>
                  <a:lnTo>
                    <a:pt x="27" y="104"/>
                  </a:lnTo>
                  <a:lnTo>
                    <a:pt x="31" y="100"/>
                  </a:lnTo>
                  <a:lnTo>
                    <a:pt x="34" y="104"/>
                  </a:lnTo>
                  <a:lnTo>
                    <a:pt x="34" y="107"/>
                  </a:lnTo>
                  <a:lnTo>
                    <a:pt x="37" y="107"/>
                  </a:lnTo>
                  <a:lnTo>
                    <a:pt x="44" y="104"/>
                  </a:lnTo>
                  <a:lnTo>
                    <a:pt x="55" y="104"/>
                  </a:lnTo>
                  <a:lnTo>
                    <a:pt x="61" y="97"/>
                  </a:lnTo>
                  <a:lnTo>
                    <a:pt x="65" y="88"/>
                  </a:lnTo>
                  <a:lnTo>
                    <a:pt x="75" y="81"/>
                  </a:lnTo>
                  <a:lnTo>
                    <a:pt x="75" y="78"/>
                  </a:lnTo>
                  <a:lnTo>
                    <a:pt x="79" y="71"/>
                  </a:lnTo>
                  <a:lnTo>
                    <a:pt x="82" y="68"/>
                  </a:lnTo>
                  <a:lnTo>
                    <a:pt x="89" y="65"/>
                  </a:lnTo>
                  <a:lnTo>
                    <a:pt x="89" y="62"/>
                  </a:lnTo>
                  <a:lnTo>
                    <a:pt x="89" y="59"/>
                  </a:lnTo>
                  <a:lnTo>
                    <a:pt x="86" y="55"/>
                  </a:lnTo>
                  <a:lnTo>
                    <a:pt x="92" y="52"/>
                  </a:lnTo>
                  <a:lnTo>
                    <a:pt x="96" y="49"/>
                  </a:lnTo>
                  <a:lnTo>
                    <a:pt x="96" y="46"/>
                  </a:lnTo>
                  <a:lnTo>
                    <a:pt x="96" y="36"/>
                  </a:lnTo>
                  <a:lnTo>
                    <a:pt x="96" y="29"/>
                  </a:lnTo>
                  <a:lnTo>
                    <a:pt x="92" y="29"/>
                  </a:lnTo>
                  <a:lnTo>
                    <a:pt x="99" y="26"/>
                  </a:lnTo>
                  <a:lnTo>
                    <a:pt x="103" y="23"/>
                  </a:lnTo>
                  <a:lnTo>
                    <a:pt x="106" y="23"/>
                  </a:lnTo>
                  <a:lnTo>
                    <a:pt x="110" y="23"/>
                  </a:lnTo>
                  <a:lnTo>
                    <a:pt x="117" y="17"/>
                  </a:lnTo>
                  <a:lnTo>
                    <a:pt x="120" y="10"/>
                  </a:lnTo>
                  <a:lnTo>
                    <a:pt x="127" y="4"/>
                  </a:lnTo>
                  <a:lnTo>
                    <a:pt x="130" y="4"/>
                  </a:lnTo>
                  <a:lnTo>
                    <a:pt x="134" y="0"/>
                  </a:lnTo>
                  <a:lnTo>
                    <a:pt x="137" y="0"/>
                  </a:lnTo>
                  <a:lnTo>
                    <a:pt x="148" y="7"/>
                  </a:lnTo>
                  <a:lnTo>
                    <a:pt x="154" y="4"/>
                  </a:lnTo>
                  <a:lnTo>
                    <a:pt x="158" y="7"/>
                  </a:lnTo>
                  <a:lnTo>
                    <a:pt x="161" y="10"/>
                  </a:lnTo>
                  <a:lnTo>
                    <a:pt x="165" y="10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5" y="13"/>
                  </a:lnTo>
                  <a:close/>
                  <a:moveTo>
                    <a:pt x="395" y="214"/>
                  </a:moveTo>
                  <a:lnTo>
                    <a:pt x="395" y="217"/>
                  </a:lnTo>
                  <a:lnTo>
                    <a:pt x="395" y="217"/>
                  </a:lnTo>
                  <a:lnTo>
                    <a:pt x="395" y="214"/>
                  </a:lnTo>
                  <a:lnTo>
                    <a:pt x="395" y="214"/>
                  </a:lnTo>
                  <a:close/>
                  <a:moveTo>
                    <a:pt x="392" y="214"/>
                  </a:moveTo>
                  <a:lnTo>
                    <a:pt x="388" y="214"/>
                  </a:lnTo>
                  <a:lnTo>
                    <a:pt x="392" y="217"/>
                  </a:lnTo>
                  <a:lnTo>
                    <a:pt x="392" y="217"/>
                  </a:lnTo>
                  <a:lnTo>
                    <a:pt x="392" y="214"/>
                  </a:lnTo>
                  <a:lnTo>
                    <a:pt x="392" y="214"/>
                  </a:lnTo>
                  <a:lnTo>
                    <a:pt x="392" y="214"/>
                  </a:lnTo>
                  <a:close/>
                  <a:moveTo>
                    <a:pt x="385" y="214"/>
                  </a:moveTo>
                  <a:lnTo>
                    <a:pt x="388" y="217"/>
                  </a:lnTo>
                  <a:lnTo>
                    <a:pt x="388" y="217"/>
                  </a:lnTo>
                  <a:lnTo>
                    <a:pt x="388" y="214"/>
                  </a:lnTo>
                  <a:lnTo>
                    <a:pt x="385" y="214"/>
                  </a:lnTo>
                  <a:lnTo>
                    <a:pt x="385" y="214"/>
                  </a:lnTo>
                  <a:close/>
                  <a:moveTo>
                    <a:pt x="381" y="214"/>
                  </a:moveTo>
                  <a:lnTo>
                    <a:pt x="381" y="217"/>
                  </a:lnTo>
                  <a:lnTo>
                    <a:pt x="381" y="217"/>
                  </a:lnTo>
                  <a:lnTo>
                    <a:pt x="385" y="210"/>
                  </a:lnTo>
                  <a:lnTo>
                    <a:pt x="381" y="210"/>
                  </a:lnTo>
                  <a:lnTo>
                    <a:pt x="381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1" name="Freeform 32"/>
            <p:cNvSpPr>
              <a:spLocks noEditPoints="1"/>
            </p:cNvSpPr>
            <p:nvPr/>
          </p:nvSpPr>
          <p:spPr bwMode="auto">
            <a:xfrm>
              <a:off x="8937626" y="3888442"/>
              <a:ext cx="157163" cy="174625"/>
            </a:xfrm>
            <a:custGeom>
              <a:avLst/>
              <a:gdLst>
                <a:gd name="T0" fmla="*/ 96 w 99"/>
                <a:gd name="T1" fmla="*/ 100 h 110"/>
                <a:gd name="T2" fmla="*/ 89 w 99"/>
                <a:gd name="T3" fmla="*/ 103 h 110"/>
                <a:gd name="T4" fmla="*/ 89 w 99"/>
                <a:gd name="T5" fmla="*/ 110 h 110"/>
                <a:gd name="T6" fmla="*/ 82 w 99"/>
                <a:gd name="T7" fmla="*/ 100 h 110"/>
                <a:gd name="T8" fmla="*/ 82 w 99"/>
                <a:gd name="T9" fmla="*/ 94 h 110"/>
                <a:gd name="T10" fmla="*/ 79 w 99"/>
                <a:gd name="T11" fmla="*/ 97 h 110"/>
                <a:gd name="T12" fmla="*/ 79 w 99"/>
                <a:gd name="T13" fmla="*/ 87 h 110"/>
                <a:gd name="T14" fmla="*/ 72 w 99"/>
                <a:gd name="T15" fmla="*/ 71 h 110"/>
                <a:gd name="T16" fmla="*/ 68 w 99"/>
                <a:gd name="T17" fmla="*/ 71 h 110"/>
                <a:gd name="T18" fmla="*/ 58 w 99"/>
                <a:gd name="T19" fmla="*/ 71 h 110"/>
                <a:gd name="T20" fmla="*/ 51 w 99"/>
                <a:gd name="T21" fmla="*/ 64 h 110"/>
                <a:gd name="T22" fmla="*/ 55 w 99"/>
                <a:gd name="T23" fmla="*/ 74 h 110"/>
                <a:gd name="T24" fmla="*/ 55 w 99"/>
                <a:gd name="T25" fmla="*/ 81 h 110"/>
                <a:gd name="T26" fmla="*/ 48 w 99"/>
                <a:gd name="T27" fmla="*/ 90 h 110"/>
                <a:gd name="T28" fmla="*/ 48 w 99"/>
                <a:gd name="T29" fmla="*/ 84 h 110"/>
                <a:gd name="T30" fmla="*/ 44 w 99"/>
                <a:gd name="T31" fmla="*/ 87 h 110"/>
                <a:gd name="T32" fmla="*/ 44 w 99"/>
                <a:gd name="T33" fmla="*/ 77 h 110"/>
                <a:gd name="T34" fmla="*/ 41 w 99"/>
                <a:gd name="T35" fmla="*/ 81 h 110"/>
                <a:gd name="T36" fmla="*/ 41 w 99"/>
                <a:gd name="T37" fmla="*/ 87 h 110"/>
                <a:gd name="T38" fmla="*/ 37 w 99"/>
                <a:gd name="T39" fmla="*/ 90 h 110"/>
                <a:gd name="T40" fmla="*/ 34 w 99"/>
                <a:gd name="T41" fmla="*/ 94 h 110"/>
                <a:gd name="T42" fmla="*/ 31 w 99"/>
                <a:gd name="T43" fmla="*/ 87 h 110"/>
                <a:gd name="T44" fmla="*/ 27 w 99"/>
                <a:gd name="T45" fmla="*/ 81 h 110"/>
                <a:gd name="T46" fmla="*/ 20 w 99"/>
                <a:gd name="T47" fmla="*/ 64 h 110"/>
                <a:gd name="T48" fmla="*/ 17 w 99"/>
                <a:gd name="T49" fmla="*/ 52 h 110"/>
                <a:gd name="T50" fmla="*/ 3 w 99"/>
                <a:gd name="T51" fmla="*/ 42 h 110"/>
                <a:gd name="T52" fmla="*/ 10 w 99"/>
                <a:gd name="T53" fmla="*/ 29 h 110"/>
                <a:gd name="T54" fmla="*/ 17 w 99"/>
                <a:gd name="T55" fmla="*/ 26 h 110"/>
                <a:gd name="T56" fmla="*/ 10 w 99"/>
                <a:gd name="T57" fmla="*/ 19 h 110"/>
                <a:gd name="T58" fmla="*/ 0 w 99"/>
                <a:gd name="T59" fmla="*/ 16 h 110"/>
                <a:gd name="T60" fmla="*/ 3 w 99"/>
                <a:gd name="T61" fmla="*/ 6 h 110"/>
                <a:gd name="T62" fmla="*/ 6 w 99"/>
                <a:gd name="T63" fmla="*/ 0 h 110"/>
                <a:gd name="T64" fmla="*/ 10 w 99"/>
                <a:gd name="T65" fmla="*/ 6 h 110"/>
                <a:gd name="T66" fmla="*/ 17 w 99"/>
                <a:gd name="T67" fmla="*/ 10 h 110"/>
                <a:gd name="T68" fmla="*/ 17 w 99"/>
                <a:gd name="T69" fmla="*/ 6 h 110"/>
                <a:gd name="T70" fmla="*/ 27 w 99"/>
                <a:gd name="T71" fmla="*/ 10 h 110"/>
                <a:gd name="T72" fmla="*/ 31 w 99"/>
                <a:gd name="T73" fmla="*/ 13 h 110"/>
                <a:gd name="T74" fmla="*/ 34 w 99"/>
                <a:gd name="T75" fmla="*/ 22 h 110"/>
                <a:gd name="T76" fmla="*/ 41 w 99"/>
                <a:gd name="T77" fmla="*/ 26 h 110"/>
                <a:gd name="T78" fmla="*/ 58 w 99"/>
                <a:gd name="T79" fmla="*/ 29 h 110"/>
                <a:gd name="T80" fmla="*/ 75 w 99"/>
                <a:gd name="T81" fmla="*/ 29 h 110"/>
                <a:gd name="T82" fmla="*/ 82 w 99"/>
                <a:gd name="T83" fmla="*/ 32 h 110"/>
                <a:gd name="T84" fmla="*/ 79 w 99"/>
                <a:gd name="T85" fmla="*/ 39 h 110"/>
                <a:gd name="T86" fmla="*/ 75 w 99"/>
                <a:gd name="T87" fmla="*/ 48 h 110"/>
                <a:gd name="T88" fmla="*/ 72 w 99"/>
                <a:gd name="T89" fmla="*/ 48 h 110"/>
                <a:gd name="T90" fmla="*/ 65 w 99"/>
                <a:gd name="T91" fmla="*/ 55 h 110"/>
                <a:gd name="T92" fmla="*/ 68 w 99"/>
                <a:gd name="T93" fmla="*/ 61 h 110"/>
                <a:gd name="T94" fmla="*/ 75 w 99"/>
                <a:gd name="T95" fmla="*/ 68 h 110"/>
                <a:gd name="T96" fmla="*/ 75 w 99"/>
                <a:gd name="T97" fmla="*/ 64 h 110"/>
                <a:gd name="T98" fmla="*/ 79 w 99"/>
                <a:gd name="T99" fmla="*/ 58 h 110"/>
                <a:gd name="T100" fmla="*/ 82 w 99"/>
                <a:gd name="T101" fmla="*/ 58 h 110"/>
                <a:gd name="T102" fmla="*/ 89 w 99"/>
                <a:gd name="T103" fmla="*/ 61 h 110"/>
                <a:gd name="T104" fmla="*/ 92 w 99"/>
                <a:gd name="T105" fmla="*/ 71 h 110"/>
                <a:gd name="T106" fmla="*/ 96 w 99"/>
                <a:gd name="T107" fmla="*/ 87 h 110"/>
                <a:gd name="T108" fmla="*/ 96 w 99"/>
                <a:gd name="T109" fmla="*/ 90 h 110"/>
                <a:gd name="T110" fmla="*/ 72 w 99"/>
                <a:gd name="T111" fmla="*/ 77 h 110"/>
                <a:gd name="T112" fmla="*/ 68 w 99"/>
                <a:gd name="T113" fmla="*/ 81 h 110"/>
                <a:gd name="T114" fmla="*/ 72 w 99"/>
                <a:gd name="T115" fmla="*/ 77 h 110"/>
                <a:gd name="T116" fmla="*/ 61 w 99"/>
                <a:gd name="T117" fmla="*/ 84 h 110"/>
                <a:gd name="T118" fmla="*/ 65 w 99"/>
                <a:gd name="T119" fmla="*/ 77 h 110"/>
                <a:gd name="T120" fmla="*/ 61 w 99"/>
                <a:gd name="T121" fmla="*/ 77 h 110"/>
                <a:gd name="T122" fmla="*/ 55 w 99"/>
                <a:gd name="T123" fmla="*/ 74 h 110"/>
                <a:gd name="T124" fmla="*/ 61 w 99"/>
                <a:gd name="T125" fmla="*/ 8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110">
                  <a:moveTo>
                    <a:pt x="99" y="90"/>
                  </a:moveTo>
                  <a:lnTo>
                    <a:pt x="99" y="94"/>
                  </a:lnTo>
                  <a:lnTo>
                    <a:pt x="96" y="100"/>
                  </a:lnTo>
                  <a:lnTo>
                    <a:pt x="96" y="97"/>
                  </a:lnTo>
                  <a:lnTo>
                    <a:pt x="89" y="103"/>
                  </a:lnTo>
                  <a:lnTo>
                    <a:pt x="89" y="103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89" y="103"/>
                  </a:lnTo>
                  <a:lnTo>
                    <a:pt x="82" y="100"/>
                  </a:lnTo>
                  <a:lnTo>
                    <a:pt x="82" y="100"/>
                  </a:lnTo>
                  <a:lnTo>
                    <a:pt x="82" y="97"/>
                  </a:lnTo>
                  <a:lnTo>
                    <a:pt x="82" y="94"/>
                  </a:lnTo>
                  <a:lnTo>
                    <a:pt x="82" y="97"/>
                  </a:lnTo>
                  <a:lnTo>
                    <a:pt x="79" y="97"/>
                  </a:lnTo>
                  <a:lnTo>
                    <a:pt x="79" y="97"/>
                  </a:lnTo>
                  <a:lnTo>
                    <a:pt x="82" y="90"/>
                  </a:lnTo>
                  <a:lnTo>
                    <a:pt x="79" y="90"/>
                  </a:lnTo>
                  <a:lnTo>
                    <a:pt x="79" y="87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72" y="71"/>
                  </a:lnTo>
                  <a:lnTo>
                    <a:pt x="72" y="71"/>
                  </a:lnTo>
                  <a:lnTo>
                    <a:pt x="72" y="74"/>
                  </a:lnTo>
                  <a:lnTo>
                    <a:pt x="68" y="71"/>
                  </a:lnTo>
                  <a:lnTo>
                    <a:pt x="65" y="74"/>
                  </a:lnTo>
                  <a:lnTo>
                    <a:pt x="58" y="71"/>
                  </a:lnTo>
                  <a:lnTo>
                    <a:pt x="58" y="71"/>
                  </a:lnTo>
                  <a:lnTo>
                    <a:pt x="55" y="71"/>
                  </a:lnTo>
                  <a:lnTo>
                    <a:pt x="51" y="68"/>
                  </a:lnTo>
                  <a:lnTo>
                    <a:pt x="51" y="64"/>
                  </a:lnTo>
                  <a:lnTo>
                    <a:pt x="51" y="68"/>
                  </a:lnTo>
                  <a:lnTo>
                    <a:pt x="55" y="71"/>
                  </a:lnTo>
                  <a:lnTo>
                    <a:pt x="55" y="74"/>
                  </a:lnTo>
                  <a:lnTo>
                    <a:pt x="48" y="74"/>
                  </a:lnTo>
                  <a:lnTo>
                    <a:pt x="51" y="77"/>
                  </a:lnTo>
                  <a:lnTo>
                    <a:pt x="55" y="81"/>
                  </a:lnTo>
                  <a:lnTo>
                    <a:pt x="55" y="84"/>
                  </a:lnTo>
                  <a:lnTo>
                    <a:pt x="51" y="84"/>
                  </a:lnTo>
                  <a:lnTo>
                    <a:pt x="48" y="90"/>
                  </a:lnTo>
                  <a:lnTo>
                    <a:pt x="44" y="87"/>
                  </a:lnTo>
                  <a:lnTo>
                    <a:pt x="48" y="87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4" y="84"/>
                  </a:lnTo>
                  <a:lnTo>
                    <a:pt x="44" y="87"/>
                  </a:lnTo>
                  <a:lnTo>
                    <a:pt x="41" y="84"/>
                  </a:lnTo>
                  <a:lnTo>
                    <a:pt x="44" y="81"/>
                  </a:lnTo>
                  <a:lnTo>
                    <a:pt x="44" y="77"/>
                  </a:lnTo>
                  <a:lnTo>
                    <a:pt x="41" y="77"/>
                  </a:lnTo>
                  <a:lnTo>
                    <a:pt x="41" y="77"/>
                  </a:lnTo>
                  <a:lnTo>
                    <a:pt x="41" y="81"/>
                  </a:lnTo>
                  <a:lnTo>
                    <a:pt x="41" y="84"/>
                  </a:lnTo>
                  <a:lnTo>
                    <a:pt x="41" y="84"/>
                  </a:lnTo>
                  <a:lnTo>
                    <a:pt x="41" y="87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37" y="90"/>
                  </a:lnTo>
                  <a:lnTo>
                    <a:pt x="37" y="90"/>
                  </a:lnTo>
                  <a:lnTo>
                    <a:pt x="34" y="90"/>
                  </a:lnTo>
                  <a:lnTo>
                    <a:pt x="34" y="94"/>
                  </a:lnTo>
                  <a:lnTo>
                    <a:pt x="31" y="94"/>
                  </a:lnTo>
                  <a:lnTo>
                    <a:pt x="31" y="90"/>
                  </a:lnTo>
                  <a:lnTo>
                    <a:pt x="31" y="87"/>
                  </a:lnTo>
                  <a:lnTo>
                    <a:pt x="27" y="87"/>
                  </a:lnTo>
                  <a:lnTo>
                    <a:pt x="27" y="84"/>
                  </a:lnTo>
                  <a:lnTo>
                    <a:pt x="27" y="81"/>
                  </a:lnTo>
                  <a:lnTo>
                    <a:pt x="24" y="77"/>
                  </a:lnTo>
                  <a:lnTo>
                    <a:pt x="20" y="71"/>
                  </a:lnTo>
                  <a:lnTo>
                    <a:pt x="20" y="64"/>
                  </a:lnTo>
                  <a:lnTo>
                    <a:pt x="20" y="61"/>
                  </a:lnTo>
                  <a:lnTo>
                    <a:pt x="17" y="58"/>
                  </a:lnTo>
                  <a:lnTo>
                    <a:pt x="17" y="52"/>
                  </a:lnTo>
                  <a:lnTo>
                    <a:pt x="13" y="48"/>
                  </a:lnTo>
                  <a:lnTo>
                    <a:pt x="6" y="45"/>
                  </a:lnTo>
                  <a:lnTo>
                    <a:pt x="3" y="42"/>
                  </a:lnTo>
                  <a:lnTo>
                    <a:pt x="3" y="35"/>
                  </a:lnTo>
                  <a:lnTo>
                    <a:pt x="6" y="32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7" y="26"/>
                  </a:lnTo>
                  <a:lnTo>
                    <a:pt x="17" y="22"/>
                  </a:lnTo>
                  <a:lnTo>
                    <a:pt x="17" y="19"/>
                  </a:lnTo>
                  <a:lnTo>
                    <a:pt x="10" y="19"/>
                  </a:lnTo>
                  <a:lnTo>
                    <a:pt x="6" y="22"/>
                  </a:lnTo>
                  <a:lnTo>
                    <a:pt x="0" y="19"/>
                  </a:lnTo>
                  <a:lnTo>
                    <a:pt x="0" y="16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3"/>
                  </a:lnTo>
                  <a:lnTo>
                    <a:pt x="6" y="0"/>
                  </a:lnTo>
                  <a:lnTo>
                    <a:pt x="6" y="3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3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20" y="10"/>
                  </a:lnTo>
                  <a:lnTo>
                    <a:pt x="24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31" y="10"/>
                  </a:lnTo>
                  <a:lnTo>
                    <a:pt x="31" y="13"/>
                  </a:lnTo>
                  <a:lnTo>
                    <a:pt x="34" y="16"/>
                  </a:lnTo>
                  <a:lnTo>
                    <a:pt x="34" y="19"/>
                  </a:lnTo>
                  <a:lnTo>
                    <a:pt x="34" y="22"/>
                  </a:lnTo>
                  <a:lnTo>
                    <a:pt x="34" y="26"/>
                  </a:lnTo>
                  <a:lnTo>
                    <a:pt x="37" y="26"/>
                  </a:lnTo>
                  <a:lnTo>
                    <a:pt x="41" y="26"/>
                  </a:lnTo>
                  <a:lnTo>
                    <a:pt x="44" y="29"/>
                  </a:lnTo>
                  <a:lnTo>
                    <a:pt x="51" y="29"/>
                  </a:lnTo>
                  <a:lnTo>
                    <a:pt x="58" y="29"/>
                  </a:lnTo>
                  <a:lnTo>
                    <a:pt x="65" y="29"/>
                  </a:lnTo>
                  <a:lnTo>
                    <a:pt x="72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9" y="29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5"/>
                  </a:lnTo>
                  <a:lnTo>
                    <a:pt x="79" y="39"/>
                  </a:lnTo>
                  <a:lnTo>
                    <a:pt x="79" y="45"/>
                  </a:lnTo>
                  <a:lnTo>
                    <a:pt x="75" y="45"/>
                  </a:lnTo>
                  <a:lnTo>
                    <a:pt x="75" y="48"/>
                  </a:lnTo>
                  <a:lnTo>
                    <a:pt x="75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65" y="61"/>
                  </a:lnTo>
                  <a:lnTo>
                    <a:pt x="68" y="61"/>
                  </a:lnTo>
                  <a:lnTo>
                    <a:pt x="68" y="61"/>
                  </a:lnTo>
                  <a:lnTo>
                    <a:pt x="72" y="64"/>
                  </a:lnTo>
                  <a:lnTo>
                    <a:pt x="75" y="68"/>
                  </a:lnTo>
                  <a:lnTo>
                    <a:pt x="79" y="68"/>
                  </a:lnTo>
                  <a:lnTo>
                    <a:pt x="79" y="64"/>
                  </a:lnTo>
                  <a:lnTo>
                    <a:pt x="75" y="64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82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9" y="61"/>
                  </a:lnTo>
                  <a:lnTo>
                    <a:pt x="89" y="68"/>
                  </a:lnTo>
                  <a:lnTo>
                    <a:pt x="89" y="71"/>
                  </a:lnTo>
                  <a:lnTo>
                    <a:pt x="92" y="71"/>
                  </a:lnTo>
                  <a:lnTo>
                    <a:pt x="92" y="77"/>
                  </a:lnTo>
                  <a:lnTo>
                    <a:pt x="92" y="84"/>
                  </a:lnTo>
                  <a:lnTo>
                    <a:pt x="96" y="87"/>
                  </a:lnTo>
                  <a:lnTo>
                    <a:pt x="96" y="87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9" y="90"/>
                  </a:lnTo>
                  <a:lnTo>
                    <a:pt x="99" y="90"/>
                  </a:lnTo>
                  <a:close/>
                  <a:moveTo>
                    <a:pt x="72" y="77"/>
                  </a:moveTo>
                  <a:lnTo>
                    <a:pt x="72" y="77"/>
                  </a:lnTo>
                  <a:lnTo>
                    <a:pt x="68" y="77"/>
                  </a:lnTo>
                  <a:lnTo>
                    <a:pt x="68" y="81"/>
                  </a:lnTo>
                  <a:lnTo>
                    <a:pt x="72" y="81"/>
                  </a:lnTo>
                  <a:lnTo>
                    <a:pt x="72" y="77"/>
                  </a:lnTo>
                  <a:lnTo>
                    <a:pt x="72" y="77"/>
                  </a:lnTo>
                  <a:close/>
                  <a:moveTo>
                    <a:pt x="61" y="77"/>
                  </a:moveTo>
                  <a:lnTo>
                    <a:pt x="65" y="81"/>
                  </a:lnTo>
                  <a:lnTo>
                    <a:pt x="61" y="84"/>
                  </a:lnTo>
                  <a:lnTo>
                    <a:pt x="65" y="84"/>
                  </a:lnTo>
                  <a:lnTo>
                    <a:pt x="68" y="81"/>
                  </a:lnTo>
                  <a:lnTo>
                    <a:pt x="65" y="77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7"/>
                  </a:lnTo>
                  <a:lnTo>
                    <a:pt x="61" y="77"/>
                  </a:lnTo>
                  <a:close/>
                  <a:moveTo>
                    <a:pt x="58" y="74"/>
                  </a:moveTo>
                  <a:lnTo>
                    <a:pt x="55" y="74"/>
                  </a:lnTo>
                  <a:lnTo>
                    <a:pt x="55" y="77"/>
                  </a:lnTo>
                  <a:lnTo>
                    <a:pt x="58" y="81"/>
                  </a:lnTo>
                  <a:lnTo>
                    <a:pt x="61" y="81"/>
                  </a:lnTo>
                  <a:lnTo>
                    <a:pt x="61" y="77"/>
                  </a:lnTo>
                  <a:lnTo>
                    <a:pt x="58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2" name="Freeform 33"/>
            <p:cNvSpPr>
              <a:spLocks/>
            </p:cNvSpPr>
            <p:nvPr/>
          </p:nvSpPr>
          <p:spPr bwMode="auto">
            <a:xfrm>
              <a:off x="8947151" y="3842405"/>
              <a:ext cx="98425" cy="50800"/>
            </a:xfrm>
            <a:custGeom>
              <a:avLst/>
              <a:gdLst>
                <a:gd name="T0" fmla="*/ 4 w 62"/>
                <a:gd name="T1" fmla="*/ 16 h 32"/>
                <a:gd name="T2" fmla="*/ 7 w 62"/>
                <a:gd name="T3" fmla="*/ 13 h 32"/>
                <a:gd name="T4" fmla="*/ 11 w 62"/>
                <a:gd name="T5" fmla="*/ 6 h 32"/>
                <a:gd name="T6" fmla="*/ 21 w 62"/>
                <a:gd name="T7" fmla="*/ 0 h 32"/>
                <a:gd name="T8" fmla="*/ 28 w 62"/>
                <a:gd name="T9" fmla="*/ 0 h 32"/>
                <a:gd name="T10" fmla="*/ 31 w 62"/>
                <a:gd name="T11" fmla="*/ 3 h 32"/>
                <a:gd name="T12" fmla="*/ 38 w 62"/>
                <a:gd name="T13" fmla="*/ 3 h 32"/>
                <a:gd name="T14" fmla="*/ 42 w 62"/>
                <a:gd name="T15" fmla="*/ 6 h 32"/>
                <a:gd name="T16" fmla="*/ 49 w 62"/>
                <a:gd name="T17" fmla="*/ 3 h 32"/>
                <a:gd name="T18" fmla="*/ 52 w 62"/>
                <a:gd name="T19" fmla="*/ 3 h 32"/>
                <a:gd name="T20" fmla="*/ 55 w 62"/>
                <a:gd name="T21" fmla="*/ 6 h 32"/>
                <a:gd name="T22" fmla="*/ 55 w 62"/>
                <a:gd name="T23" fmla="*/ 6 h 32"/>
                <a:gd name="T24" fmla="*/ 55 w 62"/>
                <a:gd name="T25" fmla="*/ 13 h 32"/>
                <a:gd name="T26" fmla="*/ 55 w 62"/>
                <a:gd name="T27" fmla="*/ 16 h 32"/>
                <a:gd name="T28" fmla="*/ 62 w 62"/>
                <a:gd name="T29" fmla="*/ 16 h 32"/>
                <a:gd name="T30" fmla="*/ 62 w 62"/>
                <a:gd name="T31" fmla="*/ 22 h 32"/>
                <a:gd name="T32" fmla="*/ 62 w 62"/>
                <a:gd name="T33" fmla="*/ 26 h 32"/>
                <a:gd name="T34" fmla="*/ 55 w 62"/>
                <a:gd name="T35" fmla="*/ 26 h 32"/>
                <a:gd name="T36" fmla="*/ 49 w 62"/>
                <a:gd name="T37" fmla="*/ 26 h 32"/>
                <a:gd name="T38" fmla="*/ 42 w 62"/>
                <a:gd name="T39" fmla="*/ 29 h 32"/>
                <a:gd name="T40" fmla="*/ 38 w 62"/>
                <a:gd name="T41" fmla="*/ 26 h 32"/>
                <a:gd name="T42" fmla="*/ 35 w 62"/>
                <a:gd name="T43" fmla="*/ 26 h 32"/>
                <a:gd name="T44" fmla="*/ 31 w 62"/>
                <a:gd name="T45" fmla="*/ 32 h 32"/>
                <a:gd name="T46" fmla="*/ 25 w 62"/>
                <a:gd name="T47" fmla="*/ 32 h 32"/>
                <a:gd name="T48" fmla="*/ 14 w 62"/>
                <a:gd name="T49" fmla="*/ 26 h 32"/>
                <a:gd name="T50" fmla="*/ 11 w 62"/>
                <a:gd name="T51" fmla="*/ 29 h 32"/>
                <a:gd name="T52" fmla="*/ 7 w 62"/>
                <a:gd name="T53" fmla="*/ 26 h 32"/>
                <a:gd name="T54" fmla="*/ 0 w 62"/>
                <a:gd name="T55" fmla="*/ 22 h 32"/>
                <a:gd name="T56" fmla="*/ 4 w 62"/>
                <a:gd name="T57" fmla="*/ 19 h 32"/>
                <a:gd name="T58" fmla="*/ 4 w 62"/>
                <a:gd name="T5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2" h="32">
                  <a:moveTo>
                    <a:pt x="4" y="16"/>
                  </a:moveTo>
                  <a:lnTo>
                    <a:pt x="7" y="13"/>
                  </a:lnTo>
                  <a:lnTo>
                    <a:pt x="11" y="6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31" y="3"/>
                  </a:lnTo>
                  <a:lnTo>
                    <a:pt x="38" y="3"/>
                  </a:lnTo>
                  <a:lnTo>
                    <a:pt x="42" y="6"/>
                  </a:lnTo>
                  <a:lnTo>
                    <a:pt x="49" y="3"/>
                  </a:lnTo>
                  <a:lnTo>
                    <a:pt x="52" y="3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5" y="13"/>
                  </a:lnTo>
                  <a:lnTo>
                    <a:pt x="55" y="16"/>
                  </a:lnTo>
                  <a:lnTo>
                    <a:pt x="62" y="16"/>
                  </a:lnTo>
                  <a:lnTo>
                    <a:pt x="62" y="22"/>
                  </a:lnTo>
                  <a:lnTo>
                    <a:pt x="62" y="26"/>
                  </a:lnTo>
                  <a:lnTo>
                    <a:pt x="55" y="26"/>
                  </a:lnTo>
                  <a:lnTo>
                    <a:pt x="49" y="26"/>
                  </a:lnTo>
                  <a:lnTo>
                    <a:pt x="42" y="29"/>
                  </a:lnTo>
                  <a:lnTo>
                    <a:pt x="38" y="26"/>
                  </a:lnTo>
                  <a:lnTo>
                    <a:pt x="35" y="26"/>
                  </a:lnTo>
                  <a:lnTo>
                    <a:pt x="31" y="32"/>
                  </a:lnTo>
                  <a:lnTo>
                    <a:pt x="25" y="32"/>
                  </a:lnTo>
                  <a:lnTo>
                    <a:pt x="14" y="26"/>
                  </a:lnTo>
                  <a:lnTo>
                    <a:pt x="11" y="29"/>
                  </a:lnTo>
                  <a:lnTo>
                    <a:pt x="7" y="26"/>
                  </a:lnTo>
                  <a:lnTo>
                    <a:pt x="0" y="22"/>
                  </a:lnTo>
                  <a:lnTo>
                    <a:pt x="4" y="19"/>
                  </a:ln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3" name="Freeform 34"/>
            <p:cNvSpPr>
              <a:spLocks/>
            </p:cNvSpPr>
            <p:nvPr/>
          </p:nvSpPr>
          <p:spPr bwMode="auto">
            <a:xfrm>
              <a:off x="8680451" y="3785255"/>
              <a:ext cx="257175" cy="112712"/>
            </a:xfrm>
            <a:custGeom>
              <a:avLst/>
              <a:gdLst>
                <a:gd name="T0" fmla="*/ 7 w 162"/>
                <a:gd name="T1" fmla="*/ 0 h 71"/>
                <a:gd name="T2" fmla="*/ 14 w 162"/>
                <a:gd name="T3" fmla="*/ 4 h 71"/>
                <a:gd name="T4" fmla="*/ 21 w 162"/>
                <a:gd name="T5" fmla="*/ 4 h 71"/>
                <a:gd name="T6" fmla="*/ 27 w 162"/>
                <a:gd name="T7" fmla="*/ 0 h 71"/>
                <a:gd name="T8" fmla="*/ 38 w 162"/>
                <a:gd name="T9" fmla="*/ 4 h 71"/>
                <a:gd name="T10" fmla="*/ 45 w 162"/>
                <a:gd name="T11" fmla="*/ 7 h 71"/>
                <a:gd name="T12" fmla="*/ 55 w 162"/>
                <a:gd name="T13" fmla="*/ 13 h 71"/>
                <a:gd name="T14" fmla="*/ 58 w 162"/>
                <a:gd name="T15" fmla="*/ 16 h 71"/>
                <a:gd name="T16" fmla="*/ 65 w 162"/>
                <a:gd name="T17" fmla="*/ 23 h 71"/>
                <a:gd name="T18" fmla="*/ 69 w 162"/>
                <a:gd name="T19" fmla="*/ 16 h 71"/>
                <a:gd name="T20" fmla="*/ 72 w 162"/>
                <a:gd name="T21" fmla="*/ 16 h 71"/>
                <a:gd name="T22" fmla="*/ 79 w 162"/>
                <a:gd name="T23" fmla="*/ 20 h 71"/>
                <a:gd name="T24" fmla="*/ 86 w 162"/>
                <a:gd name="T25" fmla="*/ 26 h 71"/>
                <a:gd name="T26" fmla="*/ 96 w 162"/>
                <a:gd name="T27" fmla="*/ 26 h 71"/>
                <a:gd name="T28" fmla="*/ 96 w 162"/>
                <a:gd name="T29" fmla="*/ 36 h 71"/>
                <a:gd name="T30" fmla="*/ 107 w 162"/>
                <a:gd name="T31" fmla="*/ 39 h 71"/>
                <a:gd name="T32" fmla="*/ 113 w 162"/>
                <a:gd name="T33" fmla="*/ 36 h 71"/>
                <a:gd name="T34" fmla="*/ 124 w 162"/>
                <a:gd name="T35" fmla="*/ 33 h 71"/>
                <a:gd name="T36" fmla="*/ 127 w 162"/>
                <a:gd name="T37" fmla="*/ 39 h 71"/>
                <a:gd name="T38" fmla="*/ 137 w 162"/>
                <a:gd name="T39" fmla="*/ 45 h 71"/>
                <a:gd name="T40" fmla="*/ 148 w 162"/>
                <a:gd name="T41" fmla="*/ 45 h 71"/>
                <a:gd name="T42" fmla="*/ 155 w 162"/>
                <a:gd name="T43" fmla="*/ 45 h 71"/>
                <a:gd name="T44" fmla="*/ 158 w 162"/>
                <a:gd name="T45" fmla="*/ 49 h 71"/>
                <a:gd name="T46" fmla="*/ 162 w 162"/>
                <a:gd name="T47" fmla="*/ 62 h 71"/>
                <a:gd name="T48" fmla="*/ 148 w 162"/>
                <a:gd name="T49" fmla="*/ 71 h 71"/>
                <a:gd name="T50" fmla="*/ 134 w 162"/>
                <a:gd name="T51" fmla="*/ 71 h 71"/>
                <a:gd name="T52" fmla="*/ 113 w 162"/>
                <a:gd name="T53" fmla="*/ 65 h 71"/>
                <a:gd name="T54" fmla="*/ 100 w 162"/>
                <a:gd name="T55" fmla="*/ 65 h 71"/>
                <a:gd name="T56" fmla="*/ 93 w 162"/>
                <a:gd name="T57" fmla="*/ 55 h 71"/>
                <a:gd name="T58" fmla="*/ 72 w 162"/>
                <a:gd name="T59" fmla="*/ 58 h 71"/>
                <a:gd name="T60" fmla="*/ 58 w 162"/>
                <a:gd name="T61" fmla="*/ 55 h 71"/>
                <a:gd name="T62" fmla="*/ 48 w 162"/>
                <a:gd name="T63" fmla="*/ 52 h 71"/>
                <a:gd name="T64" fmla="*/ 38 w 162"/>
                <a:gd name="T65" fmla="*/ 49 h 71"/>
                <a:gd name="T66" fmla="*/ 21 w 162"/>
                <a:gd name="T67" fmla="*/ 36 h 71"/>
                <a:gd name="T68" fmla="*/ 10 w 162"/>
                <a:gd name="T69" fmla="*/ 33 h 71"/>
                <a:gd name="T70" fmla="*/ 3 w 162"/>
                <a:gd name="T71" fmla="*/ 29 h 71"/>
                <a:gd name="T72" fmla="*/ 0 w 162"/>
                <a:gd name="T73" fmla="*/ 26 h 71"/>
                <a:gd name="T74" fmla="*/ 3 w 162"/>
                <a:gd name="T75" fmla="*/ 16 h 71"/>
                <a:gd name="T76" fmla="*/ 7 w 162"/>
                <a:gd name="T7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2" h="71">
                  <a:moveTo>
                    <a:pt x="7" y="0"/>
                  </a:moveTo>
                  <a:lnTo>
                    <a:pt x="7" y="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7" y="4"/>
                  </a:lnTo>
                  <a:lnTo>
                    <a:pt x="21" y="4"/>
                  </a:lnTo>
                  <a:lnTo>
                    <a:pt x="24" y="0"/>
                  </a:lnTo>
                  <a:lnTo>
                    <a:pt x="27" y="0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41" y="7"/>
                  </a:lnTo>
                  <a:lnTo>
                    <a:pt x="45" y="7"/>
                  </a:lnTo>
                  <a:lnTo>
                    <a:pt x="51" y="13"/>
                  </a:lnTo>
                  <a:lnTo>
                    <a:pt x="55" y="13"/>
                  </a:lnTo>
                  <a:lnTo>
                    <a:pt x="58" y="13"/>
                  </a:lnTo>
                  <a:lnTo>
                    <a:pt x="58" y="16"/>
                  </a:lnTo>
                  <a:lnTo>
                    <a:pt x="62" y="20"/>
                  </a:lnTo>
                  <a:lnTo>
                    <a:pt x="65" y="23"/>
                  </a:lnTo>
                  <a:lnTo>
                    <a:pt x="69" y="23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9" y="20"/>
                  </a:lnTo>
                  <a:lnTo>
                    <a:pt x="79" y="23"/>
                  </a:lnTo>
                  <a:lnTo>
                    <a:pt x="86" y="26"/>
                  </a:lnTo>
                  <a:lnTo>
                    <a:pt x="89" y="26"/>
                  </a:lnTo>
                  <a:lnTo>
                    <a:pt x="96" y="26"/>
                  </a:lnTo>
                  <a:lnTo>
                    <a:pt x="93" y="33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7" y="39"/>
                  </a:lnTo>
                  <a:lnTo>
                    <a:pt x="107" y="36"/>
                  </a:lnTo>
                  <a:lnTo>
                    <a:pt x="113" y="36"/>
                  </a:lnTo>
                  <a:lnTo>
                    <a:pt x="117" y="33"/>
                  </a:lnTo>
                  <a:lnTo>
                    <a:pt x="124" y="33"/>
                  </a:lnTo>
                  <a:lnTo>
                    <a:pt x="127" y="36"/>
                  </a:lnTo>
                  <a:lnTo>
                    <a:pt x="127" y="39"/>
                  </a:lnTo>
                  <a:lnTo>
                    <a:pt x="134" y="42"/>
                  </a:lnTo>
                  <a:lnTo>
                    <a:pt x="137" y="45"/>
                  </a:lnTo>
                  <a:lnTo>
                    <a:pt x="141" y="45"/>
                  </a:lnTo>
                  <a:lnTo>
                    <a:pt x="148" y="45"/>
                  </a:lnTo>
                  <a:lnTo>
                    <a:pt x="148" y="45"/>
                  </a:lnTo>
                  <a:lnTo>
                    <a:pt x="155" y="45"/>
                  </a:lnTo>
                  <a:lnTo>
                    <a:pt x="158" y="45"/>
                  </a:lnTo>
                  <a:lnTo>
                    <a:pt x="158" y="49"/>
                  </a:lnTo>
                  <a:lnTo>
                    <a:pt x="158" y="55"/>
                  </a:lnTo>
                  <a:lnTo>
                    <a:pt x="162" y="62"/>
                  </a:lnTo>
                  <a:lnTo>
                    <a:pt x="158" y="68"/>
                  </a:lnTo>
                  <a:lnTo>
                    <a:pt x="148" y="71"/>
                  </a:lnTo>
                  <a:lnTo>
                    <a:pt x="141" y="68"/>
                  </a:lnTo>
                  <a:lnTo>
                    <a:pt x="134" y="71"/>
                  </a:lnTo>
                  <a:lnTo>
                    <a:pt x="120" y="65"/>
                  </a:lnTo>
                  <a:lnTo>
                    <a:pt x="113" y="65"/>
                  </a:lnTo>
                  <a:lnTo>
                    <a:pt x="110" y="68"/>
                  </a:lnTo>
                  <a:lnTo>
                    <a:pt x="100" y="65"/>
                  </a:lnTo>
                  <a:lnTo>
                    <a:pt x="93" y="62"/>
                  </a:lnTo>
                  <a:lnTo>
                    <a:pt x="93" y="55"/>
                  </a:lnTo>
                  <a:lnTo>
                    <a:pt x="82" y="55"/>
                  </a:lnTo>
                  <a:lnTo>
                    <a:pt x="72" y="58"/>
                  </a:lnTo>
                  <a:lnTo>
                    <a:pt x="69" y="55"/>
                  </a:lnTo>
                  <a:lnTo>
                    <a:pt x="58" y="55"/>
                  </a:lnTo>
                  <a:lnTo>
                    <a:pt x="51" y="52"/>
                  </a:lnTo>
                  <a:lnTo>
                    <a:pt x="48" y="52"/>
                  </a:lnTo>
                  <a:lnTo>
                    <a:pt x="45" y="49"/>
                  </a:lnTo>
                  <a:lnTo>
                    <a:pt x="38" y="49"/>
                  </a:lnTo>
                  <a:lnTo>
                    <a:pt x="31" y="42"/>
                  </a:lnTo>
                  <a:lnTo>
                    <a:pt x="21" y="36"/>
                  </a:lnTo>
                  <a:lnTo>
                    <a:pt x="14" y="36"/>
                  </a:lnTo>
                  <a:lnTo>
                    <a:pt x="10" y="33"/>
                  </a:lnTo>
                  <a:lnTo>
                    <a:pt x="7" y="33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0" y="26"/>
                  </a:lnTo>
                  <a:lnTo>
                    <a:pt x="3" y="20"/>
                  </a:lnTo>
                  <a:lnTo>
                    <a:pt x="3" y="16"/>
                  </a:lnTo>
                  <a:lnTo>
                    <a:pt x="7" y="7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4" name="Freeform 35"/>
            <p:cNvSpPr>
              <a:spLocks/>
            </p:cNvSpPr>
            <p:nvPr/>
          </p:nvSpPr>
          <p:spPr bwMode="auto">
            <a:xfrm>
              <a:off x="8096251" y="3591580"/>
              <a:ext cx="425450" cy="398462"/>
            </a:xfrm>
            <a:custGeom>
              <a:avLst/>
              <a:gdLst>
                <a:gd name="T0" fmla="*/ 161 w 268"/>
                <a:gd name="T1" fmla="*/ 242 h 251"/>
                <a:gd name="T2" fmla="*/ 182 w 268"/>
                <a:gd name="T3" fmla="*/ 239 h 251"/>
                <a:gd name="T4" fmla="*/ 196 w 268"/>
                <a:gd name="T5" fmla="*/ 235 h 251"/>
                <a:gd name="T6" fmla="*/ 203 w 268"/>
                <a:gd name="T7" fmla="*/ 232 h 251"/>
                <a:gd name="T8" fmla="*/ 196 w 268"/>
                <a:gd name="T9" fmla="*/ 213 h 251"/>
                <a:gd name="T10" fmla="*/ 182 w 268"/>
                <a:gd name="T11" fmla="*/ 200 h 251"/>
                <a:gd name="T12" fmla="*/ 175 w 268"/>
                <a:gd name="T13" fmla="*/ 193 h 251"/>
                <a:gd name="T14" fmla="*/ 168 w 268"/>
                <a:gd name="T15" fmla="*/ 180 h 251"/>
                <a:gd name="T16" fmla="*/ 182 w 268"/>
                <a:gd name="T17" fmla="*/ 171 h 251"/>
                <a:gd name="T18" fmla="*/ 192 w 268"/>
                <a:gd name="T19" fmla="*/ 174 h 251"/>
                <a:gd name="T20" fmla="*/ 220 w 268"/>
                <a:gd name="T21" fmla="*/ 155 h 251"/>
                <a:gd name="T22" fmla="*/ 237 w 268"/>
                <a:gd name="T23" fmla="*/ 135 h 251"/>
                <a:gd name="T24" fmla="*/ 241 w 268"/>
                <a:gd name="T25" fmla="*/ 122 h 251"/>
                <a:gd name="T26" fmla="*/ 251 w 268"/>
                <a:gd name="T27" fmla="*/ 103 h 251"/>
                <a:gd name="T28" fmla="*/ 258 w 268"/>
                <a:gd name="T29" fmla="*/ 90 h 251"/>
                <a:gd name="T30" fmla="*/ 268 w 268"/>
                <a:gd name="T31" fmla="*/ 80 h 251"/>
                <a:gd name="T32" fmla="*/ 251 w 268"/>
                <a:gd name="T33" fmla="*/ 77 h 251"/>
                <a:gd name="T34" fmla="*/ 227 w 268"/>
                <a:gd name="T35" fmla="*/ 64 h 251"/>
                <a:gd name="T36" fmla="*/ 223 w 268"/>
                <a:gd name="T37" fmla="*/ 42 h 251"/>
                <a:gd name="T38" fmla="*/ 227 w 268"/>
                <a:gd name="T39" fmla="*/ 29 h 251"/>
                <a:gd name="T40" fmla="*/ 210 w 268"/>
                <a:gd name="T41" fmla="*/ 16 h 251"/>
                <a:gd name="T42" fmla="*/ 199 w 268"/>
                <a:gd name="T43" fmla="*/ 9 h 251"/>
                <a:gd name="T44" fmla="*/ 196 w 268"/>
                <a:gd name="T45" fmla="*/ 0 h 251"/>
                <a:gd name="T46" fmla="*/ 179 w 268"/>
                <a:gd name="T47" fmla="*/ 9 h 251"/>
                <a:gd name="T48" fmla="*/ 175 w 268"/>
                <a:gd name="T49" fmla="*/ 42 h 251"/>
                <a:gd name="T50" fmla="*/ 165 w 268"/>
                <a:gd name="T51" fmla="*/ 54 h 251"/>
                <a:gd name="T52" fmla="*/ 161 w 268"/>
                <a:gd name="T53" fmla="*/ 61 h 251"/>
                <a:gd name="T54" fmla="*/ 155 w 268"/>
                <a:gd name="T55" fmla="*/ 71 h 251"/>
                <a:gd name="T56" fmla="*/ 151 w 268"/>
                <a:gd name="T57" fmla="*/ 87 h 251"/>
                <a:gd name="T58" fmla="*/ 141 w 268"/>
                <a:gd name="T59" fmla="*/ 96 h 251"/>
                <a:gd name="T60" fmla="*/ 134 w 268"/>
                <a:gd name="T61" fmla="*/ 96 h 251"/>
                <a:gd name="T62" fmla="*/ 124 w 268"/>
                <a:gd name="T63" fmla="*/ 103 h 251"/>
                <a:gd name="T64" fmla="*/ 106 w 268"/>
                <a:gd name="T65" fmla="*/ 109 h 251"/>
                <a:gd name="T66" fmla="*/ 100 w 268"/>
                <a:gd name="T67" fmla="*/ 119 h 251"/>
                <a:gd name="T68" fmla="*/ 100 w 268"/>
                <a:gd name="T69" fmla="*/ 135 h 251"/>
                <a:gd name="T70" fmla="*/ 79 w 268"/>
                <a:gd name="T71" fmla="*/ 142 h 251"/>
                <a:gd name="T72" fmla="*/ 55 w 268"/>
                <a:gd name="T73" fmla="*/ 145 h 251"/>
                <a:gd name="T74" fmla="*/ 0 w 268"/>
                <a:gd name="T75" fmla="*/ 138 h 251"/>
                <a:gd name="T76" fmla="*/ 20 w 268"/>
                <a:gd name="T77" fmla="*/ 161 h 251"/>
                <a:gd name="T78" fmla="*/ 34 w 268"/>
                <a:gd name="T79" fmla="*/ 167 h 251"/>
                <a:gd name="T80" fmla="*/ 41 w 268"/>
                <a:gd name="T81" fmla="*/ 180 h 251"/>
                <a:gd name="T82" fmla="*/ 51 w 268"/>
                <a:gd name="T83" fmla="*/ 193 h 251"/>
                <a:gd name="T84" fmla="*/ 31 w 268"/>
                <a:gd name="T85" fmla="*/ 197 h 251"/>
                <a:gd name="T86" fmla="*/ 24 w 268"/>
                <a:gd name="T87" fmla="*/ 209 h 251"/>
                <a:gd name="T88" fmla="*/ 27 w 268"/>
                <a:gd name="T89" fmla="*/ 222 h 251"/>
                <a:gd name="T90" fmla="*/ 38 w 268"/>
                <a:gd name="T91" fmla="*/ 222 h 251"/>
                <a:gd name="T92" fmla="*/ 48 w 268"/>
                <a:gd name="T93" fmla="*/ 219 h 251"/>
                <a:gd name="T94" fmla="*/ 55 w 268"/>
                <a:gd name="T95" fmla="*/ 219 h 251"/>
                <a:gd name="T96" fmla="*/ 65 w 268"/>
                <a:gd name="T97" fmla="*/ 219 h 251"/>
                <a:gd name="T98" fmla="*/ 72 w 268"/>
                <a:gd name="T99" fmla="*/ 219 h 251"/>
                <a:gd name="T100" fmla="*/ 86 w 268"/>
                <a:gd name="T101" fmla="*/ 219 h 251"/>
                <a:gd name="T102" fmla="*/ 96 w 268"/>
                <a:gd name="T103" fmla="*/ 216 h 251"/>
                <a:gd name="T104" fmla="*/ 113 w 268"/>
                <a:gd name="T105" fmla="*/ 216 h 251"/>
                <a:gd name="T106" fmla="*/ 120 w 268"/>
                <a:gd name="T107" fmla="*/ 226 h 251"/>
                <a:gd name="T108" fmla="*/ 127 w 268"/>
                <a:gd name="T109" fmla="*/ 226 h 251"/>
                <a:gd name="T110" fmla="*/ 134 w 268"/>
                <a:gd name="T111" fmla="*/ 239 h 251"/>
                <a:gd name="T112" fmla="*/ 134 w 268"/>
                <a:gd name="T113" fmla="*/ 242 h 251"/>
                <a:gd name="T114" fmla="*/ 151 w 268"/>
                <a:gd name="T115" fmla="*/ 248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68" h="251">
                  <a:moveTo>
                    <a:pt x="155" y="248"/>
                  </a:moveTo>
                  <a:lnTo>
                    <a:pt x="155" y="245"/>
                  </a:lnTo>
                  <a:lnTo>
                    <a:pt x="158" y="242"/>
                  </a:lnTo>
                  <a:lnTo>
                    <a:pt x="161" y="242"/>
                  </a:lnTo>
                  <a:lnTo>
                    <a:pt x="161" y="239"/>
                  </a:lnTo>
                  <a:lnTo>
                    <a:pt x="165" y="239"/>
                  </a:lnTo>
                  <a:lnTo>
                    <a:pt x="168" y="235"/>
                  </a:lnTo>
                  <a:lnTo>
                    <a:pt x="182" y="239"/>
                  </a:lnTo>
                  <a:lnTo>
                    <a:pt x="189" y="235"/>
                  </a:lnTo>
                  <a:lnTo>
                    <a:pt x="192" y="232"/>
                  </a:lnTo>
                  <a:lnTo>
                    <a:pt x="196" y="232"/>
                  </a:lnTo>
                  <a:lnTo>
                    <a:pt x="196" y="235"/>
                  </a:lnTo>
                  <a:lnTo>
                    <a:pt x="196" y="235"/>
                  </a:lnTo>
                  <a:lnTo>
                    <a:pt x="199" y="235"/>
                  </a:lnTo>
                  <a:lnTo>
                    <a:pt x="203" y="232"/>
                  </a:lnTo>
                  <a:lnTo>
                    <a:pt x="203" y="232"/>
                  </a:lnTo>
                  <a:lnTo>
                    <a:pt x="203" y="229"/>
                  </a:lnTo>
                  <a:lnTo>
                    <a:pt x="199" y="219"/>
                  </a:lnTo>
                  <a:lnTo>
                    <a:pt x="196" y="216"/>
                  </a:lnTo>
                  <a:lnTo>
                    <a:pt x="196" y="213"/>
                  </a:lnTo>
                  <a:lnTo>
                    <a:pt x="192" y="209"/>
                  </a:lnTo>
                  <a:lnTo>
                    <a:pt x="189" y="209"/>
                  </a:lnTo>
                  <a:lnTo>
                    <a:pt x="182" y="206"/>
                  </a:lnTo>
                  <a:lnTo>
                    <a:pt x="182" y="200"/>
                  </a:lnTo>
                  <a:lnTo>
                    <a:pt x="182" y="197"/>
                  </a:lnTo>
                  <a:lnTo>
                    <a:pt x="179" y="193"/>
                  </a:lnTo>
                  <a:lnTo>
                    <a:pt x="175" y="193"/>
                  </a:lnTo>
                  <a:lnTo>
                    <a:pt x="175" y="193"/>
                  </a:lnTo>
                  <a:lnTo>
                    <a:pt x="168" y="193"/>
                  </a:lnTo>
                  <a:lnTo>
                    <a:pt x="168" y="193"/>
                  </a:lnTo>
                  <a:lnTo>
                    <a:pt x="168" y="187"/>
                  </a:lnTo>
                  <a:lnTo>
                    <a:pt x="168" y="180"/>
                  </a:lnTo>
                  <a:lnTo>
                    <a:pt x="172" y="180"/>
                  </a:lnTo>
                  <a:lnTo>
                    <a:pt x="179" y="174"/>
                  </a:lnTo>
                  <a:lnTo>
                    <a:pt x="179" y="171"/>
                  </a:lnTo>
                  <a:lnTo>
                    <a:pt x="182" y="171"/>
                  </a:lnTo>
                  <a:lnTo>
                    <a:pt x="186" y="167"/>
                  </a:lnTo>
                  <a:lnTo>
                    <a:pt x="189" y="171"/>
                  </a:lnTo>
                  <a:lnTo>
                    <a:pt x="189" y="174"/>
                  </a:lnTo>
                  <a:lnTo>
                    <a:pt x="192" y="174"/>
                  </a:lnTo>
                  <a:lnTo>
                    <a:pt x="199" y="171"/>
                  </a:lnTo>
                  <a:lnTo>
                    <a:pt x="210" y="171"/>
                  </a:lnTo>
                  <a:lnTo>
                    <a:pt x="216" y="164"/>
                  </a:lnTo>
                  <a:lnTo>
                    <a:pt x="220" y="155"/>
                  </a:lnTo>
                  <a:lnTo>
                    <a:pt x="230" y="148"/>
                  </a:lnTo>
                  <a:lnTo>
                    <a:pt x="230" y="145"/>
                  </a:lnTo>
                  <a:lnTo>
                    <a:pt x="234" y="138"/>
                  </a:lnTo>
                  <a:lnTo>
                    <a:pt x="237" y="135"/>
                  </a:lnTo>
                  <a:lnTo>
                    <a:pt x="244" y="132"/>
                  </a:lnTo>
                  <a:lnTo>
                    <a:pt x="244" y="129"/>
                  </a:lnTo>
                  <a:lnTo>
                    <a:pt x="244" y="126"/>
                  </a:lnTo>
                  <a:lnTo>
                    <a:pt x="241" y="122"/>
                  </a:lnTo>
                  <a:lnTo>
                    <a:pt x="247" y="119"/>
                  </a:lnTo>
                  <a:lnTo>
                    <a:pt x="251" y="116"/>
                  </a:lnTo>
                  <a:lnTo>
                    <a:pt x="251" y="113"/>
                  </a:lnTo>
                  <a:lnTo>
                    <a:pt x="251" y="103"/>
                  </a:lnTo>
                  <a:lnTo>
                    <a:pt x="251" y="96"/>
                  </a:lnTo>
                  <a:lnTo>
                    <a:pt x="247" y="96"/>
                  </a:lnTo>
                  <a:lnTo>
                    <a:pt x="254" y="93"/>
                  </a:lnTo>
                  <a:lnTo>
                    <a:pt x="258" y="90"/>
                  </a:lnTo>
                  <a:lnTo>
                    <a:pt x="261" y="90"/>
                  </a:lnTo>
                  <a:lnTo>
                    <a:pt x="265" y="90"/>
                  </a:lnTo>
                  <a:lnTo>
                    <a:pt x="268" y="87"/>
                  </a:lnTo>
                  <a:lnTo>
                    <a:pt x="268" y="80"/>
                  </a:lnTo>
                  <a:lnTo>
                    <a:pt x="265" y="80"/>
                  </a:lnTo>
                  <a:lnTo>
                    <a:pt x="258" y="84"/>
                  </a:lnTo>
                  <a:lnTo>
                    <a:pt x="254" y="80"/>
                  </a:lnTo>
                  <a:lnTo>
                    <a:pt x="251" y="77"/>
                  </a:lnTo>
                  <a:lnTo>
                    <a:pt x="244" y="74"/>
                  </a:lnTo>
                  <a:lnTo>
                    <a:pt x="237" y="74"/>
                  </a:lnTo>
                  <a:lnTo>
                    <a:pt x="230" y="67"/>
                  </a:lnTo>
                  <a:lnTo>
                    <a:pt x="227" y="64"/>
                  </a:lnTo>
                  <a:lnTo>
                    <a:pt x="227" y="51"/>
                  </a:lnTo>
                  <a:lnTo>
                    <a:pt x="223" y="48"/>
                  </a:lnTo>
                  <a:lnTo>
                    <a:pt x="223" y="42"/>
                  </a:lnTo>
                  <a:lnTo>
                    <a:pt x="223" y="42"/>
                  </a:lnTo>
                  <a:lnTo>
                    <a:pt x="227" y="38"/>
                  </a:lnTo>
                  <a:lnTo>
                    <a:pt x="230" y="35"/>
                  </a:lnTo>
                  <a:lnTo>
                    <a:pt x="230" y="29"/>
                  </a:lnTo>
                  <a:lnTo>
                    <a:pt x="227" y="29"/>
                  </a:lnTo>
                  <a:lnTo>
                    <a:pt x="223" y="25"/>
                  </a:lnTo>
                  <a:lnTo>
                    <a:pt x="220" y="22"/>
                  </a:lnTo>
                  <a:lnTo>
                    <a:pt x="213" y="19"/>
                  </a:lnTo>
                  <a:lnTo>
                    <a:pt x="210" y="16"/>
                  </a:lnTo>
                  <a:lnTo>
                    <a:pt x="206" y="16"/>
                  </a:lnTo>
                  <a:lnTo>
                    <a:pt x="203" y="16"/>
                  </a:lnTo>
                  <a:lnTo>
                    <a:pt x="199" y="16"/>
                  </a:lnTo>
                  <a:lnTo>
                    <a:pt x="199" y="9"/>
                  </a:lnTo>
                  <a:lnTo>
                    <a:pt x="210" y="3"/>
                  </a:lnTo>
                  <a:lnTo>
                    <a:pt x="206" y="0"/>
                  </a:lnTo>
                  <a:lnTo>
                    <a:pt x="203" y="3"/>
                  </a:lnTo>
                  <a:lnTo>
                    <a:pt x="196" y="0"/>
                  </a:lnTo>
                  <a:lnTo>
                    <a:pt x="192" y="3"/>
                  </a:lnTo>
                  <a:lnTo>
                    <a:pt x="186" y="6"/>
                  </a:lnTo>
                  <a:lnTo>
                    <a:pt x="182" y="6"/>
                  </a:lnTo>
                  <a:lnTo>
                    <a:pt x="179" y="9"/>
                  </a:lnTo>
                  <a:lnTo>
                    <a:pt x="175" y="12"/>
                  </a:lnTo>
                  <a:lnTo>
                    <a:pt x="182" y="22"/>
                  </a:lnTo>
                  <a:lnTo>
                    <a:pt x="182" y="29"/>
                  </a:lnTo>
                  <a:lnTo>
                    <a:pt x="175" y="42"/>
                  </a:lnTo>
                  <a:lnTo>
                    <a:pt x="179" y="45"/>
                  </a:lnTo>
                  <a:lnTo>
                    <a:pt x="179" y="48"/>
                  </a:lnTo>
                  <a:lnTo>
                    <a:pt x="175" y="54"/>
                  </a:lnTo>
                  <a:lnTo>
                    <a:pt x="165" y="54"/>
                  </a:lnTo>
                  <a:lnTo>
                    <a:pt x="158" y="51"/>
                  </a:lnTo>
                  <a:lnTo>
                    <a:pt x="155" y="54"/>
                  </a:lnTo>
                  <a:lnTo>
                    <a:pt x="158" y="61"/>
                  </a:lnTo>
                  <a:lnTo>
                    <a:pt x="161" y="61"/>
                  </a:lnTo>
                  <a:lnTo>
                    <a:pt x="165" y="67"/>
                  </a:lnTo>
                  <a:lnTo>
                    <a:pt x="161" y="67"/>
                  </a:lnTo>
                  <a:lnTo>
                    <a:pt x="158" y="71"/>
                  </a:lnTo>
                  <a:lnTo>
                    <a:pt x="155" y="71"/>
                  </a:lnTo>
                  <a:lnTo>
                    <a:pt x="151" y="74"/>
                  </a:lnTo>
                  <a:lnTo>
                    <a:pt x="151" y="80"/>
                  </a:lnTo>
                  <a:lnTo>
                    <a:pt x="151" y="84"/>
                  </a:lnTo>
                  <a:lnTo>
                    <a:pt x="151" y="87"/>
                  </a:lnTo>
                  <a:lnTo>
                    <a:pt x="148" y="87"/>
                  </a:lnTo>
                  <a:lnTo>
                    <a:pt x="151" y="93"/>
                  </a:lnTo>
                  <a:lnTo>
                    <a:pt x="144" y="100"/>
                  </a:lnTo>
                  <a:lnTo>
                    <a:pt x="141" y="96"/>
                  </a:lnTo>
                  <a:lnTo>
                    <a:pt x="141" y="96"/>
                  </a:lnTo>
                  <a:lnTo>
                    <a:pt x="141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27" y="96"/>
                  </a:lnTo>
                  <a:lnTo>
                    <a:pt x="127" y="100"/>
                  </a:lnTo>
                  <a:lnTo>
                    <a:pt x="120" y="103"/>
                  </a:lnTo>
                  <a:lnTo>
                    <a:pt x="124" y="103"/>
                  </a:lnTo>
                  <a:lnTo>
                    <a:pt x="120" y="106"/>
                  </a:lnTo>
                  <a:lnTo>
                    <a:pt x="113" y="109"/>
                  </a:lnTo>
                  <a:lnTo>
                    <a:pt x="110" y="109"/>
                  </a:lnTo>
                  <a:lnTo>
                    <a:pt x="106" y="109"/>
                  </a:lnTo>
                  <a:lnTo>
                    <a:pt x="106" y="113"/>
                  </a:lnTo>
                  <a:lnTo>
                    <a:pt x="103" y="113"/>
                  </a:lnTo>
                  <a:lnTo>
                    <a:pt x="100" y="116"/>
                  </a:lnTo>
                  <a:lnTo>
                    <a:pt x="100" y="119"/>
                  </a:lnTo>
                  <a:lnTo>
                    <a:pt x="100" y="122"/>
                  </a:lnTo>
                  <a:lnTo>
                    <a:pt x="100" y="129"/>
                  </a:lnTo>
                  <a:lnTo>
                    <a:pt x="100" y="132"/>
                  </a:lnTo>
                  <a:lnTo>
                    <a:pt x="100" y="135"/>
                  </a:lnTo>
                  <a:lnTo>
                    <a:pt x="100" y="138"/>
                  </a:lnTo>
                  <a:lnTo>
                    <a:pt x="93" y="138"/>
                  </a:lnTo>
                  <a:lnTo>
                    <a:pt x="86" y="138"/>
                  </a:lnTo>
                  <a:lnTo>
                    <a:pt x="79" y="142"/>
                  </a:lnTo>
                  <a:lnTo>
                    <a:pt x="69" y="142"/>
                  </a:lnTo>
                  <a:lnTo>
                    <a:pt x="62" y="142"/>
                  </a:lnTo>
                  <a:lnTo>
                    <a:pt x="62" y="145"/>
                  </a:lnTo>
                  <a:lnTo>
                    <a:pt x="55" y="145"/>
                  </a:lnTo>
                  <a:lnTo>
                    <a:pt x="48" y="145"/>
                  </a:lnTo>
                  <a:lnTo>
                    <a:pt x="24" y="145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10" y="151"/>
                  </a:lnTo>
                  <a:lnTo>
                    <a:pt x="10" y="155"/>
                  </a:lnTo>
                  <a:lnTo>
                    <a:pt x="17" y="158"/>
                  </a:lnTo>
                  <a:lnTo>
                    <a:pt x="20" y="161"/>
                  </a:lnTo>
                  <a:lnTo>
                    <a:pt x="24" y="164"/>
                  </a:lnTo>
                  <a:lnTo>
                    <a:pt x="27" y="164"/>
                  </a:lnTo>
                  <a:lnTo>
                    <a:pt x="34" y="164"/>
                  </a:lnTo>
                  <a:lnTo>
                    <a:pt x="34" y="167"/>
                  </a:lnTo>
                  <a:lnTo>
                    <a:pt x="38" y="167"/>
                  </a:lnTo>
                  <a:lnTo>
                    <a:pt x="38" y="174"/>
                  </a:lnTo>
                  <a:lnTo>
                    <a:pt x="41" y="177"/>
                  </a:lnTo>
                  <a:lnTo>
                    <a:pt x="41" y="180"/>
                  </a:lnTo>
                  <a:lnTo>
                    <a:pt x="41" y="184"/>
                  </a:lnTo>
                  <a:lnTo>
                    <a:pt x="44" y="184"/>
                  </a:lnTo>
                  <a:lnTo>
                    <a:pt x="51" y="187"/>
                  </a:lnTo>
                  <a:lnTo>
                    <a:pt x="51" y="193"/>
                  </a:lnTo>
                  <a:lnTo>
                    <a:pt x="48" y="197"/>
                  </a:lnTo>
                  <a:lnTo>
                    <a:pt x="44" y="193"/>
                  </a:lnTo>
                  <a:lnTo>
                    <a:pt x="34" y="197"/>
                  </a:lnTo>
                  <a:lnTo>
                    <a:pt x="31" y="197"/>
                  </a:lnTo>
                  <a:lnTo>
                    <a:pt x="27" y="200"/>
                  </a:lnTo>
                  <a:lnTo>
                    <a:pt x="24" y="203"/>
                  </a:lnTo>
                  <a:lnTo>
                    <a:pt x="27" y="206"/>
                  </a:lnTo>
                  <a:lnTo>
                    <a:pt x="24" y="209"/>
                  </a:lnTo>
                  <a:lnTo>
                    <a:pt x="24" y="213"/>
                  </a:lnTo>
                  <a:lnTo>
                    <a:pt x="24" y="219"/>
                  </a:lnTo>
                  <a:lnTo>
                    <a:pt x="24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7" y="226"/>
                  </a:lnTo>
                  <a:lnTo>
                    <a:pt x="34" y="222"/>
                  </a:lnTo>
                  <a:lnTo>
                    <a:pt x="38" y="222"/>
                  </a:lnTo>
                  <a:lnTo>
                    <a:pt x="38" y="222"/>
                  </a:lnTo>
                  <a:lnTo>
                    <a:pt x="41" y="222"/>
                  </a:lnTo>
                  <a:lnTo>
                    <a:pt x="41" y="219"/>
                  </a:lnTo>
                  <a:lnTo>
                    <a:pt x="48" y="219"/>
                  </a:lnTo>
                  <a:lnTo>
                    <a:pt x="48" y="222"/>
                  </a:lnTo>
                  <a:lnTo>
                    <a:pt x="51" y="219"/>
                  </a:lnTo>
                  <a:lnTo>
                    <a:pt x="55" y="219"/>
                  </a:lnTo>
                  <a:lnTo>
                    <a:pt x="55" y="219"/>
                  </a:lnTo>
                  <a:lnTo>
                    <a:pt x="58" y="219"/>
                  </a:lnTo>
                  <a:lnTo>
                    <a:pt x="58" y="216"/>
                  </a:lnTo>
                  <a:lnTo>
                    <a:pt x="62" y="219"/>
                  </a:lnTo>
                  <a:lnTo>
                    <a:pt x="65" y="219"/>
                  </a:lnTo>
                  <a:lnTo>
                    <a:pt x="65" y="219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2" y="219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82" y="219"/>
                  </a:lnTo>
                  <a:lnTo>
                    <a:pt x="86" y="219"/>
                  </a:lnTo>
                  <a:lnTo>
                    <a:pt x="89" y="219"/>
                  </a:lnTo>
                  <a:lnTo>
                    <a:pt x="93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103" y="219"/>
                  </a:lnTo>
                  <a:lnTo>
                    <a:pt x="106" y="216"/>
                  </a:lnTo>
                  <a:lnTo>
                    <a:pt x="113" y="216"/>
                  </a:lnTo>
                  <a:lnTo>
                    <a:pt x="117" y="219"/>
                  </a:lnTo>
                  <a:lnTo>
                    <a:pt x="120" y="222"/>
                  </a:lnTo>
                  <a:lnTo>
                    <a:pt x="120" y="226"/>
                  </a:lnTo>
                  <a:lnTo>
                    <a:pt x="120" y="226"/>
                  </a:lnTo>
                  <a:lnTo>
                    <a:pt x="117" y="226"/>
                  </a:lnTo>
                  <a:lnTo>
                    <a:pt x="120" y="229"/>
                  </a:lnTo>
                  <a:lnTo>
                    <a:pt x="120" y="229"/>
                  </a:lnTo>
                  <a:lnTo>
                    <a:pt x="127" y="226"/>
                  </a:lnTo>
                  <a:lnTo>
                    <a:pt x="127" y="229"/>
                  </a:lnTo>
                  <a:lnTo>
                    <a:pt x="130" y="232"/>
                  </a:lnTo>
                  <a:lnTo>
                    <a:pt x="134" y="239"/>
                  </a:lnTo>
                  <a:lnTo>
                    <a:pt x="134" y="239"/>
                  </a:lnTo>
                  <a:lnTo>
                    <a:pt x="134" y="242"/>
                  </a:lnTo>
                  <a:lnTo>
                    <a:pt x="130" y="242"/>
                  </a:lnTo>
                  <a:lnTo>
                    <a:pt x="134" y="242"/>
                  </a:lnTo>
                  <a:lnTo>
                    <a:pt x="134" y="242"/>
                  </a:lnTo>
                  <a:lnTo>
                    <a:pt x="137" y="245"/>
                  </a:lnTo>
                  <a:lnTo>
                    <a:pt x="141" y="245"/>
                  </a:lnTo>
                  <a:lnTo>
                    <a:pt x="144" y="245"/>
                  </a:lnTo>
                  <a:lnTo>
                    <a:pt x="151" y="248"/>
                  </a:lnTo>
                  <a:lnTo>
                    <a:pt x="151" y="251"/>
                  </a:lnTo>
                  <a:lnTo>
                    <a:pt x="155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5" name="Freeform 36"/>
            <p:cNvSpPr>
              <a:spLocks/>
            </p:cNvSpPr>
            <p:nvPr/>
          </p:nvSpPr>
          <p:spPr bwMode="auto">
            <a:xfrm>
              <a:off x="8412163" y="3570942"/>
              <a:ext cx="223838" cy="158750"/>
            </a:xfrm>
            <a:custGeom>
              <a:avLst/>
              <a:gdLst>
                <a:gd name="T0" fmla="*/ 73 w 141"/>
                <a:gd name="T1" fmla="*/ 97 h 100"/>
                <a:gd name="T2" fmla="*/ 83 w 141"/>
                <a:gd name="T3" fmla="*/ 84 h 100"/>
                <a:gd name="T4" fmla="*/ 90 w 141"/>
                <a:gd name="T5" fmla="*/ 80 h 100"/>
                <a:gd name="T6" fmla="*/ 104 w 141"/>
                <a:gd name="T7" fmla="*/ 87 h 100"/>
                <a:gd name="T8" fmla="*/ 114 w 141"/>
                <a:gd name="T9" fmla="*/ 87 h 100"/>
                <a:gd name="T10" fmla="*/ 121 w 141"/>
                <a:gd name="T11" fmla="*/ 90 h 100"/>
                <a:gd name="T12" fmla="*/ 134 w 141"/>
                <a:gd name="T13" fmla="*/ 90 h 100"/>
                <a:gd name="T14" fmla="*/ 138 w 141"/>
                <a:gd name="T15" fmla="*/ 93 h 100"/>
                <a:gd name="T16" fmla="*/ 141 w 141"/>
                <a:gd name="T17" fmla="*/ 84 h 100"/>
                <a:gd name="T18" fmla="*/ 134 w 141"/>
                <a:gd name="T19" fmla="*/ 74 h 100"/>
                <a:gd name="T20" fmla="*/ 131 w 141"/>
                <a:gd name="T21" fmla="*/ 61 h 100"/>
                <a:gd name="T22" fmla="*/ 121 w 141"/>
                <a:gd name="T23" fmla="*/ 51 h 100"/>
                <a:gd name="T24" fmla="*/ 114 w 141"/>
                <a:gd name="T25" fmla="*/ 38 h 100"/>
                <a:gd name="T26" fmla="*/ 100 w 141"/>
                <a:gd name="T27" fmla="*/ 35 h 100"/>
                <a:gd name="T28" fmla="*/ 93 w 141"/>
                <a:gd name="T29" fmla="*/ 29 h 100"/>
                <a:gd name="T30" fmla="*/ 79 w 141"/>
                <a:gd name="T31" fmla="*/ 29 h 100"/>
                <a:gd name="T32" fmla="*/ 73 w 141"/>
                <a:gd name="T33" fmla="*/ 25 h 100"/>
                <a:gd name="T34" fmla="*/ 69 w 141"/>
                <a:gd name="T35" fmla="*/ 19 h 100"/>
                <a:gd name="T36" fmla="*/ 59 w 141"/>
                <a:gd name="T37" fmla="*/ 3 h 100"/>
                <a:gd name="T38" fmla="*/ 52 w 141"/>
                <a:gd name="T39" fmla="*/ 0 h 100"/>
                <a:gd name="T40" fmla="*/ 48 w 141"/>
                <a:gd name="T41" fmla="*/ 3 h 100"/>
                <a:gd name="T42" fmla="*/ 42 w 141"/>
                <a:gd name="T43" fmla="*/ 3 h 100"/>
                <a:gd name="T44" fmla="*/ 38 w 141"/>
                <a:gd name="T45" fmla="*/ 0 h 100"/>
                <a:gd name="T46" fmla="*/ 35 w 141"/>
                <a:gd name="T47" fmla="*/ 3 h 100"/>
                <a:gd name="T48" fmla="*/ 21 w 141"/>
                <a:gd name="T49" fmla="*/ 13 h 100"/>
                <a:gd name="T50" fmla="*/ 11 w 141"/>
                <a:gd name="T51" fmla="*/ 16 h 100"/>
                <a:gd name="T52" fmla="*/ 0 w 141"/>
                <a:gd name="T53" fmla="*/ 29 h 100"/>
                <a:gd name="T54" fmla="*/ 7 w 141"/>
                <a:gd name="T55" fmla="*/ 29 h 100"/>
                <a:gd name="T56" fmla="*/ 14 w 141"/>
                <a:gd name="T57" fmla="*/ 32 h 100"/>
                <a:gd name="T58" fmla="*/ 24 w 141"/>
                <a:gd name="T59" fmla="*/ 38 h 100"/>
                <a:gd name="T60" fmla="*/ 31 w 141"/>
                <a:gd name="T61" fmla="*/ 42 h 100"/>
                <a:gd name="T62" fmla="*/ 28 w 141"/>
                <a:gd name="T63" fmla="*/ 51 h 100"/>
                <a:gd name="T64" fmla="*/ 24 w 141"/>
                <a:gd name="T65" fmla="*/ 55 h 100"/>
                <a:gd name="T66" fmla="*/ 28 w 141"/>
                <a:gd name="T67" fmla="*/ 64 h 100"/>
                <a:gd name="T68" fmla="*/ 31 w 141"/>
                <a:gd name="T69" fmla="*/ 80 h 100"/>
                <a:gd name="T70" fmla="*/ 45 w 141"/>
                <a:gd name="T71" fmla="*/ 87 h 100"/>
                <a:gd name="T72" fmla="*/ 55 w 141"/>
                <a:gd name="T73" fmla="*/ 93 h 100"/>
                <a:gd name="T74" fmla="*/ 66 w 141"/>
                <a:gd name="T75" fmla="*/ 93 h 100"/>
                <a:gd name="T76" fmla="*/ 69 w 141"/>
                <a:gd name="T77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1" h="100">
                  <a:moveTo>
                    <a:pt x="69" y="100"/>
                  </a:moveTo>
                  <a:lnTo>
                    <a:pt x="73" y="97"/>
                  </a:lnTo>
                  <a:lnTo>
                    <a:pt x="76" y="90"/>
                  </a:lnTo>
                  <a:lnTo>
                    <a:pt x="83" y="84"/>
                  </a:lnTo>
                  <a:lnTo>
                    <a:pt x="86" y="84"/>
                  </a:lnTo>
                  <a:lnTo>
                    <a:pt x="90" y="80"/>
                  </a:lnTo>
                  <a:lnTo>
                    <a:pt x="93" y="80"/>
                  </a:lnTo>
                  <a:lnTo>
                    <a:pt x="104" y="87"/>
                  </a:lnTo>
                  <a:lnTo>
                    <a:pt x="110" y="84"/>
                  </a:lnTo>
                  <a:lnTo>
                    <a:pt x="114" y="87"/>
                  </a:lnTo>
                  <a:lnTo>
                    <a:pt x="117" y="90"/>
                  </a:lnTo>
                  <a:lnTo>
                    <a:pt x="121" y="90"/>
                  </a:lnTo>
                  <a:lnTo>
                    <a:pt x="131" y="93"/>
                  </a:lnTo>
                  <a:lnTo>
                    <a:pt x="134" y="90"/>
                  </a:lnTo>
                  <a:lnTo>
                    <a:pt x="138" y="90"/>
                  </a:lnTo>
                  <a:lnTo>
                    <a:pt x="138" y="93"/>
                  </a:lnTo>
                  <a:lnTo>
                    <a:pt x="141" y="90"/>
                  </a:lnTo>
                  <a:lnTo>
                    <a:pt x="141" y="84"/>
                  </a:lnTo>
                  <a:lnTo>
                    <a:pt x="138" y="77"/>
                  </a:lnTo>
                  <a:lnTo>
                    <a:pt x="134" y="74"/>
                  </a:lnTo>
                  <a:lnTo>
                    <a:pt x="131" y="67"/>
                  </a:lnTo>
                  <a:lnTo>
                    <a:pt x="131" y="61"/>
                  </a:lnTo>
                  <a:lnTo>
                    <a:pt x="128" y="55"/>
                  </a:lnTo>
                  <a:lnTo>
                    <a:pt x="121" y="51"/>
                  </a:lnTo>
                  <a:lnTo>
                    <a:pt x="117" y="48"/>
                  </a:lnTo>
                  <a:lnTo>
                    <a:pt x="114" y="38"/>
                  </a:lnTo>
                  <a:lnTo>
                    <a:pt x="107" y="38"/>
                  </a:lnTo>
                  <a:lnTo>
                    <a:pt x="100" y="35"/>
                  </a:lnTo>
                  <a:lnTo>
                    <a:pt x="97" y="32"/>
                  </a:lnTo>
                  <a:lnTo>
                    <a:pt x="93" y="29"/>
                  </a:lnTo>
                  <a:lnTo>
                    <a:pt x="86" y="29"/>
                  </a:lnTo>
                  <a:lnTo>
                    <a:pt x="79" y="29"/>
                  </a:lnTo>
                  <a:lnTo>
                    <a:pt x="76" y="29"/>
                  </a:lnTo>
                  <a:lnTo>
                    <a:pt x="73" y="25"/>
                  </a:lnTo>
                  <a:lnTo>
                    <a:pt x="73" y="22"/>
                  </a:lnTo>
                  <a:lnTo>
                    <a:pt x="69" y="19"/>
                  </a:lnTo>
                  <a:lnTo>
                    <a:pt x="59" y="6"/>
                  </a:lnTo>
                  <a:lnTo>
                    <a:pt x="59" y="3"/>
                  </a:lnTo>
                  <a:lnTo>
                    <a:pt x="55" y="0"/>
                  </a:lnTo>
                  <a:lnTo>
                    <a:pt x="52" y="0"/>
                  </a:lnTo>
                  <a:lnTo>
                    <a:pt x="48" y="0"/>
                  </a:lnTo>
                  <a:lnTo>
                    <a:pt x="48" y="3"/>
                  </a:lnTo>
                  <a:lnTo>
                    <a:pt x="45" y="3"/>
                  </a:lnTo>
                  <a:lnTo>
                    <a:pt x="42" y="3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1" y="9"/>
                  </a:lnTo>
                  <a:lnTo>
                    <a:pt x="21" y="13"/>
                  </a:lnTo>
                  <a:lnTo>
                    <a:pt x="7" y="13"/>
                  </a:lnTo>
                  <a:lnTo>
                    <a:pt x="11" y="16"/>
                  </a:lnTo>
                  <a:lnTo>
                    <a:pt x="0" y="22"/>
                  </a:lnTo>
                  <a:lnTo>
                    <a:pt x="0" y="29"/>
                  </a:lnTo>
                  <a:lnTo>
                    <a:pt x="4" y="29"/>
                  </a:lnTo>
                  <a:lnTo>
                    <a:pt x="7" y="29"/>
                  </a:lnTo>
                  <a:lnTo>
                    <a:pt x="11" y="29"/>
                  </a:lnTo>
                  <a:lnTo>
                    <a:pt x="14" y="32"/>
                  </a:lnTo>
                  <a:lnTo>
                    <a:pt x="21" y="35"/>
                  </a:lnTo>
                  <a:lnTo>
                    <a:pt x="24" y="38"/>
                  </a:lnTo>
                  <a:lnTo>
                    <a:pt x="28" y="42"/>
                  </a:lnTo>
                  <a:lnTo>
                    <a:pt x="31" y="42"/>
                  </a:lnTo>
                  <a:lnTo>
                    <a:pt x="31" y="48"/>
                  </a:lnTo>
                  <a:lnTo>
                    <a:pt x="28" y="51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61"/>
                  </a:lnTo>
                  <a:lnTo>
                    <a:pt x="28" y="64"/>
                  </a:lnTo>
                  <a:lnTo>
                    <a:pt x="28" y="77"/>
                  </a:lnTo>
                  <a:lnTo>
                    <a:pt x="31" y="80"/>
                  </a:lnTo>
                  <a:lnTo>
                    <a:pt x="38" y="87"/>
                  </a:lnTo>
                  <a:lnTo>
                    <a:pt x="45" y="87"/>
                  </a:lnTo>
                  <a:lnTo>
                    <a:pt x="52" y="90"/>
                  </a:lnTo>
                  <a:lnTo>
                    <a:pt x="55" y="93"/>
                  </a:lnTo>
                  <a:lnTo>
                    <a:pt x="59" y="97"/>
                  </a:lnTo>
                  <a:lnTo>
                    <a:pt x="66" y="93"/>
                  </a:lnTo>
                  <a:lnTo>
                    <a:pt x="69" y="93"/>
                  </a:lnTo>
                  <a:lnTo>
                    <a:pt x="69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6" name="Freeform 37"/>
            <p:cNvSpPr>
              <a:spLocks/>
            </p:cNvSpPr>
            <p:nvPr/>
          </p:nvSpPr>
          <p:spPr bwMode="auto">
            <a:xfrm>
              <a:off x="8062913" y="3534430"/>
              <a:ext cx="409575" cy="287337"/>
            </a:xfrm>
            <a:custGeom>
              <a:avLst/>
              <a:gdLst>
                <a:gd name="T0" fmla="*/ 237 w 258"/>
                <a:gd name="T1" fmla="*/ 16 h 181"/>
                <a:gd name="T2" fmla="*/ 248 w 258"/>
                <a:gd name="T3" fmla="*/ 16 h 181"/>
                <a:gd name="T4" fmla="*/ 251 w 258"/>
                <a:gd name="T5" fmla="*/ 26 h 181"/>
                <a:gd name="T6" fmla="*/ 241 w 258"/>
                <a:gd name="T7" fmla="*/ 36 h 181"/>
                <a:gd name="T8" fmla="*/ 213 w 258"/>
                <a:gd name="T9" fmla="*/ 39 h 181"/>
                <a:gd name="T10" fmla="*/ 200 w 258"/>
                <a:gd name="T11" fmla="*/ 45 h 181"/>
                <a:gd name="T12" fmla="*/ 203 w 258"/>
                <a:gd name="T13" fmla="*/ 65 h 181"/>
                <a:gd name="T14" fmla="*/ 200 w 258"/>
                <a:gd name="T15" fmla="*/ 84 h 181"/>
                <a:gd name="T16" fmla="*/ 179 w 258"/>
                <a:gd name="T17" fmla="*/ 87 h 181"/>
                <a:gd name="T18" fmla="*/ 182 w 258"/>
                <a:gd name="T19" fmla="*/ 97 h 181"/>
                <a:gd name="T20" fmla="*/ 179 w 258"/>
                <a:gd name="T21" fmla="*/ 107 h 181"/>
                <a:gd name="T22" fmla="*/ 172 w 258"/>
                <a:gd name="T23" fmla="*/ 116 h 181"/>
                <a:gd name="T24" fmla="*/ 169 w 258"/>
                <a:gd name="T25" fmla="*/ 123 h 181"/>
                <a:gd name="T26" fmla="*/ 162 w 258"/>
                <a:gd name="T27" fmla="*/ 132 h 181"/>
                <a:gd name="T28" fmla="*/ 155 w 258"/>
                <a:gd name="T29" fmla="*/ 132 h 181"/>
                <a:gd name="T30" fmla="*/ 148 w 258"/>
                <a:gd name="T31" fmla="*/ 136 h 181"/>
                <a:gd name="T32" fmla="*/ 141 w 258"/>
                <a:gd name="T33" fmla="*/ 142 h 181"/>
                <a:gd name="T34" fmla="*/ 127 w 258"/>
                <a:gd name="T35" fmla="*/ 145 h 181"/>
                <a:gd name="T36" fmla="*/ 121 w 258"/>
                <a:gd name="T37" fmla="*/ 152 h 181"/>
                <a:gd name="T38" fmla="*/ 121 w 258"/>
                <a:gd name="T39" fmla="*/ 165 h 181"/>
                <a:gd name="T40" fmla="*/ 121 w 258"/>
                <a:gd name="T41" fmla="*/ 174 h 181"/>
                <a:gd name="T42" fmla="*/ 100 w 258"/>
                <a:gd name="T43" fmla="*/ 178 h 181"/>
                <a:gd name="T44" fmla="*/ 83 w 258"/>
                <a:gd name="T45" fmla="*/ 181 h 181"/>
                <a:gd name="T46" fmla="*/ 45 w 258"/>
                <a:gd name="T47" fmla="*/ 181 h 181"/>
                <a:gd name="T48" fmla="*/ 35 w 258"/>
                <a:gd name="T49" fmla="*/ 158 h 181"/>
                <a:gd name="T50" fmla="*/ 31 w 258"/>
                <a:gd name="T51" fmla="*/ 139 h 181"/>
                <a:gd name="T52" fmla="*/ 10 w 258"/>
                <a:gd name="T53" fmla="*/ 132 h 181"/>
                <a:gd name="T54" fmla="*/ 4 w 258"/>
                <a:gd name="T55" fmla="*/ 113 h 181"/>
                <a:gd name="T56" fmla="*/ 10 w 258"/>
                <a:gd name="T57" fmla="*/ 103 h 181"/>
                <a:gd name="T58" fmla="*/ 4 w 258"/>
                <a:gd name="T59" fmla="*/ 90 h 181"/>
                <a:gd name="T60" fmla="*/ 4 w 258"/>
                <a:gd name="T61" fmla="*/ 84 h 181"/>
                <a:gd name="T62" fmla="*/ 10 w 258"/>
                <a:gd name="T63" fmla="*/ 78 h 181"/>
                <a:gd name="T64" fmla="*/ 7 w 258"/>
                <a:gd name="T65" fmla="*/ 71 h 181"/>
                <a:gd name="T66" fmla="*/ 10 w 258"/>
                <a:gd name="T67" fmla="*/ 65 h 181"/>
                <a:gd name="T68" fmla="*/ 14 w 258"/>
                <a:gd name="T69" fmla="*/ 65 h 181"/>
                <a:gd name="T70" fmla="*/ 24 w 258"/>
                <a:gd name="T71" fmla="*/ 65 h 181"/>
                <a:gd name="T72" fmla="*/ 31 w 258"/>
                <a:gd name="T73" fmla="*/ 68 h 181"/>
                <a:gd name="T74" fmla="*/ 41 w 258"/>
                <a:gd name="T75" fmla="*/ 68 h 181"/>
                <a:gd name="T76" fmla="*/ 48 w 258"/>
                <a:gd name="T77" fmla="*/ 61 h 181"/>
                <a:gd name="T78" fmla="*/ 59 w 258"/>
                <a:gd name="T79" fmla="*/ 55 h 181"/>
                <a:gd name="T80" fmla="*/ 65 w 258"/>
                <a:gd name="T81" fmla="*/ 48 h 181"/>
                <a:gd name="T82" fmla="*/ 72 w 258"/>
                <a:gd name="T83" fmla="*/ 36 h 181"/>
                <a:gd name="T84" fmla="*/ 72 w 258"/>
                <a:gd name="T85" fmla="*/ 29 h 181"/>
                <a:gd name="T86" fmla="*/ 79 w 258"/>
                <a:gd name="T87" fmla="*/ 26 h 181"/>
                <a:gd name="T88" fmla="*/ 93 w 258"/>
                <a:gd name="T89" fmla="*/ 23 h 181"/>
                <a:gd name="T90" fmla="*/ 103 w 258"/>
                <a:gd name="T91" fmla="*/ 26 h 181"/>
                <a:gd name="T92" fmla="*/ 114 w 258"/>
                <a:gd name="T93" fmla="*/ 29 h 181"/>
                <a:gd name="T94" fmla="*/ 124 w 258"/>
                <a:gd name="T95" fmla="*/ 26 h 181"/>
                <a:gd name="T96" fmla="*/ 138 w 258"/>
                <a:gd name="T97" fmla="*/ 29 h 181"/>
                <a:gd name="T98" fmla="*/ 145 w 258"/>
                <a:gd name="T99" fmla="*/ 26 h 181"/>
                <a:gd name="T100" fmla="*/ 151 w 258"/>
                <a:gd name="T101" fmla="*/ 26 h 181"/>
                <a:gd name="T102" fmla="*/ 158 w 258"/>
                <a:gd name="T103" fmla="*/ 23 h 181"/>
                <a:gd name="T104" fmla="*/ 162 w 258"/>
                <a:gd name="T105" fmla="*/ 19 h 181"/>
                <a:gd name="T106" fmla="*/ 169 w 258"/>
                <a:gd name="T107" fmla="*/ 19 h 181"/>
                <a:gd name="T108" fmla="*/ 172 w 258"/>
                <a:gd name="T109" fmla="*/ 10 h 181"/>
                <a:gd name="T110" fmla="*/ 179 w 258"/>
                <a:gd name="T111" fmla="*/ 0 h 181"/>
                <a:gd name="T112" fmla="*/ 189 w 258"/>
                <a:gd name="T113" fmla="*/ 3 h 181"/>
                <a:gd name="T114" fmla="*/ 189 w 258"/>
                <a:gd name="T115" fmla="*/ 13 h 181"/>
                <a:gd name="T116" fmla="*/ 193 w 258"/>
                <a:gd name="T117" fmla="*/ 19 h 181"/>
                <a:gd name="T118" fmla="*/ 196 w 258"/>
                <a:gd name="T119" fmla="*/ 32 h 181"/>
                <a:gd name="T120" fmla="*/ 207 w 258"/>
                <a:gd name="T121" fmla="*/ 36 h 181"/>
                <a:gd name="T122" fmla="*/ 217 w 258"/>
                <a:gd name="T123" fmla="*/ 29 h 181"/>
                <a:gd name="T124" fmla="*/ 224 w 258"/>
                <a:gd name="T125" fmla="*/ 23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" h="181">
                  <a:moveTo>
                    <a:pt x="224" y="23"/>
                  </a:moveTo>
                  <a:lnTo>
                    <a:pt x="231" y="19"/>
                  </a:lnTo>
                  <a:lnTo>
                    <a:pt x="237" y="16"/>
                  </a:lnTo>
                  <a:lnTo>
                    <a:pt x="237" y="19"/>
                  </a:lnTo>
                  <a:lnTo>
                    <a:pt x="244" y="19"/>
                  </a:lnTo>
                  <a:lnTo>
                    <a:pt x="248" y="16"/>
                  </a:lnTo>
                  <a:lnTo>
                    <a:pt x="258" y="16"/>
                  </a:lnTo>
                  <a:lnTo>
                    <a:pt x="258" y="19"/>
                  </a:lnTo>
                  <a:lnTo>
                    <a:pt x="251" y="26"/>
                  </a:lnTo>
                  <a:lnTo>
                    <a:pt x="255" y="26"/>
                  </a:lnTo>
                  <a:lnTo>
                    <a:pt x="251" y="32"/>
                  </a:lnTo>
                  <a:lnTo>
                    <a:pt x="241" y="36"/>
                  </a:lnTo>
                  <a:lnTo>
                    <a:pt x="224" y="39"/>
                  </a:lnTo>
                  <a:lnTo>
                    <a:pt x="217" y="36"/>
                  </a:lnTo>
                  <a:lnTo>
                    <a:pt x="213" y="39"/>
                  </a:lnTo>
                  <a:lnTo>
                    <a:pt x="207" y="42"/>
                  </a:lnTo>
                  <a:lnTo>
                    <a:pt x="203" y="42"/>
                  </a:lnTo>
                  <a:lnTo>
                    <a:pt x="200" y="45"/>
                  </a:lnTo>
                  <a:lnTo>
                    <a:pt x="196" y="48"/>
                  </a:lnTo>
                  <a:lnTo>
                    <a:pt x="203" y="58"/>
                  </a:lnTo>
                  <a:lnTo>
                    <a:pt x="203" y="65"/>
                  </a:lnTo>
                  <a:lnTo>
                    <a:pt x="196" y="78"/>
                  </a:lnTo>
                  <a:lnTo>
                    <a:pt x="200" y="81"/>
                  </a:lnTo>
                  <a:lnTo>
                    <a:pt x="200" y="84"/>
                  </a:lnTo>
                  <a:lnTo>
                    <a:pt x="196" y="90"/>
                  </a:lnTo>
                  <a:lnTo>
                    <a:pt x="186" y="90"/>
                  </a:lnTo>
                  <a:lnTo>
                    <a:pt x="179" y="87"/>
                  </a:lnTo>
                  <a:lnTo>
                    <a:pt x="176" y="90"/>
                  </a:lnTo>
                  <a:lnTo>
                    <a:pt x="179" y="97"/>
                  </a:lnTo>
                  <a:lnTo>
                    <a:pt x="182" y="97"/>
                  </a:lnTo>
                  <a:lnTo>
                    <a:pt x="186" y="103"/>
                  </a:lnTo>
                  <a:lnTo>
                    <a:pt x="182" y="103"/>
                  </a:lnTo>
                  <a:lnTo>
                    <a:pt x="179" y="107"/>
                  </a:lnTo>
                  <a:lnTo>
                    <a:pt x="176" y="107"/>
                  </a:lnTo>
                  <a:lnTo>
                    <a:pt x="172" y="110"/>
                  </a:lnTo>
                  <a:lnTo>
                    <a:pt x="172" y="116"/>
                  </a:lnTo>
                  <a:lnTo>
                    <a:pt x="172" y="120"/>
                  </a:lnTo>
                  <a:lnTo>
                    <a:pt x="172" y="123"/>
                  </a:lnTo>
                  <a:lnTo>
                    <a:pt x="169" y="123"/>
                  </a:lnTo>
                  <a:lnTo>
                    <a:pt x="172" y="129"/>
                  </a:lnTo>
                  <a:lnTo>
                    <a:pt x="165" y="136"/>
                  </a:lnTo>
                  <a:lnTo>
                    <a:pt x="162" y="132"/>
                  </a:lnTo>
                  <a:lnTo>
                    <a:pt x="162" y="132"/>
                  </a:lnTo>
                  <a:lnTo>
                    <a:pt x="162" y="132"/>
                  </a:lnTo>
                  <a:lnTo>
                    <a:pt x="155" y="132"/>
                  </a:lnTo>
                  <a:lnTo>
                    <a:pt x="155" y="132"/>
                  </a:lnTo>
                  <a:lnTo>
                    <a:pt x="148" y="132"/>
                  </a:lnTo>
                  <a:lnTo>
                    <a:pt x="148" y="136"/>
                  </a:lnTo>
                  <a:lnTo>
                    <a:pt x="141" y="139"/>
                  </a:lnTo>
                  <a:lnTo>
                    <a:pt x="145" y="139"/>
                  </a:lnTo>
                  <a:lnTo>
                    <a:pt x="141" y="142"/>
                  </a:lnTo>
                  <a:lnTo>
                    <a:pt x="134" y="145"/>
                  </a:lnTo>
                  <a:lnTo>
                    <a:pt x="131" y="145"/>
                  </a:lnTo>
                  <a:lnTo>
                    <a:pt x="127" y="145"/>
                  </a:lnTo>
                  <a:lnTo>
                    <a:pt x="127" y="149"/>
                  </a:lnTo>
                  <a:lnTo>
                    <a:pt x="124" y="149"/>
                  </a:lnTo>
                  <a:lnTo>
                    <a:pt x="121" y="152"/>
                  </a:lnTo>
                  <a:lnTo>
                    <a:pt x="121" y="155"/>
                  </a:lnTo>
                  <a:lnTo>
                    <a:pt x="121" y="158"/>
                  </a:lnTo>
                  <a:lnTo>
                    <a:pt x="121" y="165"/>
                  </a:lnTo>
                  <a:lnTo>
                    <a:pt x="121" y="168"/>
                  </a:lnTo>
                  <a:lnTo>
                    <a:pt x="121" y="171"/>
                  </a:lnTo>
                  <a:lnTo>
                    <a:pt x="121" y="174"/>
                  </a:lnTo>
                  <a:lnTo>
                    <a:pt x="114" y="174"/>
                  </a:lnTo>
                  <a:lnTo>
                    <a:pt x="107" y="174"/>
                  </a:lnTo>
                  <a:lnTo>
                    <a:pt x="100" y="178"/>
                  </a:lnTo>
                  <a:lnTo>
                    <a:pt x="90" y="178"/>
                  </a:lnTo>
                  <a:lnTo>
                    <a:pt x="83" y="178"/>
                  </a:lnTo>
                  <a:lnTo>
                    <a:pt x="83" y="181"/>
                  </a:lnTo>
                  <a:lnTo>
                    <a:pt x="76" y="181"/>
                  </a:lnTo>
                  <a:lnTo>
                    <a:pt x="69" y="181"/>
                  </a:lnTo>
                  <a:lnTo>
                    <a:pt x="45" y="181"/>
                  </a:lnTo>
                  <a:lnTo>
                    <a:pt x="21" y="174"/>
                  </a:lnTo>
                  <a:lnTo>
                    <a:pt x="35" y="158"/>
                  </a:lnTo>
                  <a:lnTo>
                    <a:pt x="35" y="158"/>
                  </a:lnTo>
                  <a:lnTo>
                    <a:pt x="35" y="152"/>
                  </a:lnTo>
                  <a:lnTo>
                    <a:pt x="35" y="145"/>
                  </a:lnTo>
                  <a:lnTo>
                    <a:pt x="31" y="139"/>
                  </a:lnTo>
                  <a:lnTo>
                    <a:pt x="14" y="139"/>
                  </a:lnTo>
                  <a:lnTo>
                    <a:pt x="14" y="132"/>
                  </a:lnTo>
                  <a:lnTo>
                    <a:pt x="10" y="132"/>
                  </a:lnTo>
                  <a:lnTo>
                    <a:pt x="14" y="129"/>
                  </a:lnTo>
                  <a:lnTo>
                    <a:pt x="10" y="120"/>
                  </a:lnTo>
                  <a:lnTo>
                    <a:pt x="4" y="113"/>
                  </a:lnTo>
                  <a:lnTo>
                    <a:pt x="7" y="107"/>
                  </a:lnTo>
                  <a:lnTo>
                    <a:pt x="10" y="103"/>
                  </a:lnTo>
                  <a:lnTo>
                    <a:pt x="10" y="103"/>
                  </a:lnTo>
                  <a:lnTo>
                    <a:pt x="4" y="100"/>
                  </a:lnTo>
                  <a:lnTo>
                    <a:pt x="4" y="97"/>
                  </a:lnTo>
                  <a:lnTo>
                    <a:pt x="4" y="90"/>
                  </a:lnTo>
                  <a:lnTo>
                    <a:pt x="0" y="90"/>
                  </a:lnTo>
                  <a:lnTo>
                    <a:pt x="7" y="87"/>
                  </a:lnTo>
                  <a:lnTo>
                    <a:pt x="4" y="84"/>
                  </a:lnTo>
                  <a:lnTo>
                    <a:pt x="0" y="81"/>
                  </a:lnTo>
                  <a:lnTo>
                    <a:pt x="4" y="81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0" y="74"/>
                  </a:lnTo>
                  <a:lnTo>
                    <a:pt x="7" y="71"/>
                  </a:lnTo>
                  <a:lnTo>
                    <a:pt x="10" y="71"/>
                  </a:lnTo>
                  <a:lnTo>
                    <a:pt x="10" y="68"/>
                  </a:lnTo>
                  <a:lnTo>
                    <a:pt x="10" y="65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4" y="65"/>
                  </a:lnTo>
                  <a:lnTo>
                    <a:pt x="17" y="65"/>
                  </a:lnTo>
                  <a:lnTo>
                    <a:pt x="21" y="65"/>
                  </a:lnTo>
                  <a:lnTo>
                    <a:pt x="24" y="65"/>
                  </a:lnTo>
                  <a:lnTo>
                    <a:pt x="28" y="65"/>
                  </a:lnTo>
                  <a:lnTo>
                    <a:pt x="31" y="65"/>
                  </a:lnTo>
                  <a:lnTo>
                    <a:pt x="31" y="68"/>
                  </a:lnTo>
                  <a:lnTo>
                    <a:pt x="35" y="68"/>
                  </a:lnTo>
                  <a:lnTo>
                    <a:pt x="38" y="68"/>
                  </a:lnTo>
                  <a:lnTo>
                    <a:pt x="41" y="68"/>
                  </a:lnTo>
                  <a:lnTo>
                    <a:pt x="45" y="65"/>
                  </a:lnTo>
                  <a:lnTo>
                    <a:pt x="45" y="61"/>
                  </a:lnTo>
                  <a:lnTo>
                    <a:pt x="48" y="61"/>
                  </a:lnTo>
                  <a:lnTo>
                    <a:pt x="48" y="58"/>
                  </a:lnTo>
                  <a:lnTo>
                    <a:pt x="52" y="55"/>
                  </a:lnTo>
                  <a:lnTo>
                    <a:pt x="59" y="55"/>
                  </a:lnTo>
                  <a:lnTo>
                    <a:pt x="62" y="52"/>
                  </a:lnTo>
                  <a:lnTo>
                    <a:pt x="65" y="52"/>
                  </a:lnTo>
                  <a:lnTo>
                    <a:pt x="65" y="48"/>
                  </a:lnTo>
                  <a:lnTo>
                    <a:pt x="69" y="45"/>
                  </a:lnTo>
                  <a:lnTo>
                    <a:pt x="69" y="42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6" y="29"/>
                  </a:lnTo>
                  <a:lnTo>
                    <a:pt x="79" y="26"/>
                  </a:lnTo>
                  <a:lnTo>
                    <a:pt x="83" y="26"/>
                  </a:lnTo>
                  <a:lnTo>
                    <a:pt x="86" y="23"/>
                  </a:lnTo>
                  <a:lnTo>
                    <a:pt x="93" y="23"/>
                  </a:lnTo>
                  <a:lnTo>
                    <a:pt x="96" y="26"/>
                  </a:lnTo>
                  <a:lnTo>
                    <a:pt x="100" y="23"/>
                  </a:lnTo>
                  <a:lnTo>
                    <a:pt x="103" y="26"/>
                  </a:lnTo>
                  <a:lnTo>
                    <a:pt x="107" y="23"/>
                  </a:lnTo>
                  <a:lnTo>
                    <a:pt x="114" y="26"/>
                  </a:lnTo>
                  <a:lnTo>
                    <a:pt x="114" y="29"/>
                  </a:lnTo>
                  <a:lnTo>
                    <a:pt x="117" y="29"/>
                  </a:lnTo>
                  <a:lnTo>
                    <a:pt x="121" y="26"/>
                  </a:lnTo>
                  <a:lnTo>
                    <a:pt x="124" y="26"/>
                  </a:lnTo>
                  <a:lnTo>
                    <a:pt x="127" y="29"/>
                  </a:lnTo>
                  <a:lnTo>
                    <a:pt x="131" y="32"/>
                  </a:lnTo>
                  <a:lnTo>
                    <a:pt x="138" y="29"/>
                  </a:lnTo>
                  <a:lnTo>
                    <a:pt x="141" y="29"/>
                  </a:lnTo>
                  <a:lnTo>
                    <a:pt x="145" y="26"/>
                  </a:lnTo>
                  <a:lnTo>
                    <a:pt x="145" y="26"/>
                  </a:lnTo>
                  <a:lnTo>
                    <a:pt x="148" y="23"/>
                  </a:lnTo>
                  <a:lnTo>
                    <a:pt x="151" y="26"/>
                  </a:lnTo>
                  <a:lnTo>
                    <a:pt x="151" y="26"/>
                  </a:lnTo>
                  <a:lnTo>
                    <a:pt x="158" y="29"/>
                  </a:lnTo>
                  <a:lnTo>
                    <a:pt x="158" y="26"/>
                  </a:lnTo>
                  <a:lnTo>
                    <a:pt x="158" y="23"/>
                  </a:lnTo>
                  <a:lnTo>
                    <a:pt x="158" y="23"/>
                  </a:lnTo>
                  <a:lnTo>
                    <a:pt x="162" y="19"/>
                  </a:lnTo>
                  <a:lnTo>
                    <a:pt x="162" y="19"/>
                  </a:lnTo>
                  <a:lnTo>
                    <a:pt x="165" y="19"/>
                  </a:lnTo>
                  <a:lnTo>
                    <a:pt x="165" y="19"/>
                  </a:lnTo>
                  <a:lnTo>
                    <a:pt x="169" y="19"/>
                  </a:lnTo>
                  <a:lnTo>
                    <a:pt x="172" y="16"/>
                  </a:lnTo>
                  <a:lnTo>
                    <a:pt x="172" y="13"/>
                  </a:lnTo>
                  <a:lnTo>
                    <a:pt x="172" y="10"/>
                  </a:lnTo>
                  <a:lnTo>
                    <a:pt x="176" y="6"/>
                  </a:lnTo>
                  <a:lnTo>
                    <a:pt x="176" y="3"/>
                  </a:lnTo>
                  <a:lnTo>
                    <a:pt x="179" y="0"/>
                  </a:lnTo>
                  <a:lnTo>
                    <a:pt x="182" y="0"/>
                  </a:lnTo>
                  <a:lnTo>
                    <a:pt x="186" y="3"/>
                  </a:lnTo>
                  <a:lnTo>
                    <a:pt x="189" y="3"/>
                  </a:lnTo>
                  <a:lnTo>
                    <a:pt x="189" y="6"/>
                  </a:lnTo>
                  <a:lnTo>
                    <a:pt x="189" y="10"/>
                  </a:lnTo>
                  <a:lnTo>
                    <a:pt x="189" y="13"/>
                  </a:lnTo>
                  <a:lnTo>
                    <a:pt x="193" y="13"/>
                  </a:lnTo>
                  <a:lnTo>
                    <a:pt x="193" y="16"/>
                  </a:lnTo>
                  <a:lnTo>
                    <a:pt x="193" y="19"/>
                  </a:lnTo>
                  <a:lnTo>
                    <a:pt x="196" y="23"/>
                  </a:lnTo>
                  <a:lnTo>
                    <a:pt x="196" y="29"/>
                  </a:lnTo>
                  <a:lnTo>
                    <a:pt x="196" y="32"/>
                  </a:lnTo>
                  <a:lnTo>
                    <a:pt x="196" y="36"/>
                  </a:lnTo>
                  <a:lnTo>
                    <a:pt x="200" y="36"/>
                  </a:lnTo>
                  <a:lnTo>
                    <a:pt x="207" y="36"/>
                  </a:lnTo>
                  <a:lnTo>
                    <a:pt x="210" y="36"/>
                  </a:lnTo>
                  <a:lnTo>
                    <a:pt x="210" y="32"/>
                  </a:lnTo>
                  <a:lnTo>
                    <a:pt x="217" y="29"/>
                  </a:lnTo>
                  <a:lnTo>
                    <a:pt x="220" y="29"/>
                  </a:lnTo>
                  <a:lnTo>
                    <a:pt x="220" y="26"/>
                  </a:lnTo>
                  <a:lnTo>
                    <a:pt x="22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7" name="Freeform 38"/>
            <p:cNvSpPr>
              <a:spLocks noEditPoints="1"/>
            </p:cNvSpPr>
            <p:nvPr/>
          </p:nvSpPr>
          <p:spPr bwMode="auto">
            <a:xfrm>
              <a:off x="6469063" y="2913717"/>
              <a:ext cx="195263" cy="128587"/>
            </a:xfrm>
            <a:custGeom>
              <a:avLst/>
              <a:gdLst>
                <a:gd name="T0" fmla="*/ 96 w 123"/>
                <a:gd name="T1" fmla="*/ 81 h 81"/>
                <a:gd name="T2" fmla="*/ 96 w 123"/>
                <a:gd name="T3" fmla="*/ 74 h 81"/>
                <a:gd name="T4" fmla="*/ 89 w 123"/>
                <a:gd name="T5" fmla="*/ 74 h 81"/>
                <a:gd name="T6" fmla="*/ 89 w 123"/>
                <a:gd name="T7" fmla="*/ 78 h 81"/>
                <a:gd name="T8" fmla="*/ 113 w 123"/>
                <a:gd name="T9" fmla="*/ 61 h 81"/>
                <a:gd name="T10" fmla="*/ 120 w 123"/>
                <a:gd name="T11" fmla="*/ 58 h 81"/>
                <a:gd name="T12" fmla="*/ 75 w 123"/>
                <a:gd name="T13" fmla="*/ 52 h 81"/>
                <a:gd name="T14" fmla="*/ 68 w 123"/>
                <a:gd name="T15" fmla="*/ 65 h 81"/>
                <a:gd name="T16" fmla="*/ 65 w 123"/>
                <a:gd name="T17" fmla="*/ 61 h 81"/>
                <a:gd name="T18" fmla="*/ 55 w 123"/>
                <a:gd name="T19" fmla="*/ 55 h 81"/>
                <a:gd name="T20" fmla="*/ 58 w 123"/>
                <a:gd name="T21" fmla="*/ 45 h 81"/>
                <a:gd name="T22" fmla="*/ 65 w 123"/>
                <a:gd name="T23" fmla="*/ 52 h 81"/>
                <a:gd name="T24" fmla="*/ 65 w 123"/>
                <a:gd name="T25" fmla="*/ 49 h 81"/>
                <a:gd name="T26" fmla="*/ 75 w 123"/>
                <a:gd name="T27" fmla="*/ 42 h 81"/>
                <a:gd name="T28" fmla="*/ 72 w 123"/>
                <a:gd name="T29" fmla="*/ 55 h 81"/>
                <a:gd name="T30" fmla="*/ 75 w 123"/>
                <a:gd name="T31" fmla="*/ 61 h 81"/>
                <a:gd name="T32" fmla="*/ 68 w 123"/>
                <a:gd name="T33" fmla="*/ 65 h 81"/>
                <a:gd name="T34" fmla="*/ 75 w 123"/>
                <a:gd name="T35" fmla="*/ 65 h 81"/>
                <a:gd name="T36" fmla="*/ 72 w 123"/>
                <a:gd name="T37" fmla="*/ 68 h 81"/>
                <a:gd name="T38" fmla="*/ 65 w 123"/>
                <a:gd name="T39" fmla="*/ 71 h 81"/>
                <a:gd name="T40" fmla="*/ 68 w 123"/>
                <a:gd name="T41" fmla="*/ 68 h 81"/>
                <a:gd name="T42" fmla="*/ 65 w 123"/>
                <a:gd name="T43" fmla="*/ 71 h 81"/>
                <a:gd name="T44" fmla="*/ 51 w 123"/>
                <a:gd name="T45" fmla="*/ 71 h 81"/>
                <a:gd name="T46" fmla="*/ 55 w 123"/>
                <a:gd name="T47" fmla="*/ 68 h 81"/>
                <a:gd name="T48" fmla="*/ 44 w 123"/>
                <a:gd name="T49" fmla="*/ 42 h 81"/>
                <a:gd name="T50" fmla="*/ 41 w 123"/>
                <a:gd name="T51" fmla="*/ 49 h 81"/>
                <a:gd name="T52" fmla="*/ 41 w 123"/>
                <a:gd name="T53" fmla="*/ 68 h 81"/>
                <a:gd name="T54" fmla="*/ 48 w 123"/>
                <a:gd name="T55" fmla="*/ 68 h 81"/>
                <a:gd name="T56" fmla="*/ 51 w 123"/>
                <a:gd name="T57" fmla="*/ 65 h 81"/>
                <a:gd name="T58" fmla="*/ 37 w 123"/>
                <a:gd name="T59" fmla="*/ 52 h 81"/>
                <a:gd name="T60" fmla="*/ 48 w 123"/>
                <a:gd name="T61" fmla="*/ 61 h 81"/>
                <a:gd name="T62" fmla="*/ 37 w 123"/>
                <a:gd name="T63" fmla="*/ 65 h 81"/>
                <a:gd name="T64" fmla="*/ 31 w 123"/>
                <a:gd name="T65" fmla="*/ 55 h 81"/>
                <a:gd name="T66" fmla="*/ 51 w 123"/>
                <a:gd name="T67" fmla="*/ 13 h 81"/>
                <a:gd name="T68" fmla="*/ 13 w 123"/>
                <a:gd name="T69" fmla="*/ 26 h 81"/>
                <a:gd name="T70" fmla="*/ 13 w 123"/>
                <a:gd name="T71" fmla="*/ 26 h 81"/>
                <a:gd name="T72" fmla="*/ 10 w 123"/>
                <a:gd name="T73" fmla="*/ 26 h 81"/>
                <a:gd name="T74" fmla="*/ 20 w 123"/>
                <a:gd name="T75" fmla="*/ 19 h 81"/>
                <a:gd name="T76" fmla="*/ 34 w 123"/>
                <a:gd name="T77" fmla="*/ 19 h 81"/>
                <a:gd name="T78" fmla="*/ 41 w 123"/>
                <a:gd name="T79" fmla="*/ 10 h 81"/>
                <a:gd name="T80" fmla="*/ 37 w 123"/>
                <a:gd name="T81" fmla="*/ 7 h 81"/>
                <a:gd name="T82" fmla="*/ 24 w 123"/>
                <a:gd name="T83" fmla="*/ 13 h 81"/>
                <a:gd name="T84" fmla="*/ 10 w 123"/>
                <a:gd name="T85" fmla="*/ 19 h 81"/>
                <a:gd name="T86" fmla="*/ 7 w 123"/>
                <a:gd name="T87" fmla="*/ 26 h 81"/>
                <a:gd name="T88" fmla="*/ 27 w 123"/>
                <a:gd name="T89" fmla="*/ 68 h 81"/>
                <a:gd name="T90" fmla="*/ 24 w 123"/>
                <a:gd name="T91" fmla="*/ 65 h 81"/>
                <a:gd name="T92" fmla="*/ 24 w 123"/>
                <a:gd name="T93" fmla="*/ 58 h 81"/>
                <a:gd name="T94" fmla="*/ 34 w 123"/>
                <a:gd name="T95" fmla="*/ 49 h 81"/>
                <a:gd name="T96" fmla="*/ 37 w 123"/>
                <a:gd name="T97" fmla="*/ 39 h 81"/>
                <a:gd name="T98" fmla="*/ 48 w 123"/>
                <a:gd name="T99" fmla="*/ 39 h 81"/>
                <a:gd name="T100" fmla="*/ 48 w 123"/>
                <a:gd name="T101" fmla="*/ 32 h 81"/>
                <a:gd name="T102" fmla="*/ 37 w 123"/>
                <a:gd name="T103" fmla="*/ 29 h 81"/>
                <a:gd name="T104" fmla="*/ 34 w 123"/>
                <a:gd name="T105" fmla="*/ 23 h 81"/>
                <a:gd name="T106" fmla="*/ 20 w 123"/>
                <a:gd name="T107" fmla="*/ 23 h 81"/>
                <a:gd name="T108" fmla="*/ 24 w 123"/>
                <a:gd name="T109" fmla="*/ 32 h 81"/>
                <a:gd name="T110" fmla="*/ 20 w 123"/>
                <a:gd name="T111" fmla="*/ 29 h 81"/>
                <a:gd name="T112" fmla="*/ 17 w 123"/>
                <a:gd name="T113" fmla="*/ 32 h 81"/>
                <a:gd name="T114" fmla="*/ 7 w 123"/>
                <a:gd name="T115" fmla="*/ 29 h 81"/>
                <a:gd name="T116" fmla="*/ 3 w 123"/>
                <a:gd name="T117" fmla="*/ 36 h 81"/>
                <a:gd name="T118" fmla="*/ 7 w 123"/>
                <a:gd name="T119" fmla="*/ 45 h 81"/>
                <a:gd name="T120" fmla="*/ 3 w 123"/>
                <a:gd name="T121" fmla="*/ 58 h 81"/>
                <a:gd name="T122" fmla="*/ 10 w 123"/>
                <a:gd name="T123" fmla="*/ 65 h 81"/>
                <a:gd name="T124" fmla="*/ 24 w 123"/>
                <a:gd name="T125" fmla="*/ 6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" h="81">
                  <a:moveTo>
                    <a:pt x="89" y="81"/>
                  </a:moveTo>
                  <a:lnTo>
                    <a:pt x="89" y="81"/>
                  </a:lnTo>
                  <a:lnTo>
                    <a:pt x="93" y="81"/>
                  </a:lnTo>
                  <a:lnTo>
                    <a:pt x="96" y="81"/>
                  </a:lnTo>
                  <a:lnTo>
                    <a:pt x="99" y="81"/>
                  </a:lnTo>
                  <a:lnTo>
                    <a:pt x="99" y="78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1"/>
                  </a:lnTo>
                  <a:lnTo>
                    <a:pt x="93" y="74"/>
                  </a:lnTo>
                  <a:lnTo>
                    <a:pt x="93" y="71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93" y="74"/>
                  </a:lnTo>
                  <a:lnTo>
                    <a:pt x="93" y="78"/>
                  </a:lnTo>
                  <a:lnTo>
                    <a:pt x="89" y="78"/>
                  </a:lnTo>
                  <a:lnTo>
                    <a:pt x="89" y="81"/>
                  </a:lnTo>
                  <a:lnTo>
                    <a:pt x="89" y="81"/>
                  </a:lnTo>
                  <a:close/>
                  <a:moveTo>
                    <a:pt x="117" y="58"/>
                  </a:moveTo>
                  <a:lnTo>
                    <a:pt x="113" y="61"/>
                  </a:lnTo>
                  <a:lnTo>
                    <a:pt x="117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20" y="58"/>
                  </a:lnTo>
                  <a:lnTo>
                    <a:pt x="117" y="58"/>
                  </a:lnTo>
                  <a:lnTo>
                    <a:pt x="117" y="58"/>
                  </a:lnTo>
                  <a:close/>
                  <a:moveTo>
                    <a:pt x="79" y="49"/>
                  </a:moveTo>
                  <a:lnTo>
                    <a:pt x="75" y="52"/>
                  </a:lnTo>
                  <a:lnTo>
                    <a:pt x="79" y="55"/>
                  </a:lnTo>
                  <a:lnTo>
                    <a:pt x="79" y="49"/>
                  </a:lnTo>
                  <a:lnTo>
                    <a:pt x="79" y="49"/>
                  </a:lnTo>
                  <a:close/>
                  <a:moveTo>
                    <a:pt x="68" y="65"/>
                  </a:moveTo>
                  <a:lnTo>
                    <a:pt x="65" y="65"/>
                  </a:lnTo>
                  <a:lnTo>
                    <a:pt x="65" y="65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2" y="61"/>
                  </a:lnTo>
                  <a:lnTo>
                    <a:pt x="58" y="61"/>
                  </a:lnTo>
                  <a:lnTo>
                    <a:pt x="55" y="58"/>
                  </a:lnTo>
                  <a:lnTo>
                    <a:pt x="55" y="55"/>
                  </a:lnTo>
                  <a:lnTo>
                    <a:pt x="55" y="52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62" y="49"/>
                  </a:lnTo>
                  <a:lnTo>
                    <a:pt x="62" y="49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8" y="52"/>
                  </a:lnTo>
                  <a:lnTo>
                    <a:pt x="68" y="49"/>
                  </a:lnTo>
                  <a:lnTo>
                    <a:pt x="65" y="49"/>
                  </a:lnTo>
                  <a:lnTo>
                    <a:pt x="65" y="45"/>
                  </a:lnTo>
                  <a:lnTo>
                    <a:pt x="65" y="42"/>
                  </a:lnTo>
                  <a:lnTo>
                    <a:pt x="72" y="42"/>
                  </a:lnTo>
                  <a:lnTo>
                    <a:pt x="75" y="42"/>
                  </a:lnTo>
                  <a:lnTo>
                    <a:pt x="75" y="45"/>
                  </a:lnTo>
                  <a:lnTo>
                    <a:pt x="75" y="49"/>
                  </a:lnTo>
                  <a:lnTo>
                    <a:pt x="75" y="52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5" y="61"/>
                  </a:lnTo>
                  <a:lnTo>
                    <a:pt x="68" y="61"/>
                  </a:lnTo>
                  <a:lnTo>
                    <a:pt x="68" y="65"/>
                  </a:lnTo>
                  <a:lnTo>
                    <a:pt x="68" y="65"/>
                  </a:lnTo>
                  <a:lnTo>
                    <a:pt x="68" y="65"/>
                  </a:lnTo>
                  <a:close/>
                  <a:moveTo>
                    <a:pt x="72" y="68"/>
                  </a:moveTo>
                  <a:lnTo>
                    <a:pt x="72" y="68"/>
                  </a:lnTo>
                  <a:lnTo>
                    <a:pt x="72" y="65"/>
                  </a:lnTo>
                  <a:lnTo>
                    <a:pt x="75" y="65"/>
                  </a:lnTo>
                  <a:lnTo>
                    <a:pt x="75" y="65"/>
                  </a:lnTo>
                  <a:lnTo>
                    <a:pt x="72" y="65"/>
                  </a:lnTo>
                  <a:lnTo>
                    <a:pt x="72" y="68"/>
                  </a:lnTo>
                  <a:lnTo>
                    <a:pt x="72" y="68"/>
                  </a:lnTo>
                  <a:close/>
                  <a:moveTo>
                    <a:pt x="55" y="68"/>
                  </a:moveTo>
                  <a:lnTo>
                    <a:pt x="58" y="71"/>
                  </a:lnTo>
                  <a:lnTo>
                    <a:pt x="62" y="71"/>
                  </a:lnTo>
                  <a:lnTo>
                    <a:pt x="65" y="71"/>
                  </a:lnTo>
                  <a:lnTo>
                    <a:pt x="65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71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5" y="71"/>
                  </a:lnTo>
                  <a:lnTo>
                    <a:pt x="65" y="74"/>
                  </a:lnTo>
                  <a:lnTo>
                    <a:pt x="58" y="74"/>
                  </a:lnTo>
                  <a:lnTo>
                    <a:pt x="55" y="74"/>
                  </a:lnTo>
                  <a:lnTo>
                    <a:pt x="51" y="71"/>
                  </a:lnTo>
                  <a:lnTo>
                    <a:pt x="55" y="71"/>
                  </a:lnTo>
                  <a:lnTo>
                    <a:pt x="51" y="68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5" y="68"/>
                  </a:lnTo>
                  <a:close/>
                  <a:moveTo>
                    <a:pt x="41" y="49"/>
                  </a:moveTo>
                  <a:lnTo>
                    <a:pt x="44" y="49"/>
                  </a:lnTo>
                  <a:lnTo>
                    <a:pt x="44" y="42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41" y="49"/>
                  </a:lnTo>
                  <a:lnTo>
                    <a:pt x="41" y="49"/>
                  </a:lnTo>
                  <a:close/>
                  <a:moveTo>
                    <a:pt x="41" y="68"/>
                  </a:moveTo>
                  <a:lnTo>
                    <a:pt x="44" y="71"/>
                  </a:lnTo>
                  <a:lnTo>
                    <a:pt x="44" y="68"/>
                  </a:lnTo>
                  <a:lnTo>
                    <a:pt x="41" y="68"/>
                  </a:lnTo>
                  <a:lnTo>
                    <a:pt x="41" y="68"/>
                  </a:lnTo>
                  <a:close/>
                  <a:moveTo>
                    <a:pt x="48" y="61"/>
                  </a:moveTo>
                  <a:lnTo>
                    <a:pt x="48" y="68"/>
                  </a:lnTo>
                  <a:lnTo>
                    <a:pt x="48" y="68"/>
                  </a:lnTo>
                  <a:lnTo>
                    <a:pt x="48" y="71"/>
                  </a:lnTo>
                  <a:lnTo>
                    <a:pt x="48" y="68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48" y="61"/>
                  </a:lnTo>
                  <a:lnTo>
                    <a:pt x="48" y="61"/>
                  </a:lnTo>
                  <a:close/>
                  <a:moveTo>
                    <a:pt x="31" y="55"/>
                  </a:moveTo>
                  <a:lnTo>
                    <a:pt x="37" y="52"/>
                  </a:lnTo>
                  <a:lnTo>
                    <a:pt x="41" y="55"/>
                  </a:lnTo>
                  <a:lnTo>
                    <a:pt x="44" y="55"/>
                  </a:lnTo>
                  <a:lnTo>
                    <a:pt x="48" y="58"/>
                  </a:lnTo>
                  <a:lnTo>
                    <a:pt x="48" y="61"/>
                  </a:lnTo>
                  <a:lnTo>
                    <a:pt x="44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37" y="65"/>
                  </a:lnTo>
                  <a:lnTo>
                    <a:pt x="34" y="61"/>
                  </a:lnTo>
                  <a:lnTo>
                    <a:pt x="31" y="58"/>
                  </a:lnTo>
                  <a:lnTo>
                    <a:pt x="31" y="55"/>
                  </a:lnTo>
                  <a:lnTo>
                    <a:pt x="31" y="55"/>
                  </a:lnTo>
                  <a:close/>
                  <a:moveTo>
                    <a:pt x="48" y="13"/>
                  </a:moveTo>
                  <a:lnTo>
                    <a:pt x="48" y="10"/>
                  </a:lnTo>
                  <a:lnTo>
                    <a:pt x="55" y="10"/>
                  </a:lnTo>
                  <a:lnTo>
                    <a:pt x="51" y="13"/>
                  </a:lnTo>
                  <a:lnTo>
                    <a:pt x="48" y="13"/>
                  </a:lnTo>
                  <a:lnTo>
                    <a:pt x="48" y="13"/>
                  </a:lnTo>
                  <a:close/>
                  <a:moveTo>
                    <a:pt x="13" y="29"/>
                  </a:moveTo>
                  <a:lnTo>
                    <a:pt x="13" y="26"/>
                  </a:lnTo>
                  <a:lnTo>
                    <a:pt x="13" y="23"/>
                  </a:lnTo>
                  <a:lnTo>
                    <a:pt x="17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13" y="29"/>
                  </a:lnTo>
                  <a:lnTo>
                    <a:pt x="13" y="29"/>
                  </a:lnTo>
                  <a:close/>
                  <a:moveTo>
                    <a:pt x="10" y="29"/>
                  </a:moveTo>
                  <a:lnTo>
                    <a:pt x="10" y="26"/>
                  </a:lnTo>
                  <a:lnTo>
                    <a:pt x="10" y="23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20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7" y="19"/>
                  </a:lnTo>
                  <a:lnTo>
                    <a:pt x="41" y="16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4" y="3"/>
                  </a:lnTo>
                  <a:lnTo>
                    <a:pt x="44" y="0"/>
                  </a:lnTo>
                  <a:lnTo>
                    <a:pt x="37" y="7"/>
                  </a:lnTo>
                  <a:lnTo>
                    <a:pt x="34" y="7"/>
                  </a:lnTo>
                  <a:lnTo>
                    <a:pt x="31" y="7"/>
                  </a:lnTo>
                  <a:lnTo>
                    <a:pt x="27" y="10"/>
                  </a:lnTo>
                  <a:lnTo>
                    <a:pt x="24" y="13"/>
                  </a:lnTo>
                  <a:lnTo>
                    <a:pt x="20" y="16"/>
                  </a:lnTo>
                  <a:lnTo>
                    <a:pt x="17" y="16"/>
                  </a:lnTo>
                  <a:lnTo>
                    <a:pt x="13" y="19"/>
                  </a:lnTo>
                  <a:lnTo>
                    <a:pt x="10" y="19"/>
                  </a:lnTo>
                  <a:lnTo>
                    <a:pt x="7" y="19"/>
                  </a:lnTo>
                  <a:lnTo>
                    <a:pt x="7" y="23"/>
                  </a:lnTo>
                  <a:lnTo>
                    <a:pt x="3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10" y="29"/>
                  </a:lnTo>
                  <a:lnTo>
                    <a:pt x="10" y="29"/>
                  </a:lnTo>
                  <a:close/>
                  <a:moveTo>
                    <a:pt x="27" y="68"/>
                  </a:moveTo>
                  <a:lnTo>
                    <a:pt x="27" y="68"/>
                  </a:lnTo>
                  <a:lnTo>
                    <a:pt x="27" y="68"/>
                  </a:lnTo>
                  <a:lnTo>
                    <a:pt x="27" y="65"/>
                  </a:lnTo>
                  <a:lnTo>
                    <a:pt x="24" y="65"/>
                  </a:lnTo>
                  <a:lnTo>
                    <a:pt x="24" y="61"/>
                  </a:lnTo>
                  <a:lnTo>
                    <a:pt x="27" y="61"/>
                  </a:lnTo>
                  <a:lnTo>
                    <a:pt x="27" y="58"/>
                  </a:lnTo>
                  <a:lnTo>
                    <a:pt x="24" y="58"/>
                  </a:lnTo>
                  <a:lnTo>
                    <a:pt x="27" y="55"/>
                  </a:lnTo>
                  <a:lnTo>
                    <a:pt x="34" y="52"/>
                  </a:lnTo>
                  <a:lnTo>
                    <a:pt x="31" y="52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41" y="49"/>
                  </a:lnTo>
                  <a:lnTo>
                    <a:pt x="41" y="42"/>
                  </a:lnTo>
                  <a:lnTo>
                    <a:pt x="37" y="39"/>
                  </a:lnTo>
                  <a:lnTo>
                    <a:pt x="41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51" y="39"/>
                  </a:lnTo>
                  <a:lnTo>
                    <a:pt x="51" y="36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1" y="32"/>
                  </a:lnTo>
                  <a:lnTo>
                    <a:pt x="37" y="32"/>
                  </a:lnTo>
                  <a:lnTo>
                    <a:pt x="37" y="29"/>
                  </a:lnTo>
                  <a:lnTo>
                    <a:pt x="34" y="29"/>
                  </a:lnTo>
                  <a:lnTo>
                    <a:pt x="37" y="26"/>
                  </a:lnTo>
                  <a:lnTo>
                    <a:pt x="37" y="23"/>
                  </a:lnTo>
                  <a:lnTo>
                    <a:pt x="34" y="23"/>
                  </a:lnTo>
                  <a:lnTo>
                    <a:pt x="27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4" y="26"/>
                  </a:lnTo>
                  <a:lnTo>
                    <a:pt x="24" y="29"/>
                  </a:lnTo>
                  <a:lnTo>
                    <a:pt x="27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17" y="29"/>
                  </a:lnTo>
                  <a:lnTo>
                    <a:pt x="20" y="29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3" y="29"/>
                  </a:lnTo>
                  <a:lnTo>
                    <a:pt x="17" y="32"/>
                  </a:lnTo>
                  <a:lnTo>
                    <a:pt x="13" y="32"/>
                  </a:lnTo>
                  <a:lnTo>
                    <a:pt x="10" y="32"/>
                  </a:lnTo>
                  <a:lnTo>
                    <a:pt x="7" y="32"/>
                  </a:lnTo>
                  <a:lnTo>
                    <a:pt x="7" y="29"/>
                  </a:lnTo>
                  <a:lnTo>
                    <a:pt x="3" y="32"/>
                  </a:lnTo>
                  <a:lnTo>
                    <a:pt x="7" y="36"/>
                  </a:lnTo>
                  <a:lnTo>
                    <a:pt x="7" y="39"/>
                  </a:lnTo>
                  <a:lnTo>
                    <a:pt x="3" y="36"/>
                  </a:lnTo>
                  <a:lnTo>
                    <a:pt x="3" y="39"/>
                  </a:lnTo>
                  <a:lnTo>
                    <a:pt x="3" y="42"/>
                  </a:lnTo>
                  <a:lnTo>
                    <a:pt x="7" y="42"/>
                  </a:lnTo>
                  <a:lnTo>
                    <a:pt x="7" y="45"/>
                  </a:lnTo>
                  <a:lnTo>
                    <a:pt x="7" y="49"/>
                  </a:lnTo>
                  <a:lnTo>
                    <a:pt x="3" y="52"/>
                  </a:lnTo>
                  <a:lnTo>
                    <a:pt x="0" y="55"/>
                  </a:lnTo>
                  <a:lnTo>
                    <a:pt x="3" y="58"/>
                  </a:lnTo>
                  <a:lnTo>
                    <a:pt x="7" y="55"/>
                  </a:lnTo>
                  <a:lnTo>
                    <a:pt x="10" y="58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10" y="68"/>
                  </a:lnTo>
                  <a:lnTo>
                    <a:pt x="17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7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8" name="Freeform 39"/>
            <p:cNvSpPr>
              <a:spLocks noEditPoints="1"/>
            </p:cNvSpPr>
            <p:nvPr/>
          </p:nvSpPr>
          <p:spPr bwMode="auto">
            <a:xfrm>
              <a:off x="6370638" y="2297767"/>
              <a:ext cx="627063" cy="611187"/>
            </a:xfrm>
            <a:custGeom>
              <a:avLst/>
              <a:gdLst>
                <a:gd name="T0" fmla="*/ 378 w 395"/>
                <a:gd name="T1" fmla="*/ 49 h 385"/>
                <a:gd name="T2" fmla="*/ 392 w 395"/>
                <a:gd name="T3" fmla="*/ 26 h 385"/>
                <a:gd name="T4" fmla="*/ 361 w 395"/>
                <a:gd name="T5" fmla="*/ 17 h 385"/>
                <a:gd name="T6" fmla="*/ 347 w 395"/>
                <a:gd name="T7" fmla="*/ 20 h 385"/>
                <a:gd name="T8" fmla="*/ 333 w 395"/>
                <a:gd name="T9" fmla="*/ 0 h 385"/>
                <a:gd name="T10" fmla="*/ 320 w 395"/>
                <a:gd name="T11" fmla="*/ 26 h 385"/>
                <a:gd name="T12" fmla="*/ 296 w 395"/>
                <a:gd name="T13" fmla="*/ 36 h 385"/>
                <a:gd name="T14" fmla="*/ 285 w 395"/>
                <a:gd name="T15" fmla="*/ 13 h 385"/>
                <a:gd name="T16" fmla="*/ 275 w 395"/>
                <a:gd name="T17" fmla="*/ 42 h 385"/>
                <a:gd name="T18" fmla="*/ 251 w 395"/>
                <a:gd name="T19" fmla="*/ 46 h 385"/>
                <a:gd name="T20" fmla="*/ 227 w 395"/>
                <a:gd name="T21" fmla="*/ 65 h 385"/>
                <a:gd name="T22" fmla="*/ 216 w 395"/>
                <a:gd name="T23" fmla="*/ 72 h 385"/>
                <a:gd name="T24" fmla="*/ 192 w 395"/>
                <a:gd name="T25" fmla="*/ 72 h 385"/>
                <a:gd name="T26" fmla="*/ 175 w 395"/>
                <a:gd name="T27" fmla="*/ 94 h 385"/>
                <a:gd name="T28" fmla="*/ 172 w 395"/>
                <a:gd name="T29" fmla="*/ 107 h 385"/>
                <a:gd name="T30" fmla="*/ 155 w 395"/>
                <a:gd name="T31" fmla="*/ 117 h 385"/>
                <a:gd name="T32" fmla="*/ 158 w 395"/>
                <a:gd name="T33" fmla="*/ 133 h 385"/>
                <a:gd name="T34" fmla="*/ 137 w 395"/>
                <a:gd name="T35" fmla="*/ 149 h 385"/>
                <a:gd name="T36" fmla="*/ 134 w 395"/>
                <a:gd name="T37" fmla="*/ 165 h 385"/>
                <a:gd name="T38" fmla="*/ 127 w 395"/>
                <a:gd name="T39" fmla="*/ 185 h 385"/>
                <a:gd name="T40" fmla="*/ 103 w 395"/>
                <a:gd name="T41" fmla="*/ 207 h 385"/>
                <a:gd name="T42" fmla="*/ 79 w 395"/>
                <a:gd name="T43" fmla="*/ 233 h 385"/>
                <a:gd name="T44" fmla="*/ 110 w 395"/>
                <a:gd name="T45" fmla="*/ 233 h 385"/>
                <a:gd name="T46" fmla="*/ 72 w 395"/>
                <a:gd name="T47" fmla="*/ 240 h 385"/>
                <a:gd name="T48" fmla="*/ 62 w 395"/>
                <a:gd name="T49" fmla="*/ 256 h 385"/>
                <a:gd name="T50" fmla="*/ 44 w 395"/>
                <a:gd name="T51" fmla="*/ 262 h 385"/>
                <a:gd name="T52" fmla="*/ 38 w 395"/>
                <a:gd name="T53" fmla="*/ 275 h 385"/>
                <a:gd name="T54" fmla="*/ 7 w 395"/>
                <a:gd name="T55" fmla="*/ 278 h 385"/>
                <a:gd name="T56" fmla="*/ 13 w 395"/>
                <a:gd name="T57" fmla="*/ 294 h 385"/>
                <a:gd name="T58" fmla="*/ 31 w 395"/>
                <a:gd name="T59" fmla="*/ 301 h 385"/>
                <a:gd name="T60" fmla="*/ 38 w 395"/>
                <a:gd name="T61" fmla="*/ 307 h 385"/>
                <a:gd name="T62" fmla="*/ 10 w 395"/>
                <a:gd name="T63" fmla="*/ 317 h 385"/>
                <a:gd name="T64" fmla="*/ 38 w 395"/>
                <a:gd name="T65" fmla="*/ 320 h 385"/>
                <a:gd name="T66" fmla="*/ 17 w 395"/>
                <a:gd name="T67" fmla="*/ 343 h 385"/>
                <a:gd name="T68" fmla="*/ 31 w 395"/>
                <a:gd name="T69" fmla="*/ 362 h 385"/>
                <a:gd name="T70" fmla="*/ 48 w 395"/>
                <a:gd name="T71" fmla="*/ 385 h 385"/>
                <a:gd name="T72" fmla="*/ 82 w 395"/>
                <a:gd name="T73" fmla="*/ 356 h 385"/>
                <a:gd name="T74" fmla="*/ 96 w 395"/>
                <a:gd name="T75" fmla="*/ 346 h 385"/>
                <a:gd name="T76" fmla="*/ 124 w 395"/>
                <a:gd name="T77" fmla="*/ 359 h 385"/>
                <a:gd name="T78" fmla="*/ 124 w 395"/>
                <a:gd name="T79" fmla="*/ 272 h 385"/>
                <a:gd name="T80" fmla="*/ 151 w 395"/>
                <a:gd name="T81" fmla="*/ 162 h 385"/>
                <a:gd name="T82" fmla="*/ 199 w 395"/>
                <a:gd name="T83" fmla="*/ 101 h 385"/>
                <a:gd name="T84" fmla="*/ 234 w 395"/>
                <a:gd name="T85" fmla="*/ 75 h 385"/>
                <a:gd name="T86" fmla="*/ 302 w 395"/>
                <a:gd name="T87" fmla="*/ 81 h 385"/>
                <a:gd name="T88" fmla="*/ 347 w 395"/>
                <a:gd name="T89" fmla="*/ 39 h 385"/>
                <a:gd name="T90" fmla="*/ 10 w 395"/>
                <a:gd name="T91" fmla="*/ 336 h 385"/>
                <a:gd name="T92" fmla="*/ 3 w 395"/>
                <a:gd name="T93" fmla="*/ 320 h 385"/>
                <a:gd name="T94" fmla="*/ 3 w 395"/>
                <a:gd name="T95" fmla="*/ 285 h 385"/>
                <a:gd name="T96" fmla="*/ 55 w 395"/>
                <a:gd name="T97" fmla="*/ 246 h 385"/>
                <a:gd name="T98" fmla="*/ 65 w 395"/>
                <a:gd name="T99" fmla="*/ 236 h 385"/>
                <a:gd name="T100" fmla="*/ 103 w 395"/>
                <a:gd name="T101" fmla="*/ 204 h 385"/>
                <a:gd name="T102" fmla="*/ 144 w 395"/>
                <a:gd name="T103" fmla="*/ 136 h 385"/>
                <a:gd name="T104" fmla="*/ 130 w 395"/>
                <a:gd name="T105" fmla="*/ 104 h 385"/>
                <a:gd name="T106" fmla="*/ 155 w 395"/>
                <a:gd name="T107" fmla="*/ 78 h 385"/>
                <a:gd name="T108" fmla="*/ 168 w 395"/>
                <a:gd name="T109" fmla="*/ 68 h 385"/>
                <a:gd name="T110" fmla="*/ 161 w 395"/>
                <a:gd name="T111" fmla="*/ 91 h 385"/>
                <a:gd name="T112" fmla="*/ 192 w 395"/>
                <a:gd name="T113" fmla="*/ 72 h 385"/>
                <a:gd name="T114" fmla="*/ 192 w 395"/>
                <a:gd name="T115" fmla="*/ 55 h 385"/>
                <a:gd name="T116" fmla="*/ 206 w 395"/>
                <a:gd name="T117" fmla="*/ 42 h 385"/>
                <a:gd name="T118" fmla="*/ 216 w 395"/>
                <a:gd name="T119" fmla="*/ 42 h 385"/>
                <a:gd name="T120" fmla="*/ 258 w 395"/>
                <a:gd name="T121" fmla="*/ 30 h 385"/>
                <a:gd name="T122" fmla="*/ 268 w 395"/>
                <a:gd name="T123" fmla="*/ 13 h 385"/>
                <a:gd name="T124" fmla="*/ 289 w 395"/>
                <a:gd name="T125" fmla="*/ 4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5" h="385">
                  <a:moveTo>
                    <a:pt x="368" y="68"/>
                  </a:moveTo>
                  <a:lnTo>
                    <a:pt x="368" y="68"/>
                  </a:lnTo>
                  <a:lnTo>
                    <a:pt x="368" y="65"/>
                  </a:lnTo>
                  <a:lnTo>
                    <a:pt x="375" y="59"/>
                  </a:lnTo>
                  <a:lnTo>
                    <a:pt x="378" y="59"/>
                  </a:lnTo>
                  <a:lnTo>
                    <a:pt x="382" y="55"/>
                  </a:lnTo>
                  <a:lnTo>
                    <a:pt x="382" y="52"/>
                  </a:lnTo>
                  <a:lnTo>
                    <a:pt x="385" y="52"/>
                  </a:lnTo>
                  <a:lnTo>
                    <a:pt x="388" y="52"/>
                  </a:lnTo>
                  <a:lnTo>
                    <a:pt x="392" y="49"/>
                  </a:lnTo>
                  <a:lnTo>
                    <a:pt x="392" y="46"/>
                  </a:lnTo>
                  <a:lnTo>
                    <a:pt x="388" y="46"/>
                  </a:lnTo>
                  <a:lnTo>
                    <a:pt x="385" y="46"/>
                  </a:lnTo>
                  <a:lnTo>
                    <a:pt x="385" y="46"/>
                  </a:lnTo>
                  <a:lnTo>
                    <a:pt x="385" y="46"/>
                  </a:lnTo>
                  <a:lnTo>
                    <a:pt x="385" y="46"/>
                  </a:lnTo>
                  <a:lnTo>
                    <a:pt x="382" y="46"/>
                  </a:lnTo>
                  <a:lnTo>
                    <a:pt x="382" y="42"/>
                  </a:lnTo>
                  <a:lnTo>
                    <a:pt x="378" y="42"/>
                  </a:lnTo>
                  <a:lnTo>
                    <a:pt x="378" y="46"/>
                  </a:lnTo>
                  <a:lnTo>
                    <a:pt x="378" y="49"/>
                  </a:lnTo>
                  <a:lnTo>
                    <a:pt x="378" y="49"/>
                  </a:lnTo>
                  <a:lnTo>
                    <a:pt x="375" y="46"/>
                  </a:lnTo>
                  <a:lnTo>
                    <a:pt x="375" y="46"/>
                  </a:lnTo>
                  <a:lnTo>
                    <a:pt x="371" y="49"/>
                  </a:lnTo>
                  <a:lnTo>
                    <a:pt x="371" y="46"/>
                  </a:lnTo>
                  <a:lnTo>
                    <a:pt x="371" y="42"/>
                  </a:lnTo>
                  <a:lnTo>
                    <a:pt x="368" y="42"/>
                  </a:lnTo>
                  <a:lnTo>
                    <a:pt x="368" y="39"/>
                  </a:lnTo>
                  <a:lnTo>
                    <a:pt x="364" y="39"/>
                  </a:lnTo>
                  <a:lnTo>
                    <a:pt x="361" y="39"/>
                  </a:lnTo>
                  <a:lnTo>
                    <a:pt x="361" y="39"/>
                  </a:lnTo>
                  <a:lnTo>
                    <a:pt x="354" y="36"/>
                  </a:lnTo>
                  <a:lnTo>
                    <a:pt x="354" y="36"/>
                  </a:lnTo>
                  <a:lnTo>
                    <a:pt x="354" y="33"/>
                  </a:lnTo>
                  <a:lnTo>
                    <a:pt x="361" y="36"/>
                  </a:lnTo>
                  <a:lnTo>
                    <a:pt x="364" y="36"/>
                  </a:lnTo>
                  <a:lnTo>
                    <a:pt x="368" y="36"/>
                  </a:lnTo>
                  <a:lnTo>
                    <a:pt x="375" y="36"/>
                  </a:lnTo>
                  <a:lnTo>
                    <a:pt x="382" y="36"/>
                  </a:lnTo>
                  <a:lnTo>
                    <a:pt x="385" y="30"/>
                  </a:lnTo>
                  <a:lnTo>
                    <a:pt x="392" y="26"/>
                  </a:lnTo>
                  <a:lnTo>
                    <a:pt x="395" y="26"/>
                  </a:lnTo>
                  <a:lnTo>
                    <a:pt x="395" y="23"/>
                  </a:lnTo>
                  <a:lnTo>
                    <a:pt x="392" y="23"/>
                  </a:lnTo>
                  <a:lnTo>
                    <a:pt x="392" y="23"/>
                  </a:lnTo>
                  <a:lnTo>
                    <a:pt x="388" y="23"/>
                  </a:lnTo>
                  <a:lnTo>
                    <a:pt x="385" y="23"/>
                  </a:lnTo>
                  <a:lnTo>
                    <a:pt x="382" y="20"/>
                  </a:lnTo>
                  <a:lnTo>
                    <a:pt x="378" y="20"/>
                  </a:lnTo>
                  <a:lnTo>
                    <a:pt x="375" y="23"/>
                  </a:lnTo>
                  <a:lnTo>
                    <a:pt x="375" y="23"/>
                  </a:lnTo>
                  <a:lnTo>
                    <a:pt x="371" y="20"/>
                  </a:lnTo>
                  <a:lnTo>
                    <a:pt x="375" y="20"/>
                  </a:lnTo>
                  <a:lnTo>
                    <a:pt x="378" y="17"/>
                  </a:lnTo>
                  <a:lnTo>
                    <a:pt x="371" y="17"/>
                  </a:lnTo>
                  <a:lnTo>
                    <a:pt x="371" y="13"/>
                  </a:lnTo>
                  <a:lnTo>
                    <a:pt x="368" y="13"/>
                  </a:lnTo>
                  <a:lnTo>
                    <a:pt x="368" y="20"/>
                  </a:lnTo>
                  <a:lnTo>
                    <a:pt x="364" y="20"/>
                  </a:lnTo>
                  <a:lnTo>
                    <a:pt x="364" y="17"/>
                  </a:lnTo>
                  <a:lnTo>
                    <a:pt x="364" y="17"/>
                  </a:lnTo>
                  <a:lnTo>
                    <a:pt x="361" y="17"/>
                  </a:lnTo>
                  <a:lnTo>
                    <a:pt x="361" y="17"/>
                  </a:lnTo>
                  <a:lnTo>
                    <a:pt x="361" y="17"/>
                  </a:lnTo>
                  <a:lnTo>
                    <a:pt x="364" y="13"/>
                  </a:lnTo>
                  <a:lnTo>
                    <a:pt x="364" y="13"/>
                  </a:lnTo>
                  <a:lnTo>
                    <a:pt x="357" y="10"/>
                  </a:lnTo>
                  <a:lnTo>
                    <a:pt x="354" y="10"/>
                  </a:lnTo>
                  <a:lnTo>
                    <a:pt x="354" y="13"/>
                  </a:lnTo>
                  <a:lnTo>
                    <a:pt x="354" y="17"/>
                  </a:lnTo>
                  <a:lnTo>
                    <a:pt x="351" y="17"/>
                  </a:lnTo>
                  <a:lnTo>
                    <a:pt x="351" y="20"/>
                  </a:lnTo>
                  <a:lnTo>
                    <a:pt x="351" y="23"/>
                  </a:lnTo>
                  <a:lnTo>
                    <a:pt x="351" y="26"/>
                  </a:lnTo>
                  <a:lnTo>
                    <a:pt x="351" y="26"/>
                  </a:lnTo>
                  <a:lnTo>
                    <a:pt x="347" y="23"/>
                  </a:lnTo>
                  <a:lnTo>
                    <a:pt x="347" y="23"/>
                  </a:lnTo>
                  <a:lnTo>
                    <a:pt x="344" y="26"/>
                  </a:lnTo>
                  <a:lnTo>
                    <a:pt x="340" y="23"/>
                  </a:lnTo>
                  <a:lnTo>
                    <a:pt x="337" y="26"/>
                  </a:lnTo>
                  <a:lnTo>
                    <a:pt x="340" y="23"/>
                  </a:lnTo>
                  <a:lnTo>
                    <a:pt x="344" y="23"/>
                  </a:lnTo>
                  <a:lnTo>
                    <a:pt x="347" y="20"/>
                  </a:lnTo>
                  <a:lnTo>
                    <a:pt x="344" y="17"/>
                  </a:lnTo>
                  <a:lnTo>
                    <a:pt x="344" y="17"/>
                  </a:lnTo>
                  <a:lnTo>
                    <a:pt x="340" y="20"/>
                  </a:lnTo>
                  <a:lnTo>
                    <a:pt x="337" y="20"/>
                  </a:lnTo>
                  <a:lnTo>
                    <a:pt x="337" y="17"/>
                  </a:lnTo>
                  <a:lnTo>
                    <a:pt x="340" y="17"/>
                  </a:lnTo>
                  <a:lnTo>
                    <a:pt x="340" y="13"/>
                  </a:lnTo>
                  <a:lnTo>
                    <a:pt x="337" y="13"/>
                  </a:lnTo>
                  <a:lnTo>
                    <a:pt x="337" y="13"/>
                  </a:lnTo>
                  <a:lnTo>
                    <a:pt x="340" y="10"/>
                  </a:lnTo>
                  <a:lnTo>
                    <a:pt x="340" y="13"/>
                  </a:lnTo>
                  <a:lnTo>
                    <a:pt x="344" y="13"/>
                  </a:lnTo>
                  <a:lnTo>
                    <a:pt x="347" y="7"/>
                  </a:lnTo>
                  <a:lnTo>
                    <a:pt x="347" y="7"/>
                  </a:lnTo>
                  <a:lnTo>
                    <a:pt x="344" y="7"/>
                  </a:lnTo>
                  <a:lnTo>
                    <a:pt x="340" y="4"/>
                  </a:lnTo>
                  <a:lnTo>
                    <a:pt x="340" y="4"/>
                  </a:lnTo>
                  <a:lnTo>
                    <a:pt x="340" y="0"/>
                  </a:lnTo>
                  <a:lnTo>
                    <a:pt x="337" y="4"/>
                  </a:lnTo>
                  <a:lnTo>
                    <a:pt x="337" y="4"/>
                  </a:lnTo>
                  <a:lnTo>
                    <a:pt x="333" y="0"/>
                  </a:lnTo>
                  <a:lnTo>
                    <a:pt x="330" y="4"/>
                  </a:lnTo>
                  <a:lnTo>
                    <a:pt x="330" y="4"/>
                  </a:lnTo>
                  <a:lnTo>
                    <a:pt x="333" y="7"/>
                  </a:lnTo>
                  <a:lnTo>
                    <a:pt x="333" y="10"/>
                  </a:lnTo>
                  <a:lnTo>
                    <a:pt x="330" y="10"/>
                  </a:lnTo>
                  <a:lnTo>
                    <a:pt x="327" y="7"/>
                  </a:lnTo>
                  <a:lnTo>
                    <a:pt x="327" y="7"/>
                  </a:lnTo>
                  <a:lnTo>
                    <a:pt x="323" y="10"/>
                  </a:lnTo>
                  <a:lnTo>
                    <a:pt x="327" y="10"/>
                  </a:lnTo>
                  <a:lnTo>
                    <a:pt x="330" y="10"/>
                  </a:lnTo>
                  <a:lnTo>
                    <a:pt x="330" y="13"/>
                  </a:lnTo>
                  <a:lnTo>
                    <a:pt x="330" y="13"/>
                  </a:lnTo>
                  <a:lnTo>
                    <a:pt x="327" y="13"/>
                  </a:lnTo>
                  <a:lnTo>
                    <a:pt x="327" y="17"/>
                  </a:lnTo>
                  <a:lnTo>
                    <a:pt x="327" y="17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3" y="23"/>
                  </a:lnTo>
                  <a:lnTo>
                    <a:pt x="327" y="26"/>
                  </a:lnTo>
                  <a:lnTo>
                    <a:pt x="323" y="26"/>
                  </a:lnTo>
                  <a:lnTo>
                    <a:pt x="320" y="26"/>
                  </a:lnTo>
                  <a:lnTo>
                    <a:pt x="320" y="26"/>
                  </a:lnTo>
                  <a:lnTo>
                    <a:pt x="320" y="26"/>
                  </a:lnTo>
                  <a:lnTo>
                    <a:pt x="316" y="30"/>
                  </a:lnTo>
                  <a:lnTo>
                    <a:pt x="316" y="26"/>
                  </a:lnTo>
                  <a:lnTo>
                    <a:pt x="320" y="20"/>
                  </a:lnTo>
                  <a:lnTo>
                    <a:pt x="316" y="20"/>
                  </a:lnTo>
                  <a:lnTo>
                    <a:pt x="316" y="17"/>
                  </a:lnTo>
                  <a:lnTo>
                    <a:pt x="320" y="17"/>
                  </a:lnTo>
                  <a:lnTo>
                    <a:pt x="320" y="10"/>
                  </a:lnTo>
                  <a:lnTo>
                    <a:pt x="316" y="10"/>
                  </a:lnTo>
                  <a:lnTo>
                    <a:pt x="316" y="10"/>
                  </a:lnTo>
                  <a:lnTo>
                    <a:pt x="309" y="17"/>
                  </a:lnTo>
                  <a:lnTo>
                    <a:pt x="309" y="20"/>
                  </a:lnTo>
                  <a:lnTo>
                    <a:pt x="306" y="26"/>
                  </a:lnTo>
                  <a:lnTo>
                    <a:pt x="306" y="30"/>
                  </a:lnTo>
                  <a:lnTo>
                    <a:pt x="306" y="33"/>
                  </a:lnTo>
                  <a:lnTo>
                    <a:pt x="306" y="36"/>
                  </a:lnTo>
                  <a:lnTo>
                    <a:pt x="299" y="39"/>
                  </a:lnTo>
                  <a:lnTo>
                    <a:pt x="299" y="39"/>
                  </a:lnTo>
                  <a:lnTo>
                    <a:pt x="299" y="36"/>
                  </a:lnTo>
                  <a:lnTo>
                    <a:pt x="296" y="36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299" y="26"/>
                  </a:lnTo>
                  <a:lnTo>
                    <a:pt x="299" y="23"/>
                  </a:lnTo>
                  <a:lnTo>
                    <a:pt x="306" y="17"/>
                  </a:lnTo>
                  <a:lnTo>
                    <a:pt x="306" y="13"/>
                  </a:lnTo>
                  <a:lnTo>
                    <a:pt x="306" y="13"/>
                  </a:lnTo>
                  <a:lnTo>
                    <a:pt x="306" y="13"/>
                  </a:lnTo>
                  <a:lnTo>
                    <a:pt x="302" y="13"/>
                  </a:lnTo>
                  <a:lnTo>
                    <a:pt x="299" y="10"/>
                  </a:lnTo>
                  <a:lnTo>
                    <a:pt x="299" y="10"/>
                  </a:lnTo>
                  <a:lnTo>
                    <a:pt x="299" y="13"/>
                  </a:lnTo>
                  <a:lnTo>
                    <a:pt x="296" y="13"/>
                  </a:lnTo>
                  <a:lnTo>
                    <a:pt x="296" y="13"/>
                  </a:lnTo>
                  <a:lnTo>
                    <a:pt x="292" y="10"/>
                  </a:lnTo>
                  <a:lnTo>
                    <a:pt x="292" y="10"/>
                  </a:lnTo>
                  <a:lnTo>
                    <a:pt x="289" y="10"/>
                  </a:lnTo>
                  <a:lnTo>
                    <a:pt x="289" y="13"/>
                  </a:lnTo>
                  <a:lnTo>
                    <a:pt x="289" y="17"/>
                  </a:lnTo>
                  <a:lnTo>
                    <a:pt x="285" y="13"/>
                  </a:lnTo>
                  <a:lnTo>
                    <a:pt x="285" y="13"/>
                  </a:lnTo>
                  <a:lnTo>
                    <a:pt x="282" y="17"/>
                  </a:lnTo>
                  <a:lnTo>
                    <a:pt x="282" y="17"/>
                  </a:lnTo>
                  <a:lnTo>
                    <a:pt x="289" y="20"/>
                  </a:lnTo>
                  <a:lnTo>
                    <a:pt x="289" y="23"/>
                  </a:lnTo>
                  <a:lnTo>
                    <a:pt x="289" y="23"/>
                  </a:lnTo>
                  <a:lnTo>
                    <a:pt x="285" y="20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5" y="26"/>
                  </a:lnTo>
                  <a:lnTo>
                    <a:pt x="282" y="26"/>
                  </a:lnTo>
                  <a:lnTo>
                    <a:pt x="278" y="26"/>
                  </a:lnTo>
                  <a:lnTo>
                    <a:pt x="278" y="26"/>
                  </a:lnTo>
                  <a:lnTo>
                    <a:pt x="275" y="30"/>
                  </a:lnTo>
                  <a:lnTo>
                    <a:pt x="271" y="30"/>
                  </a:lnTo>
                  <a:lnTo>
                    <a:pt x="271" y="30"/>
                  </a:lnTo>
                  <a:lnTo>
                    <a:pt x="275" y="33"/>
                  </a:lnTo>
                  <a:lnTo>
                    <a:pt x="271" y="33"/>
                  </a:lnTo>
                  <a:lnTo>
                    <a:pt x="271" y="36"/>
                  </a:lnTo>
                  <a:lnTo>
                    <a:pt x="271" y="39"/>
                  </a:lnTo>
                  <a:lnTo>
                    <a:pt x="271" y="39"/>
                  </a:lnTo>
                  <a:lnTo>
                    <a:pt x="275" y="42"/>
                  </a:lnTo>
                  <a:lnTo>
                    <a:pt x="275" y="42"/>
                  </a:lnTo>
                  <a:lnTo>
                    <a:pt x="275" y="42"/>
                  </a:lnTo>
                  <a:lnTo>
                    <a:pt x="268" y="42"/>
                  </a:lnTo>
                  <a:lnTo>
                    <a:pt x="268" y="39"/>
                  </a:lnTo>
                  <a:lnTo>
                    <a:pt x="265" y="39"/>
                  </a:lnTo>
                  <a:lnTo>
                    <a:pt x="268" y="36"/>
                  </a:lnTo>
                  <a:lnTo>
                    <a:pt x="265" y="36"/>
                  </a:lnTo>
                  <a:lnTo>
                    <a:pt x="261" y="36"/>
                  </a:lnTo>
                  <a:lnTo>
                    <a:pt x="258" y="36"/>
                  </a:lnTo>
                  <a:lnTo>
                    <a:pt x="251" y="33"/>
                  </a:lnTo>
                  <a:lnTo>
                    <a:pt x="247" y="33"/>
                  </a:lnTo>
                  <a:lnTo>
                    <a:pt x="247" y="33"/>
                  </a:lnTo>
                  <a:lnTo>
                    <a:pt x="247" y="33"/>
                  </a:lnTo>
                  <a:lnTo>
                    <a:pt x="244" y="33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4" y="39"/>
                  </a:lnTo>
                  <a:lnTo>
                    <a:pt x="247" y="39"/>
                  </a:lnTo>
                  <a:lnTo>
                    <a:pt x="247" y="42"/>
                  </a:lnTo>
                  <a:lnTo>
                    <a:pt x="251" y="42"/>
                  </a:lnTo>
                  <a:lnTo>
                    <a:pt x="251" y="46"/>
                  </a:lnTo>
                  <a:lnTo>
                    <a:pt x="251" y="49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1" y="52"/>
                  </a:lnTo>
                  <a:lnTo>
                    <a:pt x="247" y="49"/>
                  </a:lnTo>
                  <a:lnTo>
                    <a:pt x="244" y="46"/>
                  </a:lnTo>
                  <a:lnTo>
                    <a:pt x="244" y="46"/>
                  </a:lnTo>
                  <a:lnTo>
                    <a:pt x="241" y="49"/>
                  </a:lnTo>
                  <a:lnTo>
                    <a:pt x="237" y="49"/>
                  </a:lnTo>
                  <a:lnTo>
                    <a:pt x="237" y="46"/>
                  </a:lnTo>
                  <a:lnTo>
                    <a:pt x="234" y="49"/>
                  </a:lnTo>
                  <a:lnTo>
                    <a:pt x="234" y="49"/>
                  </a:lnTo>
                  <a:lnTo>
                    <a:pt x="230" y="52"/>
                  </a:lnTo>
                  <a:lnTo>
                    <a:pt x="234" y="55"/>
                  </a:lnTo>
                  <a:lnTo>
                    <a:pt x="237" y="55"/>
                  </a:lnTo>
                  <a:lnTo>
                    <a:pt x="237" y="59"/>
                  </a:lnTo>
                  <a:lnTo>
                    <a:pt x="234" y="59"/>
                  </a:lnTo>
                  <a:lnTo>
                    <a:pt x="234" y="59"/>
                  </a:lnTo>
                  <a:lnTo>
                    <a:pt x="230" y="62"/>
                  </a:lnTo>
                  <a:lnTo>
                    <a:pt x="230" y="62"/>
                  </a:lnTo>
                  <a:lnTo>
                    <a:pt x="227" y="65"/>
                  </a:lnTo>
                  <a:lnTo>
                    <a:pt x="227" y="65"/>
                  </a:lnTo>
                  <a:lnTo>
                    <a:pt x="227" y="62"/>
                  </a:lnTo>
                  <a:lnTo>
                    <a:pt x="227" y="59"/>
                  </a:lnTo>
                  <a:lnTo>
                    <a:pt x="230" y="55"/>
                  </a:lnTo>
                  <a:lnTo>
                    <a:pt x="227" y="46"/>
                  </a:lnTo>
                  <a:lnTo>
                    <a:pt x="223" y="49"/>
                  </a:lnTo>
                  <a:lnTo>
                    <a:pt x="220" y="55"/>
                  </a:lnTo>
                  <a:lnTo>
                    <a:pt x="220" y="59"/>
                  </a:lnTo>
                  <a:lnTo>
                    <a:pt x="220" y="59"/>
                  </a:lnTo>
                  <a:lnTo>
                    <a:pt x="216" y="62"/>
                  </a:lnTo>
                  <a:lnTo>
                    <a:pt x="216" y="59"/>
                  </a:lnTo>
                  <a:lnTo>
                    <a:pt x="220" y="55"/>
                  </a:lnTo>
                  <a:lnTo>
                    <a:pt x="220" y="52"/>
                  </a:lnTo>
                  <a:lnTo>
                    <a:pt x="216" y="52"/>
                  </a:lnTo>
                  <a:lnTo>
                    <a:pt x="213" y="52"/>
                  </a:lnTo>
                  <a:lnTo>
                    <a:pt x="210" y="59"/>
                  </a:lnTo>
                  <a:lnTo>
                    <a:pt x="213" y="62"/>
                  </a:lnTo>
                  <a:lnTo>
                    <a:pt x="213" y="62"/>
                  </a:lnTo>
                  <a:lnTo>
                    <a:pt x="216" y="65"/>
                  </a:lnTo>
                  <a:lnTo>
                    <a:pt x="216" y="68"/>
                  </a:lnTo>
                  <a:lnTo>
                    <a:pt x="216" y="72"/>
                  </a:lnTo>
                  <a:lnTo>
                    <a:pt x="213" y="68"/>
                  </a:lnTo>
                  <a:lnTo>
                    <a:pt x="210" y="65"/>
                  </a:lnTo>
                  <a:lnTo>
                    <a:pt x="210" y="62"/>
                  </a:lnTo>
                  <a:lnTo>
                    <a:pt x="206" y="59"/>
                  </a:lnTo>
                  <a:lnTo>
                    <a:pt x="203" y="62"/>
                  </a:lnTo>
                  <a:lnTo>
                    <a:pt x="203" y="65"/>
                  </a:lnTo>
                  <a:lnTo>
                    <a:pt x="206" y="68"/>
                  </a:lnTo>
                  <a:lnTo>
                    <a:pt x="210" y="68"/>
                  </a:lnTo>
                  <a:lnTo>
                    <a:pt x="210" y="68"/>
                  </a:lnTo>
                  <a:lnTo>
                    <a:pt x="206" y="68"/>
                  </a:lnTo>
                  <a:lnTo>
                    <a:pt x="203" y="68"/>
                  </a:lnTo>
                  <a:lnTo>
                    <a:pt x="206" y="72"/>
                  </a:lnTo>
                  <a:lnTo>
                    <a:pt x="203" y="68"/>
                  </a:lnTo>
                  <a:lnTo>
                    <a:pt x="203" y="65"/>
                  </a:lnTo>
                  <a:lnTo>
                    <a:pt x="199" y="65"/>
                  </a:lnTo>
                  <a:lnTo>
                    <a:pt x="199" y="62"/>
                  </a:lnTo>
                  <a:lnTo>
                    <a:pt x="196" y="65"/>
                  </a:lnTo>
                  <a:lnTo>
                    <a:pt x="196" y="68"/>
                  </a:lnTo>
                  <a:lnTo>
                    <a:pt x="199" y="72"/>
                  </a:lnTo>
                  <a:lnTo>
                    <a:pt x="196" y="75"/>
                  </a:lnTo>
                  <a:lnTo>
                    <a:pt x="192" y="72"/>
                  </a:lnTo>
                  <a:lnTo>
                    <a:pt x="192" y="72"/>
                  </a:lnTo>
                  <a:lnTo>
                    <a:pt x="189" y="78"/>
                  </a:lnTo>
                  <a:lnTo>
                    <a:pt x="189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89" y="78"/>
                  </a:lnTo>
                  <a:lnTo>
                    <a:pt x="189" y="81"/>
                  </a:lnTo>
                  <a:lnTo>
                    <a:pt x="189" y="81"/>
                  </a:lnTo>
                  <a:lnTo>
                    <a:pt x="189" y="84"/>
                  </a:lnTo>
                  <a:lnTo>
                    <a:pt x="185" y="84"/>
                  </a:lnTo>
                  <a:lnTo>
                    <a:pt x="185" y="84"/>
                  </a:lnTo>
                  <a:lnTo>
                    <a:pt x="185" y="88"/>
                  </a:lnTo>
                  <a:lnTo>
                    <a:pt x="185" y="88"/>
                  </a:lnTo>
                  <a:lnTo>
                    <a:pt x="182" y="84"/>
                  </a:lnTo>
                  <a:lnTo>
                    <a:pt x="179" y="84"/>
                  </a:lnTo>
                  <a:lnTo>
                    <a:pt x="179" y="88"/>
                  </a:lnTo>
                  <a:lnTo>
                    <a:pt x="179" y="91"/>
                  </a:lnTo>
                  <a:lnTo>
                    <a:pt x="179" y="91"/>
                  </a:lnTo>
                  <a:lnTo>
                    <a:pt x="175" y="91"/>
                  </a:lnTo>
                  <a:lnTo>
                    <a:pt x="172" y="94"/>
                  </a:lnTo>
                  <a:lnTo>
                    <a:pt x="175" y="94"/>
                  </a:lnTo>
                  <a:lnTo>
                    <a:pt x="182" y="94"/>
                  </a:lnTo>
                  <a:lnTo>
                    <a:pt x="185" y="94"/>
                  </a:lnTo>
                  <a:lnTo>
                    <a:pt x="189" y="91"/>
                  </a:lnTo>
                  <a:lnTo>
                    <a:pt x="192" y="91"/>
                  </a:lnTo>
                  <a:lnTo>
                    <a:pt x="192" y="94"/>
                  </a:lnTo>
                  <a:lnTo>
                    <a:pt x="189" y="97"/>
                  </a:lnTo>
                  <a:lnTo>
                    <a:pt x="189" y="101"/>
                  </a:lnTo>
                  <a:lnTo>
                    <a:pt x="185" y="101"/>
                  </a:lnTo>
                  <a:lnTo>
                    <a:pt x="185" y="101"/>
                  </a:lnTo>
                  <a:lnTo>
                    <a:pt x="185" y="97"/>
                  </a:lnTo>
                  <a:lnTo>
                    <a:pt x="182" y="101"/>
                  </a:lnTo>
                  <a:lnTo>
                    <a:pt x="182" y="97"/>
                  </a:lnTo>
                  <a:lnTo>
                    <a:pt x="175" y="97"/>
                  </a:lnTo>
                  <a:lnTo>
                    <a:pt x="179" y="97"/>
                  </a:lnTo>
                  <a:lnTo>
                    <a:pt x="175" y="101"/>
                  </a:lnTo>
                  <a:lnTo>
                    <a:pt x="175" y="101"/>
                  </a:lnTo>
                  <a:lnTo>
                    <a:pt x="172" y="101"/>
                  </a:lnTo>
                  <a:lnTo>
                    <a:pt x="175" y="101"/>
                  </a:lnTo>
                  <a:lnTo>
                    <a:pt x="175" y="104"/>
                  </a:lnTo>
                  <a:lnTo>
                    <a:pt x="175" y="104"/>
                  </a:lnTo>
                  <a:lnTo>
                    <a:pt x="172" y="107"/>
                  </a:lnTo>
                  <a:lnTo>
                    <a:pt x="172" y="107"/>
                  </a:lnTo>
                  <a:lnTo>
                    <a:pt x="172" y="110"/>
                  </a:lnTo>
                  <a:lnTo>
                    <a:pt x="172" y="107"/>
                  </a:lnTo>
                  <a:lnTo>
                    <a:pt x="172" y="104"/>
                  </a:lnTo>
                  <a:lnTo>
                    <a:pt x="168" y="101"/>
                  </a:lnTo>
                  <a:lnTo>
                    <a:pt x="165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61" y="101"/>
                  </a:lnTo>
                  <a:lnTo>
                    <a:pt x="161" y="101"/>
                  </a:lnTo>
                  <a:lnTo>
                    <a:pt x="158" y="104"/>
                  </a:lnTo>
                  <a:lnTo>
                    <a:pt x="161" y="107"/>
                  </a:lnTo>
                  <a:lnTo>
                    <a:pt x="165" y="107"/>
                  </a:lnTo>
                  <a:lnTo>
                    <a:pt x="168" y="107"/>
                  </a:lnTo>
                  <a:lnTo>
                    <a:pt x="165" y="110"/>
                  </a:lnTo>
                  <a:lnTo>
                    <a:pt x="158" y="110"/>
                  </a:lnTo>
                  <a:lnTo>
                    <a:pt x="158" y="110"/>
                  </a:lnTo>
                  <a:lnTo>
                    <a:pt x="155" y="110"/>
                  </a:lnTo>
                  <a:lnTo>
                    <a:pt x="155" y="114"/>
                  </a:lnTo>
                  <a:lnTo>
                    <a:pt x="155" y="117"/>
                  </a:lnTo>
                  <a:lnTo>
                    <a:pt x="155" y="117"/>
                  </a:lnTo>
                  <a:lnTo>
                    <a:pt x="155" y="117"/>
                  </a:lnTo>
                  <a:lnTo>
                    <a:pt x="158" y="114"/>
                  </a:lnTo>
                  <a:lnTo>
                    <a:pt x="161" y="114"/>
                  </a:lnTo>
                  <a:lnTo>
                    <a:pt x="165" y="117"/>
                  </a:lnTo>
                  <a:lnTo>
                    <a:pt x="158" y="117"/>
                  </a:lnTo>
                  <a:lnTo>
                    <a:pt x="158" y="120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65" y="126"/>
                  </a:lnTo>
                  <a:lnTo>
                    <a:pt x="161" y="126"/>
                  </a:lnTo>
                  <a:lnTo>
                    <a:pt x="158" y="126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1" y="123"/>
                  </a:lnTo>
                  <a:lnTo>
                    <a:pt x="155" y="126"/>
                  </a:lnTo>
                  <a:lnTo>
                    <a:pt x="151" y="126"/>
                  </a:lnTo>
                  <a:lnTo>
                    <a:pt x="148" y="130"/>
                  </a:lnTo>
                  <a:lnTo>
                    <a:pt x="148" y="130"/>
                  </a:lnTo>
                  <a:lnTo>
                    <a:pt x="151" y="133"/>
                  </a:lnTo>
                  <a:lnTo>
                    <a:pt x="155" y="130"/>
                  </a:lnTo>
                  <a:lnTo>
                    <a:pt x="158" y="133"/>
                  </a:lnTo>
                  <a:lnTo>
                    <a:pt x="158" y="130"/>
                  </a:lnTo>
                  <a:lnTo>
                    <a:pt x="161" y="133"/>
                  </a:lnTo>
                  <a:lnTo>
                    <a:pt x="161" y="136"/>
                  </a:lnTo>
                  <a:lnTo>
                    <a:pt x="161" y="136"/>
                  </a:lnTo>
                  <a:lnTo>
                    <a:pt x="158" y="133"/>
                  </a:lnTo>
                  <a:lnTo>
                    <a:pt x="155" y="133"/>
                  </a:lnTo>
                  <a:lnTo>
                    <a:pt x="151" y="136"/>
                  </a:lnTo>
                  <a:lnTo>
                    <a:pt x="148" y="136"/>
                  </a:lnTo>
                  <a:lnTo>
                    <a:pt x="148" y="139"/>
                  </a:lnTo>
                  <a:lnTo>
                    <a:pt x="144" y="139"/>
                  </a:lnTo>
                  <a:lnTo>
                    <a:pt x="141" y="139"/>
                  </a:lnTo>
                  <a:lnTo>
                    <a:pt x="137" y="139"/>
                  </a:lnTo>
                  <a:lnTo>
                    <a:pt x="134" y="139"/>
                  </a:lnTo>
                  <a:lnTo>
                    <a:pt x="134" y="143"/>
                  </a:lnTo>
                  <a:lnTo>
                    <a:pt x="137" y="143"/>
                  </a:lnTo>
                  <a:lnTo>
                    <a:pt x="141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4" y="146"/>
                  </a:lnTo>
                  <a:lnTo>
                    <a:pt x="137" y="149"/>
                  </a:lnTo>
                  <a:lnTo>
                    <a:pt x="137" y="149"/>
                  </a:lnTo>
                  <a:lnTo>
                    <a:pt x="134" y="149"/>
                  </a:lnTo>
                  <a:lnTo>
                    <a:pt x="134" y="149"/>
                  </a:lnTo>
                  <a:lnTo>
                    <a:pt x="130" y="149"/>
                  </a:lnTo>
                  <a:lnTo>
                    <a:pt x="134" y="152"/>
                  </a:lnTo>
                  <a:lnTo>
                    <a:pt x="130" y="152"/>
                  </a:lnTo>
                  <a:lnTo>
                    <a:pt x="134" y="156"/>
                  </a:lnTo>
                  <a:lnTo>
                    <a:pt x="134" y="156"/>
                  </a:lnTo>
                  <a:lnTo>
                    <a:pt x="134" y="156"/>
                  </a:lnTo>
                  <a:lnTo>
                    <a:pt x="130" y="156"/>
                  </a:lnTo>
                  <a:lnTo>
                    <a:pt x="127" y="156"/>
                  </a:lnTo>
                  <a:lnTo>
                    <a:pt x="127" y="156"/>
                  </a:lnTo>
                  <a:lnTo>
                    <a:pt x="127" y="159"/>
                  </a:lnTo>
                  <a:lnTo>
                    <a:pt x="130" y="159"/>
                  </a:lnTo>
                  <a:lnTo>
                    <a:pt x="134" y="159"/>
                  </a:lnTo>
                  <a:lnTo>
                    <a:pt x="134" y="162"/>
                  </a:lnTo>
                  <a:lnTo>
                    <a:pt x="137" y="162"/>
                  </a:lnTo>
                  <a:lnTo>
                    <a:pt x="141" y="162"/>
                  </a:lnTo>
                  <a:lnTo>
                    <a:pt x="137" y="162"/>
                  </a:lnTo>
                  <a:lnTo>
                    <a:pt x="137" y="165"/>
                  </a:lnTo>
                  <a:lnTo>
                    <a:pt x="134" y="165"/>
                  </a:lnTo>
                  <a:lnTo>
                    <a:pt x="134" y="165"/>
                  </a:lnTo>
                  <a:lnTo>
                    <a:pt x="127" y="165"/>
                  </a:lnTo>
                  <a:lnTo>
                    <a:pt x="124" y="165"/>
                  </a:lnTo>
                  <a:lnTo>
                    <a:pt x="127" y="168"/>
                  </a:lnTo>
                  <a:lnTo>
                    <a:pt x="130" y="168"/>
                  </a:lnTo>
                  <a:lnTo>
                    <a:pt x="130" y="168"/>
                  </a:lnTo>
                  <a:lnTo>
                    <a:pt x="130" y="172"/>
                  </a:lnTo>
                  <a:lnTo>
                    <a:pt x="130" y="175"/>
                  </a:lnTo>
                  <a:lnTo>
                    <a:pt x="130" y="172"/>
                  </a:lnTo>
                  <a:lnTo>
                    <a:pt x="127" y="172"/>
                  </a:lnTo>
                  <a:lnTo>
                    <a:pt x="127" y="175"/>
                  </a:lnTo>
                  <a:lnTo>
                    <a:pt x="127" y="175"/>
                  </a:lnTo>
                  <a:lnTo>
                    <a:pt x="124" y="175"/>
                  </a:lnTo>
                  <a:lnTo>
                    <a:pt x="127" y="178"/>
                  </a:lnTo>
                  <a:lnTo>
                    <a:pt x="127" y="181"/>
                  </a:lnTo>
                  <a:lnTo>
                    <a:pt x="127" y="181"/>
                  </a:lnTo>
                  <a:lnTo>
                    <a:pt x="124" y="178"/>
                  </a:lnTo>
                  <a:lnTo>
                    <a:pt x="124" y="178"/>
                  </a:lnTo>
                  <a:lnTo>
                    <a:pt x="124" y="181"/>
                  </a:lnTo>
                  <a:lnTo>
                    <a:pt x="127" y="181"/>
                  </a:lnTo>
                  <a:lnTo>
                    <a:pt x="127" y="185"/>
                  </a:lnTo>
                  <a:lnTo>
                    <a:pt x="127" y="185"/>
                  </a:lnTo>
                  <a:lnTo>
                    <a:pt x="120" y="185"/>
                  </a:lnTo>
                  <a:lnTo>
                    <a:pt x="120" y="185"/>
                  </a:lnTo>
                  <a:lnTo>
                    <a:pt x="120" y="188"/>
                  </a:lnTo>
                  <a:lnTo>
                    <a:pt x="120" y="188"/>
                  </a:lnTo>
                  <a:lnTo>
                    <a:pt x="120" y="191"/>
                  </a:lnTo>
                  <a:lnTo>
                    <a:pt x="124" y="194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27" y="191"/>
                  </a:lnTo>
                  <a:lnTo>
                    <a:pt x="127" y="194"/>
                  </a:lnTo>
                  <a:lnTo>
                    <a:pt x="124" y="194"/>
                  </a:lnTo>
                  <a:lnTo>
                    <a:pt x="120" y="198"/>
                  </a:lnTo>
                  <a:lnTo>
                    <a:pt x="117" y="198"/>
                  </a:lnTo>
                  <a:lnTo>
                    <a:pt x="117" y="198"/>
                  </a:lnTo>
                  <a:lnTo>
                    <a:pt x="117" y="201"/>
                  </a:lnTo>
                  <a:lnTo>
                    <a:pt x="113" y="201"/>
                  </a:lnTo>
                  <a:lnTo>
                    <a:pt x="110" y="204"/>
                  </a:lnTo>
                  <a:lnTo>
                    <a:pt x="113" y="204"/>
                  </a:lnTo>
                  <a:lnTo>
                    <a:pt x="110" y="204"/>
                  </a:lnTo>
                  <a:lnTo>
                    <a:pt x="106" y="204"/>
                  </a:lnTo>
                  <a:lnTo>
                    <a:pt x="103" y="207"/>
                  </a:lnTo>
                  <a:lnTo>
                    <a:pt x="103" y="210"/>
                  </a:lnTo>
                  <a:lnTo>
                    <a:pt x="110" y="210"/>
                  </a:lnTo>
                  <a:lnTo>
                    <a:pt x="106" y="210"/>
                  </a:lnTo>
                  <a:lnTo>
                    <a:pt x="103" y="214"/>
                  </a:lnTo>
                  <a:lnTo>
                    <a:pt x="99" y="214"/>
                  </a:lnTo>
                  <a:lnTo>
                    <a:pt x="99" y="210"/>
                  </a:lnTo>
                  <a:lnTo>
                    <a:pt x="99" y="210"/>
                  </a:lnTo>
                  <a:lnTo>
                    <a:pt x="96" y="214"/>
                  </a:lnTo>
                  <a:lnTo>
                    <a:pt x="96" y="214"/>
                  </a:lnTo>
                  <a:lnTo>
                    <a:pt x="96" y="214"/>
                  </a:lnTo>
                  <a:lnTo>
                    <a:pt x="93" y="217"/>
                  </a:lnTo>
                  <a:lnTo>
                    <a:pt x="93" y="217"/>
                  </a:lnTo>
                  <a:lnTo>
                    <a:pt x="96" y="220"/>
                  </a:lnTo>
                  <a:lnTo>
                    <a:pt x="89" y="220"/>
                  </a:lnTo>
                  <a:lnTo>
                    <a:pt x="89" y="220"/>
                  </a:lnTo>
                  <a:lnTo>
                    <a:pt x="89" y="223"/>
                  </a:lnTo>
                  <a:lnTo>
                    <a:pt x="86" y="227"/>
                  </a:lnTo>
                  <a:lnTo>
                    <a:pt x="86" y="227"/>
                  </a:lnTo>
                  <a:lnTo>
                    <a:pt x="86" y="230"/>
                  </a:lnTo>
                  <a:lnTo>
                    <a:pt x="82" y="233"/>
                  </a:lnTo>
                  <a:lnTo>
                    <a:pt x="79" y="233"/>
                  </a:lnTo>
                  <a:lnTo>
                    <a:pt x="79" y="236"/>
                  </a:lnTo>
                  <a:lnTo>
                    <a:pt x="86" y="233"/>
                  </a:lnTo>
                  <a:lnTo>
                    <a:pt x="86" y="233"/>
                  </a:lnTo>
                  <a:lnTo>
                    <a:pt x="86" y="236"/>
                  </a:lnTo>
                  <a:lnTo>
                    <a:pt x="82" y="236"/>
                  </a:lnTo>
                  <a:lnTo>
                    <a:pt x="82" y="240"/>
                  </a:lnTo>
                  <a:lnTo>
                    <a:pt x="86" y="243"/>
                  </a:lnTo>
                  <a:lnTo>
                    <a:pt x="89" y="240"/>
                  </a:lnTo>
                  <a:lnTo>
                    <a:pt x="93" y="240"/>
                  </a:lnTo>
                  <a:lnTo>
                    <a:pt x="99" y="233"/>
                  </a:lnTo>
                  <a:lnTo>
                    <a:pt x="99" y="233"/>
                  </a:lnTo>
                  <a:lnTo>
                    <a:pt x="96" y="233"/>
                  </a:lnTo>
                  <a:lnTo>
                    <a:pt x="99" y="230"/>
                  </a:lnTo>
                  <a:lnTo>
                    <a:pt x="99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6" y="227"/>
                  </a:lnTo>
                  <a:lnTo>
                    <a:pt x="110" y="227"/>
                  </a:lnTo>
                  <a:lnTo>
                    <a:pt x="103" y="230"/>
                  </a:lnTo>
                  <a:lnTo>
                    <a:pt x="103" y="230"/>
                  </a:lnTo>
                  <a:lnTo>
                    <a:pt x="110" y="233"/>
                  </a:lnTo>
                  <a:lnTo>
                    <a:pt x="106" y="233"/>
                  </a:lnTo>
                  <a:lnTo>
                    <a:pt x="103" y="233"/>
                  </a:lnTo>
                  <a:lnTo>
                    <a:pt x="99" y="240"/>
                  </a:lnTo>
                  <a:lnTo>
                    <a:pt x="103" y="240"/>
                  </a:lnTo>
                  <a:lnTo>
                    <a:pt x="99" y="243"/>
                  </a:lnTo>
                  <a:lnTo>
                    <a:pt x="99" y="246"/>
                  </a:lnTo>
                  <a:lnTo>
                    <a:pt x="96" y="246"/>
                  </a:lnTo>
                  <a:lnTo>
                    <a:pt x="93" y="243"/>
                  </a:lnTo>
                  <a:lnTo>
                    <a:pt x="89" y="243"/>
                  </a:lnTo>
                  <a:lnTo>
                    <a:pt x="86" y="246"/>
                  </a:lnTo>
                  <a:lnTo>
                    <a:pt x="86" y="246"/>
                  </a:lnTo>
                  <a:lnTo>
                    <a:pt x="86" y="249"/>
                  </a:lnTo>
                  <a:lnTo>
                    <a:pt x="82" y="249"/>
                  </a:lnTo>
                  <a:lnTo>
                    <a:pt x="82" y="249"/>
                  </a:lnTo>
                  <a:lnTo>
                    <a:pt x="86" y="246"/>
                  </a:lnTo>
                  <a:lnTo>
                    <a:pt x="82" y="246"/>
                  </a:lnTo>
                  <a:lnTo>
                    <a:pt x="82" y="243"/>
                  </a:lnTo>
                  <a:lnTo>
                    <a:pt x="79" y="240"/>
                  </a:lnTo>
                  <a:lnTo>
                    <a:pt x="79" y="240"/>
                  </a:lnTo>
                  <a:lnTo>
                    <a:pt x="75" y="240"/>
                  </a:lnTo>
                  <a:lnTo>
                    <a:pt x="72" y="240"/>
                  </a:lnTo>
                  <a:lnTo>
                    <a:pt x="72" y="243"/>
                  </a:lnTo>
                  <a:lnTo>
                    <a:pt x="75" y="243"/>
                  </a:lnTo>
                  <a:lnTo>
                    <a:pt x="72" y="246"/>
                  </a:lnTo>
                  <a:lnTo>
                    <a:pt x="69" y="246"/>
                  </a:lnTo>
                  <a:lnTo>
                    <a:pt x="65" y="246"/>
                  </a:lnTo>
                  <a:lnTo>
                    <a:pt x="62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9" y="249"/>
                  </a:lnTo>
                  <a:lnTo>
                    <a:pt x="65" y="249"/>
                  </a:lnTo>
                  <a:lnTo>
                    <a:pt x="62" y="252"/>
                  </a:lnTo>
                  <a:lnTo>
                    <a:pt x="62" y="252"/>
                  </a:lnTo>
                  <a:lnTo>
                    <a:pt x="58" y="252"/>
                  </a:lnTo>
                  <a:lnTo>
                    <a:pt x="58" y="252"/>
                  </a:lnTo>
                  <a:lnTo>
                    <a:pt x="62" y="256"/>
                  </a:lnTo>
                  <a:lnTo>
                    <a:pt x="65" y="256"/>
                  </a:lnTo>
                  <a:lnTo>
                    <a:pt x="65" y="256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2" y="259"/>
                  </a:lnTo>
                  <a:lnTo>
                    <a:pt x="62" y="256"/>
                  </a:lnTo>
                  <a:lnTo>
                    <a:pt x="58" y="256"/>
                  </a:lnTo>
                  <a:lnTo>
                    <a:pt x="55" y="252"/>
                  </a:lnTo>
                  <a:lnTo>
                    <a:pt x="55" y="252"/>
                  </a:lnTo>
                  <a:lnTo>
                    <a:pt x="55" y="252"/>
                  </a:lnTo>
                  <a:lnTo>
                    <a:pt x="51" y="256"/>
                  </a:lnTo>
                  <a:lnTo>
                    <a:pt x="55" y="259"/>
                  </a:lnTo>
                  <a:lnTo>
                    <a:pt x="58" y="262"/>
                  </a:lnTo>
                  <a:lnTo>
                    <a:pt x="62" y="262"/>
                  </a:lnTo>
                  <a:lnTo>
                    <a:pt x="65" y="262"/>
                  </a:lnTo>
                  <a:lnTo>
                    <a:pt x="62" y="262"/>
                  </a:lnTo>
                  <a:lnTo>
                    <a:pt x="55" y="262"/>
                  </a:lnTo>
                  <a:lnTo>
                    <a:pt x="51" y="256"/>
                  </a:lnTo>
                  <a:lnTo>
                    <a:pt x="48" y="259"/>
                  </a:lnTo>
                  <a:lnTo>
                    <a:pt x="44" y="256"/>
                  </a:lnTo>
                  <a:lnTo>
                    <a:pt x="41" y="256"/>
                  </a:lnTo>
                  <a:lnTo>
                    <a:pt x="41" y="252"/>
                  </a:lnTo>
                  <a:lnTo>
                    <a:pt x="38" y="256"/>
                  </a:lnTo>
                  <a:lnTo>
                    <a:pt x="38" y="259"/>
                  </a:lnTo>
                  <a:lnTo>
                    <a:pt x="38" y="259"/>
                  </a:lnTo>
                  <a:lnTo>
                    <a:pt x="41" y="262"/>
                  </a:lnTo>
                  <a:lnTo>
                    <a:pt x="44" y="262"/>
                  </a:lnTo>
                  <a:lnTo>
                    <a:pt x="48" y="262"/>
                  </a:lnTo>
                  <a:lnTo>
                    <a:pt x="44" y="262"/>
                  </a:lnTo>
                  <a:lnTo>
                    <a:pt x="44" y="265"/>
                  </a:lnTo>
                  <a:lnTo>
                    <a:pt x="51" y="262"/>
                  </a:lnTo>
                  <a:lnTo>
                    <a:pt x="51" y="262"/>
                  </a:lnTo>
                  <a:lnTo>
                    <a:pt x="51" y="265"/>
                  </a:lnTo>
                  <a:lnTo>
                    <a:pt x="44" y="265"/>
                  </a:lnTo>
                  <a:lnTo>
                    <a:pt x="44" y="269"/>
                  </a:lnTo>
                  <a:lnTo>
                    <a:pt x="41" y="269"/>
                  </a:lnTo>
                  <a:lnTo>
                    <a:pt x="38" y="265"/>
                  </a:lnTo>
                  <a:lnTo>
                    <a:pt x="34" y="265"/>
                  </a:lnTo>
                  <a:lnTo>
                    <a:pt x="34" y="265"/>
                  </a:lnTo>
                  <a:lnTo>
                    <a:pt x="31" y="262"/>
                  </a:lnTo>
                  <a:lnTo>
                    <a:pt x="27" y="265"/>
                  </a:lnTo>
                  <a:lnTo>
                    <a:pt x="27" y="262"/>
                  </a:lnTo>
                  <a:lnTo>
                    <a:pt x="24" y="265"/>
                  </a:lnTo>
                  <a:lnTo>
                    <a:pt x="24" y="265"/>
                  </a:lnTo>
                  <a:lnTo>
                    <a:pt x="31" y="269"/>
                  </a:lnTo>
                  <a:lnTo>
                    <a:pt x="34" y="269"/>
                  </a:lnTo>
                  <a:lnTo>
                    <a:pt x="38" y="272"/>
                  </a:lnTo>
                  <a:lnTo>
                    <a:pt x="38" y="275"/>
                  </a:lnTo>
                  <a:lnTo>
                    <a:pt x="38" y="275"/>
                  </a:lnTo>
                  <a:lnTo>
                    <a:pt x="38" y="278"/>
                  </a:lnTo>
                  <a:lnTo>
                    <a:pt x="34" y="275"/>
                  </a:lnTo>
                  <a:lnTo>
                    <a:pt x="34" y="272"/>
                  </a:lnTo>
                  <a:lnTo>
                    <a:pt x="31" y="272"/>
                  </a:lnTo>
                  <a:lnTo>
                    <a:pt x="27" y="272"/>
                  </a:lnTo>
                  <a:lnTo>
                    <a:pt x="31" y="275"/>
                  </a:lnTo>
                  <a:lnTo>
                    <a:pt x="31" y="275"/>
                  </a:lnTo>
                  <a:lnTo>
                    <a:pt x="24" y="272"/>
                  </a:lnTo>
                  <a:lnTo>
                    <a:pt x="20" y="275"/>
                  </a:lnTo>
                  <a:lnTo>
                    <a:pt x="24" y="278"/>
                  </a:lnTo>
                  <a:lnTo>
                    <a:pt x="20" y="278"/>
                  </a:lnTo>
                  <a:lnTo>
                    <a:pt x="20" y="278"/>
                  </a:lnTo>
                  <a:lnTo>
                    <a:pt x="20" y="275"/>
                  </a:lnTo>
                  <a:lnTo>
                    <a:pt x="13" y="275"/>
                  </a:lnTo>
                  <a:lnTo>
                    <a:pt x="13" y="278"/>
                  </a:lnTo>
                  <a:lnTo>
                    <a:pt x="13" y="282"/>
                  </a:lnTo>
                  <a:lnTo>
                    <a:pt x="10" y="278"/>
                  </a:lnTo>
                  <a:lnTo>
                    <a:pt x="10" y="275"/>
                  </a:lnTo>
                  <a:lnTo>
                    <a:pt x="7" y="275"/>
                  </a:lnTo>
                  <a:lnTo>
                    <a:pt x="7" y="278"/>
                  </a:lnTo>
                  <a:lnTo>
                    <a:pt x="10" y="282"/>
                  </a:lnTo>
                  <a:lnTo>
                    <a:pt x="10" y="282"/>
                  </a:lnTo>
                  <a:lnTo>
                    <a:pt x="10" y="285"/>
                  </a:lnTo>
                  <a:lnTo>
                    <a:pt x="13" y="282"/>
                  </a:lnTo>
                  <a:lnTo>
                    <a:pt x="20" y="285"/>
                  </a:lnTo>
                  <a:lnTo>
                    <a:pt x="24" y="285"/>
                  </a:lnTo>
                  <a:lnTo>
                    <a:pt x="31" y="285"/>
                  </a:lnTo>
                  <a:lnTo>
                    <a:pt x="31" y="285"/>
                  </a:lnTo>
                  <a:lnTo>
                    <a:pt x="34" y="285"/>
                  </a:lnTo>
                  <a:lnTo>
                    <a:pt x="31" y="288"/>
                  </a:lnTo>
                  <a:lnTo>
                    <a:pt x="27" y="288"/>
                  </a:lnTo>
                  <a:lnTo>
                    <a:pt x="24" y="288"/>
                  </a:lnTo>
                  <a:lnTo>
                    <a:pt x="17" y="285"/>
                  </a:lnTo>
                  <a:lnTo>
                    <a:pt x="13" y="285"/>
                  </a:lnTo>
                  <a:lnTo>
                    <a:pt x="13" y="285"/>
                  </a:lnTo>
                  <a:lnTo>
                    <a:pt x="10" y="288"/>
                  </a:lnTo>
                  <a:lnTo>
                    <a:pt x="7" y="288"/>
                  </a:lnTo>
                  <a:lnTo>
                    <a:pt x="7" y="288"/>
                  </a:lnTo>
                  <a:lnTo>
                    <a:pt x="10" y="291"/>
                  </a:lnTo>
                  <a:lnTo>
                    <a:pt x="10" y="294"/>
                  </a:lnTo>
                  <a:lnTo>
                    <a:pt x="13" y="294"/>
                  </a:lnTo>
                  <a:lnTo>
                    <a:pt x="13" y="294"/>
                  </a:lnTo>
                  <a:lnTo>
                    <a:pt x="20" y="294"/>
                  </a:lnTo>
                  <a:lnTo>
                    <a:pt x="17" y="294"/>
                  </a:lnTo>
                  <a:lnTo>
                    <a:pt x="10" y="294"/>
                  </a:lnTo>
                  <a:lnTo>
                    <a:pt x="10" y="294"/>
                  </a:lnTo>
                  <a:lnTo>
                    <a:pt x="7" y="294"/>
                  </a:lnTo>
                  <a:lnTo>
                    <a:pt x="7" y="298"/>
                  </a:lnTo>
                  <a:lnTo>
                    <a:pt x="10" y="298"/>
                  </a:lnTo>
                  <a:lnTo>
                    <a:pt x="10" y="298"/>
                  </a:lnTo>
                  <a:lnTo>
                    <a:pt x="10" y="298"/>
                  </a:lnTo>
                  <a:lnTo>
                    <a:pt x="7" y="301"/>
                  </a:lnTo>
                  <a:lnTo>
                    <a:pt x="7" y="301"/>
                  </a:lnTo>
                  <a:lnTo>
                    <a:pt x="10" y="301"/>
                  </a:lnTo>
                  <a:lnTo>
                    <a:pt x="10" y="304"/>
                  </a:lnTo>
                  <a:lnTo>
                    <a:pt x="13" y="304"/>
                  </a:lnTo>
                  <a:lnTo>
                    <a:pt x="17" y="301"/>
                  </a:lnTo>
                  <a:lnTo>
                    <a:pt x="24" y="301"/>
                  </a:lnTo>
                  <a:lnTo>
                    <a:pt x="27" y="301"/>
                  </a:lnTo>
                  <a:lnTo>
                    <a:pt x="27" y="304"/>
                  </a:lnTo>
                  <a:lnTo>
                    <a:pt x="31" y="301"/>
                  </a:lnTo>
                  <a:lnTo>
                    <a:pt x="31" y="301"/>
                  </a:lnTo>
                  <a:lnTo>
                    <a:pt x="34" y="298"/>
                  </a:lnTo>
                  <a:lnTo>
                    <a:pt x="34" y="301"/>
                  </a:lnTo>
                  <a:lnTo>
                    <a:pt x="38" y="301"/>
                  </a:lnTo>
                  <a:lnTo>
                    <a:pt x="41" y="298"/>
                  </a:lnTo>
                  <a:lnTo>
                    <a:pt x="44" y="298"/>
                  </a:lnTo>
                  <a:lnTo>
                    <a:pt x="41" y="301"/>
                  </a:lnTo>
                  <a:lnTo>
                    <a:pt x="41" y="301"/>
                  </a:lnTo>
                  <a:lnTo>
                    <a:pt x="44" y="301"/>
                  </a:lnTo>
                  <a:lnTo>
                    <a:pt x="48" y="301"/>
                  </a:lnTo>
                  <a:lnTo>
                    <a:pt x="44" y="298"/>
                  </a:lnTo>
                  <a:lnTo>
                    <a:pt x="48" y="294"/>
                  </a:lnTo>
                  <a:lnTo>
                    <a:pt x="48" y="298"/>
                  </a:lnTo>
                  <a:lnTo>
                    <a:pt x="51" y="301"/>
                  </a:lnTo>
                  <a:lnTo>
                    <a:pt x="48" y="304"/>
                  </a:lnTo>
                  <a:lnTo>
                    <a:pt x="44" y="304"/>
                  </a:lnTo>
                  <a:lnTo>
                    <a:pt x="41" y="307"/>
                  </a:lnTo>
                  <a:lnTo>
                    <a:pt x="41" y="307"/>
                  </a:lnTo>
                  <a:lnTo>
                    <a:pt x="41" y="311"/>
                  </a:lnTo>
                  <a:lnTo>
                    <a:pt x="38" y="311"/>
                  </a:lnTo>
                  <a:lnTo>
                    <a:pt x="34" y="307"/>
                  </a:lnTo>
                  <a:lnTo>
                    <a:pt x="38" y="307"/>
                  </a:lnTo>
                  <a:lnTo>
                    <a:pt x="38" y="304"/>
                  </a:lnTo>
                  <a:lnTo>
                    <a:pt x="34" y="304"/>
                  </a:lnTo>
                  <a:lnTo>
                    <a:pt x="31" y="307"/>
                  </a:lnTo>
                  <a:lnTo>
                    <a:pt x="31" y="307"/>
                  </a:lnTo>
                  <a:lnTo>
                    <a:pt x="27" y="304"/>
                  </a:lnTo>
                  <a:lnTo>
                    <a:pt x="24" y="304"/>
                  </a:lnTo>
                  <a:lnTo>
                    <a:pt x="20" y="304"/>
                  </a:lnTo>
                  <a:lnTo>
                    <a:pt x="17" y="304"/>
                  </a:lnTo>
                  <a:lnTo>
                    <a:pt x="13" y="307"/>
                  </a:lnTo>
                  <a:lnTo>
                    <a:pt x="10" y="307"/>
                  </a:lnTo>
                  <a:lnTo>
                    <a:pt x="7" y="304"/>
                  </a:lnTo>
                  <a:lnTo>
                    <a:pt x="7" y="304"/>
                  </a:lnTo>
                  <a:lnTo>
                    <a:pt x="7" y="307"/>
                  </a:lnTo>
                  <a:lnTo>
                    <a:pt x="7" y="311"/>
                  </a:lnTo>
                  <a:lnTo>
                    <a:pt x="7" y="311"/>
                  </a:lnTo>
                  <a:lnTo>
                    <a:pt x="10" y="311"/>
                  </a:lnTo>
                  <a:lnTo>
                    <a:pt x="13" y="311"/>
                  </a:lnTo>
                  <a:lnTo>
                    <a:pt x="13" y="311"/>
                  </a:lnTo>
                  <a:lnTo>
                    <a:pt x="13" y="311"/>
                  </a:lnTo>
                  <a:lnTo>
                    <a:pt x="13" y="314"/>
                  </a:lnTo>
                  <a:lnTo>
                    <a:pt x="10" y="317"/>
                  </a:lnTo>
                  <a:lnTo>
                    <a:pt x="7" y="314"/>
                  </a:lnTo>
                  <a:lnTo>
                    <a:pt x="10" y="317"/>
                  </a:lnTo>
                  <a:lnTo>
                    <a:pt x="10" y="320"/>
                  </a:lnTo>
                  <a:lnTo>
                    <a:pt x="17" y="314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20"/>
                  </a:lnTo>
                  <a:lnTo>
                    <a:pt x="17" y="320"/>
                  </a:lnTo>
                  <a:lnTo>
                    <a:pt x="17" y="324"/>
                  </a:lnTo>
                  <a:lnTo>
                    <a:pt x="20" y="324"/>
                  </a:lnTo>
                  <a:lnTo>
                    <a:pt x="17" y="327"/>
                  </a:lnTo>
                  <a:lnTo>
                    <a:pt x="20" y="327"/>
                  </a:lnTo>
                  <a:lnTo>
                    <a:pt x="17" y="330"/>
                  </a:lnTo>
                  <a:lnTo>
                    <a:pt x="20" y="330"/>
                  </a:lnTo>
                  <a:lnTo>
                    <a:pt x="20" y="327"/>
                  </a:lnTo>
                  <a:lnTo>
                    <a:pt x="24" y="327"/>
                  </a:lnTo>
                  <a:lnTo>
                    <a:pt x="24" y="324"/>
                  </a:lnTo>
                  <a:lnTo>
                    <a:pt x="31" y="320"/>
                  </a:lnTo>
                  <a:lnTo>
                    <a:pt x="34" y="320"/>
                  </a:lnTo>
                  <a:lnTo>
                    <a:pt x="38" y="320"/>
                  </a:lnTo>
                  <a:lnTo>
                    <a:pt x="38" y="320"/>
                  </a:lnTo>
                  <a:lnTo>
                    <a:pt x="34" y="324"/>
                  </a:lnTo>
                  <a:lnTo>
                    <a:pt x="34" y="327"/>
                  </a:lnTo>
                  <a:lnTo>
                    <a:pt x="34" y="330"/>
                  </a:lnTo>
                  <a:lnTo>
                    <a:pt x="31" y="327"/>
                  </a:lnTo>
                  <a:lnTo>
                    <a:pt x="31" y="324"/>
                  </a:lnTo>
                  <a:lnTo>
                    <a:pt x="27" y="324"/>
                  </a:lnTo>
                  <a:lnTo>
                    <a:pt x="27" y="327"/>
                  </a:lnTo>
                  <a:lnTo>
                    <a:pt x="24" y="330"/>
                  </a:lnTo>
                  <a:lnTo>
                    <a:pt x="27" y="330"/>
                  </a:lnTo>
                  <a:lnTo>
                    <a:pt x="24" y="333"/>
                  </a:lnTo>
                  <a:lnTo>
                    <a:pt x="24" y="333"/>
                  </a:lnTo>
                  <a:lnTo>
                    <a:pt x="20" y="336"/>
                  </a:lnTo>
                  <a:lnTo>
                    <a:pt x="24" y="336"/>
                  </a:lnTo>
                  <a:lnTo>
                    <a:pt x="27" y="336"/>
                  </a:lnTo>
                  <a:lnTo>
                    <a:pt x="31" y="336"/>
                  </a:lnTo>
                  <a:lnTo>
                    <a:pt x="27" y="340"/>
                  </a:lnTo>
                  <a:lnTo>
                    <a:pt x="24" y="340"/>
                  </a:lnTo>
                  <a:lnTo>
                    <a:pt x="24" y="343"/>
                  </a:lnTo>
                  <a:lnTo>
                    <a:pt x="20" y="340"/>
                  </a:lnTo>
                  <a:lnTo>
                    <a:pt x="17" y="340"/>
                  </a:lnTo>
                  <a:lnTo>
                    <a:pt x="17" y="343"/>
                  </a:lnTo>
                  <a:lnTo>
                    <a:pt x="17" y="340"/>
                  </a:lnTo>
                  <a:lnTo>
                    <a:pt x="13" y="343"/>
                  </a:lnTo>
                  <a:lnTo>
                    <a:pt x="10" y="346"/>
                  </a:lnTo>
                  <a:lnTo>
                    <a:pt x="13" y="349"/>
                  </a:lnTo>
                  <a:lnTo>
                    <a:pt x="17" y="353"/>
                  </a:lnTo>
                  <a:lnTo>
                    <a:pt x="17" y="349"/>
                  </a:lnTo>
                  <a:lnTo>
                    <a:pt x="20" y="353"/>
                  </a:lnTo>
                  <a:lnTo>
                    <a:pt x="24" y="349"/>
                  </a:lnTo>
                  <a:lnTo>
                    <a:pt x="20" y="349"/>
                  </a:lnTo>
                  <a:lnTo>
                    <a:pt x="24" y="346"/>
                  </a:lnTo>
                  <a:lnTo>
                    <a:pt x="27" y="349"/>
                  </a:lnTo>
                  <a:lnTo>
                    <a:pt x="24" y="349"/>
                  </a:lnTo>
                  <a:lnTo>
                    <a:pt x="27" y="353"/>
                  </a:lnTo>
                  <a:lnTo>
                    <a:pt x="27" y="353"/>
                  </a:lnTo>
                  <a:lnTo>
                    <a:pt x="24" y="356"/>
                  </a:lnTo>
                  <a:lnTo>
                    <a:pt x="27" y="359"/>
                  </a:lnTo>
                  <a:lnTo>
                    <a:pt x="27" y="359"/>
                  </a:lnTo>
                  <a:lnTo>
                    <a:pt x="34" y="356"/>
                  </a:lnTo>
                  <a:lnTo>
                    <a:pt x="34" y="359"/>
                  </a:lnTo>
                  <a:lnTo>
                    <a:pt x="31" y="359"/>
                  </a:lnTo>
                  <a:lnTo>
                    <a:pt x="31" y="362"/>
                  </a:lnTo>
                  <a:lnTo>
                    <a:pt x="31" y="362"/>
                  </a:lnTo>
                  <a:lnTo>
                    <a:pt x="31" y="365"/>
                  </a:lnTo>
                  <a:lnTo>
                    <a:pt x="24" y="362"/>
                  </a:lnTo>
                  <a:lnTo>
                    <a:pt x="20" y="362"/>
                  </a:lnTo>
                  <a:lnTo>
                    <a:pt x="20" y="359"/>
                  </a:lnTo>
                  <a:lnTo>
                    <a:pt x="17" y="359"/>
                  </a:lnTo>
                  <a:lnTo>
                    <a:pt x="17" y="362"/>
                  </a:lnTo>
                  <a:lnTo>
                    <a:pt x="13" y="365"/>
                  </a:lnTo>
                  <a:lnTo>
                    <a:pt x="20" y="372"/>
                  </a:lnTo>
                  <a:lnTo>
                    <a:pt x="24" y="372"/>
                  </a:lnTo>
                  <a:lnTo>
                    <a:pt x="27" y="375"/>
                  </a:lnTo>
                  <a:lnTo>
                    <a:pt x="34" y="378"/>
                  </a:lnTo>
                  <a:lnTo>
                    <a:pt x="38" y="382"/>
                  </a:lnTo>
                  <a:lnTo>
                    <a:pt x="34" y="382"/>
                  </a:lnTo>
                  <a:lnTo>
                    <a:pt x="38" y="385"/>
                  </a:lnTo>
                  <a:lnTo>
                    <a:pt x="41" y="382"/>
                  </a:lnTo>
                  <a:lnTo>
                    <a:pt x="38" y="378"/>
                  </a:lnTo>
                  <a:lnTo>
                    <a:pt x="41" y="378"/>
                  </a:lnTo>
                  <a:lnTo>
                    <a:pt x="44" y="382"/>
                  </a:lnTo>
                  <a:lnTo>
                    <a:pt x="44" y="382"/>
                  </a:lnTo>
                  <a:lnTo>
                    <a:pt x="48" y="385"/>
                  </a:lnTo>
                  <a:lnTo>
                    <a:pt x="48" y="385"/>
                  </a:lnTo>
                  <a:lnTo>
                    <a:pt x="51" y="385"/>
                  </a:lnTo>
                  <a:lnTo>
                    <a:pt x="55" y="382"/>
                  </a:lnTo>
                  <a:lnTo>
                    <a:pt x="58" y="378"/>
                  </a:lnTo>
                  <a:lnTo>
                    <a:pt x="58" y="378"/>
                  </a:lnTo>
                  <a:lnTo>
                    <a:pt x="62" y="378"/>
                  </a:lnTo>
                  <a:lnTo>
                    <a:pt x="62" y="378"/>
                  </a:lnTo>
                  <a:lnTo>
                    <a:pt x="62" y="382"/>
                  </a:lnTo>
                  <a:lnTo>
                    <a:pt x="65" y="382"/>
                  </a:lnTo>
                  <a:lnTo>
                    <a:pt x="72" y="375"/>
                  </a:lnTo>
                  <a:lnTo>
                    <a:pt x="72" y="372"/>
                  </a:lnTo>
                  <a:lnTo>
                    <a:pt x="69" y="369"/>
                  </a:lnTo>
                  <a:lnTo>
                    <a:pt x="75" y="372"/>
                  </a:lnTo>
                  <a:lnTo>
                    <a:pt x="79" y="369"/>
                  </a:lnTo>
                  <a:lnTo>
                    <a:pt x="75" y="369"/>
                  </a:lnTo>
                  <a:lnTo>
                    <a:pt x="79" y="365"/>
                  </a:lnTo>
                  <a:lnTo>
                    <a:pt x="79" y="365"/>
                  </a:lnTo>
                  <a:lnTo>
                    <a:pt x="82" y="362"/>
                  </a:lnTo>
                  <a:lnTo>
                    <a:pt x="86" y="362"/>
                  </a:lnTo>
                  <a:lnTo>
                    <a:pt x="86" y="359"/>
                  </a:lnTo>
                  <a:lnTo>
                    <a:pt x="82" y="356"/>
                  </a:lnTo>
                  <a:lnTo>
                    <a:pt x="82" y="356"/>
                  </a:lnTo>
                  <a:lnTo>
                    <a:pt x="82" y="353"/>
                  </a:lnTo>
                  <a:lnTo>
                    <a:pt x="79" y="349"/>
                  </a:lnTo>
                  <a:lnTo>
                    <a:pt x="79" y="346"/>
                  </a:lnTo>
                  <a:lnTo>
                    <a:pt x="79" y="349"/>
                  </a:lnTo>
                  <a:lnTo>
                    <a:pt x="82" y="353"/>
                  </a:lnTo>
                  <a:lnTo>
                    <a:pt x="86" y="356"/>
                  </a:lnTo>
                  <a:lnTo>
                    <a:pt x="86" y="356"/>
                  </a:lnTo>
                  <a:lnTo>
                    <a:pt x="89" y="359"/>
                  </a:lnTo>
                  <a:lnTo>
                    <a:pt x="89" y="359"/>
                  </a:lnTo>
                  <a:lnTo>
                    <a:pt x="89" y="362"/>
                  </a:lnTo>
                  <a:lnTo>
                    <a:pt x="93" y="359"/>
                  </a:lnTo>
                  <a:lnTo>
                    <a:pt x="93" y="359"/>
                  </a:lnTo>
                  <a:lnTo>
                    <a:pt x="89" y="356"/>
                  </a:lnTo>
                  <a:lnTo>
                    <a:pt x="93" y="356"/>
                  </a:lnTo>
                  <a:lnTo>
                    <a:pt x="96" y="356"/>
                  </a:lnTo>
                  <a:lnTo>
                    <a:pt x="96" y="359"/>
                  </a:lnTo>
                  <a:lnTo>
                    <a:pt x="99" y="356"/>
                  </a:lnTo>
                  <a:lnTo>
                    <a:pt x="103" y="353"/>
                  </a:lnTo>
                  <a:lnTo>
                    <a:pt x="99" y="349"/>
                  </a:lnTo>
                  <a:lnTo>
                    <a:pt x="96" y="346"/>
                  </a:lnTo>
                  <a:lnTo>
                    <a:pt x="96" y="346"/>
                  </a:lnTo>
                  <a:lnTo>
                    <a:pt x="99" y="343"/>
                  </a:lnTo>
                  <a:lnTo>
                    <a:pt x="99" y="343"/>
                  </a:lnTo>
                  <a:lnTo>
                    <a:pt x="99" y="343"/>
                  </a:lnTo>
                  <a:lnTo>
                    <a:pt x="103" y="340"/>
                  </a:lnTo>
                  <a:lnTo>
                    <a:pt x="99" y="340"/>
                  </a:lnTo>
                  <a:lnTo>
                    <a:pt x="99" y="336"/>
                  </a:lnTo>
                  <a:lnTo>
                    <a:pt x="103" y="333"/>
                  </a:lnTo>
                  <a:lnTo>
                    <a:pt x="106" y="336"/>
                  </a:lnTo>
                  <a:lnTo>
                    <a:pt x="103" y="340"/>
                  </a:lnTo>
                  <a:lnTo>
                    <a:pt x="103" y="343"/>
                  </a:lnTo>
                  <a:lnTo>
                    <a:pt x="103" y="346"/>
                  </a:lnTo>
                  <a:lnTo>
                    <a:pt x="106" y="349"/>
                  </a:lnTo>
                  <a:lnTo>
                    <a:pt x="106" y="353"/>
                  </a:lnTo>
                  <a:lnTo>
                    <a:pt x="110" y="356"/>
                  </a:lnTo>
                  <a:lnTo>
                    <a:pt x="113" y="356"/>
                  </a:lnTo>
                  <a:lnTo>
                    <a:pt x="117" y="356"/>
                  </a:lnTo>
                  <a:lnTo>
                    <a:pt x="117" y="356"/>
                  </a:lnTo>
                  <a:lnTo>
                    <a:pt x="117" y="359"/>
                  </a:lnTo>
                  <a:lnTo>
                    <a:pt x="120" y="362"/>
                  </a:lnTo>
                  <a:lnTo>
                    <a:pt x="124" y="359"/>
                  </a:lnTo>
                  <a:lnTo>
                    <a:pt x="120" y="349"/>
                  </a:lnTo>
                  <a:lnTo>
                    <a:pt x="120" y="343"/>
                  </a:lnTo>
                  <a:lnTo>
                    <a:pt x="120" y="340"/>
                  </a:lnTo>
                  <a:lnTo>
                    <a:pt x="124" y="340"/>
                  </a:lnTo>
                  <a:lnTo>
                    <a:pt x="120" y="336"/>
                  </a:lnTo>
                  <a:lnTo>
                    <a:pt x="124" y="333"/>
                  </a:lnTo>
                  <a:lnTo>
                    <a:pt x="127" y="333"/>
                  </a:lnTo>
                  <a:lnTo>
                    <a:pt x="130" y="333"/>
                  </a:lnTo>
                  <a:lnTo>
                    <a:pt x="130" y="327"/>
                  </a:lnTo>
                  <a:lnTo>
                    <a:pt x="130" y="324"/>
                  </a:lnTo>
                  <a:lnTo>
                    <a:pt x="130" y="320"/>
                  </a:lnTo>
                  <a:lnTo>
                    <a:pt x="127" y="314"/>
                  </a:lnTo>
                  <a:lnTo>
                    <a:pt x="124" y="307"/>
                  </a:lnTo>
                  <a:lnTo>
                    <a:pt x="124" y="304"/>
                  </a:lnTo>
                  <a:lnTo>
                    <a:pt x="134" y="301"/>
                  </a:lnTo>
                  <a:lnTo>
                    <a:pt x="134" y="294"/>
                  </a:lnTo>
                  <a:lnTo>
                    <a:pt x="134" y="291"/>
                  </a:lnTo>
                  <a:lnTo>
                    <a:pt x="127" y="285"/>
                  </a:lnTo>
                  <a:lnTo>
                    <a:pt x="124" y="285"/>
                  </a:lnTo>
                  <a:lnTo>
                    <a:pt x="124" y="278"/>
                  </a:lnTo>
                  <a:lnTo>
                    <a:pt x="124" y="272"/>
                  </a:lnTo>
                  <a:lnTo>
                    <a:pt x="124" y="265"/>
                  </a:lnTo>
                  <a:lnTo>
                    <a:pt x="120" y="259"/>
                  </a:lnTo>
                  <a:lnTo>
                    <a:pt x="124" y="256"/>
                  </a:lnTo>
                  <a:lnTo>
                    <a:pt x="120" y="246"/>
                  </a:lnTo>
                  <a:lnTo>
                    <a:pt x="120" y="240"/>
                  </a:lnTo>
                  <a:lnTo>
                    <a:pt x="120" y="230"/>
                  </a:lnTo>
                  <a:lnTo>
                    <a:pt x="127" y="223"/>
                  </a:lnTo>
                  <a:lnTo>
                    <a:pt x="130" y="223"/>
                  </a:lnTo>
                  <a:lnTo>
                    <a:pt x="134" y="223"/>
                  </a:lnTo>
                  <a:lnTo>
                    <a:pt x="141" y="223"/>
                  </a:lnTo>
                  <a:lnTo>
                    <a:pt x="144" y="220"/>
                  </a:lnTo>
                  <a:lnTo>
                    <a:pt x="144" y="214"/>
                  </a:lnTo>
                  <a:lnTo>
                    <a:pt x="141" y="210"/>
                  </a:lnTo>
                  <a:lnTo>
                    <a:pt x="144" y="207"/>
                  </a:lnTo>
                  <a:lnTo>
                    <a:pt x="148" y="194"/>
                  </a:lnTo>
                  <a:lnTo>
                    <a:pt x="151" y="185"/>
                  </a:lnTo>
                  <a:lnTo>
                    <a:pt x="151" y="178"/>
                  </a:lnTo>
                  <a:lnTo>
                    <a:pt x="155" y="175"/>
                  </a:lnTo>
                  <a:lnTo>
                    <a:pt x="155" y="168"/>
                  </a:lnTo>
                  <a:lnTo>
                    <a:pt x="151" y="165"/>
                  </a:lnTo>
                  <a:lnTo>
                    <a:pt x="151" y="162"/>
                  </a:lnTo>
                  <a:lnTo>
                    <a:pt x="158" y="159"/>
                  </a:lnTo>
                  <a:lnTo>
                    <a:pt x="165" y="159"/>
                  </a:lnTo>
                  <a:lnTo>
                    <a:pt x="165" y="156"/>
                  </a:lnTo>
                  <a:lnTo>
                    <a:pt x="168" y="152"/>
                  </a:lnTo>
                  <a:lnTo>
                    <a:pt x="172" y="146"/>
                  </a:lnTo>
                  <a:lnTo>
                    <a:pt x="179" y="139"/>
                  </a:lnTo>
                  <a:lnTo>
                    <a:pt x="179" y="136"/>
                  </a:lnTo>
                  <a:lnTo>
                    <a:pt x="179" y="130"/>
                  </a:lnTo>
                  <a:lnTo>
                    <a:pt x="175" y="130"/>
                  </a:lnTo>
                  <a:lnTo>
                    <a:pt x="175" y="120"/>
                  </a:lnTo>
                  <a:lnTo>
                    <a:pt x="179" y="120"/>
                  </a:lnTo>
                  <a:lnTo>
                    <a:pt x="179" y="117"/>
                  </a:lnTo>
                  <a:lnTo>
                    <a:pt x="182" y="114"/>
                  </a:lnTo>
                  <a:lnTo>
                    <a:pt x="182" y="110"/>
                  </a:lnTo>
                  <a:lnTo>
                    <a:pt x="185" y="107"/>
                  </a:lnTo>
                  <a:lnTo>
                    <a:pt x="189" y="104"/>
                  </a:lnTo>
                  <a:lnTo>
                    <a:pt x="196" y="104"/>
                  </a:lnTo>
                  <a:lnTo>
                    <a:pt x="196" y="107"/>
                  </a:lnTo>
                  <a:lnTo>
                    <a:pt x="199" y="107"/>
                  </a:lnTo>
                  <a:lnTo>
                    <a:pt x="203" y="104"/>
                  </a:lnTo>
                  <a:lnTo>
                    <a:pt x="199" y="101"/>
                  </a:lnTo>
                  <a:lnTo>
                    <a:pt x="203" y="101"/>
                  </a:lnTo>
                  <a:lnTo>
                    <a:pt x="203" y="97"/>
                  </a:lnTo>
                  <a:lnTo>
                    <a:pt x="203" y="97"/>
                  </a:lnTo>
                  <a:lnTo>
                    <a:pt x="199" y="91"/>
                  </a:lnTo>
                  <a:lnTo>
                    <a:pt x="203" y="91"/>
                  </a:lnTo>
                  <a:lnTo>
                    <a:pt x="206" y="91"/>
                  </a:lnTo>
                  <a:lnTo>
                    <a:pt x="213" y="88"/>
                  </a:lnTo>
                  <a:lnTo>
                    <a:pt x="216" y="91"/>
                  </a:lnTo>
                  <a:lnTo>
                    <a:pt x="223" y="91"/>
                  </a:lnTo>
                  <a:lnTo>
                    <a:pt x="227" y="94"/>
                  </a:lnTo>
                  <a:lnTo>
                    <a:pt x="230" y="94"/>
                  </a:lnTo>
                  <a:lnTo>
                    <a:pt x="230" y="94"/>
                  </a:lnTo>
                  <a:lnTo>
                    <a:pt x="234" y="94"/>
                  </a:lnTo>
                  <a:lnTo>
                    <a:pt x="234" y="91"/>
                  </a:lnTo>
                  <a:lnTo>
                    <a:pt x="230" y="88"/>
                  </a:lnTo>
                  <a:lnTo>
                    <a:pt x="230" y="84"/>
                  </a:lnTo>
                  <a:lnTo>
                    <a:pt x="234" y="81"/>
                  </a:lnTo>
                  <a:lnTo>
                    <a:pt x="234" y="78"/>
                  </a:lnTo>
                  <a:lnTo>
                    <a:pt x="230" y="78"/>
                  </a:lnTo>
                  <a:lnTo>
                    <a:pt x="230" y="75"/>
                  </a:lnTo>
                  <a:lnTo>
                    <a:pt x="234" y="75"/>
                  </a:lnTo>
                  <a:lnTo>
                    <a:pt x="237" y="75"/>
                  </a:lnTo>
                  <a:lnTo>
                    <a:pt x="241" y="75"/>
                  </a:lnTo>
                  <a:lnTo>
                    <a:pt x="241" y="75"/>
                  </a:lnTo>
                  <a:lnTo>
                    <a:pt x="241" y="72"/>
                  </a:lnTo>
                  <a:lnTo>
                    <a:pt x="244" y="75"/>
                  </a:lnTo>
                  <a:lnTo>
                    <a:pt x="244" y="72"/>
                  </a:lnTo>
                  <a:lnTo>
                    <a:pt x="244" y="72"/>
                  </a:lnTo>
                  <a:lnTo>
                    <a:pt x="244" y="68"/>
                  </a:lnTo>
                  <a:lnTo>
                    <a:pt x="247" y="65"/>
                  </a:lnTo>
                  <a:lnTo>
                    <a:pt x="251" y="65"/>
                  </a:lnTo>
                  <a:lnTo>
                    <a:pt x="251" y="68"/>
                  </a:lnTo>
                  <a:lnTo>
                    <a:pt x="261" y="75"/>
                  </a:lnTo>
                  <a:lnTo>
                    <a:pt x="261" y="78"/>
                  </a:lnTo>
                  <a:lnTo>
                    <a:pt x="265" y="81"/>
                  </a:lnTo>
                  <a:lnTo>
                    <a:pt x="271" y="84"/>
                  </a:lnTo>
                  <a:lnTo>
                    <a:pt x="278" y="84"/>
                  </a:lnTo>
                  <a:lnTo>
                    <a:pt x="285" y="81"/>
                  </a:lnTo>
                  <a:lnTo>
                    <a:pt x="289" y="78"/>
                  </a:lnTo>
                  <a:lnTo>
                    <a:pt x="292" y="78"/>
                  </a:lnTo>
                  <a:lnTo>
                    <a:pt x="299" y="81"/>
                  </a:lnTo>
                  <a:lnTo>
                    <a:pt x="302" y="81"/>
                  </a:lnTo>
                  <a:lnTo>
                    <a:pt x="302" y="78"/>
                  </a:lnTo>
                  <a:lnTo>
                    <a:pt x="306" y="78"/>
                  </a:lnTo>
                  <a:lnTo>
                    <a:pt x="309" y="75"/>
                  </a:lnTo>
                  <a:lnTo>
                    <a:pt x="313" y="75"/>
                  </a:lnTo>
                  <a:lnTo>
                    <a:pt x="316" y="75"/>
                  </a:lnTo>
                  <a:lnTo>
                    <a:pt x="316" y="72"/>
                  </a:lnTo>
                  <a:lnTo>
                    <a:pt x="316" y="68"/>
                  </a:lnTo>
                  <a:lnTo>
                    <a:pt x="316" y="65"/>
                  </a:lnTo>
                  <a:lnTo>
                    <a:pt x="316" y="55"/>
                  </a:lnTo>
                  <a:lnTo>
                    <a:pt x="316" y="52"/>
                  </a:lnTo>
                  <a:lnTo>
                    <a:pt x="316" y="49"/>
                  </a:lnTo>
                  <a:lnTo>
                    <a:pt x="316" y="49"/>
                  </a:lnTo>
                  <a:lnTo>
                    <a:pt x="320" y="46"/>
                  </a:lnTo>
                  <a:lnTo>
                    <a:pt x="320" y="42"/>
                  </a:lnTo>
                  <a:lnTo>
                    <a:pt x="323" y="42"/>
                  </a:lnTo>
                  <a:lnTo>
                    <a:pt x="330" y="42"/>
                  </a:lnTo>
                  <a:lnTo>
                    <a:pt x="333" y="42"/>
                  </a:lnTo>
                  <a:lnTo>
                    <a:pt x="333" y="39"/>
                  </a:lnTo>
                  <a:lnTo>
                    <a:pt x="333" y="39"/>
                  </a:lnTo>
                  <a:lnTo>
                    <a:pt x="344" y="39"/>
                  </a:lnTo>
                  <a:lnTo>
                    <a:pt x="347" y="39"/>
                  </a:lnTo>
                  <a:lnTo>
                    <a:pt x="351" y="46"/>
                  </a:lnTo>
                  <a:lnTo>
                    <a:pt x="354" y="46"/>
                  </a:lnTo>
                  <a:lnTo>
                    <a:pt x="357" y="49"/>
                  </a:lnTo>
                  <a:lnTo>
                    <a:pt x="364" y="49"/>
                  </a:lnTo>
                  <a:lnTo>
                    <a:pt x="364" y="52"/>
                  </a:lnTo>
                  <a:lnTo>
                    <a:pt x="371" y="55"/>
                  </a:lnTo>
                  <a:lnTo>
                    <a:pt x="368" y="59"/>
                  </a:lnTo>
                  <a:lnTo>
                    <a:pt x="364" y="62"/>
                  </a:lnTo>
                  <a:lnTo>
                    <a:pt x="368" y="68"/>
                  </a:lnTo>
                  <a:lnTo>
                    <a:pt x="368" y="68"/>
                  </a:lnTo>
                  <a:close/>
                  <a:moveTo>
                    <a:pt x="17" y="356"/>
                  </a:moveTo>
                  <a:lnTo>
                    <a:pt x="20" y="356"/>
                  </a:lnTo>
                  <a:lnTo>
                    <a:pt x="17" y="359"/>
                  </a:lnTo>
                  <a:lnTo>
                    <a:pt x="17" y="356"/>
                  </a:lnTo>
                  <a:lnTo>
                    <a:pt x="17" y="356"/>
                  </a:lnTo>
                  <a:close/>
                  <a:moveTo>
                    <a:pt x="10" y="336"/>
                  </a:moveTo>
                  <a:lnTo>
                    <a:pt x="10" y="336"/>
                  </a:lnTo>
                  <a:lnTo>
                    <a:pt x="10" y="336"/>
                  </a:lnTo>
                  <a:lnTo>
                    <a:pt x="13" y="336"/>
                  </a:lnTo>
                  <a:lnTo>
                    <a:pt x="13" y="340"/>
                  </a:lnTo>
                  <a:lnTo>
                    <a:pt x="10" y="336"/>
                  </a:lnTo>
                  <a:lnTo>
                    <a:pt x="10" y="336"/>
                  </a:lnTo>
                  <a:close/>
                  <a:moveTo>
                    <a:pt x="17" y="330"/>
                  </a:moveTo>
                  <a:lnTo>
                    <a:pt x="17" y="333"/>
                  </a:lnTo>
                  <a:lnTo>
                    <a:pt x="13" y="333"/>
                  </a:lnTo>
                  <a:lnTo>
                    <a:pt x="17" y="330"/>
                  </a:lnTo>
                  <a:lnTo>
                    <a:pt x="17" y="330"/>
                  </a:lnTo>
                  <a:close/>
                  <a:moveTo>
                    <a:pt x="13" y="330"/>
                  </a:moveTo>
                  <a:lnTo>
                    <a:pt x="13" y="330"/>
                  </a:lnTo>
                  <a:lnTo>
                    <a:pt x="10" y="330"/>
                  </a:lnTo>
                  <a:lnTo>
                    <a:pt x="13" y="330"/>
                  </a:lnTo>
                  <a:lnTo>
                    <a:pt x="13" y="330"/>
                  </a:lnTo>
                  <a:close/>
                  <a:moveTo>
                    <a:pt x="7" y="317"/>
                  </a:moveTo>
                  <a:lnTo>
                    <a:pt x="3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7"/>
                  </a:lnTo>
                  <a:lnTo>
                    <a:pt x="7" y="317"/>
                  </a:lnTo>
                  <a:close/>
                  <a:moveTo>
                    <a:pt x="3" y="320"/>
                  </a:moveTo>
                  <a:lnTo>
                    <a:pt x="7" y="320"/>
                  </a:lnTo>
                  <a:lnTo>
                    <a:pt x="7" y="320"/>
                  </a:lnTo>
                  <a:lnTo>
                    <a:pt x="3" y="320"/>
                  </a:lnTo>
                  <a:lnTo>
                    <a:pt x="3" y="320"/>
                  </a:lnTo>
                  <a:close/>
                  <a:moveTo>
                    <a:pt x="13" y="320"/>
                  </a:moveTo>
                  <a:lnTo>
                    <a:pt x="13" y="320"/>
                  </a:lnTo>
                  <a:lnTo>
                    <a:pt x="13" y="324"/>
                  </a:lnTo>
                  <a:lnTo>
                    <a:pt x="13" y="327"/>
                  </a:lnTo>
                  <a:lnTo>
                    <a:pt x="13" y="320"/>
                  </a:lnTo>
                  <a:lnTo>
                    <a:pt x="13" y="320"/>
                  </a:lnTo>
                  <a:close/>
                  <a:moveTo>
                    <a:pt x="7" y="327"/>
                  </a:moveTo>
                  <a:lnTo>
                    <a:pt x="3" y="324"/>
                  </a:lnTo>
                  <a:lnTo>
                    <a:pt x="7" y="324"/>
                  </a:lnTo>
                  <a:lnTo>
                    <a:pt x="7" y="327"/>
                  </a:lnTo>
                  <a:lnTo>
                    <a:pt x="7" y="327"/>
                  </a:lnTo>
                  <a:close/>
                  <a:moveTo>
                    <a:pt x="3" y="307"/>
                  </a:moveTo>
                  <a:lnTo>
                    <a:pt x="0" y="311"/>
                  </a:lnTo>
                  <a:lnTo>
                    <a:pt x="3" y="311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close/>
                  <a:moveTo>
                    <a:pt x="3" y="285"/>
                  </a:moveTo>
                  <a:lnTo>
                    <a:pt x="7" y="285"/>
                  </a:lnTo>
                  <a:lnTo>
                    <a:pt x="3" y="285"/>
                  </a:lnTo>
                  <a:lnTo>
                    <a:pt x="3" y="285"/>
                  </a:lnTo>
                  <a:lnTo>
                    <a:pt x="3" y="285"/>
                  </a:lnTo>
                  <a:close/>
                  <a:moveTo>
                    <a:pt x="3" y="278"/>
                  </a:moveTo>
                  <a:lnTo>
                    <a:pt x="7" y="282"/>
                  </a:lnTo>
                  <a:lnTo>
                    <a:pt x="7" y="282"/>
                  </a:lnTo>
                  <a:lnTo>
                    <a:pt x="3" y="278"/>
                  </a:lnTo>
                  <a:lnTo>
                    <a:pt x="3" y="278"/>
                  </a:lnTo>
                  <a:close/>
                  <a:moveTo>
                    <a:pt x="13" y="272"/>
                  </a:moveTo>
                  <a:lnTo>
                    <a:pt x="17" y="275"/>
                  </a:lnTo>
                  <a:lnTo>
                    <a:pt x="13" y="275"/>
                  </a:lnTo>
                  <a:lnTo>
                    <a:pt x="13" y="272"/>
                  </a:lnTo>
                  <a:lnTo>
                    <a:pt x="13" y="272"/>
                  </a:lnTo>
                  <a:close/>
                  <a:moveTo>
                    <a:pt x="17" y="269"/>
                  </a:moveTo>
                  <a:lnTo>
                    <a:pt x="20" y="272"/>
                  </a:lnTo>
                  <a:lnTo>
                    <a:pt x="24" y="272"/>
                  </a:lnTo>
                  <a:lnTo>
                    <a:pt x="17" y="275"/>
                  </a:lnTo>
                  <a:lnTo>
                    <a:pt x="17" y="269"/>
                  </a:lnTo>
                  <a:lnTo>
                    <a:pt x="17" y="269"/>
                  </a:lnTo>
                  <a:close/>
                  <a:moveTo>
                    <a:pt x="51" y="249"/>
                  </a:moveTo>
                  <a:lnTo>
                    <a:pt x="51" y="249"/>
                  </a:lnTo>
                  <a:lnTo>
                    <a:pt x="55" y="246"/>
                  </a:lnTo>
                  <a:lnTo>
                    <a:pt x="58" y="249"/>
                  </a:lnTo>
                  <a:lnTo>
                    <a:pt x="55" y="252"/>
                  </a:lnTo>
                  <a:lnTo>
                    <a:pt x="51" y="249"/>
                  </a:lnTo>
                  <a:lnTo>
                    <a:pt x="51" y="249"/>
                  </a:lnTo>
                  <a:close/>
                  <a:moveTo>
                    <a:pt x="55" y="243"/>
                  </a:moveTo>
                  <a:lnTo>
                    <a:pt x="55" y="243"/>
                  </a:lnTo>
                  <a:lnTo>
                    <a:pt x="51" y="246"/>
                  </a:lnTo>
                  <a:lnTo>
                    <a:pt x="48" y="243"/>
                  </a:lnTo>
                  <a:lnTo>
                    <a:pt x="51" y="243"/>
                  </a:lnTo>
                  <a:lnTo>
                    <a:pt x="55" y="243"/>
                  </a:lnTo>
                  <a:lnTo>
                    <a:pt x="55" y="243"/>
                  </a:lnTo>
                  <a:close/>
                  <a:moveTo>
                    <a:pt x="58" y="236"/>
                  </a:moveTo>
                  <a:lnTo>
                    <a:pt x="65" y="233"/>
                  </a:lnTo>
                  <a:lnTo>
                    <a:pt x="65" y="233"/>
                  </a:lnTo>
                  <a:lnTo>
                    <a:pt x="62" y="236"/>
                  </a:lnTo>
                  <a:lnTo>
                    <a:pt x="58" y="236"/>
                  </a:lnTo>
                  <a:lnTo>
                    <a:pt x="58" y="236"/>
                  </a:lnTo>
                  <a:close/>
                  <a:moveTo>
                    <a:pt x="58" y="243"/>
                  </a:moveTo>
                  <a:lnTo>
                    <a:pt x="62" y="240"/>
                  </a:lnTo>
                  <a:lnTo>
                    <a:pt x="65" y="240"/>
                  </a:lnTo>
                  <a:lnTo>
                    <a:pt x="65" y="236"/>
                  </a:lnTo>
                  <a:lnTo>
                    <a:pt x="69" y="236"/>
                  </a:lnTo>
                  <a:lnTo>
                    <a:pt x="72" y="240"/>
                  </a:lnTo>
                  <a:lnTo>
                    <a:pt x="69" y="243"/>
                  </a:lnTo>
                  <a:lnTo>
                    <a:pt x="65" y="243"/>
                  </a:lnTo>
                  <a:lnTo>
                    <a:pt x="62" y="243"/>
                  </a:lnTo>
                  <a:lnTo>
                    <a:pt x="58" y="243"/>
                  </a:lnTo>
                  <a:lnTo>
                    <a:pt x="58" y="243"/>
                  </a:lnTo>
                  <a:close/>
                  <a:moveTo>
                    <a:pt x="110" y="198"/>
                  </a:moveTo>
                  <a:lnTo>
                    <a:pt x="110" y="194"/>
                  </a:lnTo>
                  <a:lnTo>
                    <a:pt x="117" y="194"/>
                  </a:lnTo>
                  <a:lnTo>
                    <a:pt x="110" y="198"/>
                  </a:lnTo>
                  <a:lnTo>
                    <a:pt x="110" y="198"/>
                  </a:lnTo>
                  <a:lnTo>
                    <a:pt x="110" y="198"/>
                  </a:lnTo>
                  <a:close/>
                  <a:moveTo>
                    <a:pt x="103" y="204"/>
                  </a:moveTo>
                  <a:lnTo>
                    <a:pt x="103" y="201"/>
                  </a:lnTo>
                  <a:lnTo>
                    <a:pt x="99" y="204"/>
                  </a:lnTo>
                  <a:lnTo>
                    <a:pt x="103" y="201"/>
                  </a:lnTo>
                  <a:lnTo>
                    <a:pt x="110" y="201"/>
                  </a:lnTo>
                  <a:lnTo>
                    <a:pt x="110" y="198"/>
                  </a:lnTo>
                  <a:lnTo>
                    <a:pt x="106" y="204"/>
                  </a:lnTo>
                  <a:lnTo>
                    <a:pt x="103" y="204"/>
                  </a:lnTo>
                  <a:lnTo>
                    <a:pt x="103" y="204"/>
                  </a:lnTo>
                  <a:close/>
                  <a:moveTo>
                    <a:pt x="113" y="178"/>
                  </a:moveTo>
                  <a:lnTo>
                    <a:pt x="117" y="178"/>
                  </a:lnTo>
                  <a:lnTo>
                    <a:pt x="117" y="178"/>
                  </a:lnTo>
                  <a:lnTo>
                    <a:pt x="113" y="181"/>
                  </a:lnTo>
                  <a:lnTo>
                    <a:pt x="113" y="178"/>
                  </a:lnTo>
                  <a:lnTo>
                    <a:pt x="113" y="178"/>
                  </a:lnTo>
                  <a:lnTo>
                    <a:pt x="113" y="178"/>
                  </a:lnTo>
                  <a:close/>
                  <a:moveTo>
                    <a:pt x="120" y="172"/>
                  </a:moveTo>
                  <a:lnTo>
                    <a:pt x="124" y="168"/>
                  </a:lnTo>
                  <a:lnTo>
                    <a:pt x="127" y="168"/>
                  </a:lnTo>
                  <a:lnTo>
                    <a:pt x="124" y="172"/>
                  </a:lnTo>
                  <a:lnTo>
                    <a:pt x="120" y="172"/>
                  </a:lnTo>
                  <a:lnTo>
                    <a:pt x="120" y="172"/>
                  </a:lnTo>
                  <a:close/>
                  <a:moveTo>
                    <a:pt x="120" y="165"/>
                  </a:moveTo>
                  <a:lnTo>
                    <a:pt x="124" y="162"/>
                  </a:lnTo>
                  <a:lnTo>
                    <a:pt x="124" y="165"/>
                  </a:lnTo>
                  <a:lnTo>
                    <a:pt x="120" y="168"/>
                  </a:lnTo>
                  <a:lnTo>
                    <a:pt x="120" y="165"/>
                  </a:lnTo>
                  <a:lnTo>
                    <a:pt x="120" y="165"/>
                  </a:lnTo>
                  <a:close/>
                  <a:moveTo>
                    <a:pt x="144" y="136"/>
                  </a:moveTo>
                  <a:lnTo>
                    <a:pt x="144" y="133"/>
                  </a:lnTo>
                  <a:lnTo>
                    <a:pt x="148" y="133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44" y="136"/>
                  </a:lnTo>
                  <a:close/>
                  <a:moveTo>
                    <a:pt x="120" y="117"/>
                  </a:moveTo>
                  <a:lnTo>
                    <a:pt x="120" y="120"/>
                  </a:lnTo>
                  <a:lnTo>
                    <a:pt x="120" y="120"/>
                  </a:lnTo>
                  <a:lnTo>
                    <a:pt x="117" y="120"/>
                  </a:lnTo>
                  <a:lnTo>
                    <a:pt x="120" y="117"/>
                  </a:lnTo>
                  <a:lnTo>
                    <a:pt x="120" y="117"/>
                  </a:lnTo>
                  <a:close/>
                  <a:moveTo>
                    <a:pt x="127" y="110"/>
                  </a:moveTo>
                  <a:lnTo>
                    <a:pt x="120" y="114"/>
                  </a:lnTo>
                  <a:lnTo>
                    <a:pt x="120" y="110"/>
                  </a:lnTo>
                  <a:lnTo>
                    <a:pt x="124" y="104"/>
                  </a:lnTo>
                  <a:lnTo>
                    <a:pt x="127" y="110"/>
                  </a:lnTo>
                  <a:lnTo>
                    <a:pt x="127" y="110"/>
                  </a:lnTo>
                  <a:close/>
                  <a:moveTo>
                    <a:pt x="130" y="107"/>
                  </a:moveTo>
                  <a:lnTo>
                    <a:pt x="127" y="107"/>
                  </a:lnTo>
                  <a:lnTo>
                    <a:pt x="130" y="104"/>
                  </a:lnTo>
                  <a:lnTo>
                    <a:pt x="130" y="104"/>
                  </a:lnTo>
                  <a:lnTo>
                    <a:pt x="130" y="107"/>
                  </a:lnTo>
                  <a:lnTo>
                    <a:pt x="130" y="107"/>
                  </a:lnTo>
                  <a:close/>
                  <a:moveTo>
                    <a:pt x="141" y="101"/>
                  </a:moveTo>
                  <a:lnTo>
                    <a:pt x="141" y="104"/>
                  </a:lnTo>
                  <a:lnTo>
                    <a:pt x="134" y="107"/>
                  </a:lnTo>
                  <a:lnTo>
                    <a:pt x="134" y="101"/>
                  </a:lnTo>
                  <a:lnTo>
                    <a:pt x="141" y="101"/>
                  </a:lnTo>
                  <a:lnTo>
                    <a:pt x="141" y="101"/>
                  </a:lnTo>
                  <a:close/>
                  <a:moveTo>
                    <a:pt x="148" y="94"/>
                  </a:moveTo>
                  <a:lnTo>
                    <a:pt x="148" y="91"/>
                  </a:lnTo>
                  <a:lnTo>
                    <a:pt x="151" y="91"/>
                  </a:lnTo>
                  <a:lnTo>
                    <a:pt x="148" y="94"/>
                  </a:lnTo>
                  <a:lnTo>
                    <a:pt x="148" y="94"/>
                  </a:lnTo>
                  <a:close/>
                  <a:moveTo>
                    <a:pt x="151" y="94"/>
                  </a:moveTo>
                  <a:lnTo>
                    <a:pt x="151" y="101"/>
                  </a:lnTo>
                  <a:lnTo>
                    <a:pt x="148" y="97"/>
                  </a:lnTo>
                  <a:lnTo>
                    <a:pt x="141" y="101"/>
                  </a:lnTo>
                  <a:lnTo>
                    <a:pt x="144" y="97"/>
                  </a:lnTo>
                  <a:lnTo>
                    <a:pt x="151" y="94"/>
                  </a:lnTo>
                  <a:lnTo>
                    <a:pt x="151" y="94"/>
                  </a:lnTo>
                  <a:close/>
                  <a:moveTo>
                    <a:pt x="155" y="78"/>
                  </a:moveTo>
                  <a:lnTo>
                    <a:pt x="155" y="81"/>
                  </a:lnTo>
                  <a:lnTo>
                    <a:pt x="155" y="88"/>
                  </a:lnTo>
                  <a:lnTo>
                    <a:pt x="151" y="88"/>
                  </a:lnTo>
                  <a:lnTo>
                    <a:pt x="148" y="88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1"/>
                  </a:lnTo>
                  <a:lnTo>
                    <a:pt x="148" y="84"/>
                  </a:lnTo>
                  <a:lnTo>
                    <a:pt x="151" y="81"/>
                  </a:lnTo>
                  <a:lnTo>
                    <a:pt x="151" y="78"/>
                  </a:lnTo>
                  <a:lnTo>
                    <a:pt x="155" y="78"/>
                  </a:lnTo>
                  <a:lnTo>
                    <a:pt x="155" y="78"/>
                  </a:lnTo>
                  <a:close/>
                  <a:moveTo>
                    <a:pt x="158" y="81"/>
                  </a:moveTo>
                  <a:lnTo>
                    <a:pt x="155" y="78"/>
                  </a:lnTo>
                  <a:lnTo>
                    <a:pt x="158" y="75"/>
                  </a:lnTo>
                  <a:lnTo>
                    <a:pt x="161" y="72"/>
                  </a:lnTo>
                  <a:lnTo>
                    <a:pt x="161" y="68"/>
                  </a:lnTo>
                  <a:lnTo>
                    <a:pt x="168" y="65"/>
                  </a:lnTo>
                  <a:lnTo>
                    <a:pt x="168" y="68"/>
                  </a:lnTo>
                  <a:lnTo>
                    <a:pt x="165" y="72"/>
                  </a:lnTo>
                  <a:lnTo>
                    <a:pt x="165" y="75"/>
                  </a:lnTo>
                  <a:lnTo>
                    <a:pt x="158" y="81"/>
                  </a:lnTo>
                  <a:lnTo>
                    <a:pt x="158" y="81"/>
                  </a:lnTo>
                  <a:close/>
                  <a:moveTo>
                    <a:pt x="172" y="81"/>
                  </a:moveTo>
                  <a:lnTo>
                    <a:pt x="175" y="84"/>
                  </a:lnTo>
                  <a:lnTo>
                    <a:pt x="168" y="91"/>
                  </a:lnTo>
                  <a:lnTo>
                    <a:pt x="165" y="94"/>
                  </a:lnTo>
                  <a:lnTo>
                    <a:pt x="165" y="97"/>
                  </a:lnTo>
                  <a:lnTo>
                    <a:pt x="161" y="97"/>
                  </a:lnTo>
                  <a:lnTo>
                    <a:pt x="161" y="94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4"/>
                  </a:lnTo>
                  <a:lnTo>
                    <a:pt x="158" y="94"/>
                  </a:lnTo>
                  <a:lnTo>
                    <a:pt x="155" y="91"/>
                  </a:lnTo>
                  <a:lnTo>
                    <a:pt x="158" y="88"/>
                  </a:lnTo>
                  <a:lnTo>
                    <a:pt x="158" y="84"/>
                  </a:lnTo>
                  <a:lnTo>
                    <a:pt x="165" y="78"/>
                  </a:lnTo>
                  <a:lnTo>
                    <a:pt x="161" y="88"/>
                  </a:lnTo>
                  <a:lnTo>
                    <a:pt x="161" y="91"/>
                  </a:lnTo>
                  <a:lnTo>
                    <a:pt x="165" y="84"/>
                  </a:lnTo>
                  <a:lnTo>
                    <a:pt x="172" y="84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72" y="81"/>
                  </a:lnTo>
                  <a:lnTo>
                    <a:pt x="172" y="81"/>
                  </a:lnTo>
                  <a:close/>
                  <a:moveTo>
                    <a:pt x="172" y="78"/>
                  </a:moveTo>
                  <a:lnTo>
                    <a:pt x="168" y="78"/>
                  </a:lnTo>
                  <a:lnTo>
                    <a:pt x="172" y="75"/>
                  </a:lnTo>
                  <a:lnTo>
                    <a:pt x="175" y="78"/>
                  </a:lnTo>
                  <a:lnTo>
                    <a:pt x="175" y="81"/>
                  </a:lnTo>
                  <a:lnTo>
                    <a:pt x="172" y="78"/>
                  </a:lnTo>
                  <a:lnTo>
                    <a:pt x="172" y="78"/>
                  </a:lnTo>
                  <a:close/>
                  <a:moveTo>
                    <a:pt x="182" y="84"/>
                  </a:moveTo>
                  <a:lnTo>
                    <a:pt x="182" y="78"/>
                  </a:lnTo>
                  <a:lnTo>
                    <a:pt x="185" y="81"/>
                  </a:lnTo>
                  <a:lnTo>
                    <a:pt x="182" y="84"/>
                  </a:lnTo>
                  <a:lnTo>
                    <a:pt x="182" y="84"/>
                  </a:lnTo>
                  <a:close/>
                  <a:moveTo>
                    <a:pt x="192" y="65"/>
                  </a:moveTo>
                  <a:lnTo>
                    <a:pt x="192" y="68"/>
                  </a:lnTo>
                  <a:lnTo>
                    <a:pt x="192" y="72"/>
                  </a:lnTo>
                  <a:lnTo>
                    <a:pt x="189" y="72"/>
                  </a:lnTo>
                  <a:lnTo>
                    <a:pt x="189" y="72"/>
                  </a:lnTo>
                  <a:lnTo>
                    <a:pt x="185" y="72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79" y="72"/>
                  </a:lnTo>
                  <a:lnTo>
                    <a:pt x="182" y="68"/>
                  </a:lnTo>
                  <a:lnTo>
                    <a:pt x="179" y="68"/>
                  </a:lnTo>
                  <a:lnTo>
                    <a:pt x="179" y="65"/>
                  </a:lnTo>
                  <a:lnTo>
                    <a:pt x="185" y="65"/>
                  </a:lnTo>
                  <a:lnTo>
                    <a:pt x="179" y="62"/>
                  </a:lnTo>
                  <a:lnTo>
                    <a:pt x="182" y="59"/>
                  </a:lnTo>
                  <a:lnTo>
                    <a:pt x="185" y="62"/>
                  </a:lnTo>
                  <a:lnTo>
                    <a:pt x="182" y="59"/>
                  </a:lnTo>
                  <a:lnTo>
                    <a:pt x="189" y="59"/>
                  </a:lnTo>
                  <a:lnTo>
                    <a:pt x="189" y="62"/>
                  </a:lnTo>
                  <a:lnTo>
                    <a:pt x="192" y="62"/>
                  </a:lnTo>
                  <a:lnTo>
                    <a:pt x="192" y="65"/>
                  </a:lnTo>
                  <a:lnTo>
                    <a:pt x="192" y="65"/>
                  </a:lnTo>
                  <a:close/>
                  <a:moveTo>
                    <a:pt x="192" y="55"/>
                  </a:moveTo>
                  <a:lnTo>
                    <a:pt x="199" y="55"/>
                  </a:lnTo>
                  <a:lnTo>
                    <a:pt x="199" y="52"/>
                  </a:lnTo>
                  <a:lnTo>
                    <a:pt x="203" y="52"/>
                  </a:lnTo>
                  <a:lnTo>
                    <a:pt x="206" y="49"/>
                  </a:lnTo>
                  <a:lnTo>
                    <a:pt x="210" y="52"/>
                  </a:lnTo>
                  <a:lnTo>
                    <a:pt x="206" y="55"/>
                  </a:lnTo>
                  <a:lnTo>
                    <a:pt x="206" y="59"/>
                  </a:lnTo>
                  <a:lnTo>
                    <a:pt x="203" y="59"/>
                  </a:lnTo>
                  <a:lnTo>
                    <a:pt x="199" y="59"/>
                  </a:lnTo>
                  <a:lnTo>
                    <a:pt x="192" y="55"/>
                  </a:lnTo>
                  <a:lnTo>
                    <a:pt x="192" y="55"/>
                  </a:lnTo>
                  <a:close/>
                  <a:moveTo>
                    <a:pt x="210" y="39"/>
                  </a:moveTo>
                  <a:lnTo>
                    <a:pt x="210" y="36"/>
                  </a:lnTo>
                  <a:lnTo>
                    <a:pt x="213" y="36"/>
                  </a:lnTo>
                  <a:lnTo>
                    <a:pt x="210" y="39"/>
                  </a:lnTo>
                  <a:lnTo>
                    <a:pt x="210" y="39"/>
                  </a:lnTo>
                  <a:close/>
                  <a:moveTo>
                    <a:pt x="203" y="42"/>
                  </a:moveTo>
                  <a:lnTo>
                    <a:pt x="203" y="39"/>
                  </a:lnTo>
                  <a:lnTo>
                    <a:pt x="210" y="39"/>
                  </a:lnTo>
                  <a:lnTo>
                    <a:pt x="206" y="42"/>
                  </a:lnTo>
                  <a:lnTo>
                    <a:pt x="206" y="42"/>
                  </a:lnTo>
                  <a:lnTo>
                    <a:pt x="203" y="42"/>
                  </a:lnTo>
                  <a:lnTo>
                    <a:pt x="203" y="42"/>
                  </a:lnTo>
                  <a:close/>
                  <a:moveTo>
                    <a:pt x="216" y="49"/>
                  </a:moveTo>
                  <a:lnTo>
                    <a:pt x="216" y="46"/>
                  </a:lnTo>
                  <a:lnTo>
                    <a:pt x="220" y="49"/>
                  </a:lnTo>
                  <a:lnTo>
                    <a:pt x="216" y="49"/>
                  </a:lnTo>
                  <a:lnTo>
                    <a:pt x="216" y="49"/>
                  </a:lnTo>
                  <a:close/>
                  <a:moveTo>
                    <a:pt x="213" y="49"/>
                  </a:moveTo>
                  <a:lnTo>
                    <a:pt x="213" y="49"/>
                  </a:lnTo>
                  <a:lnTo>
                    <a:pt x="210" y="49"/>
                  </a:lnTo>
                  <a:lnTo>
                    <a:pt x="206" y="46"/>
                  </a:lnTo>
                  <a:lnTo>
                    <a:pt x="210" y="42"/>
                  </a:lnTo>
                  <a:lnTo>
                    <a:pt x="213" y="42"/>
                  </a:lnTo>
                  <a:lnTo>
                    <a:pt x="216" y="42"/>
                  </a:lnTo>
                  <a:lnTo>
                    <a:pt x="216" y="46"/>
                  </a:lnTo>
                  <a:lnTo>
                    <a:pt x="213" y="46"/>
                  </a:lnTo>
                  <a:lnTo>
                    <a:pt x="213" y="49"/>
                  </a:lnTo>
                  <a:lnTo>
                    <a:pt x="213" y="49"/>
                  </a:lnTo>
                  <a:close/>
                  <a:moveTo>
                    <a:pt x="223" y="42"/>
                  </a:moveTo>
                  <a:lnTo>
                    <a:pt x="223" y="42"/>
                  </a:lnTo>
                  <a:lnTo>
                    <a:pt x="216" y="42"/>
                  </a:lnTo>
                  <a:lnTo>
                    <a:pt x="216" y="39"/>
                  </a:lnTo>
                  <a:lnTo>
                    <a:pt x="216" y="33"/>
                  </a:lnTo>
                  <a:lnTo>
                    <a:pt x="220" y="33"/>
                  </a:lnTo>
                  <a:lnTo>
                    <a:pt x="220" y="36"/>
                  </a:lnTo>
                  <a:lnTo>
                    <a:pt x="223" y="39"/>
                  </a:lnTo>
                  <a:lnTo>
                    <a:pt x="223" y="42"/>
                  </a:lnTo>
                  <a:lnTo>
                    <a:pt x="223" y="42"/>
                  </a:lnTo>
                  <a:close/>
                  <a:moveTo>
                    <a:pt x="234" y="46"/>
                  </a:moveTo>
                  <a:lnTo>
                    <a:pt x="234" y="42"/>
                  </a:lnTo>
                  <a:lnTo>
                    <a:pt x="230" y="42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7" y="36"/>
                  </a:lnTo>
                  <a:lnTo>
                    <a:pt x="234" y="39"/>
                  </a:lnTo>
                  <a:lnTo>
                    <a:pt x="237" y="42"/>
                  </a:lnTo>
                  <a:lnTo>
                    <a:pt x="234" y="46"/>
                  </a:lnTo>
                  <a:lnTo>
                    <a:pt x="234" y="46"/>
                  </a:lnTo>
                  <a:close/>
                  <a:moveTo>
                    <a:pt x="265" y="33"/>
                  </a:moveTo>
                  <a:lnTo>
                    <a:pt x="261" y="33"/>
                  </a:lnTo>
                  <a:lnTo>
                    <a:pt x="254" y="30"/>
                  </a:lnTo>
                  <a:lnTo>
                    <a:pt x="258" y="30"/>
                  </a:lnTo>
                  <a:lnTo>
                    <a:pt x="261" y="30"/>
                  </a:lnTo>
                  <a:lnTo>
                    <a:pt x="265" y="30"/>
                  </a:lnTo>
                  <a:lnTo>
                    <a:pt x="265" y="33"/>
                  </a:lnTo>
                  <a:lnTo>
                    <a:pt x="265" y="33"/>
                  </a:lnTo>
                  <a:close/>
                  <a:moveTo>
                    <a:pt x="268" y="30"/>
                  </a:moveTo>
                  <a:lnTo>
                    <a:pt x="265" y="26"/>
                  </a:lnTo>
                  <a:lnTo>
                    <a:pt x="271" y="20"/>
                  </a:lnTo>
                  <a:lnTo>
                    <a:pt x="271" y="26"/>
                  </a:lnTo>
                  <a:lnTo>
                    <a:pt x="268" y="30"/>
                  </a:lnTo>
                  <a:lnTo>
                    <a:pt x="268" y="30"/>
                  </a:lnTo>
                  <a:lnTo>
                    <a:pt x="268" y="30"/>
                  </a:lnTo>
                  <a:close/>
                  <a:moveTo>
                    <a:pt x="261" y="26"/>
                  </a:moveTo>
                  <a:lnTo>
                    <a:pt x="258" y="26"/>
                  </a:lnTo>
                  <a:lnTo>
                    <a:pt x="251" y="23"/>
                  </a:lnTo>
                  <a:lnTo>
                    <a:pt x="251" y="20"/>
                  </a:lnTo>
                  <a:lnTo>
                    <a:pt x="254" y="20"/>
                  </a:lnTo>
                  <a:lnTo>
                    <a:pt x="258" y="20"/>
                  </a:lnTo>
                  <a:lnTo>
                    <a:pt x="258" y="20"/>
                  </a:lnTo>
                  <a:lnTo>
                    <a:pt x="261" y="17"/>
                  </a:lnTo>
                  <a:lnTo>
                    <a:pt x="265" y="20"/>
                  </a:lnTo>
                  <a:lnTo>
                    <a:pt x="268" y="13"/>
                  </a:lnTo>
                  <a:lnTo>
                    <a:pt x="271" y="17"/>
                  </a:lnTo>
                  <a:lnTo>
                    <a:pt x="261" y="26"/>
                  </a:lnTo>
                  <a:lnTo>
                    <a:pt x="261" y="26"/>
                  </a:lnTo>
                  <a:close/>
                  <a:moveTo>
                    <a:pt x="271" y="17"/>
                  </a:moveTo>
                  <a:lnTo>
                    <a:pt x="271" y="17"/>
                  </a:lnTo>
                  <a:lnTo>
                    <a:pt x="278" y="17"/>
                  </a:lnTo>
                  <a:lnTo>
                    <a:pt x="282" y="20"/>
                  </a:lnTo>
                  <a:lnTo>
                    <a:pt x="282" y="23"/>
                  </a:lnTo>
                  <a:lnTo>
                    <a:pt x="275" y="23"/>
                  </a:lnTo>
                  <a:lnTo>
                    <a:pt x="275" y="20"/>
                  </a:lnTo>
                  <a:lnTo>
                    <a:pt x="271" y="17"/>
                  </a:lnTo>
                  <a:lnTo>
                    <a:pt x="271" y="17"/>
                  </a:lnTo>
                  <a:close/>
                  <a:moveTo>
                    <a:pt x="282" y="10"/>
                  </a:moveTo>
                  <a:lnTo>
                    <a:pt x="282" y="13"/>
                  </a:lnTo>
                  <a:lnTo>
                    <a:pt x="278" y="13"/>
                  </a:lnTo>
                  <a:lnTo>
                    <a:pt x="278" y="10"/>
                  </a:lnTo>
                  <a:lnTo>
                    <a:pt x="282" y="7"/>
                  </a:lnTo>
                  <a:lnTo>
                    <a:pt x="282" y="10"/>
                  </a:lnTo>
                  <a:lnTo>
                    <a:pt x="282" y="10"/>
                  </a:lnTo>
                  <a:close/>
                  <a:moveTo>
                    <a:pt x="292" y="4"/>
                  </a:moveTo>
                  <a:lnTo>
                    <a:pt x="289" y="4"/>
                  </a:lnTo>
                  <a:lnTo>
                    <a:pt x="289" y="4"/>
                  </a:lnTo>
                  <a:lnTo>
                    <a:pt x="292" y="4"/>
                  </a:lnTo>
                  <a:lnTo>
                    <a:pt x="292" y="4"/>
                  </a:lnTo>
                  <a:lnTo>
                    <a:pt x="292" y="4"/>
                  </a:lnTo>
                  <a:close/>
                  <a:moveTo>
                    <a:pt x="296" y="7"/>
                  </a:moveTo>
                  <a:lnTo>
                    <a:pt x="296" y="4"/>
                  </a:lnTo>
                  <a:lnTo>
                    <a:pt x="299" y="4"/>
                  </a:lnTo>
                  <a:lnTo>
                    <a:pt x="299" y="4"/>
                  </a:lnTo>
                  <a:lnTo>
                    <a:pt x="302" y="4"/>
                  </a:lnTo>
                  <a:lnTo>
                    <a:pt x="302" y="0"/>
                  </a:lnTo>
                  <a:lnTo>
                    <a:pt x="306" y="4"/>
                  </a:lnTo>
                  <a:lnTo>
                    <a:pt x="309" y="4"/>
                  </a:lnTo>
                  <a:lnTo>
                    <a:pt x="306" y="7"/>
                  </a:lnTo>
                  <a:lnTo>
                    <a:pt x="309" y="7"/>
                  </a:lnTo>
                  <a:lnTo>
                    <a:pt x="309" y="10"/>
                  </a:lnTo>
                  <a:lnTo>
                    <a:pt x="306" y="10"/>
                  </a:lnTo>
                  <a:lnTo>
                    <a:pt x="299" y="7"/>
                  </a:lnTo>
                  <a:lnTo>
                    <a:pt x="296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9" name="Freeform 40"/>
            <p:cNvSpPr>
              <a:spLocks noEditPoints="1"/>
            </p:cNvSpPr>
            <p:nvPr/>
          </p:nvSpPr>
          <p:spPr bwMode="auto">
            <a:xfrm>
              <a:off x="6550026" y="2416830"/>
              <a:ext cx="306388" cy="584200"/>
            </a:xfrm>
            <a:custGeom>
              <a:avLst/>
              <a:gdLst>
                <a:gd name="T0" fmla="*/ 7 w 193"/>
                <a:gd name="T1" fmla="*/ 265 h 368"/>
                <a:gd name="T2" fmla="*/ 17 w 193"/>
                <a:gd name="T3" fmla="*/ 249 h 368"/>
                <a:gd name="T4" fmla="*/ 21 w 193"/>
                <a:gd name="T5" fmla="*/ 216 h 368"/>
                <a:gd name="T6" fmla="*/ 11 w 193"/>
                <a:gd name="T7" fmla="*/ 181 h 368"/>
                <a:gd name="T8" fmla="*/ 28 w 193"/>
                <a:gd name="T9" fmla="*/ 148 h 368"/>
                <a:gd name="T10" fmla="*/ 38 w 193"/>
                <a:gd name="T11" fmla="*/ 103 h 368"/>
                <a:gd name="T12" fmla="*/ 52 w 193"/>
                <a:gd name="T13" fmla="*/ 81 h 368"/>
                <a:gd name="T14" fmla="*/ 62 w 193"/>
                <a:gd name="T15" fmla="*/ 45 h 368"/>
                <a:gd name="T16" fmla="*/ 83 w 193"/>
                <a:gd name="T17" fmla="*/ 29 h 368"/>
                <a:gd name="T18" fmla="*/ 90 w 193"/>
                <a:gd name="T19" fmla="*/ 22 h 368"/>
                <a:gd name="T20" fmla="*/ 114 w 193"/>
                <a:gd name="T21" fmla="*/ 19 h 368"/>
                <a:gd name="T22" fmla="*/ 121 w 193"/>
                <a:gd name="T23" fmla="*/ 6 h 368"/>
                <a:gd name="T24" fmla="*/ 131 w 193"/>
                <a:gd name="T25" fmla="*/ 3 h 368"/>
                <a:gd name="T26" fmla="*/ 165 w 193"/>
                <a:gd name="T27" fmla="*/ 19 h 368"/>
                <a:gd name="T28" fmla="*/ 176 w 193"/>
                <a:gd name="T29" fmla="*/ 32 h 368"/>
                <a:gd name="T30" fmla="*/ 179 w 193"/>
                <a:gd name="T31" fmla="*/ 55 h 368"/>
                <a:gd name="T32" fmla="*/ 183 w 193"/>
                <a:gd name="T33" fmla="*/ 84 h 368"/>
                <a:gd name="T34" fmla="*/ 186 w 193"/>
                <a:gd name="T35" fmla="*/ 97 h 368"/>
                <a:gd name="T36" fmla="*/ 165 w 193"/>
                <a:gd name="T37" fmla="*/ 97 h 368"/>
                <a:gd name="T38" fmla="*/ 155 w 193"/>
                <a:gd name="T39" fmla="*/ 100 h 368"/>
                <a:gd name="T40" fmla="*/ 152 w 193"/>
                <a:gd name="T41" fmla="*/ 110 h 368"/>
                <a:gd name="T42" fmla="*/ 152 w 193"/>
                <a:gd name="T43" fmla="*/ 116 h 368"/>
                <a:gd name="T44" fmla="*/ 152 w 193"/>
                <a:gd name="T45" fmla="*/ 132 h 368"/>
                <a:gd name="T46" fmla="*/ 148 w 193"/>
                <a:gd name="T47" fmla="*/ 145 h 368"/>
                <a:gd name="T48" fmla="*/ 131 w 193"/>
                <a:gd name="T49" fmla="*/ 161 h 368"/>
                <a:gd name="T50" fmla="*/ 121 w 193"/>
                <a:gd name="T51" fmla="*/ 171 h 368"/>
                <a:gd name="T52" fmla="*/ 107 w 193"/>
                <a:gd name="T53" fmla="*/ 177 h 368"/>
                <a:gd name="T54" fmla="*/ 100 w 193"/>
                <a:gd name="T55" fmla="*/ 190 h 368"/>
                <a:gd name="T56" fmla="*/ 93 w 193"/>
                <a:gd name="T57" fmla="*/ 210 h 368"/>
                <a:gd name="T58" fmla="*/ 93 w 193"/>
                <a:gd name="T59" fmla="*/ 223 h 368"/>
                <a:gd name="T60" fmla="*/ 100 w 193"/>
                <a:gd name="T61" fmla="*/ 236 h 368"/>
                <a:gd name="T62" fmla="*/ 117 w 193"/>
                <a:gd name="T63" fmla="*/ 249 h 368"/>
                <a:gd name="T64" fmla="*/ 117 w 193"/>
                <a:gd name="T65" fmla="*/ 271 h 368"/>
                <a:gd name="T66" fmla="*/ 100 w 193"/>
                <a:gd name="T67" fmla="*/ 268 h 368"/>
                <a:gd name="T68" fmla="*/ 83 w 193"/>
                <a:gd name="T69" fmla="*/ 268 h 368"/>
                <a:gd name="T70" fmla="*/ 97 w 193"/>
                <a:gd name="T71" fmla="*/ 271 h 368"/>
                <a:gd name="T72" fmla="*/ 117 w 193"/>
                <a:gd name="T73" fmla="*/ 274 h 368"/>
                <a:gd name="T74" fmla="*/ 107 w 193"/>
                <a:gd name="T75" fmla="*/ 281 h 368"/>
                <a:gd name="T76" fmla="*/ 97 w 193"/>
                <a:gd name="T77" fmla="*/ 290 h 368"/>
                <a:gd name="T78" fmla="*/ 90 w 193"/>
                <a:gd name="T79" fmla="*/ 297 h 368"/>
                <a:gd name="T80" fmla="*/ 90 w 193"/>
                <a:gd name="T81" fmla="*/ 310 h 368"/>
                <a:gd name="T82" fmla="*/ 93 w 193"/>
                <a:gd name="T83" fmla="*/ 329 h 368"/>
                <a:gd name="T84" fmla="*/ 76 w 193"/>
                <a:gd name="T85" fmla="*/ 352 h 368"/>
                <a:gd name="T86" fmla="*/ 55 w 193"/>
                <a:gd name="T87" fmla="*/ 362 h 368"/>
                <a:gd name="T88" fmla="*/ 35 w 193"/>
                <a:gd name="T89" fmla="*/ 365 h 368"/>
                <a:gd name="T90" fmla="*/ 35 w 193"/>
                <a:gd name="T91" fmla="*/ 345 h 368"/>
                <a:gd name="T92" fmla="*/ 17 w 193"/>
                <a:gd name="T93" fmla="*/ 326 h 368"/>
                <a:gd name="T94" fmla="*/ 7 w 193"/>
                <a:gd name="T95" fmla="*/ 307 h 368"/>
                <a:gd name="T96" fmla="*/ 7 w 193"/>
                <a:gd name="T97" fmla="*/ 300 h 368"/>
                <a:gd name="T98" fmla="*/ 0 w 193"/>
                <a:gd name="T99" fmla="*/ 290 h 368"/>
                <a:gd name="T100" fmla="*/ 121 w 193"/>
                <a:gd name="T101" fmla="*/ 278 h 368"/>
                <a:gd name="T102" fmla="*/ 4 w 193"/>
                <a:gd name="T103" fmla="*/ 307 h 368"/>
                <a:gd name="T104" fmla="*/ 134 w 193"/>
                <a:gd name="T105" fmla="*/ 297 h 368"/>
                <a:gd name="T106" fmla="*/ 138 w 193"/>
                <a:gd name="T107" fmla="*/ 310 h 368"/>
                <a:gd name="T108" fmla="*/ 124 w 193"/>
                <a:gd name="T109" fmla="*/ 336 h 368"/>
                <a:gd name="T110" fmla="*/ 134 w 193"/>
                <a:gd name="T111" fmla="*/ 320 h 368"/>
                <a:gd name="T112" fmla="*/ 124 w 193"/>
                <a:gd name="T113" fmla="*/ 313 h 368"/>
                <a:gd name="T114" fmla="*/ 124 w 193"/>
                <a:gd name="T115" fmla="*/ 329 h 368"/>
                <a:gd name="T116" fmla="*/ 93 w 193"/>
                <a:gd name="T117" fmla="*/ 352 h 368"/>
                <a:gd name="T118" fmla="*/ 100 w 193"/>
                <a:gd name="T119" fmla="*/ 326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3" h="368">
                  <a:moveTo>
                    <a:pt x="4" y="281"/>
                  </a:moveTo>
                  <a:lnTo>
                    <a:pt x="4" y="284"/>
                  </a:lnTo>
                  <a:lnTo>
                    <a:pt x="7" y="287"/>
                  </a:lnTo>
                  <a:lnTo>
                    <a:pt x="11" y="284"/>
                  </a:lnTo>
                  <a:lnTo>
                    <a:pt x="7" y="274"/>
                  </a:lnTo>
                  <a:lnTo>
                    <a:pt x="7" y="268"/>
                  </a:lnTo>
                  <a:lnTo>
                    <a:pt x="7" y="265"/>
                  </a:lnTo>
                  <a:lnTo>
                    <a:pt x="11" y="265"/>
                  </a:lnTo>
                  <a:lnTo>
                    <a:pt x="7" y="261"/>
                  </a:lnTo>
                  <a:lnTo>
                    <a:pt x="11" y="258"/>
                  </a:lnTo>
                  <a:lnTo>
                    <a:pt x="14" y="258"/>
                  </a:lnTo>
                  <a:lnTo>
                    <a:pt x="17" y="258"/>
                  </a:lnTo>
                  <a:lnTo>
                    <a:pt x="17" y="252"/>
                  </a:lnTo>
                  <a:lnTo>
                    <a:pt x="17" y="249"/>
                  </a:lnTo>
                  <a:lnTo>
                    <a:pt x="17" y="245"/>
                  </a:lnTo>
                  <a:lnTo>
                    <a:pt x="14" y="239"/>
                  </a:lnTo>
                  <a:lnTo>
                    <a:pt x="11" y="232"/>
                  </a:lnTo>
                  <a:lnTo>
                    <a:pt x="11" y="229"/>
                  </a:lnTo>
                  <a:lnTo>
                    <a:pt x="21" y="226"/>
                  </a:lnTo>
                  <a:lnTo>
                    <a:pt x="21" y="219"/>
                  </a:lnTo>
                  <a:lnTo>
                    <a:pt x="21" y="216"/>
                  </a:lnTo>
                  <a:lnTo>
                    <a:pt x="14" y="210"/>
                  </a:lnTo>
                  <a:lnTo>
                    <a:pt x="11" y="210"/>
                  </a:lnTo>
                  <a:lnTo>
                    <a:pt x="11" y="203"/>
                  </a:lnTo>
                  <a:lnTo>
                    <a:pt x="11" y="197"/>
                  </a:lnTo>
                  <a:lnTo>
                    <a:pt x="11" y="190"/>
                  </a:lnTo>
                  <a:lnTo>
                    <a:pt x="7" y="184"/>
                  </a:lnTo>
                  <a:lnTo>
                    <a:pt x="11" y="181"/>
                  </a:lnTo>
                  <a:lnTo>
                    <a:pt x="7" y="171"/>
                  </a:lnTo>
                  <a:lnTo>
                    <a:pt x="7" y="165"/>
                  </a:lnTo>
                  <a:lnTo>
                    <a:pt x="7" y="155"/>
                  </a:lnTo>
                  <a:lnTo>
                    <a:pt x="14" y="148"/>
                  </a:lnTo>
                  <a:lnTo>
                    <a:pt x="17" y="148"/>
                  </a:lnTo>
                  <a:lnTo>
                    <a:pt x="21" y="148"/>
                  </a:lnTo>
                  <a:lnTo>
                    <a:pt x="28" y="148"/>
                  </a:lnTo>
                  <a:lnTo>
                    <a:pt x="31" y="145"/>
                  </a:lnTo>
                  <a:lnTo>
                    <a:pt x="31" y="139"/>
                  </a:lnTo>
                  <a:lnTo>
                    <a:pt x="28" y="135"/>
                  </a:lnTo>
                  <a:lnTo>
                    <a:pt x="31" y="132"/>
                  </a:lnTo>
                  <a:lnTo>
                    <a:pt x="35" y="119"/>
                  </a:lnTo>
                  <a:lnTo>
                    <a:pt x="38" y="110"/>
                  </a:lnTo>
                  <a:lnTo>
                    <a:pt x="38" y="103"/>
                  </a:lnTo>
                  <a:lnTo>
                    <a:pt x="42" y="100"/>
                  </a:lnTo>
                  <a:lnTo>
                    <a:pt x="42" y="93"/>
                  </a:lnTo>
                  <a:lnTo>
                    <a:pt x="38" y="90"/>
                  </a:lnTo>
                  <a:lnTo>
                    <a:pt x="38" y="87"/>
                  </a:lnTo>
                  <a:lnTo>
                    <a:pt x="45" y="84"/>
                  </a:lnTo>
                  <a:lnTo>
                    <a:pt x="52" y="84"/>
                  </a:lnTo>
                  <a:lnTo>
                    <a:pt x="52" y="81"/>
                  </a:lnTo>
                  <a:lnTo>
                    <a:pt x="55" y="77"/>
                  </a:lnTo>
                  <a:lnTo>
                    <a:pt x="59" y="71"/>
                  </a:lnTo>
                  <a:lnTo>
                    <a:pt x="66" y="64"/>
                  </a:lnTo>
                  <a:lnTo>
                    <a:pt x="66" y="61"/>
                  </a:lnTo>
                  <a:lnTo>
                    <a:pt x="66" y="55"/>
                  </a:lnTo>
                  <a:lnTo>
                    <a:pt x="62" y="55"/>
                  </a:lnTo>
                  <a:lnTo>
                    <a:pt x="62" y="45"/>
                  </a:lnTo>
                  <a:lnTo>
                    <a:pt x="66" y="45"/>
                  </a:lnTo>
                  <a:lnTo>
                    <a:pt x="66" y="42"/>
                  </a:lnTo>
                  <a:lnTo>
                    <a:pt x="69" y="39"/>
                  </a:lnTo>
                  <a:lnTo>
                    <a:pt x="69" y="35"/>
                  </a:lnTo>
                  <a:lnTo>
                    <a:pt x="72" y="32"/>
                  </a:lnTo>
                  <a:lnTo>
                    <a:pt x="76" y="29"/>
                  </a:lnTo>
                  <a:lnTo>
                    <a:pt x="83" y="29"/>
                  </a:lnTo>
                  <a:lnTo>
                    <a:pt x="83" y="32"/>
                  </a:lnTo>
                  <a:lnTo>
                    <a:pt x="86" y="32"/>
                  </a:lnTo>
                  <a:lnTo>
                    <a:pt x="90" y="29"/>
                  </a:lnTo>
                  <a:lnTo>
                    <a:pt x="86" y="26"/>
                  </a:lnTo>
                  <a:lnTo>
                    <a:pt x="90" y="26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86" y="16"/>
                  </a:lnTo>
                  <a:lnTo>
                    <a:pt x="90" y="16"/>
                  </a:lnTo>
                  <a:lnTo>
                    <a:pt x="93" y="16"/>
                  </a:lnTo>
                  <a:lnTo>
                    <a:pt x="100" y="13"/>
                  </a:lnTo>
                  <a:lnTo>
                    <a:pt x="103" y="16"/>
                  </a:lnTo>
                  <a:lnTo>
                    <a:pt x="110" y="16"/>
                  </a:lnTo>
                  <a:lnTo>
                    <a:pt x="114" y="19"/>
                  </a:lnTo>
                  <a:lnTo>
                    <a:pt x="117" y="19"/>
                  </a:lnTo>
                  <a:lnTo>
                    <a:pt x="117" y="19"/>
                  </a:lnTo>
                  <a:lnTo>
                    <a:pt x="121" y="19"/>
                  </a:lnTo>
                  <a:lnTo>
                    <a:pt x="121" y="16"/>
                  </a:lnTo>
                  <a:lnTo>
                    <a:pt x="117" y="13"/>
                  </a:lnTo>
                  <a:lnTo>
                    <a:pt x="117" y="9"/>
                  </a:lnTo>
                  <a:lnTo>
                    <a:pt x="121" y="6"/>
                  </a:lnTo>
                  <a:lnTo>
                    <a:pt x="121" y="3"/>
                  </a:lnTo>
                  <a:lnTo>
                    <a:pt x="117" y="3"/>
                  </a:lnTo>
                  <a:lnTo>
                    <a:pt x="117" y="0"/>
                  </a:lnTo>
                  <a:lnTo>
                    <a:pt x="121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31" y="3"/>
                  </a:lnTo>
                  <a:lnTo>
                    <a:pt x="134" y="3"/>
                  </a:lnTo>
                  <a:lnTo>
                    <a:pt x="141" y="9"/>
                  </a:lnTo>
                  <a:lnTo>
                    <a:pt x="148" y="13"/>
                  </a:lnTo>
                  <a:lnTo>
                    <a:pt x="155" y="13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65" y="19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9" y="22"/>
                  </a:lnTo>
                  <a:lnTo>
                    <a:pt x="172" y="26"/>
                  </a:lnTo>
                  <a:lnTo>
                    <a:pt x="176" y="26"/>
                  </a:lnTo>
                  <a:lnTo>
                    <a:pt x="176" y="29"/>
                  </a:lnTo>
                  <a:lnTo>
                    <a:pt x="176" y="32"/>
                  </a:lnTo>
                  <a:lnTo>
                    <a:pt x="176" y="39"/>
                  </a:lnTo>
                  <a:lnTo>
                    <a:pt x="172" y="42"/>
                  </a:lnTo>
                  <a:lnTo>
                    <a:pt x="176" y="45"/>
                  </a:lnTo>
                  <a:lnTo>
                    <a:pt x="179" y="45"/>
                  </a:lnTo>
                  <a:lnTo>
                    <a:pt x="179" y="48"/>
                  </a:lnTo>
                  <a:lnTo>
                    <a:pt x="179" y="51"/>
                  </a:lnTo>
                  <a:lnTo>
                    <a:pt x="179" y="55"/>
                  </a:lnTo>
                  <a:lnTo>
                    <a:pt x="183" y="58"/>
                  </a:lnTo>
                  <a:lnTo>
                    <a:pt x="183" y="64"/>
                  </a:lnTo>
                  <a:lnTo>
                    <a:pt x="183" y="68"/>
                  </a:lnTo>
                  <a:lnTo>
                    <a:pt x="183" y="68"/>
                  </a:lnTo>
                  <a:lnTo>
                    <a:pt x="183" y="74"/>
                  </a:lnTo>
                  <a:lnTo>
                    <a:pt x="183" y="77"/>
                  </a:lnTo>
                  <a:lnTo>
                    <a:pt x="183" y="84"/>
                  </a:lnTo>
                  <a:lnTo>
                    <a:pt x="186" y="84"/>
                  </a:lnTo>
                  <a:lnTo>
                    <a:pt x="189" y="90"/>
                  </a:lnTo>
                  <a:lnTo>
                    <a:pt x="193" y="90"/>
                  </a:lnTo>
                  <a:lnTo>
                    <a:pt x="193" y="97"/>
                  </a:lnTo>
                  <a:lnTo>
                    <a:pt x="193" y="97"/>
                  </a:lnTo>
                  <a:lnTo>
                    <a:pt x="189" y="97"/>
                  </a:lnTo>
                  <a:lnTo>
                    <a:pt x="186" y="97"/>
                  </a:lnTo>
                  <a:lnTo>
                    <a:pt x="183" y="93"/>
                  </a:lnTo>
                  <a:lnTo>
                    <a:pt x="179" y="97"/>
                  </a:lnTo>
                  <a:lnTo>
                    <a:pt x="176" y="97"/>
                  </a:lnTo>
                  <a:lnTo>
                    <a:pt x="176" y="97"/>
                  </a:lnTo>
                  <a:lnTo>
                    <a:pt x="172" y="97"/>
                  </a:lnTo>
                  <a:lnTo>
                    <a:pt x="169" y="93"/>
                  </a:lnTo>
                  <a:lnTo>
                    <a:pt x="165" y="97"/>
                  </a:lnTo>
                  <a:lnTo>
                    <a:pt x="165" y="93"/>
                  </a:lnTo>
                  <a:lnTo>
                    <a:pt x="162" y="93"/>
                  </a:lnTo>
                  <a:lnTo>
                    <a:pt x="162" y="97"/>
                  </a:lnTo>
                  <a:lnTo>
                    <a:pt x="162" y="100"/>
                  </a:lnTo>
                  <a:lnTo>
                    <a:pt x="158" y="100"/>
                  </a:lnTo>
                  <a:lnTo>
                    <a:pt x="155" y="100"/>
                  </a:lnTo>
                  <a:lnTo>
                    <a:pt x="155" y="100"/>
                  </a:lnTo>
                  <a:lnTo>
                    <a:pt x="155" y="103"/>
                  </a:lnTo>
                  <a:lnTo>
                    <a:pt x="158" y="103"/>
                  </a:lnTo>
                  <a:lnTo>
                    <a:pt x="155" y="106"/>
                  </a:lnTo>
                  <a:lnTo>
                    <a:pt x="152" y="106"/>
                  </a:lnTo>
                  <a:lnTo>
                    <a:pt x="148" y="106"/>
                  </a:lnTo>
                  <a:lnTo>
                    <a:pt x="152" y="110"/>
                  </a:lnTo>
                  <a:lnTo>
                    <a:pt x="152" y="110"/>
                  </a:lnTo>
                  <a:lnTo>
                    <a:pt x="152" y="113"/>
                  </a:lnTo>
                  <a:lnTo>
                    <a:pt x="152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3"/>
                  </a:lnTo>
                  <a:lnTo>
                    <a:pt x="152" y="113"/>
                  </a:lnTo>
                  <a:lnTo>
                    <a:pt x="152" y="116"/>
                  </a:lnTo>
                  <a:lnTo>
                    <a:pt x="152" y="116"/>
                  </a:lnTo>
                  <a:lnTo>
                    <a:pt x="148" y="123"/>
                  </a:lnTo>
                  <a:lnTo>
                    <a:pt x="152" y="126"/>
                  </a:lnTo>
                  <a:lnTo>
                    <a:pt x="145" y="126"/>
                  </a:lnTo>
                  <a:lnTo>
                    <a:pt x="148" y="129"/>
                  </a:lnTo>
                  <a:lnTo>
                    <a:pt x="152" y="129"/>
                  </a:lnTo>
                  <a:lnTo>
                    <a:pt x="152" y="132"/>
                  </a:lnTo>
                  <a:lnTo>
                    <a:pt x="152" y="132"/>
                  </a:lnTo>
                  <a:lnTo>
                    <a:pt x="152" y="135"/>
                  </a:lnTo>
                  <a:lnTo>
                    <a:pt x="155" y="135"/>
                  </a:lnTo>
                  <a:lnTo>
                    <a:pt x="152" y="139"/>
                  </a:lnTo>
                  <a:lnTo>
                    <a:pt x="148" y="139"/>
                  </a:lnTo>
                  <a:lnTo>
                    <a:pt x="148" y="142"/>
                  </a:lnTo>
                  <a:lnTo>
                    <a:pt x="148" y="145"/>
                  </a:lnTo>
                  <a:lnTo>
                    <a:pt x="145" y="152"/>
                  </a:lnTo>
                  <a:lnTo>
                    <a:pt x="141" y="152"/>
                  </a:lnTo>
                  <a:lnTo>
                    <a:pt x="138" y="155"/>
                  </a:lnTo>
                  <a:lnTo>
                    <a:pt x="134" y="152"/>
                  </a:lnTo>
                  <a:lnTo>
                    <a:pt x="134" y="155"/>
                  </a:lnTo>
                  <a:lnTo>
                    <a:pt x="134" y="158"/>
                  </a:lnTo>
                  <a:lnTo>
                    <a:pt x="131" y="161"/>
                  </a:lnTo>
                  <a:lnTo>
                    <a:pt x="131" y="165"/>
                  </a:lnTo>
                  <a:lnTo>
                    <a:pt x="128" y="165"/>
                  </a:lnTo>
                  <a:lnTo>
                    <a:pt x="128" y="161"/>
                  </a:lnTo>
                  <a:lnTo>
                    <a:pt x="124" y="161"/>
                  </a:lnTo>
                  <a:lnTo>
                    <a:pt x="121" y="165"/>
                  </a:lnTo>
                  <a:lnTo>
                    <a:pt x="121" y="168"/>
                  </a:lnTo>
                  <a:lnTo>
                    <a:pt x="121" y="171"/>
                  </a:lnTo>
                  <a:lnTo>
                    <a:pt x="117" y="168"/>
                  </a:lnTo>
                  <a:lnTo>
                    <a:pt x="117" y="168"/>
                  </a:lnTo>
                  <a:lnTo>
                    <a:pt x="114" y="171"/>
                  </a:lnTo>
                  <a:lnTo>
                    <a:pt x="114" y="174"/>
                  </a:lnTo>
                  <a:lnTo>
                    <a:pt x="110" y="171"/>
                  </a:lnTo>
                  <a:lnTo>
                    <a:pt x="110" y="174"/>
                  </a:lnTo>
                  <a:lnTo>
                    <a:pt x="107" y="177"/>
                  </a:lnTo>
                  <a:lnTo>
                    <a:pt x="110" y="177"/>
                  </a:lnTo>
                  <a:lnTo>
                    <a:pt x="110" y="177"/>
                  </a:lnTo>
                  <a:lnTo>
                    <a:pt x="103" y="181"/>
                  </a:lnTo>
                  <a:lnTo>
                    <a:pt x="100" y="181"/>
                  </a:lnTo>
                  <a:lnTo>
                    <a:pt x="100" y="184"/>
                  </a:lnTo>
                  <a:lnTo>
                    <a:pt x="103" y="187"/>
                  </a:lnTo>
                  <a:lnTo>
                    <a:pt x="100" y="190"/>
                  </a:lnTo>
                  <a:lnTo>
                    <a:pt x="93" y="190"/>
                  </a:lnTo>
                  <a:lnTo>
                    <a:pt x="90" y="190"/>
                  </a:lnTo>
                  <a:lnTo>
                    <a:pt x="93" y="194"/>
                  </a:lnTo>
                  <a:lnTo>
                    <a:pt x="97" y="200"/>
                  </a:lnTo>
                  <a:lnTo>
                    <a:pt x="93" y="200"/>
                  </a:lnTo>
                  <a:lnTo>
                    <a:pt x="97" y="203"/>
                  </a:lnTo>
                  <a:lnTo>
                    <a:pt x="93" y="210"/>
                  </a:lnTo>
                  <a:lnTo>
                    <a:pt x="97" y="210"/>
                  </a:lnTo>
                  <a:lnTo>
                    <a:pt x="97" y="213"/>
                  </a:lnTo>
                  <a:lnTo>
                    <a:pt x="93" y="213"/>
                  </a:lnTo>
                  <a:lnTo>
                    <a:pt x="93" y="213"/>
                  </a:lnTo>
                  <a:lnTo>
                    <a:pt x="93" y="219"/>
                  </a:lnTo>
                  <a:lnTo>
                    <a:pt x="90" y="223"/>
                  </a:lnTo>
                  <a:lnTo>
                    <a:pt x="93" y="223"/>
                  </a:lnTo>
                  <a:lnTo>
                    <a:pt x="93" y="226"/>
                  </a:lnTo>
                  <a:lnTo>
                    <a:pt x="93" y="226"/>
                  </a:lnTo>
                  <a:lnTo>
                    <a:pt x="93" y="229"/>
                  </a:lnTo>
                  <a:lnTo>
                    <a:pt x="93" y="232"/>
                  </a:lnTo>
                  <a:lnTo>
                    <a:pt x="93" y="232"/>
                  </a:lnTo>
                  <a:lnTo>
                    <a:pt x="97" y="236"/>
                  </a:lnTo>
                  <a:lnTo>
                    <a:pt x="100" y="236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03" y="242"/>
                  </a:lnTo>
                  <a:lnTo>
                    <a:pt x="107" y="239"/>
                  </a:lnTo>
                  <a:lnTo>
                    <a:pt x="110" y="239"/>
                  </a:lnTo>
                  <a:lnTo>
                    <a:pt x="110" y="242"/>
                  </a:lnTo>
                  <a:lnTo>
                    <a:pt x="117" y="249"/>
                  </a:lnTo>
                  <a:lnTo>
                    <a:pt x="114" y="249"/>
                  </a:lnTo>
                  <a:lnTo>
                    <a:pt x="121" y="252"/>
                  </a:lnTo>
                  <a:lnTo>
                    <a:pt x="121" y="255"/>
                  </a:lnTo>
                  <a:lnTo>
                    <a:pt x="124" y="258"/>
                  </a:lnTo>
                  <a:lnTo>
                    <a:pt x="124" y="261"/>
                  </a:lnTo>
                  <a:lnTo>
                    <a:pt x="117" y="268"/>
                  </a:lnTo>
                  <a:lnTo>
                    <a:pt x="117" y="271"/>
                  </a:lnTo>
                  <a:lnTo>
                    <a:pt x="110" y="271"/>
                  </a:lnTo>
                  <a:lnTo>
                    <a:pt x="107" y="271"/>
                  </a:lnTo>
                  <a:lnTo>
                    <a:pt x="107" y="268"/>
                  </a:lnTo>
                  <a:lnTo>
                    <a:pt x="103" y="268"/>
                  </a:lnTo>
                  <a:lnTo>
                    <a:pt x="103" y="265"/>
                  </a:lnTo>
                  <a:lnTo>
                    <a:pt x="100" y="268"/>
                  </a:lnTo>
                  <a:lnTo>
                    <a:pt x="100" y="268"/>
                  </a:lnTo>
                  <a:lnTo>
                    <a:pt x="97" y="265"/>
                  </a:lnTo>
                  <a:lnTo>
                    <a:pt x="93" y="265"/>
                  </a:lnTo>
                  <a:lnTo>
                    <a:pt x="93" y="268"/>
                  </a:lnTo>
                  <a:lnTo>
                    <a:pt x="90" y="268"/>
                  </a:lnTo>
                  <a:lnTo>
                    <a:pt x="90" y="268"/>
                  </a:lnTo>
                  <a:lnTo>
                    <a:pt x="86" y="271"/>
                  </a:lnTo>
                  <a:lnTo>
                    <a:pt x="83" y="268"/>
                  </a:lnTo>
                  <a:lnTo>
                    <a:pt x="79" y="268"/>
                  </a:lnTo>
                  <a:lnTo>
                    <a:pt x="79" y="271"/>
                  </a:lnTo>
                  <a:lnTo>
                    <a:pt x="86" y="271"/>
                  </a:lnTo>
                  <a:lnTo>
                    <a:pt x="86" y="271"/>
                  </a:lnTo>
                  <a:lnTo>
                    <a:pt x="86" y="271"/>
                  </a:lnTo>
                  <a:lnTo>
                    <a:pt x="93" y="271"/>
                  </a:lnTo>
                  <a:lnTo>
                    <a:pt x="97" y="271"/>
                  </a:lnTo>
                  <a:lnTo>
                    <a:pt x="100" y="271"/>
                  </a:lnTo>
                  <a:lnTo>
                    <a:pt x="103" y="274"/>
                  </a:lnTo>
                  <a:lnTo>
                    <a:pt x="103" y="274"/>
                  </a:lnTo>
                  <a:lnTo>
                    <a:pt x="107" y="274"/>
                  </a:lnTo>
                  <a:lnTo>
                    <a:pt x="110" y="274"/>
                  </a:lnTo>
                  <a:lnTo>
                    <a:pt x="114" y="274"/>
                  </a:lnTo>
                  <a:lnTo>
                    <a:pt x="117" y="274"/>
                  </a:lnTo>
                  <a:lnTo>
                    <a:pt x="117" y="278"/>
                  </a:lnTo>
                  <a:lnTo>
                    <a:pt x="114" y="281"/>
                  </a:lnTo>
                  <a:lnTo>
                    <a:pt x="114" y="281"/>
                  </a:lnTo>
                  <a:lnTo>
                    <a:pt x="110" y="284"/>
                  </a:lnTo>
                  <a:lnTo>
                    <a:pt x="107" y="284"/>
                  </a:lnTo>
                  <a:lnTo>
                    <a:pt x="107" y="281"/>
                  </a:lnTo>
                  <a:lnTo>
                    <a:pt x="107" y="281"/>
                  </a:lnTo>
                  <a:lnTo>
                    <a:pt x="103" y="281"/>
                  </a:lnTo>
                  <a:lnTo>
                    <a:pt x="107" y="284"/>
                  </a:lnTo>
                  <a:lnTo>
                    <a:pt x="103" y="284"/>
                  </a:lnTo>
                  <a:lnTo>
                    <a:pt x="100" y="287"/>
                  </a:lnTo>
                  <a:lnTo>
                    <a:pt x="100" y="290"/>
                  </a:lnTo>
                  <a:lnTo>
                    <a:pt x="97" y="287"/>
                  </a:lnTo>
                  <a:lnTo>
                    <a:pt x="97" y="290"/>
                  </a:lnTo>
                  <a:lnTo>
                    <a:pt x="93" y="290"/>
                  </a:lnTo>
                  <a:lnTo>
                    <a:pt x="93" y="290"/>
                  </a:lnTo>
                  <a:lnTo>
                    <a:pt x="93" y="290"/>
                  </a:lnTo>
                  <a:lnTo>
                    <a:pt x="90" y="294"/>
                  </a:lnTo>
                  <a:lnTo>
                    <a:pt x="93" y="294"/>
                  </a:lnTo>
                  <a:lnTo>
                    <a:pt x="97" y="297"/>
                  </a:lnTo>
                  <a:lnTo>
                    <a:pt x="90" y="297"/>
                  </a:lnTo>
                  <a:lnTo>
                    <a:pt x="97" y="300"/>
                  </a:lnTo>
                  <a:lnTo>
                    <a:pt x="97" y="300"/>
                  </a:lnTo>
                  <a:lnTo>
                    <a:pt x="93" y="307"/>
                  </a:lnTo>
                  <a:lnTo>
                    <a:pt x="97" y="310"/>
                  </a:lnTo>
                  <a:lnTo>
                    <a:pt x="93" y="310"/>
                  </a:lnTo>
                  <a:lnTo>
                    <a:pt x="90" y="307"/>
                  </a:lnTo>
                  <a:lnTo>
                    <a:pt x="90" y="310"/>
                  </a:lnTo>
                  <a:lnTo>
                    <a:pt x="90" y="313"/>
                  </a:lnTo>
                  <a:lnTo>
                    <a:pt x="93" y="316"/>
                  </a:lnTo>
                  <a:lnTo>
                    <a:pt x="90" y="320"/>
                  </a:lnTo>
                  <a:lnTo>
                    <a:pt x="93" y="323"/>
                  </a:lnTo>
                  <a:lnTo>
                    <a:pt x="90" y="326"/>
                  </a:lnTo>
                  <a:lnTo>
                    <a:pt x="90" y="329"/>
                  </a:lnTo>
                  <a:lnTo>
                    <a:pt x="93" y="329"/>
                  </a:lnTo>
                  <a:lnTo>
                    <a:pt x="90" y="332"/>
                  </a:lnTo>
                  <a:lnTo>
                    <a:pt x="90" y="342"/>
                  </a:lnTo>
                  <a:lnTo>
                    <a:pt x="86" y="345"/>
                  </a:lnTo>
                  <a:lnTo>
                    <a:pt x="86" y="352"/>
                  </a:lnTo>
                  <a:lnTo>
                    <a:pt x="83" y="355"/>
                  </a:lnTo>
                  <a:lnTo>
                    <a:pt x="79" y="352"/>
                  </a:lnTo>
                  <a:lnTo>
                    <a:pt x="76" y="352"/>
                  </a:lnTo>
                  <a:lnTo>
                    <a:pt x="72" y="352"/>
                  </a:lnTo>
                  <a:lnTo>
                    <a:pt x="66" y="352"/>
                  </a:lnTo>
                  <a:lnTo>
                    <a:pt x="62" y="349"/>
                  </a:lnTo>
                  <a:lnTo>
                    <a:pt x="62" y="355"/>
                  </a:lnTo>
                  <a:lnTo>
                    <a:pt x="55" y="355"/>
                  </a:lnTo>
                  <a:lnTo>
                    <a:pt x="55" y="362"/>
                  </a:lnTo>
                  <a:lnTo>
                    <a:pt x="55" y="362"/>
                  </a:lnTo>
                  <a:lnTo>
                    <a:pt x="55" y="365"/>
                  </a:lnTo>
                  <a:lnTo>
                    <a:pt x="52" y="368"/>
                  </a:lnTo>
                  <a:lnTo>
                    <a:pt x="48" y="368"/>
                  </a:lnTo>
                  <a:lnTo>
                    <a:pt x="38" y="368"/>
                  </a:lnTo>
                  <a:lnTo>
                    <a:pt x="35" y="368"/>
                  </a:lnTo>
                  <a:lnTo>
                    <a:pt x="31" y="368"/>
                  </a:lnTo>
                  <a:lnTo>
                    <a:pt x="35" y="365"/>
                  </a:lnTo>
                  <a:lnTo>
                    <a:pt x="31" y="358"/>
                  </a:lnTo>
                  <a:lnTo>
                    <a:pt x="28" y="355"/>
                  </a:lnTo>
                  <a:lnTo>
                    <a:pt x="28" y="352"/>
                  </a:lnTo>
                  <a:lnTo>
                    <a:pt x="24" y="352"/>
                  </a:lnTo>
                  <a:lnTo>
                    <a:pt x="28" y="349"/>
                  </a:lnTo>
                  <a:lnTo>
                    <a:pt x="31" y="349"/>
                  </a:lnTo>
                  <a:lnTo>
                    <a:pt x="35" y="345"/>
                  </a:lnTo>
                  <a:lnTo>
                    <a:pt x="31" y="342"/>
                  </a:lnTo>
                  <a:lnTo>
                    <a:pt x="28" y="342"/>
                  </a:lnTo>
                  <a:lnTo>
                    <a:pt x="24" y="339"/>
                  </a:lnTo>
                  <a:lnTo>
                    <a:pt x="24" y="336"/>
                  </a:lnTo>
                  <a:lnTo>
                    <a:pt x="21" y="336"/>
                  </a:lnTo>
                  <a:lnTo>
                    <a:pt x="21" y="329"/>
                  </a:lnTo>
                  <a:lnTo>
                    <a:pt x="17" y="326"/>
                  </a:lnTo>
                  <a:lnTo>
                    <a:pt x="14" y="323"/>
                  </a:lnTo>
                  <a:lnTo>
                    <a:pt x="11" y="320"/>
                  </a:lnTo>
                  <a:lnTo>
                    <a:pt x="11" y="320"/>
                  </a:lnTo>
                  <a:lnTo>
                    <a:pt x="7" y="316"/>
                  </a:lnTo>
                  <a:lnTo>
                    <a:pt x="7" y="313"/>
                  </a:lnTo>
                  <a:lnTo>
                    <a:pt x="11" y="310"/>
                  </a:lnTo>
                  <a:lnTo>
                    <a:pt x="7" y="307"/>
                  </a:lnTo>
                  <a:lnTo>
                    <a:pt x="7" y="307"/>
                  </a:lnTo>
                  <a:lnTo>
                    <a:pt x="14" y="303"/>
                  </a:lnTo>
                  <a:lnTo>
                    <a:pt x="11" y="300"/>
                  </a:lnTo>
                  <a:lnTo>
                    <a:pt x="7" y="300"/>
                  </a:lnTo>
                  <a:lnTo>
                    <a:pt x="11" y="297"/>
                  </a:lnTo>
                  <a:lnTo>
                    <a:pt x="7" y="297"/>
                  </a:lnTo>
                  <a:lnTo>
                    <a:pt x="7" y="300"/>
                  </a:lnTo>
                  <a:lnTo>
                    <a:pt x="11" y="303"/>
                  </a:lnTo>
                  <a:lnTo>
                    <a:pt x="4" y="303"/>
                  </a:lnTo>
                  <a:lnTo>
                    <a:pt x="7" y="300"/>
                  </a:lnTo>
                  <a:lnTo>
                    <a:pt x="4" y="300"/>
                  </a:lnTo>
                  <a:lnTo>
                    <a:pt x="0" y="297"/>
                  </a:lnTo>
                  <a:lnTo>
                    <a:pt x="0" y="294"/>
                  </a:lnTo>
                  <a:lnTo>
                    <a:pt x="0" y="290"/>
                  </a:lnTo>
                  <a:lnTo>
                    <a:pt x="0" y="284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close/>
                  <a:moveTo>
                    <a:pt x="117" y="271"/>
                  </a:moveTo>
                  <a:lnTo>
                    <a:pt x="117" y="278"/>
                  </a:lnTo>
                  <a:lnTo>
                    <a:pt x="121" y="278"/>
                  </a:lnTo>
                  <a:lnTo>
                    <a:pt x="121" y="274"/>
                  </a:lnTo>
                  <a:lnTo>
                    <a:pt x="124" y="271"/>
                  </a:lnTo>
                  <a:lnTo>
                    <a:pt x="124" y="268"/>
                  </a:lnTo>
                  <a:lnTo>
                    <a:pt x="121" y="268"/>
                  </a:lnTo>
                  <a:lnTo>
                    <a:pt x="117" y="271"/>
                  </a:lnTo>
                  <a:lnTo>
                    <a:pt x="117" y="271"/>
                  </a:lnTo>
                  <a:close/>
                  <a:moveTo>
                    <a:pt x="4" y="307"/>
                  </a:moveTo>
                  <a:lnTo>
                    <a:pt x="4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4" y="307"/>
                  </a:lnTo>
                  <a:lnTo>
                    <a:pt x="4" y="307"/>
                  </a:lnTo>
                  <a:close/>
                  <a:moveTo>
                    <a:pt x="134" y="294"/>
                  </a:moveTo>
                  <a:lnTo>
                    <a:pt x="134" y="297"/>
                  </a:lnTo>
                  <a:lnTo>
                    <a:pt x="138" y="297"/>
                  </a:lnTo>
                  <a:lnTo>
                    <a:pt x="134" y="294"/>
                  </a:lnTo>
                  <a:lnTo>
                    <a:pt x="134" y="294"/>
                  </a:lnTo>
                  <a:lnTo>
                    <a:pt x="134" y="294"/>
                  </a:lnTo>
                  <a:close/>
                  <a:moveTo>
                    <a:pt x="134" y="310"/>
                  </a:moveTo>
                  <a:lnTo>
                    <a:pt x="134" y="313"/>
                  </a:lnTo>
                  <a:lnTo>
                    <a:pt x="138" y="310"/>
                  </a:lnTo>
                  <a:lnTo>
                    <a:pt x="141" y="310"/>
                  </a:lnTo>
                  <a:lnTo>
                    <a:pt x="141" y="307"/>
                  </a:lnTo>
                  <a:lnTo>
                    <a:pt x="138" y="307"/>
                  </a:lnTo>
                  <a:lnTo>
                    <a:pt x="134" y="310"/>
                  </a:lnTo>
                  <a:lnTo>
                    <a:pt x="134" y="310"/>
                  </a:lnTo>
                  <a:close/>
                  <a:moveTo>
                    <a:pt x="121" y="336"/>
                  </a:moveTo>
                  <a:lnTo>
                    <a:pt x="124" y="336"/>
                  </a:lnTo>
                  <a:lnTo>
                    <a:pt x="128" y="332"/>
                  </a:lnTo>
                  <a:lnTo>
                    <a:pt x="124" y="332"/>
                  </a:lnTo>
                  <a:lnTo>
                    <a:pt x="128" y="329"/>
                  </a:lnTo>
                  <a:lnTo>
                    <a:pt x="131" y="326"/>
                  </a:lnTo>
                  <a:lnTo>
                    <a:pt x="131" y="326"/>
                  </a:lnTo>
                  <a:lnTo>
                    <a:pt x="134" y="323"/>
                  </a:lnTo>
                  <a:lnTo>
                    <a:pt x="134" y="320"/>
                  </a:lnTo>
                  <a:lnTo>
                    <a:pt x="131" y="320"/>
                  </a:lnTo>
                  <a:lnTo>
                    <a:pt x="131" y="316"/>
                  </a:lnTo>
                  <a:lnTo>
                    <a:pt x="131" y="313"/>
                  </a:lnTo>
                  <a:lnTo>
                    <a:pt x="134" y="313"/>
                  </a:lnTo>
                  <a:lnTo>
                    <a:pt x="131" y="310"/>
                  </a:lnTo>
                  <a:lnTo>
                    <a:pt x="131" y="313"/>
                  </a:lnTo>
                  <a:lnTo>
                    <a:pt x="124" y="313"/>
                  </a:lnTo>
                  <a:lnTo>
                    <a:pt x="124" y="316"/>
                  </a:lnTo>
                  <a:lnTo>
                    <a:pt x="121" y="316"/>
                  </a:lnTo>
                  <a:lnTo>
                    <a:pt x="117" y="320"/>
                  </a:lnTo>
                  <a:lnTo>
                    <a:pt x="121" y="323"/>
                  </a:lnTo>
                  <a:lnTo>
                    <a:pt x="117" y="326"/>
                  </a:lnTo>
                  <a:lnTo>
                    <a:pt x="124" y="329"/>
                  </a:lnTo>
                  <a:lnTo>
                    <a:pt x="124" y="329"/>
                  </a:lnTo>
                  <a:lnTo>
                    <a:pt x="124" y="332"/>
                  </a:lnTo>
                  <a:lnTo>
                    <a:pt x="121" y="336"/>
                  </a:lnTo>
                  <a:lnTo>
                    <a:pt x="121" y="336"/>
                  </a:lnTo>
                  <a:lnTo>
                    <a:pt x="121" y="336"/>
                  </a:lnTo>
                  <a:close/>
                  <a:moveTo>
                    <a:pt x="93" y="345"/>
                  </a:moveTo>
                  <a:lnTo>
                    <a:pt x="93" y="349"/>
                  </a:lnTo>
                  <a:lnTo>
                    <a:pt x="93" y="352"/>
                  </a:lnTo>
                  <a:lnTo>
                    <a:pt x="93" y="352"/>
                  </a:lnTo>
                  <a:lnTo>
                    <a:pt x="97" y="349"/>
                  </a:lnTo>
                  <a:lnTo>
                    <a:pt x="97" y="342"/>
                  </a:lnTo>
                  <a:lnTo>
                    <a:pt x="97" y="339"/>
                  </a:lnTo>
                  <a:lnTo>
                    <a:pt x="100" y="332"/>
                  </a:lnTo>
                  <a:lnTo>
                    <a:pt x="100" y="329"/>
                  </a:lnTo>
                  <a:lnTo>
                    <a:pt x="100" y="326"/>
                  </a:lnTo>
                  <a:lnTo>
                    <a:pt x="97" y="329"/>
                  </a:lnTo>
                  <a:lnTo>
                    <a:pt x="97" y="329"/>
                  </a:lnTo>
                  <a:lnTo>
                    <a:pt x="97" y="336"/>
                  </a:lnTo>
                  <a:lnTo>
                    <a:pt x="93" y="336"/>
                  </a:lnTo>
                  <a:lnTo>
                    <a:pt x="93" y="3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0" name="Freeform 41"/>
            <p:cNvSpPr>
              <a:spLocks noEditPoints="1"/>
            </p:cNvSpPr>
            <p:nvPr/>
          </p:nvSpPr>
          <p:spPr bwMode="auto">
            <a:xfrm>
              <a:off x="6753226" y="2359680"/>
              <a:ext cx="304800" cy="466725"/>
            </a:xfrm>
            <a:custGeom>
              <a:avLst/>
              <a:gdLst>
                <a:gd name="T0" fmla="*/ 175 w 192"/>
                <a:gd name="T1" fmla="*/ 243 h 294"/>
                <a:gd name="T2" fmla="*/ 178 w 192"/>
                <a:gd name="T3" fmla="*/ 197 h 294"/>
                <a:gd name="T4" fmla="*/ 165 w 192"/>
                <a:gd name="T5" fmla="*/ 165 h 294"/>
                <a:gd name="T6" fmla="*/ 158 w 192"/>
                <a:gd name="T7" fmla="*/ 146 h 294"/>
                <a:gd name="T8" fmla="*/ 154 w 192"/>
                <a:gd name="T9" fmla="*/ 110 h 294"/>
                <a:gd name="T10" fmla="*/ 147 w 192"/>
                <a:gd name="T11" fmla="*/ 71 h 294"/>
                <a:gd name="T12" fmla="*/ 123 w 192"/>
                <a:gd name="T13" fmla="*/ 55 h 294"/>
                <a:gd name="T14" fmla="*/ 120 w 192"/>
                <a:gd name="T15" fmla="*/ 33 h 294"/>
                <a:gd name="T16" fmla="*/ 123 w 192"/>
                <a:gd name="T17" fmla="*/ 10 h 294"/>
                <a:gd name="T18" fmla="*/ 92 w 192"/>
                <a:gd name="T19" fmla="*/ 0 h 294"/>
                <a:gd name="T20" fmla="*/ 79 w 192"/>
                <a:gd name="T21" fmla="*/ 7 h 294"/>
                <a:gd name="T22" fmla="*/ 75 w 192"/>
                <a:gd name="T23" fmla="*/ 29 h 294"/>
                <a:gd name="T24" fmla="*/ 61 w 192"/>
                <a:gd name="T25" fmla="*/ 39 h 294"/>
                <a:gd name="T26" fmla="*/ 37 w 192"/>
                <a:gd name="T27" fmla="*/ 45 h 294"/>
                <a:gd name="T28" fmla="*/ 10 w 192"/>
                <a:gd name="T29" fmla="*/ 26 h 294"/>
                <a:gd name="T30" fmla="*/ 0 w 192"/>
                <a:gd name="T31" fmla="*/ 33 h 294"/>
                <a:gd name="T32" fmla="*/ 27 w 192"/>
                <a:gd name="T33" fmla="*/ 49 h 294"/>
                <a:gd name="T34" fmla="*/ 41 w 192"/>
                <a:gd name="T35" fmla="*/ 58 h 294"/>
                <a:gd name="T36" fmla="*/ 44 w 192"/>
                <a:gd name="T37" fmla="*/ 78 h 294"/>
                <a:gd name="T38" fmla="*/ 55 w 192"/>
                <a:gd name="T39" fmla="*/ 94 h 294"/>
                <a:gd name="T40" fmla="*/ 55 w 192"/>
                <a:gd name="T41" fmla="*/ 120 h 294"/>
                <a:gd name="T42" fmla="*/ 68 w 192"/>
                <a:gd name="T43" fmla="*/ 133 h 294"/>
                <a:gd name="T44" fmla="*/ 86 w 192"/>
                <a:gd name="T45" fmla="*/ 149 h 294"/>
                <a:gd name="T46" fmla="*/ 89 w 192"/>
                <a:gd name="T47" fmla="*/ 159 h 294"/>
                <a:gd name="T48" fmla="*/ 68 w 192"/>
                <a:gd name="T49" fmla="*/ 168 h 294"/>
                <a:gd name="T50" fmla="*/ 58 w 192"/>
                <a:gd name="T51" fmla="*/ 178 h 294"/>
                <a:gd name="T52" fmla="*/ 55 w 192"/>
                <a:gd name="T53" fmla="*/ 194 h 294"/>
                <a:gd name="T54" fmla="*/ 41 w 192"/>
                <a:gd name="T55" fmla="*/ 194 h 294"/>
                <a:gd name="T56" fmla="*/ 37 w 192"/>
                <a:gd name="T57" fmla="*/ 207 h 294"/>
                <a:gd name="T58" fmla="*/ 27 w 192"/>
                <a:gd name="T59" fmla="*/ 207 h 294"/>
                <a:gd name="T60" fmla="*/ 27 w 192"/>
                <a:gd name="T61" fmla="*/ 220 h 294"/>
                <a:gd name="T62" fmla="*/ 30 w 192"/>
                <a:gd name="T63" fmla="*/ 233 h 294"/>
                <a:gd name="T64" fmla="*/ 37 w 192"/>
                <a:gd name="T65" fmla="*/ 249 h 294"/>
                <a:gd name="T66" fmla="*/ 34 w 192"/>
                <a:gd name="T67" fmla="*/ 272 h 294"/>
                <a:gd name="T68" fmla="*/ 48 w 192"/>
                <a:gd name="T69" fmla="*/ 275 h 294"/>
                <a:gd name="T70" fmla="*/ 61 w 192"/>
                <a:gd name="T71" fmla="*/ 281 h 294"/>
                <a:gd name="T72" fmla="*/ 68 w 192"/>
                <a:gd name="T73" fmla="*/ 294 h 294"/>
                <a:gd name="T74" fmla="*/ 79 w 192"/>
                <a:gd name="T75" fmla="*/ 288 h 294"/>
                <a:gd name="T76" fmla="*/ 106 w 192"/>
                <a:gd name="T77" fmla="*/ 281 h 294"/>
                <a:gd name="T78" fmla="*/ 113 w 192"/>
                <a:gd name="T79" fmla="*/ 278 h 294"/>
                <a:gd name="T80" fmla="*/ 120 w 192"/>
                <a:gd name="T81" fmla="*/ 278 h 294"/>
                <a:gd name="T82" fmla="*/ 134 w 192"/>
                <a:gd name="T83" fmla="*/ 275 h 294"/>
                <a:gd name="T84" fmla="*/ 147 w 192"/>
                <a:gd name="T85" fmla="*/ 272 h 294"/>
                <a:gd name="T86" fmla="*/ 79 w 192"/>
                <a:gd name="T87" fmla="*/ 152 h 294"/>
                <a:gd name="T88" fmla="*/ 82 w 192"/>
                <a:gd name="T89" fmla="*/ 149 h 294"/>
                <a:gd name="T90" fmla="*/ 27 w 192"/>
                <a:gd name="T91" fmla="*/ 197 h 294"/>
                <a:gd name="T92" fmla="*/ 27 w 192"/>
                <a:gd name="T93" fmla="*/ 201 h 294"/>
                <a:gd name="T94" fmla="*/ 65 w 192"/>
                <a:gd name="T95" fmla="*/ 288 h 294"/>
                <a:gd name="T96" fmla="*/ 65 w 192"/>
                <a:gd name="T97" fmla="*/ 288 h 294"/>
                <a:gd name="T98" fmla="*/ 58 w 192"/>
                <a:gd name="T99" fmla="*/ 285 h 294"/>
                <a:gd name="T100" fmla="*/ 51 w 192"/>
                <a:gd name="T101" fmla="*/ 281 h 294"/>
                <a:gd name="T102" fmla="*/ 44 w 192"/>
                <a:gd name="T103" fmla="*/ 275 h 294"/>
                <a:gd name="T104" fmla="*/ 34 w 192"/>
                <a:gd name="T105" fmla="*/ 275 h 294"/>
                <a:gd name="T106" fmla="*/ 10 w 192"/>
                <a:gd name="T107" fmla="*/ 278 h 294"/>
                <a:gd name="T108" fmla="*/ 17 w 192"/>
                <a:gd name="T109" fmla="*/ 288 h 294"/>
                <a:gd name="T110" fmla="*/ 10 w 192"/>
                <a:gd name="T111" fmla="*/ 285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2" h="294">
                  <a:moveTo>
                    <a:pt x="151" y="272"/>
                  </a:moveTo>
                  <a:lnTo>
                    <a:pt x="151" y="268"/>
                  </a:lnTo>
                  <a:lnTo>
                    <a:pt x="161" y="259"/>
                  </a:lnTo>
                  <a:lnTo>
                    <a:pt x="165" y="259"/>
                  </a:lnTo>
                  <a:lnTo>
                    <a:pt x="172" y="249"/>
                  </a:lnTo>
                  <a:lnTo>
                    <a:pt x="175" y="243"/>
                  </a:lnTo>
                  <a:lnTo>
                    <a:pt x="178" y="236"/>
                  </a:lnTo>
                  <a:lnTo>
                    <a:pt x="189" y="223"/>
                  </a:lnTo>
                  <a:lnTo>
                    <a:pt x="192" y="213"/>
                  </a:lnTo>
                  <a:lnTo>
                    <a:pt x="192" y="207"/>
                  </a:lnTo>
                  <a:lnTo>
                    <a:pt x="182" y="201"/>
                  </a:lnTo>
                  <a:lnTo>
                    <a:pt x="178" y="197"/>
                  </a:lnTo>
                  <a:lnTo>
                    <a:pt x="168" y="188"/>
                  </a:lnTo>
                  <a:lnTo>
                    <a:pt x="172" y="181"/>
                  </a:lnTo>
                  <a:lnTo>
                    <a:pt x="175" y="178"/>
                  </a:lnTo>
                  <a:lnTo>
                    <a:pt x="175" y="175"/>
                  </a:lnTo>
                  <a:lnTo>
                    <a:pt x="168" y="168"/>
                  </a:lnTo>
                  <a:lnTo>
                    <a:pt x="165" y="165"/>
                  </a:lnTo>
                  <a:lnTo>
                    <a:pt x="165" y="159"/>
                  </a:lnTo>
                  <a:lnTo>
                    <a:pt x="168" y="159"/>
                  </a:lnTo>
                  <a:lnTo>
                    <a:pt x="165" y="155"/>
                  </a:lnTo>
                  <a:lnTo>
                    <a:pt x="161" y="155"/>
                  </a:lnTo>
                  <a:lnTo>
                    <a:pt x="158" y="152"/>
                  </a:lnTo>
                  <a:lnTo>
                    <a:pt x="158" y="146"/>
                  </a:lnTo>
                  <a:lnTo>
                    <a:pt x="161" y="142"/>
                  </a:lnTo>
                  <a:lnTo>
                    <a:pt x="158" y="142"/>
                  </a:lnTo>
                  <a:lnTo>
                    <a:pt x="158" y="139"/>
                  </a:lnTo>
                  <a:lnTo>
                    <a:pt x="158" y="129"/>
                  </a:lnTo>
                  <a:lnTo>
                    <a:pt x="161" y="129"/>
                  </a:lnTo>
                  <a:lnTo>
                    <a:pt x="154" y="110"/>
                  </a:lnTo>
                  <a:lnTo>
                    <a:pt x="144" y="100"/>
                  </a:lnTo>
                  <a:lnTo>
                    <a:pt x="144" y="94"/>
                  </a:lnTo>
                  <a:lnTo>
                    <a:pt x="137" y="91"/>
                  </a:lnTo>
                  <a:lnTo>
                    <a:pt x="141" y="81"/>
                  </a:lnTo>
                  <a:lnTo>
                    <a:pt x="147" y="78"/>
                  </a:lnTo>
                  <a:lnTo>
                    <a:pt x="147" y="71"/>
                  </a:lnTo>
                  <a:lnTo>
                    <a:pt x="144" y="71"/>
                  </a:lnTo>
                  <a:lnTo>
                    <a:pt x="137" y="65"/>
                  </a:lnTo>
                  <a:lnTo>
                    <a:pt x="134" y="62"/>
                  </a:lnTo>
                  <a:lnTo>
                    <a:pt x="134" y="58"/>
                  </a:lnTo>
                  <a:lnTo>
                    <a:pt x="127" y="55"/>
                  </a:lnTo>
                  <a:lnTo>
                    <a:pt x="123" y="55"/>
                  </a:lnTo>
                  <a:lnTo>
                    <a:pt x="120" y="49"/>
                  </a:lnTo>
                  <a:lnTo>
                    <a:pt x="116" y="45"/>
                  </a:lnTo>
                  <a:lnTo>
                    <a:pt x="120" y="39"/>
                  </a:lnTo>
                  <a:lnTo>
                    <a:pt x="120" y="36"/>
                  </a:lnTo>
                  <a:lnTo>
                    <a:pt x="116" y="36"/>
                  </a:lnTo>
                  <a:lnTo>
                    <a:pt x="120" y="33"/>
                  </a:lnTo>
                  <a:lnTo>
                    <a:pt x="127" y="33"/>
                  </a:lnTo>
                  <a:lnTo>
                    <a:pt x="123" y="23"/>
                  </a:lnTo>
                  <a:lnTo>
                    <a:pt x="127" y="20"/>
                  </a:lnTo>
                  <a:lnTo>
                    <a:pt x="130" y="16"/>
                  </a:lnTo>
                  <a:lnTo>
                    <a:pt x="123" y="13"/>
                  </a:lnTo>
                  <a:lnTo>
                    <a:pt x="123" y="10"/>
                  </a:lnTo>
                  <a:lnTo>
                    <a:pt x="116" y="10"/>
                  </a:lnTo>
                  <a:lnTo>
                    <a:pt x="113" y="7"/>
                  </a:lnTo>
                  <a:lnTo>
                    <a:pt x="110" y="7"/>
                  </a:lnTo>
                  <a:lnTo>
                    <a:pt x="106" y="0"/>
                  </a:lnTo>
                  <a:lnTo>
                    <a:pt x="103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3"/>
                  </a:lnTo>
                  <a:lnTo>
                    <a:pt x="89" y="3"/>
                  </a:lnTo>
                  <a:lnTo>
                    <a:pt x="82" y="3"/>
                  </a:lnTo>
                  <a:lnTo>
                    <a:pt x="79" y="3"/>
                  </a:lnTo>
                  <a:lnTo>
                    <a:pt x="79" y="7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5" y="13"/>
                  </a:lnTo>
                  <a:lnTo>
                    <a:pt x="75" y="16"/>
                  </a:lnTo>
                  <a:lnTo>
                    <a:pt x="75" y="26"/>
                  </a:lnTo>
                  <a:lnTo>
                    <a:pt x="75" y="29"/>
                  </a:lnTo>
                  <a:lnTo>
                    <a:pt x="75" y="33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5" y="39"/>
                  </a:lnTo>
                  <a:lnTo>
                    <a:pt x="61" y="39"/>
                  </a:lnTo>
                  <a:lnTo>
                    <a:pt x="61" y="42"/>
                  </a:lnTo>
                  <a:lnTo>
                    <a:pt x="58" y="42"/>
                  </a:lnTo>
                  <a:lnTo>
                    <a:pt x="51" y="39"/>
                  </a:lnTo>
                  <a:lnTo>
                    <a:pt x="48" y="39"/>
                  </a:lnTo>
                  <a:lnTo>
                    <a:pt x="44" y="42"/>
                  </a:lnTo>
                  <a:lnTo>
                    <a:pt x="37" y="45"/>
                  </a:lnTo>
                  <a:lnTo>
                    <a:pt x="30" y="45"/>
                  </a:lnTo>
                  <a:lnTo>
                    <a:pt x="24" y="42"/>
                  </a:lnTo>
                  <a:lnTo>
                    <a:pt x="20" y="39"/>
                  </a:lnTo>
                  <a:lnTo>
                    <a:pt x="20" y="36"/>
                  </a:lnTo>
                  <a:lnTo>
                    <a:pt x="10" y="29"/>
                  </a:lnTo>
                  <a:lnTo>
                    <a:pt x="10" y="26"/>
                  </a:lnTo>
                  <a:lnTo>
                    <a:pt x="6" y="26"/>
                  </a:lnTo>
                  <a:lnTo>
                    <a:pt x="3" y="29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6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3" y="39"/>
                  </a:lnTo>
                  <a:lnTo>
                    <a:pt x="6" y="39"/>
                  </a:lnTo>
                  <a:lnTo>
                    <a:pt x="13" y="45"/>
                  </a:lnTo>
                  <a:lnTo>
                    <a:pt x="20" y="49"/>
                  </a:lnTo>
                  <a:lnTo>
                    <a:pt x="27" y="49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7" y="55"/>
                  </a:lnTo>
                  <a:lnTo>
                    <a:pt x="37" y="58"/>
                  </a:lnTo>
                  <a:lnTo>
                    <a:pt x="37" y="58"/>
                  </a:lnTo>
                  <a:lnTo>
                    <a:pt x="41" y="58"/>
                  </a:lnTo>
                  <a:lnTo>
                    <a:pt x="44" y="62"/>
                  </a:lnTo>
                  <a:lnTo>
                    <a:pt x="48" y="62"/>
                  </a:lnTo>
                  <a:lnTo>
                    <a:pt x="48" y="65"/>
                  </a:lnTo>
                  <a:lnTo>
                    <a:pt x="48" y="68"/>
                  </a:lnTo>
                  <a:lnTo>
                    <a:pt x="48" y="75"/>
                  </a:lnTo>
                  <a:lnTo>
                    <a:pt x="44" y="78"/>
                  </a:lnTo>
                  <a:lnTo>
                    <a:pt x="48" y="81"/>
                  </a:lnTo>
                  <a:lnTo>
                    <a:pt x="51" y="81"/>
                  </a:lnTo>
                  <a:lnTo>
                    <a:pt x="51" y="84"/>
                  </a:lnTo>
                  <a:lnTo>
                    <a:pt x="51" y="87"/>
                  </a:lnTo>
                  <a:lnTo>
                    <a:pt x="51" y="91"/>
                  </a:lnTo>
                  <a:lnTo>
                    <a:pt x="55" y="94"/>
                  </a:lnTo>
                  <a:lnTo>
                    <a:pt x="55" y="100"/>
                  </a:lnTo>
                  <a:lnTo>
                    <a:pt x="55" y="104"/>
                  </a:lnTo>
                  <a:lnTo>
                    <a:pt x="55" y="104"/>
                  </a:lnTo>
                  <a:lnTo>
                    <a:pt x="55" y="110"/>
                  </a:lnTo>
                  <a:lnTo>
                    <a:pt x="55" y="113"/>
                  </a:lnTo>
                  <a:lnTo>
                    <a:pt x="55" y="120"/>
                  </a:lnTo>
                  <a:lnTo>
                    <a:pt x="58" y="120"/>
                  </a:lnTo>
                  <a:lnTo>
                    <a:pt x="61" y="126"/>
                  </a:lnTo>
                  <a:lnTo>
                    <a:pt x="65" y="126"/>
                  </a:lnTo>
                  <a:lnTo>
                    <a:pt x="65" y="133"/>
                  </a:lnTo>
                  <a:lnTo>
                    <a:pt x="65" y="133"/>
                  </a:lnTo>
                  <a:lnTo>
                    <a:pt x="68" y="133"/>
                  </a:lnTo>
                  <a:lnTo>
                    <a:pt x="72" y="136"/>
                  </a:lnTo>
                  <a:lnTo>
                    <a:pt x="79" y="136"/>
                  </a:lnTo>
                  <a:lnTo>
                    <a:pt x="86" y="139"/>
                  </a:lnTo>
                  <a:lnTo>
                    <a:pt x="82" y="142"/>
                  </a:lnTo>
                  <a:lnTo>
                    <a:pt x="86" y="142"/>
                  </a:lnTo>
                  <a:lnTo>
                    <a:pt x="86" y="149"/>
                  </a:lnTo>
                  <a:lnTo>
                    <a:pt x="82" y="149"/>
                  </a:lnTo>
                  <a:lnTo>
                    <a:pt x="89" y="155"/>
                  </a:lnTo>
                  <a:lnTo>
                    <a:pt x="86" y="152"/>
                  </a:lnTo>
                  <a:lnTo>
                    <a:pt x="82" y="152"/>
                  </a:lnTo>
                  <a:lnTo>
                    <a:pt x="89" y="159"/>
                  </a:lnTo>
                  <a:lnTo>
                    <a:pt x="89" y="159"/>
                  </a:lnTo>
                  <a:lnTo>
                    <a:pt x="82" y="155"/>
                  </a:lnTo>
                  <a:lnTo>
                    <a:pt x="79" y="155"/>
                  </a:lnTo>
                  <a:lnTo>
                    <a:pt x="72" y="159"/>
                  </a:lnTo>
                  <a:lnTo>
                    <a:pt x="72" y="162"/>
                  </a:lnTo>
                  <a:lnTo>
                    <a:pt x="68" y="165"/>
                  </a:lnTo>
                  <a:lnTo>
                    <a:pt x="68" y="168"/>
                  </a:lnTo>
                  <a:lnTo>
                    <a:pt x="68" y="168"/>
                  </a:lnTo>
                  <a:lnTo>
                    <a:pt x="61" y="175"/>
                  </a:lnTo>
                  <a:lnTo>
                    <a:pt x="61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81"/>
                  </a:lnTo>
                  <a:lnTo>
                    <a:pt x="58" y="184"/>
                  </a:lnTo>
                  <a:lnTo>
                    <a:pt x="55" y="184"/>
                  </a:lnTo>
                  <a:lnTo>
                    <a:pt x="51" y="188"/>
                  </a:lnTo>
                  <a:lnTo>
                    <a:pt x="51" y="191"/>
                  </a:lnTo>
                  <a:lnTo>
                    <a:pt x="55" y="194"/>
                  </a:lnTo>
                  <a:lnTo>
                    <a:pt x="51" y="191"/>
                  </a:lnTo>
                  <a:lnTo>
                    <a:pt x="48" y="191"/>
                  </a:lnTo>
                  <a:lnTo>
                    <a:pt x="44" y="191"/>
                  </a:lnTo>
                  <a:lnTo>
                    <a:pt x="44" y="194"/>
                  </a:lnTo>
                  <a:lnTo>
                    <a:pt x="44" y="197"/>
                  </a:lnTo>
                  <a:lnTo>
                    <a:pt x="41" y="194"/>
                  </a:lnTo>
                  <a:lnTo>
                    <a:pt x="41" y="197"/>
                  </a:lnTo>
                  <a:lnTo>
                    <a:pt x="44" y="197"/>
                  </a:lnTo>
                  <a:lnTo>
                    <a:pt x="44" y="201"/>
                  </a:lnTo>
                  <a:lnTo>
                    <a:pt x="41" y="201"/>
                  </a:lnTo>
                  <a:lnTo>
                    <a:pt x="41" y="204"/>
                  </a:lnTo>
                  <a:lnTo>
                    <a:pt x="37" y="207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0" y="207"/>
                  </a:lnTo>
                  <a:lnTo>
                    <a:pt x="27" y="207"/>
                  </a:lnTo>
                  <a:lnTo>
                    <a:pt x="30" y="210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4" y="217"/>
                  </a:lnTo>
                  <a:lnTo>
                    <a:pt x="27" y="220"/>
                  </a:lnTo>
                  <a:lnTo>
                    <a:pt x="27" y="220"/>
                  </a:lnTo>
                  <a:lnTo>
                    <a:pt x="27" y="223"/>
                  </a:lnTo>
                  <a:lnTo>
                    <a:pt x="27" y="226"/>
                  </a:lnTo>
                  <a:lnTo>
                    <a:pt x="30" y="226"/>
                  </a:lnTo>
                  <a:lnTo>
                    <a:pt x="30" y="226"/>
                  </a:lnTo>
                  <a:lnTo>
                    <a:pt x="30" y="230"/>
                  </a:lnTo>
                  <a:lnTo>
                    <a:pt x="30" y="233"/>
                  </a:lnTo>
                  <a:lnTo>
                    <a:pt x="30" y="236"/>
                  </a:lnTo>
                  <a:lnTo>
                    <a:pt x="30" y="236"/>
                  </a:lnTo>
                  <a:lnTo>
                    <a:pt x="34" y="243"/>
                  </a:lnTo>
                  <a:lnTo>
                    <a:pt x="37" y="243"/>
                  </a:lnTo>
                  <a:lnTo>
                    <a:pt x="34" y="246"/>
                  </a:lnTo>
                  <a:lnTo>
                    <a:pt x="37" y="249"/>
                  </a:lnTo>
                  <a:lnTo>
                    <a:pt x="34" y="252"/>
                  </a:lnTo>
                  <a:lnTo>
                    <a:pt x="34" y="255"/>
                  </a:lnTo>
                  <a:lnTo>
                    <a:pt x="34" y="259"/>
                  </a:lnTo>
                  <a:lnTo>
                    <a:pt x="34" y="265"/>
                  </a:lnTo>
                  <a:lnTo>
                    <a:pt x="37" y="268"/>
                  </a:lnTo>
                  <a:lnTo>
                    <a:pt x="34" y="272"/>
                  </a:lnTo>
                  <a:lnTo>
                    <a:pt x="34" y="272"/>
                  </a:lnTo>
                  <a:lnTo>
                    <a:pt x="34" y="275"/>
                  </a:lnTo>
                  <a:lnTo>
                    <a:pt x="41" y="272"/>
                  </a:lnTo>
                  <a:lnTo>
                    <a:pt x="41" y="275"/>
                  </a:lnTo>
                  <a:lnTo>
                    <a:pt x="44" y="272"/>
                  </a:lnTo>
                  <a:lnTo>
                    <a:pt x="48" y="275"/>
                  </a:lnTo>
                  <a:lnTo>
                    <a:pt x="51" y="275"/>
                  </a:lnTo>
                  <a:lnTo>
                    <a:pt x="51" y="278"/>
                  </a:lnTo>
                  <a:lnTo>
                    <a:pt x="58" y="278"/>
                  </a:lnTo>
                  <a:lnTo>
                    <a:pt x="61" y="278"/>
                  </a:lnTo>
                  <a:lnTo>
                    <a:pt x="58" y="281"/>
                  </a:lnTo>
                  <a:lnTo>
                    <a:pt x="61" y="281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1" y="281"/>
                  </a:lnTo>
                  <a:lnTo>
                    <a:pt x="68" y="288"/>
                  </a:lnTo>
                  <a:lnTo>
                    <a:pt x="68" y="291"/>
                  </a:lnTo>
                  <a:lnTo>
                    <a:pt x="68" y="294"/>
                  </a:lnTo>
                  <a:lnTo>
                    <a:pt x="68" y="294"/>
                  </a:lnTo>
                  <a:lnTo>
                    <a:pt x="72" y="288"/>
                  </a:lnTo>
                  <a:lnTo>
                    <a:pt x="72" y="288"/>
                  </a:lnTo>
                  <a:lnTo>
                    <a:pt x="75" y="291"/>
                  </a:lnTo>
                  <a:lnTo>
                    <a:pt x="79" y="288"/>
                  </a:lnTo>
                  <a:lnTo>
                    <a:pt x="79" y="288"/>
                  </a:lnTo>
                  <a:lnTo>
                    <a:pt x="86" y="285"/>
                  </a:lnTo>
                  <a:lnTo>
                    <a:pt x="89" y="285"/>
                  </a:lnTo>
                  <a:lnTo>
                    <a:pt x="96" y="281"/>
                  </a:lnTo>
                  <a:lnTo>
                    <a:pt x="99" y="278"/>
                  </a:lnTo>
                  <a:lnTo>
                    <a:pt x="103" y="281"/>
                  </a:lnTo>
                  <a:lnTo>
                    <a:pt x="106" y="281"/>
                  </a:lnTo>
                  <a:lnTo>
                    <a:pt x="110" y="275"/>
                  </a:lnTo>
                  <a:lnTo>
                    <a:pt x="110" y="278"/>
                  </a:lnTo>
                  <a:lnTo>
                    <a:pt x="110" y="281"/>
                  </a:lnTo>
                  <a:lnTo>
                    <a:pt x="110" y="281"/>
                  </a:lnTo>
                  <a:lnTo>
                    <a:pt x="113" y="278"/>
                  </a:lnTo>
                  <a:lnTo>
                    <a:pt x="113" y="278"/>
                  </a:lnTo>
                  <a:lnTo>
                    <a:pt x="113" y="275"/>
                  </a:lnTo>
                  <a:lnTo>
                    <a:pt x="113" y="272"/>
                  </a:lnTo>
                  <a:lnTo>
                    <a:pt x="116" y="275"/>
                  </a:lnTo>
                  <a:lnTo>
                    <a:pt x="116" y="275"/>
                  </a:lnTo>
                  <a:lnTo>
                    <a:pt x="120" y="275"/>
                  </a:lnTo>
                  <a:lnTo>
                    <a:pt x="120" y="278"/>
                  </a:lnTo>
                  <a:lnTo>
                    <a:pt x="123" y="278"/>
                  </a:lnTo>
                  <a:lnTo>
                    <a:pt x="123" y="275"/>
                  </a:lnTo>
                  <a:lnTo>
                    <a:pt x="127" y="275"/>
                  </a:lnTo>
                  <a:lnTo>
                    <a:pt x="127" y="278"/>
                  </a:lnTo>
                  <a:lnTo>
                    <a:pt x="130" y="275"/>
                  </a:lnTo>
                  <a:lnTo>
                    <a:pt x="134" y="275"/>
                  </a:lnTo>
                  <a:lnTo>
                    <a:pt x="137" y="275"/>
                  </a:lnTo>
                  <a:lnTo>
                    <a:pt x="144" y="275"/>
                  </a:lnTo>
                  <a:lnTo>
                    <a:pt x="144" y="275"/>
                  </a:lnTo>
                  <a:lnTo>
                    <a:pt x="141" y="272"/>
                  </a:lnTo>
                  <a:lnTo>
                    <a:pt x="144" y="272"/>
                  </a:lnTo>
                  <a:lnTo>
                    <a:pt x="147" y="272"/>
                  </a:lnTo>
                  <a:lnTo>
                    <a:pt x="147" y="275"/>
                  </a:lnTo>
                  <a:lnTo>
                    <a:pt x="151" y="275"/>
                  </a:lnTo>
                  <a:lnTo>
                    <a:pt x="151" y="275"/>
                  </a:lnTo>
                  <a:lnTo>
                    <a:pt x="151" y="272"/>
                  </a:lnTo>
                  <a:lnTo>
                    <a:pt x="151" y="272"/>
                  </a:lnTo>
                  <a:close/>
                  <a:moveTo>
                    <a:pt x="79" y="152"/>
                  </a:moveTo>
                  <a:lnTo>
                    <a:pt x="79" y="155"/>
                  </a:lnTo>
                  <a:lnTo>
                    <a:pt x="75" y="152"/>
                  </a:lnTo>
                  <a:lnTo>
                    <a:pt x="72" y="149"/>
                  </a:lnTo>
                  <a:lnTo>
                    <a:pt x="75" y="149"/>
                  </a:lnTo>
                  <a:lnTo>
                    <a:pt x="82" y="149"/>
                  </a:lnTo>
                  <a:lnTo>
                    <a:pt x="82" y="149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79" y="152"/>
                  </a:lnTo>
                  <a:close/>
                  <a:moveTo>
                    <a:pt x="27" y="201"/>
                  </a:moveTo>
                  <a:lnTo>
                    <a:pt x="27" y="197"/>
                  </a:lnTo>
                  <a:lnTo>
                    <a:pt x="27" y="197"/>
                  </a:lnTo>
                  <a:lnTo>
                    <a:pt x="27" y="201"/>
                  </a:lnTo>
                  <a:lnTo>
                    <a:pt x="27" y="201"/>
                  </a:lnTo>
                  <a:lnTo>
                    <a:pt x="27" y="201"/>
                  </a:lnTo>
                  <a:close/>
                  <a:moveTo>
                    <a:pt x="24" y="201"/>
                  </a:moveTo>
                  <a:lnTo>
                    <a:pt x="27" y="204"/>
                  </a:lnTo>
                  <a:lnTo>
                    <a:pt x="27" y="201"/>
                  </a:lnTo>
                  <a:lnTo>
                    <a:pt x="27" y="204"/>
                  </a:lnTo>
                  <a:lnTo>
                    <a:pt x="24" y="207"/>
                  </a:lnTo>
                  <a:lnTo>
                    <a:pt x="24" y="204"/>
                  </a:lnTo>
                  <a:lnTo>
                    <a:pt x="24" y="201"/>
                  </a:lnTo>
                  <a:lnTo>
                    <a:pt x="24" y="201"/>
                  </a:lnTo>
                  <a:close/>
                  <a:moveTo>
                    <a:pt x="65" y="288"/>
                  </a:moveTo>
                  <a:lnTo>
                    <a:pt x="65" y="291"/>
                  </a:lnTo>
                  <a:lnTo>
                    <a:pt x="61" y="291"/>
                  </a:lnTo>
                  <a:lnTo>
                    <a:pt x="61" y="291"/>
                  </a:lnTo>
                  <a:lnTo>
                    <a:pt x="61" y="288"/>
                  </a:lnTo>
                  <a:lnTo>
                    <a:pt x="65" y="288"/>
                  </a:lnTo>
                  <a:lnTo>
                    <a:pt x="65" y="288"/>
                  </a:lnTo>
                  <a:close/>
                  <a:moveTo>
                    <a:pt x="58" y="285"/>
                  </a:moveTo>
                  <a:lnTo>
                    <a:pt x="58" y="285"/>
                  </a:lnTo>
                  <a:lnTo>
                    <a:pt x="58" y="285"/>
                  </a:lnTo>
                  <a:lnTo>
                    <a:pt x="58" y="288"/>
                  </a:lnTo>
                  <a:lnTo>
                    <a:pt x="58" y="285"/>
                  </a:lnTo>
                  <a:lnTo>
                    <a:pt x="58" y="285"/>
                  </a:lnTo>
                  <a:close/>
                  <a:moveTo>
                    <a:pt x="51" y="281"/>
                  </a:moveTo>
                  <a:lnTo>
                    <a:pt x="58" y="278"/>
                  </a:lnTo>
                  <a:lnTo>
                    <a:pt x="55" y="281"/>
                  </a:lnTo>
                  <a:lnTo>
                    <a:pt x="51" y="285"/>
                  </a:lnTo>
                  <a:lnTo>
                    <a:pt x="51" y="281"/>
                  </a:lnTo>
                  <a:lnTo>
                    <a:pt x="51" y="281"/>
                  </a:lnTo>
                  <a:lnTo>
                    <a:pt x="51" y="281"/>
                  </a:lnTo>
                  <a:close/>
                  <a:moveTo>
                    <a:pt x="44" y="275"/>
                  </a:moveTo>
                  <a:lnTo>
                    <a:pt x="48" y="278"/>
                  </a:lnTo>
                  <a:lnTo>
                    <a:pt x="44" y="278"/>
                  </a:lnTo>
                  <a:lnTo>
                    <a:pt x="44" y="278"/>
                  </a:lnTo>
                  <a:lnTo>
                    <a:pt x="44" y="275"/>
                  </a:lnTo>
                  <a:lnTo>
                    <a:pt x="44" y="275"/>
                  </a:lnTo>
                  <a:close/>
                  <a:moveTo>
                    <a:pt x="34" y="275"/>
                  </a:moveTo>
                  <a:lnTo>
                    <a:pt x="37" y="278"/>
                  </a:lnTo>
                  <a:lnTo>
                    <a:pt x="34" y="278"/>
                  </a:lnTo>
                  <a:lnTo>
                    <a:pt x="34" y="278"/>
                  </a:lnTo>
                  <a:lnTo>
                    <a:pt x="34" y="275"/>
                  </a:lnTo>
                  <a:lnTo>
                    <a:pt x="34" y="275"/>
                  </a:lnTo>
                  <a:close/>
                  <a:moveTo>
                    <a:pt x="10" y="281"/>
                  </a:moveTo>
                  <a:lnTo>
                    <a:pt x="13" y="281"/>
                  </a:lnTo>
                  <a:lnTo>
                    <a:pt x="13" y="281"/>
                  </a:lnTo>
                  <a:lnTo>
                    <a:pt x="10" y="278"/>
                  </a:lnTo>
                  <a:lnTo>
                    <a:pt x="10" y="278"/>
                  </a:lnTo>
                  <a:lnTo>
                    <a:pt x="13" y="278"/>
                  </a:lnTo>
                  <a:lnTo>
                    <a:pt x="20" y="281"/>
                  </a:lnTo>
                  <a:lnTo>
                    <a:pt x="20" y="281"/>
                  </a:lnTo>
                  <a:lnTo>
                    <a:pt x="17" y="281"/>
                  </a:lnTo>
                  <a:lnTo>
                    <a:pt x="17" y="285"/>
                  </a:lnTo>
                  <a:lnTo>
                    <a:pt x="17" y="288"/>
                  </a:lnTo>
                  <a:lnTo>
                    <a:pt x="20" y="285"/>
                  </a:lnTo>
                  <a:lnTo>
                    <a:pt x="20" y="288"/>
                  </a:lnTo>
                  <a:lnTo>
                    <a:pt x="17" y="291"/>
                  </a:lnTo>
                  <a:lnTo>
                    <a:pt x="17" y="288"/>
                  </a:lnTo>
                  <a:lnTo>
                    <a:pt x="10" y="288"/>
                  </a:lnTo>
                  <a:lnTo>
                    <a:pt x="10" y="285"/>
                  </a:lnTo>
                  <a:lnTo>
                    <a:pt x="6" y="281"/>
                  </a:lnTo>
                  <a:lnTo>
                    <a:pt x="10" y="2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1" name="Freeform 42"/>
            <p:cNvSpPr>
              <a:spLocks noEditPoints="1"/>
            </p:cNvSpPr>
            <p:nvPr/>
          </p:nvSpPr>
          <p:spPr bwMode="auto">
            <a:xfrm>
              <a:off x="6834188" y="2826405"/>
              <a:ext cx="163513" cy="98425"/>
            </a:xfrm>
            <a:custGeom>
              <a:avLst/>
              <a:gdLst>
                <a:gd name="T0" fmla="*/ 100 w 103"/>
                <a:gd name="T1" fmla="*/ 55 h 62"/>
                <a:gd name="T2" fmla="*/ 103 w 103"/>
                <a:gd name="T3" fmla="*/ 52 h 62"/>
                <a:gd name="T4" fmla="*/ 96 w 103"/>
                <a:gd name="T5" fmla="*/ 32 h 62"/>
                <a:gd name="T6" fmla="*/ 100 w 103"/>
                <a:gd name="T7" fmla="*/ 20 h 62"/>
                <a:gd name="T8" fmla="*/ 103 w 103"/>
                <a:gd name="T9" fmla="*/ 13 h 62"/>
                <a:gd name="T10" fmla="*/ 103 w 103"/>
                <a:gd name="T11" fmla="*/ 10 h 62"/>
                <a:gd name="T12" fmla="*/ 100 w 103"/>
                <a:gd name="T13" fmla="*/ 10 h 62"/>
                <a:gd name="T14" fmla="*/ 79 w 103"/>
                <a:gd name="T15" fmla="*/ 7 h 62"/>
                <a:gd name="T16" fmla="*/ 69 w 103"/>
                <a:gd name="T17" fmla="*/ 3 h 62"/>
                <a:gd name="T18" fmla="*/ 59 w 103"/>
                <a:gd name="T19" fmla="*/ 0 h 62"/>
                <a:gd name="T20" fmla="*/ 59 w 103"/>
                <a:gd name="T21" fmla="*/ 3 h 62"/>
                <a:gd name="T22" fmla="*/ 59 w 103"/>
                <a:gd name="T23" fmla="*/ 7 h 62"/>
                <a:gd name="T24" fmla="*/ 55 w 103"/>
                <a:gd name="T25" fmla="*/ 7 h 62"/>
                <a:gd name="T26" fmla="*/ 45 w 103"/>
                <a:gd name="T27" fmla="*/ 7 h 62"/>
                <a:gd name="T28" fmla="*/ 41 w 103"/>
                <a:gd name="T29" fmla="*/ 10 h 62"/>
                <a:gd name="T30" fmla="*/ 38 w 103"/>
                <a:gd name="T31" fmla="*/ 13 h 62"/>
                <a:gd name="T32" fmla="*/ 28 w 103"/>
                <a:gd name="T33" fmla="*/ 13 h 62"/>
                <a:gd name="T34" fmla="*/ 28 w 103"/>
                <a:gd name="T35" fmla="*/ 26 h 62"/>
                <a:gd name="T36" fmla="*/ 31 w 103"/>
                <a:gd name="T37" fmla="*/ 26 h 62"/>
                <a:gd name="T38" fmla="*/ 31 w 103"/>
                <a:gd name="T39" fmla="*/ 29 h 62"/>
                <a:gd name="T40" fmla="*/ 31 w 103"/>
                <a:gd name="T41" fmla="*/ 36 h 62"/>
                <a:gd name="T42" fmla="*/ 38 w 103"/>
                <a:gd name="T43" fmla="*/ 42 h 62"/>
                <a:gd name="T44" fmla="*/ 41 w 103"/>
                <a:gd name="T45" fmla="*/ 39 h 62"/>
                <a:gd name="T46" fmla="*/ 45 w 103"/>
                <a:gd name="T47" fmla="*/ 39 h 62"/>
                <a:gd name="T48" fmla="*/ 45 w 103"/>
                <a:gd name="T49" fmla="*/ 49 h 62"/>
                <a:gd name="T50" fmla="*/ 52 w 103"/>
                <a:gd name="T51" fmla="*/ 45 h 62"/>
                <a:gd name="T52" fmla="*/ 62 w 103"/>
                <a:gd name="T53" fmla="*/ 49 h 62"/>
                <a:gd name="T54" fmla="*/ 65 w 103"/>
                <a:gd name="T55" fmla="*/ 45 h 62"/>
                <a:gd name="T56" fmla="*/ 69 w 103"/>
                <a:gd name="T57" fmla="*/ 49 h 62"/>
                <a:gd name="T58" fmla="*/ 76 w 103"/>
                <a:gd name="T59" fmla="*/ 52 h 62"/>
                <a:gd name="T60" fmla="*/ 83 w 103"/>
                <a:gd name="T61" fmla="*/ 58 h 62"/>
                <a:gd name="T62" fmla="*/ 93 w 103"/>
                <a:gd name="T63" fmla="*/ 58 h 62"/>
                <a:gd name="T64" fmla="*/ 100 w 103"/>
                <a:gd name="T65" fmla="*/ 58 h 62"/>
                <a:gd name="T66" fmla="*/ 24 w 103"/>
                <a:gd name="T67" fmla="*/ 23 h 62"/>
                <a:gd name="T68" fmla="*/ 21 w 103"/>
                <a:gd name="T69" fmla="*/ 23 h 62"/>
                <a:gd name="T70" fmla="*/ 21 w 103"/>
                <a:gd name="T71" fmla="*/ 23 h 62"/>
                <a:gd name="T72" fmla="*/ 10 w 103"/>
                <a:gd name="T73" fmla="*/ 26 h 62"/>
                <a:gd name="T74" fmla="*/ 4 w 103"/>
                <a:gd name="T75" fmla="*/ 26 h 62"/>
                <a:gd name="T76" fmla="*/ 10 w 103"/>
                <a:gd name="T77" fmla="*/ 23 h 62"/>
                <a:gd name="T78" fmla="*/ 10 w 103"/>
                <a:gd name="T79" fmla="*/ 20 h 62"/>
                <a:gd name="T80" fmla="*/ 14 w 103"/>
                <a:gd name="T81" fmla="*/ 23 h 62"/>
                <a:gd name="T82" fmla="*/ 21 w 103"/>
                <a:gd name="T83" fmla="*/ 26 h 62"/>
                <a:gd name="T84" fmla="*/ 14 w 103"/>
                <a:gd name="T85" fmla="*/ 26 h 62"/>
                <a:gd name="T86" fmla="*/ 14 w 103"/>
                <a:gd name="T87" fmla="*/ 29 h 62"/>
                <a:gd name="T88" fmla="*/ 21 w 103"/>
                <a:gd name="T89" fmla="*/ 29 h 62"/>
                <a:gd name="T90" fmla="*/ 28 w 103"/>
                <a:gd name="T91" fmla="*/ 32 h 62"/>
                <a:gd name="T92" fmla="*/ 21 w 103"/>
                <a:gd name="T93" fmla="*/ 32 h 62"/>
                <a:gd name="T94" fmla="*/ 4 w 103"/>
                <a:gd name="T95" fmla="*/ 52 h 62"/>
                <a:gd name="T96" fmla="*/ 7 w 103"/>
                <a:gd name="T97" fmla="*/ 49 h 62"/>
                <a:gd name="T98" fmla="*/ 10 w 103"/>
                <a:gd name="T99" fmla="*/ 42 h 62"/>
                <a:gd name="T100" fmla="*/ 17 w 103"/>
                <a:gd name="T101" fmla="*/ 39 h 62"/>
                <a:gd name="T102" fmla="*/ 24 w 103"/>
                <a:gd name="T103" fmla="*/ 36 h 62"/>
                <a:gd name="T104" fmla="*/ 24 w 103"/>
                <a:gd name="T105" fmla="*/ 36 h 62"/>
                <a:gd name="T106" fmla="*/ 17 w 103"/>
                <a:gd name="T107" fmla="*/ 32 h 62"/>
                <a:gd name="T108" fmla="*/ 10 w 103"/>
                <a:gd name="T109" fmla="*/ 32 h 62"/>
                <a:gd name="T110" fmla="*/ 7 w 103"/>
                <a:gd name="T111" fmla="*/ 32 h 62"/>
                <a:gd name="T112" fmla="*/ 4 w 103"/>
                <a:gd name="T113" fmla="*/ 32 h 62"/>
                <a:gd name="T114" fmla="*/ 4 w 103"/>
                <a:gd name="T115" fmla="*/ 36 h 62"/>
                <a:gd name="T116" fmla="*/ 4 w 103"/>
                <a:gd name="T117" fmla="*/ 36 h 62"/>
                <a:gd name="T118" fmla="*/ 0 w 103"/>
                <a:gd name="T119" fmla="*/ 39 h 62"/>
                <a:gd name="T120" fmla="*/ 4 w 103"/>
                <a:gd name="T121" fmla="*/ 42 h 62"/>
                <a:gd name="T122" fmla="*/ 7 w 103"/>
                <a:gd name="T123" fmla="*/ 45 h 62"/>
                <a:gd name="T124" fmla="*/ 4 w 103"/>
                <a:gd name="T125" fmla="*/ 5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3" h="62">
                  <a:moveTo>
                    <a:pt x="100" y="58"/>
                  </a:moveTo>
                  <a:lnTo>
                    <a:pt x="100" y="55"/>
                  </a:lnTo>
                  <a:lnTo>
                    <a:pt x="100" y="52"/>
                  </a:lnTo>
                  <a:lnTo>
                    <a:pt x="103" y="52"/>
                  </a:lnTo>
                  <a:lnTo>
                    <a:pt x="103" y="49"/>
                  </a:lnTo>
                  <a:lnTo>
                    <a:pt x="96" y="32"/>
                  </a:lnTo>
                  <a:lnTo>
                    <a:pt x="96" y="23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3" y="13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0" y="7"/>
                  </a:lnTo>
                  <a:lnTo>
                    <a:pt x="100" y="10"/>
                  </a:lnTo>
                  <a:lnTo>
                    <a:pt x="86" y="10"/>
                  </a:lnTo>
                  <a:lnTo>
                    <a:pt x="79" y="7"/>
                  </a:lnTo>
                  <a:lnTo>
                    <a:pt x="72" y="7"/>
                  </a:lnTo>
                  <a:lnTo>
                    <a:pt x="69" y="3"/>
                  </a:lnTo>
                  <a:lnTo>
                    <a:pt x="65" y="3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7"/>
                  </a:lnTo>
                  <a:lnTo>
                    <a:pt x="55" y="10"/>
                  </a:lnTo>
                  <a:lnTo>
                    <a:pt x="55" y="7"/>
                  </a:lnTo>
                  <a:lnTo>
                    <a:pt x="48" y="7"/>
                  </a:lnTo>
                  <a:lnTo>
                    <a:pt x="45" y="7"/>
                  </a:lnTo>
                  <a:lnTo>
                    <a:pt x="45" y="10"/>
                  </a:lnTo>
                  <a:lnTo>
                    <a:pt x="41" y="10"/>
                  </a:lnTo>
                  <a:lnTo>
                    <a:pt x="38" y="10"/>
                  </a:lnTo>
                  <a:lnTo>
                    <a:pt x="38" y="13"/>
                  </a:lnTo>
                  <a:lnTo>
                    <a:pt x="35" y="13"/>
                  </a:lnTo>
                  <a:lnTo>
                    <a:pt x="28" y="13"/>
                  </a:lnTo>
                  <a:lnTo>
                    <a:pt x="28" y="16"/>
                  </a:lnTo>
                  <a:lnTo>
                    <a:pt x="28" y="26"/>
                  </a:lnTo>
                  <a:lnTo>
                    <a:pt x="28" y="29"/>
                  </a:lnTo>
                  <a:lnTo>
                    <a:pt x="31" y="26"/>
                  </a:lnTo>
                  <a:lnTo>
                    <a:pt x="35" y="26"/>
                  </a:lnTo>
                  <a:lnTo>
                    <a:pt x="31" y="29"/>
                  </a:lnTo>
                  <a:lnTo>
                    <a:pt x="28" y="29"/>
                  </a:lnTo>
                  <a:lnTo>
                    <a:pt x="31" y="36"/>
                  </a:lnTo>
                  <a:lnTo>
                    <a:pt x="35" y="39"/>
                  </a:lnTo>
                  <a:lnTo>
                    <a:pt x="38" y="42"/>
                  </a:lnTo>
                  <a:lnTo>
                    <a:pt x="41" y="42"/>
                  </a:lnTo>
                  <a:lnTo>
                    <a:pt x="41" y="39"/>
                  </a:lnTo>
                  <a:lnTo>
                    <a:pt x="45" y="36"/>
                  </a:lnTo>
                  <a:lnTo>
                    <a:pt x="45" y="39"/>
                  </a:lnTo>
                  <a:lnTo>
                    <a:pt x="45" y="49"/>
                  </a:lnTo>
                  <a:lnTo>
                    <a:pt x="45" y="49"/>
                  </a:lnTo>
                  <a:lnTo>
                    <a:pt x="45" y="49"/>
                  </a:lnTo>
                  <a:lnTo>
                    <a:pt x="52" y="45"/>
                  </a:lnTo>
                  <a:lnTo>
                    <a:pt x="55" y="45"/>
                  </a:lnTo>
                  <a:lnTo>
                    <a:pt x="62" y="49"/>
                  </a:lnTo>
                  <a:lnTo>
                    <a:pt x="62" y="49"/>
                  </a:lnTo>
                  <a:lnTo>
                    <a:pt x="65" y="45"/>
                  </a:lnTo>
                  <a:lnTo>
                    <a:pt x="69" y="45"/>
                  </a:lnTo>
                  <a:lnTo>
                    <a:pt x="69" y="49"/>
                  </a:lnTo>
                  <a:lnTo>
                    <a:pt x="72" y="49"/>
                  </a:lnTo>
                  <a:lnTo>
                    <a:pt x="76" y="52"/>
                  </a:lnTo>
                  <a:lnTo>
                    <a:pt x="79" y="55"/>
                  </a:lnTo>
                  <a:lnTo>
                    <a:pt x="83" y="58"/>
                  </a:lnTo>
                  <a:lnTo>
                    <a:pt x="86" y="62"/>
                  </a:lnTo>
                  <a:lnTo>
                    <a:pt x="93" y="58"/>
                  </a:lnTo>
                  <a:lnTo>
                    <a:pt x="100" y="58"/>
                  </a:lnTo>
                  <a:lnTo>
                    <a:pt x="100" y="58"/>
                  </a:lnTo>
                  <a:close/>
                  <a:moveTo>
                    <a:pt x="21" y="23"/>
                  </a:moveTo>
                  <a:lnTo>
                    <a:pt x="24" y="23"/>
                  </a:lnTo>
                  <a:lnTo>
                    <a:pt x="24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close/>
                  <a:moveTo>
                    <a:pt x="14" y="29"/>
                  </a:moveTo>
                  <a:lnTo>
                    <a:pt x="10" y="26"/>
                  </a:lnTo>
                  <a:lnTo>
                    <a:pt x="7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0"/>
                  </a:lnTo>
                  <a:lnTo>
                    <a:pt x="14" y="20"/>
                  </a:lnTo>
                  <a:lnTo>
                    <a:pt x="14" y="23"/>
                  </a:lnTo>
                  <a:lnTo>
                    <a:pt x="17" y="23"/>
                  </a:lnTo>
                  <a:lnTo>
                    <a:pt x="21" y="26"/>
                  </a:lnTo>
                  <a:lnTo>
                    <a:pt x="17" y="26"/>
                  </a:lnTo>
                  <a:lnTo>
                    <a:pt x="14" y="26"/>
                  </a:lnTo>
                  <a:lnTo>
                    <a:pt x="14" y="29"/>
                  </a:lnTo>
                  <a:lnTo>
                    <a:pt x="14" y="29"/>
                  </a:lnTo>
                  <a:close/>
                  <a:moveTo>
                    <a:pt x="21" y="32"/>
                  </a:moveTo>
                  <a:lnTo>
                    <a:pt x="21" y="29"/>
                  </a:lnTo>
                  <a:lnTo>
                    <a:pt x="24" y="29"/>
                  </a:lnTo>
                  <a:lnTo>
                    <a:pt x="28" y="32"/>
                  </a:lnTo>
                  <a:lnTo>
                    <a:pt x="24" y="36"/>
                  </a:lnTo>
                  <a:lnTo>
                    <a:pt x="21" y="32"/>
                  </a:lnTo>
                  <a:lnTo>
                    <a:pt x="21" y="32"/>
                  </a:lnTo>
                  <a:close/>
                  <a:moveTo>
                    <a:pt x="4" y="52"/>
                  </a:moveTo>
                  <a:lnTo>
                    <a:pt x="4" y="52"/>
                  </a:lnTo>
                  <a:lnTo>
                    <a:pt x="7" y="49"/>
                  </a:lnTo>
                  <a:lnTo>
                    <a:pt x="7" y="45"/>
                  </a:lnTo>
                  <a:lnTo>
                    <a:pt x="10" y="42"/>
                  </a:lnTo>
                  <a:lnTo>
                    <a:pt x="14" y="42"/>
                  </a:lnTo>
                  <a:lnTo>
                    <a:pt x="17" y="39"/>
                  </a:lnTo>
                  <a:lnTo>
                    <a:pt x="21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1" y="36"/>
                  </a:lnTo>
                  <a:lnTo>
                    <a:pt x="17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42"/>
                  </a:lnTo>
                  <a:lnTo>
                    <a:pt x="4" y="42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4" y="45"/>
                  </a:lnTo>
                  <a:lnTo>
                    <a:pt x="4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2" name="Freeform 43"/>
            <p:cNvSpPr>
              <a:spLocks/>
            </p:cNvSpPr>
            <p:nvPr/>
          </p:nvSpPr>
          <p:spPr bwMode="auto">
            <a:xfrm>
              <a:off x="6818313" y="2897842"/>
              <a:ext cx="196850" cy="87312"/>
            </a:xfrm>
            <a:custGeom>
              <a:avLst/>
              <a:gdLst>
                <a:gd name="T0" fmla="*/ 124 w 124"/>
                <a:gd name="T1" fmla="*/ 39 h 55"/>
                <a:gd name="T2" fmla="*/ 117 w 124"/>
                <a:gd name="T3" fmla="*/ 33 h 55"/>
                <a:gd name="T4" fmla="*/ 113 w 124"/>
                <a:gd name="T5" fmla="*/ 26 h 55"/>
                <a:gd name="T6" fmla="*/ 113 w 124"/>
                <a:gd name="T7" fmla="*/ 20 h 55"/>
                <a:gd name="T8" fmla="*/ 113 w 124"/>
                <a:gd name="T9" fmla="*/ 20 h 55"/>
                <a:gd name="T10" fmla="*/ 103 w 124"/>
                <a:gd name="T11" fmla="*/ 13 h 55"/>
                <a:gd name="T12" fmla="*/ 93 w 124"/>
                <a:gd name="T13" fmla="*/ 13 h 55"/>
                <a:gd name="T14" fmla="*/ 86 w 124"/>
                <a:gd name="T15" fmla="*/ 7 h 55"/>
                <a:gd name="T16" fmla="*/ 79 w 124"/>
                <a:gd name="T17" fmla="*/ 4 h 55"/>
                <a:gd name="T18" fmla="*/ 75 w 124"/>
                <a:gd name="T19" fmla="*/ 0 h 55"/>
                <a:gd name="T20" fmla="*/ 72 w 124"/>
                <a:gd name="T21" fmla="*/ 4 h 55"/>
                <a:gd name="T22" fmla="*/ 62 w 124"/>
                <a:gd name="T23" fmla="*/ 0 h 55"/>
                <a:gd name="T24" fmla="*/ 55 w 124"/>
                <a:gd name="T25" fmla="*/ 4 h 55"/>
                <a:gd name="T26" fmla="*/ 55 w 124"/>
                <a:gd name="T27" fmla="*/ 17 h 55"/>
                <a:gd name="T28" fmla="*/ 48 w 124"/>
                <a:gd name="T29" fmla="*/ 26 h 55"/>
                <a:gd name="T30" fmla="*/ 38 w 124"/>
                <a:gd name="T31" fmla="*/ 23 h 55"/>
                <a:gd name="T32" fmla="*/ 27 w 124"/>
                <a:gd name="T33" fmla="*/ 13 h 55"/>
                <a:gd name="T34" fmla="*/ 27 w 124"/>
                <a:gd name="T35" fmla="*/ 7 h 55"/>
                <a:gd name="T36" fmla="*/ 17 w 124"/>
                <a:gd name="T37" fmla="*/ 13 h 55"/>
                <a:gd name="T38" fmla="*/ 10 w 124"/>
                <a:gd name="T39" fmla="*/ 13 h 55"/>
                <a:gd name="T40" fmla="*/ 10 w 124"/>
                <a:gd name="T41" fmla="*/ 20 h 55"/>
                <a:gd name="T42" fmla="*/ 7 w 124"/>
                <a:gd name="T43" fmla="*/ 26 h 55"/>
                <a:gd name="T44" fmla="*/ 3 w 124"/>
                <a:gd name="T45" fmla="*/ 33 h 55"/>
                <a:gd name="T46" fmla="*/ 0 w 124"/>
                <a:gd name="T47" fmla="*/ 39 h 55"/>
                <a:gd name="T48" fmla="*/ 3 w 124"/>
                <a:gd name="T49" fmla="*/ 49 h 55"/>
                <a:gd name="T50" fmla="*/ 7 w 124"/>
                <a:gd name="T51" fmla="*/ 49 h 55"/>
                <a:gd name="T52" fmla="*/ 14 w 124"/>
                <a:gd name="T53" fmla="*/ 42 h 55"/>
                <a:gd name="T54" fmla="*/ 31 w 124"/>
                <a:gd name="T55" fmla="*/ 39 h 55"/>
                <a:gd name="T56" fmla="*/ 38 w 124"/>
                <a:gd name="T57" fmla="*/ 42 h 55"/>
                <a:gd name="T58" fmla="*/ 45 w 124"/>
                <a:gd name="T59" fmla="*/ 39 h 55"/>
                <a:gd name="T60" fmla="*/ 48 w 124"/>
                <a:gd name="T61" fmla="*/ 42 h 55"/>
                <a:gd name="T62" fmla="*/ 58 w 124"/>
                <a:gd name="T63" fmla="*/ 42 h 55"/>
                <a:gd name="T64" fmla="*/ 65 w 124"/>
                <a:gd name="T65" fmla="*/ 42 h 55"/>
                <a:gd name="T66" fmla="*/ 79 w 124"/>
                <a:gd name="T67" fmla="*/ 46 h 55"/>
                <a:gd name="T68" fmla="*/ 89 w 124"/>
                <a:gd name="T69" fmla="*/ 49 h 55"/>
                <a:gd name="T70" fmla="*/ 100 w 124"/>
                <a:gd name="T71" fmla="*/ 55 h 55"/>
                <a:gd name="T72" fmla="*/ 100 w 124"/>
                <a:gd name="T73" fmla="*/ 55 h 55"/>
                <a:gd name="T74" fmla="*/ 113 w 124"/>
                <a:gd name="T75" fmla="*/ 52 h 55"/>
                <a:gd name="T76" fmla="*/ 120 w 124"/>
                <a:gd name="T77" fmla="*/ 49 h 55"/>
                <a:gd name="T78" fmla="*/ 124 w 124"/>
                <a:gd name="T79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4" h="55">
                  <a:moveTo>
                    <a:pt x="124" y="42"/>
                  </a:moveTo>
                  <a:lnTo>
                    <a:pt x="124" y="39"/>
                  </a:lnTo>
                  <a:lnTo>
                    <a:pt x="120" y="36"/>
                  </a:lnTo>
                  <a:lnTo>
                    <a:pt x="117" y="33"/>
                  </a:lnTo>
                  <a:lnTo>
                    <a:pt x="117" y="29"/>
                  </a:lnTo>
                  <a:lnTo>
                    <a:pt x="113" y="26"/>
                  </a:lnTo>
                  <a:lnTo>
                    <a:pt x="113" y="23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13" y="17"/>
                  </a:lnTo>
                  <a:lnTo>
                    <a:pt x="103" y="13"/>
                  </a:lnTo>
                  <a:lnTo>
                    <a:pt x="96" y="17"/>
                  </a:lnTo>
                  <a:lnTo>
                    <a:pt x="93" y="13"/>
                  </a:lnTo>
                  <a:lnTo>
                    <a:pt x="89" y="10"/>
                  </a:lnTo>
                  <a:lnTo>
                    <a:pt x="86" y="7"/>
                  </a:lnTo>
                  <a:lnTo>
                    <a:pt x="82" y="4"/>
                  </a:lnTo>
                  <a:lnTo>
                    <a:pt x="79" y="4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65" y="0"/>
                  </a:lnTo>
                  <a:lnTo>
                    <a:pt x="62" y="0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10"/>
                  </a:lnTo>
                  <a:lnTo>
                    <a:pt x="55" y="17"/>
                  </a:lnTo>
                  <a:lnTo>
                    <a:pt x="55" y="23"/>
                  </a:lnTo>
                  <a:lnTo>
                    <a:pt x="48" y="26"/>
                  </a:lnTo>
                  <a:lnTo>
                    <a:pt x="41" y="26"/>
                  </a:lnTo>
                  <a:lnTo>
                    <a:pt x="38" y="23"/>
                  </a:lnTo>
                  <a:lnTo>
                    <a:pt x="38" y="20"/>
                  </a:lnTo>
                  <a:lnTo>
                    <a:pt x="27" y="13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4" y="10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0" y="13"/>
                  </a:lnTo>
                  <a:lnTo>
                    <a:pt x="10" y="17"/>
                  </a:lnTo>
                  <a:lnTo>
                    <a:pt x="10" y="20"/>
                  </a:lnTo>
                  <a:lnTo>
                    <a:pt x="7" y="20"/>
                  </a:lnTo>
                  <a:lnTo>
                    <a:pt x="7" y="26"/>
                  </a:lnTo>
                  <a:lnTo>
                    <a:pt x="3" y="29"/>
                  </a:lnTo>
                  <a:lnTo>
                    <a:pt x="3" y="33"/>
                  </a:lnTo>
                  <a:lnTo>
                    <a:pt x="3" y="36"/>
                  </a:lnTo>
                  <a:lnTo>
                    <a:pt x="0" y="3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7" y="49"/>
                  </a:lnTo>
                  <a:lnTo>
                    <a:pt x="10" y="46"/>
                  </a:lnTo>
                  <a:lnTo>
                    <a:pt x="14" y="42"/>
                  </a:lnTo>
                  <a:lnTo>
                    <a:pt x="24" y="39"/>
                  </a:lnTo>
                  <a:lnTo>
                    <a:pt x="31" y="39"/>
                  </a:lnTo>
                  <a:lnTo>
                    <a:pt x="34" y="39"/>
                  </a:lnTo>
                  <a:lnTo>
                    <a:pt x="38" y="42"/>
                  </a:lnTo>
                  <a:lnTo>
                    <a:pt x="41" y="39"/>
                  </a:lnTo>
                  <a:lnTo>
                    <a:pt x="45" y="39"/>
                  </a:lnTo>
                  <a:lnTo>
                    <a:pt x="45" y="42"/>
                  </a:lnTo>
                  <a:lnTo>
                    <a:pt x="48" y="42"/>
                  </a:lnTo>
                  <a:lnTo>
                    <a:pt x="51" y="42"/>
                  </a:lnTo>
                  <a:lnTo>
                    <a:pt x="58" y="42"/>
                  </a:lnTo>
                  <a:lnTo>
                    <a:pt x="62" y="46"/>
                  </a:lnTo>
                  <a:lnTo>
                    <a:pt x="65" y="42"/>
                  </a:lnTo>
                  <a:lnTo>
                    <a:pt x="72" y="42"/>
                  </a:lnTo>
                  <a:lnTo>
                    <a:pt x="79" y="46"/>
                  </a:lnTo>
                  <a:lnTo>
                    <a:pt x="86" y="49"/>
                  </a:lnTo>
                  <a:lnTo>
                    <a:pt x="89" y="49"/>
                  </a:lnTo>
                  <a:lnTo>
                    <a:pt x="93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6" y="55"/>
                  </a:lnTo>
                  <a:lnTo>
                    <a:pt x="113" y="52"/>
                  </a:lnTo>
                  <a:lnTo>
                    <a:pt x="117" y="49"/>
                  </a:lnTo>
                  <a:lnTo>
                    <a:pt x="120" y="49"/>
                  </a:lnTo>
                  <a:lnTo>
                    <a:pt x="120" y="46"/>
                  </a:lnTo>
                  <a:lnTo>
                    <a:pt x="12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3" name="Freeform 44"/>
            <p:cNvSpPr>
              <a:spLocks/>
            </p:cNvSpPr>
            <p:nvPr/>
          </p:nvSpPr>
          <p:spPr bwMode="auto">
            <a:xfrm>
              <a:off x="6823076" y="2959755"/>
              <a:ext cx="153988" cy="92075"/>
            </a:xfrm>
            <a:custGeom>
              <a:avLst/>
              <a:gdLst>
                <a:gd name="T0" fmla="*/ 31 w 97"/>
                <a:gd name="T1" fmla="*/ 42 h 58"/>
                <a:gd name="T2" fmla="*/ 31 w 97"/>
                <a:gd name="T3" fmla="*/ 39 h 58"/>
                <a:gd name="T4" fmla="*/ 35 w 97"/>
                <a:gd name="T5" fmla="*/ 36 h 58"/>
                <a:gd name="T6" fmla="*/ 31 w 97"/>
                <a:gd name="T7" fmla="*/ 32 h 58"/>
                <a:gd name="T8" fmla="*/ 31 w 97"/>
                <a:gd name="T9" fmla="*/ 32 h 58"/>
                <a:gd name="T10" fmla="*/ 28 w 97"/>
                <a:gd name="T11" fmla="*/ 29 h 58"/>
                <a:gd name="T12" fmla="*/ 28 w 97"/>
                <a:gd name="T13" fmla="*/ 29 h 58"/>
                <a:gd name="T14" fmla="*/ 21 w 97"/>
                <a:gd name="T15" fmla="*/ 29 h 58"/>
                <a:gd name="T16" fmla="*/ 14 w 97"/>
                <a:gd name="T17" fmla="*/ 26 h 58"/>
                <a:gd name="T18" fmla="*/ 11 w 97"/>
                <a:gd name="T19" fmla="*/ 23 h 58"/>
                <a:gd name="T20" fmla="*/ 4 w 97"/>
                <a:gd name="T21" fmla="*/ 23 h 58"/>
                <a:gd name="T22" fmla="*/ 0 w 97"/>
                <a:gd name="T23" fmla="*/ 23 h 58"/>
                <a:gd name="T24" fmla="*/ 4 w 97"/>
                <a:gd name="T25" fmla="*/ 20 h 58"/>
                <a:gd name="T26" fmla="*/ 0 w 97"/>
                <a:gd name="T27" fmla="*/ 16 h 58"/>
                <a:gd name="T28" fmla="*/ 0 w 97"/>
                <a:gd name="T29" fmla="*/ 10 h 58"/>
                <a:gd name="T30" fmla="*/ 4 w 97"/>
                <a:gd name="T31" fmla="*/ 10 h 58"/>
                <a:gd name="T32" fmla="*/ 7 w 97"/>
                <a:gd name="T33" fmla="*/ 7 h 58"/>
                <a:gd name="T34" fmla="*/ 11 w 97"/>
                <a:gd name="T35" fmla="*/ 3 h 58"/>
                <a:gd name="T36" fmla="*/ 21 w 97"/>
                <a:gd name="T37" fmla="*/ 0 h 58"/>
                <a:gd name="T38" fmla="*/ 28 w 97"/>
                <a:gd name="T39" fmla="*/ 0 h 58"/>
                <a:gd name="T40" fmla="*/ 31 w 97"/>
                <a:gd name="T41" fmla="*/ 0 h 58"/>
                <a:gd name="T42" fmla="*/ 35 w 97"/>
                <a:gd name="T43" fmla="*/ 3 h 58"/>
                <a:gd name="T44" fmla="*/ 38 w 97"/>
                <a:gd name="T45" fmla="*/ 0 h 58"/>
                <a:gd name="T46" fmla="*/ 42 w 97"/>
                <a:gd name="T47" fmla="*/ 0 h 58"/>
                <a:gd name="T48" fmla="*/ 42 w 97"/>
                <a:gd name="T49" fmla="*/ 3 h 58"/>
                <a:gd name="T50" fmla="*/ 45 w 97"/>
                <a:gd name="T51" fmla="*/ 3 h 58"/>
                <a:gd name="T52" fmla="*/ 48 w 97"/>
                <a:gd name="T53" fmla="*/ 3 h 58"/>
                <a:gd name="T54" fmla="*/ 55 w 97"/>
                <a:gd name="T55" fmla="*/ 3 h 58"/>
                <a:gd name="T56" fmla="*/ 59 w 97"/>
                <a:gd name="T57" fmla="*/ 7 h 58"/>
                <a:gd name="T58" fmla="*/ 62 w 97"/>
                <a:gd name="T59" fmla="*/ 3 h 58"/>
                <a:gd name="T60" fmla="*/ 69 w 97"/>
                <a:gd name="T61" fmla="*/ 3 h 58"/>
                <a:gd name="T62" fmla="*/ 76 w 97"/>
                <a:gd name="T63" fmla="*/ 7 h 58"/>
                <a:gd name="T64" fmla="*/ 83 w 97"/>
                <a:gd name="T65" fmla="*/ 10 h 58"/>
                <a:gd name="T66" fmla="*/ 86 w 97"/>
                <a:gd name="T67" fmla="*/ 10 h 58"/>
                <a:gd name="T68" fmla="*/ 90 w 97"/>
                <a:gd name="T69" fmla="*/ 16 h 58"/>
                <a:gd name="T70" fmla="*/ 97 w 97"/>
                <a:gd name="T71" fmla="*/ 16 h 58"/>
                <a:gd name="T72" fmla="*/ 97 w 97"/>
                <a:gd name="T73" fmla="*/ 16 h 58"/>
                <a:gd name="T74" fmla="*/ 93 w 97"/>
                <a:gd name="T75" fmla="*/ 23 h 58"/>
                <a:gd name="T76" fmla="*/ 97 w 97"/>
                <a:gd name="T77" fmla="*/ 23 h 58"/>
                <a:gd name="T78" fmla="*/ 97 w 97"/>
                <a:gd name="T79" fmla="*/ 26 h 58"/>
                <a:gd name="T80" fmla="*/ 90 w 97"/>
                <a:gd name="T81" fmla="*/ 29 h 58"/>
                <a:gd name="T82" fmla="*/ 86 w 97"/>
                <a:gd name="T83" fmla="*/ 36 h 58"/>
                <a:gd name="T84" fmla="*/ 83 w 97"/>
                <a:gd name="T85" fmla="*/ 36 h 58"/>
                <a:gd name="T86" fmla="*/ 83 w 97"/>
                <a:gd name="T87" fmla="*/ 42 h 58"/>
                <a:gd name="T88" fmla="*/ 86 w 97"/>
                <a:gd name="T89" fmla="*/ 42 h 58"/>
                <a:gd name="T90" fmla="*/ 86 w 97"/>
                <a:gd name="T91" fmla="*/ 45 h 58"/>
                <a:gd name="T92" fmla="*/ 83 w 97"/>
                <a:gd name="T93" fmla="*/ 45 h 58"/>
                <a:gd name="T94" fmla="*/ 79 w 97"/>
                <a:gd name="T95" fmla="*/ 45 h 58"/>
                <a:gd name="T96" fmla="*/ 79 w 97"/>
                <a:gd name="T97" fmla="*/ 45 h 58"/>
                <a:gd name="T98" fmla="*/ 76 w 97"/>
                <a:gd name="T99" fmla="*/ 49 h 58"/>
                <a:gd name="T100" fmla="*/ 69 w 97"/>
                <a:gd name="T101" fmla="*/ 49 h 58"/>
                <a:gd name="T102" fmla="*/ 72 w 97"/>
                <a:gd name="T103" fmla="*/ 55 h 58"/>
                <a:gd name="T104" fmla="*/ 69 w 97"/>
                <a:gd name="T105" fmla="*/ 55 h 58"/>
                <a:gd name="T106" fmla="*/ 62 w 97"/>
                <a:gd name="T107" fmla="*/ 58 h 58"/>
                <a:gd name="T108" fmla="*/ 59 w 97"/>
                <a:gd name="T109" fmla="*/ 55 h 58"/>
                <a:gd name="T110" fmla="*/ 52 w 97"/>
                <a:gd name="T111" fmla="*/ 58 h 58"/>
                <a:gd name="T112" fmla="*/ 48 w 97"/>
                <a:gd name="T113" fmla="*/ 58 h 58"/>
                <a:gd name="T114" fmla="*/ 45 w 97"/>
                <a:gd name="T115" fmla="*/ 55 h 58"/>
                <a:gd name="T116" fmla="*/ 45 w 97"/>
                <a:gd name="T117" fmla="*/ 52 h 58"/>
                <a:gd name="T118" fmla="*/ 42 w 97"/>
                <a:gd name="T119" fmla="*/ 45 h 58"/>
                <a:gd name="T120" fmla="*/ 42 w 97"/>
                <a:gd name="T121" fmla="*/ 45 h 58"/>
                <a:gd name="T122" fmla="*/ 35 w 97"/>
                <a:gd name="T123" fmla="*/ 42 h 58"/>
                <a:gd name="T124" fmla="*/ 31 w 97"/>
                <a:gd name="T125" fmla="*/ 4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7" h="58">
                  <a:moveTo>
                    <a:pt x="31" y="42"/>
                  </a:moveTo>
                  <a:lnTo>
                    <a:pt x="31" y="39"/>
                  </a:lnTo>
                  <a:lnTo>
                    <a:pt x="35" y="36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1" y="29"/>
                  </a:lnTo>
                  <a:lnTo>
                    <a:pt x="14" y="26"/>
                  </a:lnTo>
                  <a:lnTo>
                    <a:pt x="11" y="23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4" y="20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7"/>
                  </a:lnTo>
                  <a:lnTo>
                    <a:pt x="11" y="3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31" y="0"/>
                  </a:lnTo>
                  <a:lnTo>
                    <a:pt x="35" y="3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2" y="3"/>
                  </a:lnTo>
                  <a:lnTo>
                    <a:pt x="45" y="3"/>
                  </a:lnTo>
                  <a:lnTo>
                    <a:pt x="48" y="3"/>
                  </a:lnTo>
                  <a:lnTo>
                    <a:pt x="55" y="3"/>
                  </a:lnTo>
                  <a:lnTo>
                    <a:pt x="59" y="7"/>
                  </a:lnTo>
                  <a:lnTo>
                    <a:pt x="62" y="3"/>
                  </a:lnTo>
                  <a:lnTo>
                    <a:pt x="69" y="3"/>
                  </a:lnTo>
                  <a:lnTo>
                    <a:pt x="76" y="7"/>
                  </a:lnTo>
                  <a:lnTo>
                    <a:pt x="83" y="10"/>
                  </a:lnTo>
                  <a:lnTo>
                    <a:pt x="86" y="10"/>
                  </a:lnTo>
                  <a:lnTo>
                    <a:pt x="90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3" y="23"/>
                  </a:lnTo>
                  <a:lnTo>
                    <a:pt x="97" y="23"/>
                  </a:lnTo>
                  <a:lnTo>
                    <a:pt x="97" y="26"/>
                  </a:lnTo>
                  <a:lnTo>
                    <a:pt x="90" y="29"/>
                  </a:lnTo>
                  <a:lnTo>
                    <a:pt x="86" y="36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6" y="42"/>
                  </a:lnTo>
                  <a:lnTo>
                    <a:pt x="86" y="45"/>
                  </a:lnTo>
                  <a:lnTo>
                    <a:pt x="83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6" y="49"/>
                  </a:lnTo>
                  <a:lnTo>
                    <a:pt x="69" y="49"/>
                  </a:lnTo>
                  <a:lnTo>
                    <a:pt x="72" y="55"/>
                  </a:lnTo>
                  <a:lnTo>
                    <a:pt x="69" y="55"/>
                  </a:lnTo>
                  <a:lnTo>
                    <a:pt x="62" y="58"/>
                  </a:lnTo>
                  <a:lnTo>
                    <a:pt x="59" y="55"/>
                  </a:lnTo>
                  <a:lnTo>
                    <a:pt x="52" y="58"/>
                  </a:lnTo>
                  <a:lnTo>
                    <a:pt x="48" y="58"/>
                  </a:lnTo>
                  <a:lnTo>
                    <a:pt x="45" y="55"/>
                  </a:lnTo>
                  <a:lnTo>
                    <a:pt x="45" y="52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35" y="42"/>
                  </a:lnTo>
                  <a:lnTo>
                    <a:pt x="31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4" name="Freeform 45"/>
            <p:cNvSpPr>
              <a:spLocks/>
            </p:cNvSpPr>
            <p:nvPr/>
          </p:nvSpPr>
          <p:spPr bwMode="auto">
            <a:xfrm>
              <a:off x="6899276" y="2964517"/>
              <a:ext cx="257175" cy="169862"/>
            </a:xfrm>
            <a:custGeom>
              <a:avLst/>
              <a:gdLst>
                <a:gd name="T0" fmla="*/ 4 w 162"/>
                <a:gd name="T1" fmla="*/ 55 h 107"/>
                <a:gd name="T2" fmla="*/ 14 w 162"/>
                <a:gd name="T3" fmla="*/ 55 h 107"/>
                <a:gd name="T4" fmla="*/ 24 w 162"/>
                <a:gd name="T5" fmla="*/ 52 h 107"/>
                <a:gd name="T6" fmla="*/ 28 w 162"/>
                <a:gd name="T7" fmla="*/ 46 h 107"/>
                <a:gd name="T8" fmla="*/ 31 w 162"/>
                <a:gd name="T9" fmla="*/ 42 h 107"/>
                <a:gd name="T10" fmla="*/ 38 w 162"/>
                <a:gd name="T11" fmla="*/ 42 h 107"/>
                <a:gd name="T12" fmla="*/ 35 w 162"/>
                <a:gd name="T13" fmla="*/ 39 h 107"/>
                <a:gd name="T14" fmla="*/ 38 w 162"/>
                <a:gd name="T15" fmla="*/ 33 h 107"/>
                <a:gd name="T16" fmla="*/ 49 w 162"/>
                <a:gd name="T17" fmla="*/ 23 h 107"/>
                <a:gd name="T18" fmla="*/ 45 w 162"/>
                <a:gd name="T19" fmla="*/ 20 h 107"/>
                <a:gd name="T20" fmla="*/ 55 w 162"/>
                <a:gd name="T21" fmla="*/ 13 h 107"/>
                <a:gd name="T22" fmla="*/ 66 w 162"/>
                <a:gd name="T23" fmla="*/ 7 h 107"/>
                <a:gd name="T24" fmla="*/ 69 w 162"/>
                <a:gd name="T25" fmla="*/ 4 h 107"/>
                <a:gd name="T26" fmla="*/ 76 w 162"/>
                <a:gd name="T27" fmla="*/ 4 h 107"/>
                <a:gd name="T28" fmla="*/ 86 w 162"/>
                <a:gd name="T29" fmla="*/ 7 h 107"/>
                <a:gd name="T30" fmla="*/ 93 w 162"/>
                <a:gd name="T31" fmla="*/ 4 h 107"/>
                <a:gd name="T32" fmla="*/ 104 w 162"/>
                <a:gd name="T33" fmla="*/ 7 h 107"/>
                <a:gd name="T34" fmla="*/ 110 w 162"/>
                <a:gd name="T35" fmla="*/ 7 h 107"/>
                <a:gd name="T36" fmla="*/ 121 w 162"/>
                <a:gd name="T37" fmla="*/ 10 h 107"/>
                <a:gd name="T38" fmla="*/ 121 w 162"/>
                <a:gd name="T39" fmla="*/ 20 h 107"/>
                <a:gd name="T40" fmla="*/ 124 w 162"/>
                <a:gd name="T41" fmla="*/ 26 h 107"/>
                <a:gd name="T42" fmla="*/ 131 w 162"/>
                <a:gd name="T43" fmla="*/ 36 h 107"/>
                <a:gd name="T44" fmla="*/ 141 w 162"/>
                <a:gd name="T45" fmla="*/ 46 h 107"/>
                <a:gd name="T46" fmla="*/ 148 w 162"/>
                <a:gd name="T47" fmla="*/ 52 h 107"/>
                <a:gd name="T48" fmla="*/ 155 w 162"/>
                <a:gd name="T49" fmla="*/ 59 h 107"/>
                <a:gd name="T50" fmla="*/ 159 w 162"/>
                <a:gd name="T51" fmla="*/ 65 h 107"/>
                <a:gd name="T52" fmla="*/ 145 w 162"/>
                <a:gd name="T53" fmla="*/ 71 h 107"/>
                <a:gd name="T54" fmla="*/ 138 w 162"/>
                <a:gd name="T55" fmla="*/ 71 h 107"/>
                <a:gd name="T56" fmla="*/ 145 w 162"/>
                <a:gd name="T57" fmla="*/ 78 h 107"/>
                <a:gd name="T58" fmla="*/ 148 w 162"/>
                <a:gd name="T59" fmla="*/ 88 h 107"/>
                <a:gd name="T60" fmla="*/ 148 w 162"/>
                <a:gd name="T61" fmla="*/ 91 h 107"/>
                <a:gd name="T62" fmla="*/ 135 w 162"/>
                <a:gd name="T63" fmla="*/ 94 h 107"/>
                <a:gd name="T64" fmla="*/ 131 w 162"/>
                <a:gd name="T65" fmla="*/ 107 h 107"/>
                <a:gd name="T66" fmla="*/ 121 w 162"/>
                <a:gd name="T67" fmla="*/ 104 h 107"/>
                <a:gd name="T68" fmla="*/ 114 w 162"/>
                <a:gd name="T69" fmla="*/ 104 h 107"/>
                <a:gd name="T70" fmla="*/ 107 w 162"/>
                <a:gd name="T71" fmla="*/ 107 h 107"/>
                <a:gd name="T72" fmla="*/ 104 w 162"/>
                <a:gd name="T73" fmla="*/ 104 h 107"/>
                <a:gd name="T74" fmla="*/ 90 w 162"/>
                <a:gd name="T75" fmla="*/ 107 h 107"/>
                <a:gd name="T76" fmla="*/ 83 w 162"/>
                <a:gd name="T77" fmla="*/ 104 h 107"/>
                <a:gd name="T78" fmla="*/ 76 w 162"/>
                <a:gd name="T79" fmla="*/ 107 h 107"/>
                <a:gd name="T80" fmla="*/ 69 w 162"/>
                <a:gd name="T81" fmla="*/ 107 h 107"/>
                <a:gd name="T82" fmla="*/ 62 w 162"/>
                <a:gd name="T83" fmla="*/ 101 h 107"/>
                <a:gd name="T84" fmla="*/ 45 w 162"/>
                <a:gd name="T85" fmla="*/ 97 h 107"/>
                <a:gd name="T86" fmla="*/ 42 w 162"/>
                <a:gd name="T87" fmla="*/ 101 h 107"/>
                <a:gd name="T88" fmla="*/ 21 w 162"/>
                <a:gd name="T89" fmla="*/ 104 h 107"/>
                <a:gd name="T90" fmla="*/ 11 w 162"/>
                <a:gd name="T91" fmla="*/ 101 h 107"/>
                <a:gd name="T92" fmla="*/ 7 w 162"/>
                <a:gd name="T93" fmla="*/ 101 h 107"/>
                <a:gd name="T94" fmla="*/ 4 w 162"/>
                <a:gd name="T95" fmla="*/ 91 h 107"/>
                <a:gd name="T96" fmla="*/ 11 w 162"/>
                <a:gd name="T97" fmla="*/ 84 h 107"/>
                <a:gd name="T98" fmla="*/ 7 w 162"/>
                <a:gd name="T99" fmla="*/ 71 h 107"/>
                <a:gd name="T100" fmla="*/ 4 w 162"/>
                <a:gd name="T101" fmla="*/ 65 h 107"/>
                <a:gd name="T102" fmla="*/ 0 w 162"/>
                <a:gd name="T103" fmla="*/ 5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2" h="107">
                  <a:moveTo>
                    <a:pt x="0" y="55"/>
                  </a:moveTo>
                  <a:lnTo>
                    <a:pt x="4" y="55"/>
                  </a:lnTo>
                  <a:lnTo>
                    <a:pt x="11" y="52"/>
                  </a:lnTo>
                  <a:lnTo>
                    <a:pt x="14" y="55"/>
                  </a:lnTo>
                  <a:lnTo>
                    <a:pt x="21" y="52"/>
                  </a:lnTo>
                  <a:lnTo>
                    <a:pt x="24" y="52"/>
                  </a:lnTo>
                  <a:lnTo>
                    <a:pt x="21" y="46"/>
                  </a:lnTo>
                  <a:lnTo>
                    <a:pt x="28" y="46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5" y="42"/>
                  </a:lnTo>
                  <a:lnTo>
                    <a:pt x="38" y="42"/>
                  </a:lnTo>
                  <a:lnTo>
                    <a:pt x="38" y="39"/>
                  </a:lnTo>
                  <a:lnTo>
                    <a:pt x="35" y="39"/>
                  </a:lnTo>
                  <a:lnTo>
                    <a:pt x="35" y="33"/>
                  </a:lnTo>
                  <a:lnTo>
                    <a:pt x="38" y="33"/>
                  </a:lnTo>
                  <a:lnTo>
                    <a:pt x="42" y="26"/>
                  </a:lnTo>
                  <a:lnTo>
                    <a:pt x="49" y="23"/>
                  </a:lnTo>
                  <a:lnTo>
                    <a:pt x="49" y="20"/>
                  </a:lnTo>
                  <a:lnTo>
                    <a:pt x="45" y="20"/>
                  </a:lnTo>
                  <a:lnTo>
                    <a:pt x="49" y="13"/>
                  </a:lnTo>
                  <a:lnTo>
                    <a:pt x="55" y="13"/>
                  </a:lnTo>
                  <a:lnTo>
                    <a:pt x="62" y="10"/>
                  </a:lnTo>
                  <a:lnTo>
                    <a:pt x="66" y="7"/>
                  </a:lnTo>
                  <a:lnTo>
                    <a:pt x="69" y="7"/>
                  </a:lnTo>
                  <a:lnTo>
                    <a:pt x="69" y="4"/>
                  </a:lnTo>
                  <a:lnTo>
                    <a:pt x="73" y="0"/>
                  </a:lnTo>
                  <a:lnTo>
                    <a:pt x="76" y="4"/>
                  </a:lnTo>
                  <a:lnTo>
                    <a:pt x="83" y="0"/>
                  </a:lnTo>
                  <a:lnTo>
                    <a:pt x="86" y="7"/>
                  </a:lnTo>
                  <a:lnTo>
                    <a:pt x="90" y="4"/>
                  </a:lnTo>
                  <a:lnTo>
                    <a:pt x="93" y="4"/>
                  </a:lnTo>
                  <a:lnTo>
                    <a:pt x="97" y="10"/>
                  </a:lnTo>
                  <a:lnTo>
                    <a:pt x="104" y="7"/>
                  </a:lnTo>
                  <a:lnTo>
                    <a:pt x="107" y="7"/>
                  </a:lnTo>
                  <a:lnTo>
                    <a:pt x="110" y="7"/>
                  </a:lnTo>
                  <a:lnTo>
                    <a:pt x="114" y="7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1" y="20"/>
                  </a:lnTo>
                  <a:lnTo>
                    <a:pt x="124" y="23"/>
                  </a:lnTo>
                  <a:lnTo>
                    <a:pt x="124" y="26"/>
                  </a:lnTo>
                  <a:lnTo>
                    <a:pt x="131" y="33"/>
                  </a:lnTo>
                  <a:lnTo>
                    <a:pt x="131" y="36"/>
                  </a:lnTo>
                  <a:lnTo>
                    <a:pt x="138" y="42"/>
                  </a:lnTo>
                  <a:lnTo>
                    <a:pt x="141" y="46"/>
                  </a:lnTo>
                  <a:lnTo>
                    <a:pt x="141" y="49"/>
                  </a:lnTo>
                  <a:lnTo>
                    <a:pt x="148" y="52"/>
                  </a:lnTo>
                  <a:lnTo>
                    <a:pt x="155" y="55"/>
                  </a:lnTo>
                  <a:lnTo>
                    <a:pt x="155" y="59"/>
                  </a:lnTo>
                  <a:lnTo>
                    <a:pt x="162" y="62"/>
                  </a:lnTo>
                  <a:lnTo>
                    <a:pt x="159" y="65"/>
                  </a:lnTo>
                  <a:lnTo>
                    <a:pt x="155" y="68"/>
                  </a:lnTo>
                  <a:lnTo>
                    <a:pt x="145" y="71"/>
                  </a:lnTo>
                  <a:lnTo>
                    <a:pt x="141" y="68"/>
                  </a:lnTo>
                  <a:lnTo>
                    <a:pt x="138" y="71"/>
                  </a:lnTo>
                  <a:lnTo>
                    <a:pt x="141" y="75"/>
                  </a:lnTo>
                  <a:lnTo>
                    <a:pt x="145" y="78"/>
                  </a:lnTo>
                  <a:lnTo>
                    <a:pt x="141" y="84"/>
                  </a:lnTo>
                  <a:lnTo>
                    <a:pt x="148" y="88"/>
                  </a:lnTo>
                  <a:lnTo>
                    <a:pt x="148" y="91"/>
                  </a:lnTo>
                  <a:lnTo>
                    <a:pt x="148" y="91"/>
                  </a:lnTo>
                  <a:lnTo>
                    <a:pt x="138" y="94"/>
                  </a:lnTo>
                  <a:lnTo>
                    <a:pt x="135" y="94"/>
                  </a:lnTo>
                  <a:lnTo>
                    <a:pt x="131" y="101"/>
                  </a:lnTo>
                  <a:lnTo>
                    <a:pt x="131" y="107"/>
                  </a:lnTo>
                  <a:lnTo>
                    <a:pt x="124" y="107"/>
                  </a:lnTo>
                  <a:lnTo>
                    <a:pt x="121" y="104"/>
                  </a:lnTo>
                  <a:lnTo>
                    <a:pt x="117" y="107"/>
                  </a:lnTo>
                  <a:lnTo>
                    <a:pt x="114" y="104"/>
                  </a:lnTo>
                  <a:lnTo>
                    <a:pt x="110" y="104"/>
                  </a:lnTo>
                  <a:lnTo>
                    <a:pt x="107" y="107"/>
                  </a:lnTo>
                  <a:lnTo>
                    <a:pt x="104" y="107"/>
                  </a:lnTo>
                  <a:lnTo>
                    <a:pt x="104" y="104"/>
                  </a:lnTo>
                  <a:lnTo>
                    <a:pt x="97" y="104"/>
                  </a:lnTo>
                  <a:lnTo>
                    <a:pt x="90" y="107"/>
                  </a:lnTo>
                  <a:lnTo>
                    <a:pt x="86" y="104"/>
                  </a:lnTo>
                  <a:lnTo>
                    <a:pt x="83" y="104"/>
                  </a:lnTo>
                  <a:lnTo>
                    <a:pt x="80" y="107"/>
                  </a:lnTo>
                  <a:lnTo>
                    <a:pt x="76" y="107"/>
                  </a:lnTo>
                  <a:lnTo>
                    <a:pt x="76" y="104"/>
                  </a:lnTo>
                  <a:lnTo>
                    <a:pt x="69" y="107"/>
                  </a:lnTo>
                  <a:lnTo>
                    <a:pt x="66" y="104"/>
                  </a:lnTo>
                  <a:lnTo>
                    <a:pt x="62" y="101"/>
                  </a:lnTo>
                  <a:lnTo>
                    <a:pt x="52" y="101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2" y="101"/>
                  </a:lnTo>
                  <a:lnTo>
                    <a:pt x="35" y="101"/>
                  </a:lnTo>
                  <a:lnTo>
                    <a:pt x="21" y="104"/>
                  </a:lnTo>
                  <a:lnTo>
                    <a:pt x="18" y="104"/>
                  </a:lnTo>
                  <a:lnTo>
                    <a:pt x="11" y="101"/>
                  </a:lnTo>
                  <a:lnTo>
                    <a:pt x="7" y="101"/>
                  </a:lnTo>
                  <a:lnTo>
                    <a:pt x="7" y="101"/>
                  </a:lnTo>
                  <a:lnTo>
                    <a:pt x="4" y="94"/>
                  </a:lnTo>
                  <a:lnTo>
                    <a:pt x="4" y="91"/>
                  </a:lnTo>
                  <a:lnTo>
                    <a:pt x="4" y="84"/>
                  </a:lnTo>
                  <a:lnTo>
                    <a:pt x="11" y="84"/>
                  </a:lnTo>
                  <a:lnTo>
                    <a:pt x="11" y="75"/>
                  </a:lnTo>
                  <a:lnTo>
                    <a:pt x="7" y="71"/>
                  </a:lnTo>
                  <a:lnTo>
                    <a:pt x="7" y="68"/>
                  </a:lnTo>
                  <a:lnTo>
                    <a:pt x="4" y="65"/>
                  </a:lnTo>
                  <a:lnTo>
                    <a:pt x="0" y="59"/>
                  </a:lnTo>
                  <a:lnTo>
                    <a:pt x="0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5" name="Freeform 46"/>
            <p:cNvSpPr>
              <a:spLocks/>
            </p:cNvSpPr>
            <p:nvPr/>
          </p:nvSpPr>
          <p:spPr bwMode="auto">
            <a:xfrm>
              <a:off x="6878638" y="3104217"/>
              <a:ext cx="508000" cy="266700"/>
            </a:xfrm>
            <a:custGeom>
              <a:avLst/>
              <a:gdLst>
                <a:gd name="T0" fmla="*/ 48 w 320"/>
                <a:gd name="T1" fmla="*/ 13 h 168"/>
                <a:gd name="T2" fmla="*/ 75 w 320"/>
                <a:gd name="T3" fmla="*/ 13 h 168"/>
                <a:gd name="T4" fmla="*/ 93 w 320"/>
                <a:gd name="T5" fmla="*/ 19 h 168"/>
                <a:gd name="T6" fmla="*/ 117 w 320"/>
                <a:gd name="T7" fmla="*/ 16 h 168"/>
                <a:gd name="T8" fmla="*/ 130 w 320"/>
                <a:gd name="T9" fmla="*/ 19 h 168"/>
                <a:gd name="T10" fmla="*/ 148 w 320"/>
                <a:gd name="T11" fmla="*/ 6 h 168"/>
                <a:gd name="T12" fmla="*/ 168 w 320"/>
                <a:gd name="T13" fmla="*/ 0 h 168"/>
                <a:gd name="T14" fmla="*/ 199 w 320"/>
                <a:gd name="T15" fmla="*/ 0 h 168"/>
                <a:gd name="T16" fmla="*/ 220 w 320"/>
                <a:gd name="T17" fmla="*/ 19 h 168"/>
                <a:gd name="T18" fmla="*/ 230 w 320"/>
                <a:gd name="T19" fmla="*/ 35 h 168"/>
                <a:gd name="T20" fmla="*/ 258 w 320"/>
                <a:gd name="T21" fmla="*/ 42 h 168"/>
                <a:gd name="T22" fmla="*/ 278 w 320"/>
                <a:gd name="T23" fmla="*/ 51 h 168"/>
                <a:gd name="T24" fmla="*/ 302 w 320"/>
                <a:gd name="T25" fmla="*/ 51 h 168"/>
                <a:gd name="T26" fmla="*/ 320 w 320"/>
                <a:gd name="T27" fmla="*/ 58 h 168"/>
                <a:gd name="T28" fmla="*/ 316 w 320"/>
                <a:gd name="T29" fmla="*/ 77 h 168"/>
                <a:gd name="T30" fmla="*/ 302 w 320"/>
                <a:gd name="T31" fmla="*/ 93 h 168"/>
                <a:gd name="T32" fmla="*/ 292 w 320"/>
                <a:gd name="T33" fmla="*/ 106 h 168"/>
                <a:gd name="T34" fmla="*/ 275 w 320"/>
                <a:gd name="T35" fmla="*/ 113 h 168"/>
                <a:gd name="T36" fmla="*/ 261 w 320"/>
                <a:gd name="T37" fmla="*/ 119 h 168"/>
                <a:gd name="T38" fmla="*/ 240 w 320"/>
                <a:gd name="T39" fmla="*/ 119 h 168"/>
                <a:gd name="T40" fmla="*/ 240 w 320"/>
                <a:gd name="T41" fmla="*/ 129 h 168"/>
                <a:gd name="T42" fmla="*/ 240 w 320"/>
                <a:gd name="T43" fmla="*/ 122 h 168"/>
                <a:gd name="T44" fmla="*/ 227 w 320"/>
                <a:gd name="T45" fmla="*/ 132 h 168"/>
                <a:gd name="T46" fmla="*/ 213 w 320"/>
                <a:gd name="T47" fmla="*/ 132 h 168"/>
                <a:gd name="T48" fmla="*/ 230 w 320"/>
                <a:gd name="T49" fmla="*/ 135 h 168"/>
                <a:gd name="T50" fmla="*/ 234 w 320"/>
                <a:gd name="T51" fmla="*/ 142 h 168"/>
                <a:gd name="T52" fmla="*/ 240 w 320"/>
                <a:gd name="T53" fmla="*/ 148 h 168"/>
                <a:gd name="T54" fmla="*/ 230 w 320"/>
                <a:gd name="T55" fmla="*/ 132 h 168"/>
                <a:gd name="T56" fmla="*/ 247 w 320"/>
                <a:gd name="T57" fmla="*/ 148 h 168"/>
                <a:gd name="T58" fmla="*/ 265 w 320"/>
                <a:gd name="T59" fmla="*/ 145 h 168"/>
                <a:gd name="T60" fmla="*/ 265 w 320"/>
                <a:gd name="T61" fmla="*/ 151 h 168"/>
                <a:gd name="T62" fmla="*/ 237 w 320"/>
                <a:gd name="T63" fmla="*/ 158 h 168"/>
                <a:gd name="T64" fmla="*/ 213 w 320"/>
                <a:gd name="T65" fmla="*/ 164 h 168"/>
                <a:gd name="T66" fmla="*/ 203 w 320"/>
                <a:gd name="T67" fmla="*/ 148 h 168"/>
                <a:gd name="T68" fmla="*/ 213 w 320"/>
                <a:gd name="T69" fmla="*/ 139 h 168"/>
                <a:gd name="T70" fmla="*/ 206 w 320"/>
                <a:gd name="T71" fmla="*/ 135 h 168"/>
                <a:gd name="T72" fmla="*/ 189 w 320"/>
                <a:gd name="T73" fmla="*/ 132 h 168"/>
                <a:gd name="T74" fmla="*/ 179 w 320"/>
                <a:gd name="T75" fmla="*/ 126 h 168"/>
                <a:gd name="T76" fmla="*/ 185 w 320"/>
                <a:gd name="T77" fmla="*/ 126 h 168"/>
                <a:gd name="T78" fmla="*/ 182 w 320"/>
                <a:gd name="T79" fmla="*/ 119 h 168"/>
                <a:gd name="T80" fmla="*/ 172 w 320"/>
                <a:gd name="T81" fmla="*/ 122 h 168"/>
                <a:gd name="T82" fmla="*/ 158 w 320"/>
                <a:gd name="T83" fmla="*/ 129 h 168"/>
                <a:gd name="T84" fmla="*/ 144 w 320"/>
                <a:gd name="T85" fmla="*/ 145 h 168"/>
                <a:gd name="T86" fmla="*/ 144 w 320"/>
                <a:gd name="T87" fmla="*/ 151 h 168"/>
                <a:gd name="T88" fmla="*/ 123 w 320"/>
                <a:gd name="T89" fmla="*/ 151 h 168"/>
                <a:gd name="T90" fmla="*/ 123 w 320"/>
                <a:gd name="T91" fmla="*/ 142 h 168"/>
                <a:gd name="T92" fmla="*/ 130 w 320"/>
                <a:gd name="T93" fmla="*/ 126 h 168"/>
                <a:gd name="T94" fmla="*/ 144 w 320"/>
                <a:gd name="T95" fmla="*/ 122 h 168"/>
                <a:gd name="T96" fmla="*/ 134 w 320"/>
                <a:gd name="T97" fmla="*/ 106 h 168"/>
                <a:gd name="T98" fmla="*/ 117 w 320"/>
                <a:gd name="T99" fmla="*/ 90 h 168"/>
                <a:gd name="T100" fmla="*/ 96 w 320"/>
                <a:gd name="T101" fmla="*/ 87 h 168"/>
                <a:gd name="T102" fmla="*/ 82 w 320"/>
                <a:gd name="T103" fmla="*/ 84 h 168"/>
                <a:gd name="T104" fmla="*/ 79 w 320"/>
                <a:gd name="T105" fmla="*/ 93 h 168"/>
                <a:gd name="T106" fmla="*/ 51 w 320"/>
                <a:gd name="T107" fmla="*/ 103 h 168"/>
                <a:gd name="T108" fmla="*/ 27 w 320"/>
                <a:gd name="T109" fmla="*/ 97 h 168"/>
                <a:gd name="T110" fmla="*/ 10 w 320"/>
                <a:gd name="T111" fmla="*/ 93 h 168"/>
                <a:gd name="T112" fmla="*/ 7 w 320"/>
                <a:gd name="T113" fmla="*/ 74 h 168"/>
                <a:gd name="T114" fmla="*/ 24 w 320"/>
                <a:gd name="T115" fmla="*/ 48 h 168"/>
                <a:gd name="T116" fmla="*/ 27 w 320"/>
                <a:gd name="T117" fmla="*/ 35 h 168"/>
                <a:gd name="T118" fmla="*/ 20 w 320"/>
                <a:gd name="T119" fmla="*/ 1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0" h="168">
                  <a:moveTo>
                    <a:pt x="20" y="13"/>
                  </a:moveTo>
                  <a:lnTo>
                    <a:pt x="24" y="13"/>
                  </a:lnTo>
                  <a:lnTo>
                    <a:pt x="31" y="16"/>
                  </a:lnTo>
                  <a:lnTo>
                    <a:pt x="34" y="16"/>
                  </a:lnTo>
                  <a:lnTo>
                    <a:pt x="48" y="13"/>
                  </a:lnTo>
                  <a:lnTo>
                    <a:pt x="55" y="13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65" y="13"/>
                  </a:lnTo>
                  <a:lnTo>
                    <a:pt x="75" y="13"/>
                  </a:lnTo>
                  <a:lnTo>
                    <a:pt x="79" y="16"/>
                  </a:lnTo>
                  <a:lnTo>
                    <a:pt x="82" y="19"/>
                  </a:lnTo>
                  <a:lnTo>
                    <a:pt x="89" y="16"/>
                  </a:lnTo>
                  <a:lnTo>
                    <a:pt x="89" y="19"/>
                  </a:lnTo>
                  <a:lnTo>
                    <a:pt x="93" y="19"/>
                  </a:lnTo>
                  <a:lnTo>
                    <a:pt x="96" y="16"/>
                  </a:lnTo>
                  <a:lnTo>
                    <a:pt x="99" y="16"/>
                  </a:lnTo>
                  <a:lnTo>
                    <a:pt x="103" y="19"/>
                  </a:lnTo>
                  <a:lnTo>
                    <a:pt x="110" y="16"/>
                  </a:lnTo>
                  <a:lnTo>
                    <a:pt x="117" y="16"/>
                  </a:lnTo>
                  <a:lnTo>
                    <a:pt x="117" y="19"/>
                  </a:lnTo>
                  <a:lnTo>
                    <a:pt x="120" y="19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30" y="19"/>
                  </a:lnTo>
                  <a:lnTo>
                    <a:pt x="134" y="16"/>
                  </a:lnTo>
                  <a:lnTo>
                    <a:pt x="137" y="19"/>
                  </a:lnTo>
                  <a:lnTo>
                    <a:pt x="144" y="19"/>
                  </a:lnTo>
                  <a:lnTo>
                    <a:pt x="144" y="13"/>
                  </a:lnTo>
                  <a:lnTo>
                    <a:pt x="148" y="6"/>
                  </a:lnTo>
                  <a:lnTo>
                    <a:pt x="151" y="6"/>
                  </a:lnTo>
                  <a:lnTo>
                    <a:pt x="161" y="3"/>
                  </a:lnTo>
                  <a:lnTo>
                    <a:pt x="165" y="6"/>
                  </a:lnTo>
                  <a:lnTo>
                    <a:pt x="168" y="3"/>
                  </a:lnTo>
                  <a:lnTo>
                    <a:pt x="168" y="0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89" y="0"/>
                  </a:lnTo>
                  <a:lnTo>
                    <a:pt x="196" y="0"/>
                  </a:lnTo>
                  <a:lnTo>
                    <a:pt x="199" y="0"/>
                  </a:lnTo>
                  <a:lnTo>
                    <a:pt x="203" y="6"/>
                  </a:lnTo>
                  <a:lnTo>
                    <a:pt x="206" y="9"/>
                  </a:lnTo>
                  <a:lnTo>
                    <a:pt x="203" y="13"/>
                  </a:lnTo>
                  <a:lnTo>
                    <a:pt x="209" y="19"/>
                  </a:lnTo>
                  <a:lnTo>
                    <a:pt x="220" y="19"/>
                  </a:lnTo>
                  <a:lnTo>
                    <a:pt x="223" y="19"/>
                  </a:lnTo>
                  <a:lnTo>
                    <a:pt x="223" y="25"/>
                  </a:lnTo>
                  <a:lnTo>
                    <a:pt x="230" y="25"/>
                  </a:lnTo>
                  <a:lnTo>
                    <a:pt x="230" y="29"/>
                  </a:lnTo>
                  <a:lnTo>
                    <a:pt x="230" y="35"/>
                  </a:lnTo>
                  <a:lnTo>
                    <a:pt x="240" y="42"/>
                  </a:lnTo>
                  <a:lnTo>
                    <a:pt x="244" y="38"/>
                  </a:lnTo>
                  <a:lnTo>
                    <a:pt x="247" y="42"/>
                  </a:lnTo>
                  <a:lnTo>
                    <a:pt x="254" y="38"/>
                  </a:lnTo>
                  <a:lnTo>
                    <a:pt x="258" y="42"/>
                  </a:lnTo>
                  <a:lnTo>
                    <a:pt x="265" y="35"/>
                  </a:lnTo>
                  <a:lnTo>
                    <a:pt x="268" y="35"/>
                  </a:lnTo>
                  <a:lnTo>
                    <a:pt x="271" y="45"/>
                  </a:lnTo>
                  <a:lnTo>
                    <a:pt x="278" y="48"/>
                  </a:lnTo>
                  <a:lnTo>
                    <a:pt x="278" y="51"/>
                  </a:lnTo>
                  <a:lnTo>
                    <a:pt x="282" y="48"/>
                  </a:lnTo>
                  <a:lnTo>
                    <a:pt x="289" y="48"/>
                  </a:lnTo>
                  <a:lnTo>
                    <a:pt x="292" y="48"/>
                  </a:lnTo>
                  <a:lnTo>
                    <a:pt x="295" y="51"/>
                  </a:lnTo>
                  <a:lnTo>
                    <a:pt x="302" y="51"/>
                  </a:lnTo>
                  <a:lnTo>
                    <a:pt x="306" y="55"/>
                  </a:lnTo>
                  <a:lnTo>
                    <a:pt x="313" y="55"/>
                  </a:lnTo>
                  <a:lnTo>
                    <a:pt x="316" y="51"/>
                  </a:lnTo>
                  <a:lnTo>
                    <a:pt x="316" y="55"/>
                  </a:lnTo>
                  <a:lnTo>
                    <a:pt x="320" y="58"/>
                  </a:lnTo>
                  <a:lnTo>
                    <a:pt x="320" y="61"/>
                  </a:lnTo>
                  <a:lnTo>
                    <a:pt x="316" y="64"/>
                  </a:lnTo>
                  <a:lnTo>
                    <a:pt x="313" y="64"/>
                  </a:lnTo>
                  <a:lnTo>
                    <a:pt x="313" y="74"/>
                  </a:lnTo>
                  <a:lnTo>
                    <a:pt x="316" y="77"/>
                  </a:lnTo>
                  <a:lnTo>
                    <a:pt x="316" y="80"/>
                  </a:lnTo>
                  <a:lnTo>
                    <a:pt x="316" y="87"/>
                  </a:lnTo>
                  <a:lnTo>
                    <a:pt x="316" y="90"/>
                  </a:lnTo>
                  <a:lnTo>
                    <a:pt x="313" y="93"/>
                  </a:lnTo>
                  <a:lnTo>
                    <a:pt x="302" y="93"/>
                  </a:lnTo>
                  <a:lnTo>
                    <a:pt x="299" y="100"/>
                  </a:lnTo>
                  <a:lnTo>
                    <a:pt x="295" y="100"/>
                  </a:lnTo>
                  <a:lnTo>
                    <a:pt x="295" y="106"/>
                  </a:lnTo>
                  <a:lnTo>
                    <a:pt x="292" y="109"/>
                  </a:lnTo>
                  <a:lnTo>
                    <a:pt x="292" y="106"/>
                  </a:lnTo>
                  <a:lnTo>
                    <a:pt x="289" y="106"/>
                  </a:lnTo>
                  <a:lnTo>
                    <a:pt x="285" y="109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8" y="116"/>
                  </a:lnTo>
                  <a:lnTo>
                    <a:pt x="265" y="119"/>
                  </a:lnTo>
                  <a:lnTo>
                    <a:pt x="265" y="119"/>
                  </a:lnTo>
                  <a:lnTo>
                    <a:pt x="261" y="119"/>
                  </a:lnTo>
                  <a:lnTo>
                    <a:pt x="258" y="122"/>
                  </a:lnTo>
                  <a:lnTo>
                    <a:pt x="251" y="119"/>
                  </a:lnTo>
                  <a:lnTo>
                    <a:pt x="247" y="122"/>
                  </a:lnTo>
                  <a:lnTo>
                    <a:pt x="244" y="122"/>
                  </a:lnTo>
                  <a:lnTo>
                    <a:pt x="240" y="119"/>
                  </a:lnTo>
                  <a:lnTo>
                    <a:pt x="240" y="119"/>
                  </a:lnTo>
                  <a:lnTo>
                    <a:pt x="240" y="119"/>
                  </a:lnTo>
                  <a:lnTo>
                    <a:pt x="244" y="122"/>
                  </a:lnTo>
                  <a:lnTo>
                    <a:pt x="244" y="126"/>
                  </a:lnTo>
                  <a:lnTo>
                    <a:pt x="240" y="129"/>
                  </a:lnTo>
                  <a:lnTo>
                    <a:pt x="237" y="132"/>
                  </a:lnTo>
                  <a:lnTo>
                    <a:pt x="237" y="129"/>
                  </a:lnTo>
                  <a:lnTo>
                    <a:pt x="237" y="129"/>
                  </a:lnTo>
                  <a:lnTo>
                    <a:pt x="240" y="126"/>
                  </a:lnTo>
                  <a:lnTo>
                    <a:pt x="240" y="122"/>
                  </a:lnTo>
                  <a:lnTo>
                    <a:pt x="237" y="122"/>
                  </a:lnTo>
                  <a:lnTo>
                    <a:pt x="237" y="126"/>
                  </a:lnTo>
                  <a:lnTo>
                    <a:pt x="230" y="129"/>
                  </a:lnTo>
                  <a:lnTo>
                    <a:pt x="227" y="129"/>
                  </a:lnTo>
                  <a:lnTo>
                    <a:pt x="227" y="132"/>
                  </a:lnTo>
                  <a:lnTo>
                    <a:pt x="223" y="132"/>
                  </a:lnTo>
                  <a:lnTo>
                    <a:pt x="220" y="129"/>
                  </a:lnTo>
                  <a:lnTo>
                    <a:pt x="220" y="132"/>
                  </a:lnTo>
                  <a:lnTo>
                    <a:pt x="213" y="132"/>
                  </a:lnTo>
                  <a:lnTo>
                    <a:pt x="213" y="132"/>
                  </a:lnTo>
                  <a:lnTo>
                    <a:pt x="216" y="135"/>
                  </a:lnTo>
                  <a:lnTo>
                    <a:pt x="223" y="135"/>
                  </a:lnTo>
                  <a:lnTo>
                    <a:pt x="223" y="135"/>
                  </a:lnTo>
                  <a:lnTo>
                    <a:pt x="227" y="139"/>
                  </a:lnTo>
                  <a:lnTo>
                    <a:pt x="230" y="135"/>
                  </a:lnTo>
                  <a:lnTo>
                    <a:pt x="230" y="139"/>
                  </a:lnTo>
                  <a:lnTo>
                    <a:pt x="227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4" y="142"/>
                  </a:lnTo>
                  <a:lnTo>
                    <a:pt x="230" y="145"/>
                  </a:lnTo>
                  <a:lnTo>
                    <a:pt x="234" y="142"/>
                  </a:lnTo>
                  <a:lnTo>
                    <a:pt x="237" y="142"/>
                  </a:lnTo>
                  <a:lnTo>
                    <a:pt x="237" y="145"/>
                  </a:lnTo>
                  <a:lnTo>
                    <a:pt x="240" y="148"/>
                  </a:lnTo>
                  <a:lnTo>
                    <a:pt x="244" y="148"/>
                  </a:lnTo>
                  <a:lnTo>
                    <a:pt x="244" y="148"/>
                  </a:lnTo>
                  <a:lnTo>
                    <a:pt x="240" y="145"/>
                  </a:lnTo>
                  <a:lnTo>
                    <a:pt x="234" y="135"/>
                  </a:lnTo>
                  <a:lnTo>
                    <a:pt x="230" y="132"/>
                  </a:lnTo>
                  <a:lnTo>
                    <a:pt x="230" y="132"/>
                  </a:lnTo>
                  <a:lnTo>
                    <a:pt x="234" y="135"/>
                  </a:lnTo>
                  <a:lnTo>
                    <a:pt x="237" y="139"/>
                  </a:lnTo>
                  <a:lnTo>
                    <a:pt x="244" y="148"/>
                  </a:lnTo>
                  <a:lnTo>
                    <a:pt x="247" y="148"/>
                  </a:lnTo>
                  <a:lnTo>
                    <a:pt x="251" y="145"/>
                  </a:lnTo>
                  <a:lnTo>
                    <a:pt x="254" y="145"/>
                  </a:lnTo>
                  <a:lnTo>
                    <a:pt x="258" y="148"/>
                  </a:lnTo>
                  <a:lnTo>
                    <a:pt x="258" y="145"/>
                  </a:lnTo>
                  <a:lnTo>
                    <a:pt x="265" y="145"/>
                  </a:lnTo>
                  <a:lnTo>
                    <a:pt x="268" y="145"/>
                  </a:lnTo>
                  <a:lnTo>
                    <a:pt x="268" y="145"/>
                  </a:lnTo>
                  <a:lnTo>
                    <a:pt x="265" y="148"/>
                  </a:lnTo>
                  <a:lnTo>
                    <a:pt x="268" y="151"/>
                  </a:lnTo>
                  <a:lnTo>
                    <a:pt x="265" y="151"/>
                  </a:lnTo>
                  <a:lnTo>
                    <a:pt x="258" y="155"/>
                  </a:lnTo>
                  <a:lnTo>
                    <a:pt x="251" y="151"/>
                  </a:lnTo>
                  <a:lnTo>
                    <a:pt x="247" y="155"/>
                  </a:lnTo>
                  <a:lnTo>
                    <a:pt x="244" y="158"/>
                  </a:lnTo>
                  <a:lnTo>
                    <a:pt x="237" y="158"/>
                  </a:lnTo>
                  <a:lnTo>
                    <a:pt x="227" y="164"/>
                  </a:lnTo>
                  <a:lnTo>
                    <a:pt x="223" y="168"/>
                  </a:lnTo>
                  <a:lnTo>
                    <a:pt x="213" y="168"/>
                  </a:lnTo>
                  <a:lnTo>
                    <a:pt x="213" y="164"/>
                  </a:lnTo>
                  <a:lnTo>
                    <a:pt x="213" y="164"/>
                  </a:lnTo>
                  <a:lnTo>
                    <a:pt x="213" y="158"/>
                  </a:lnTo>
                  <a:lnTo>
                    <a:pt x="213" y="155"/>
                  </a:lnTo>
                  <a:lnTo>
                    <a:pt x="209" y="151"/>
                  </a:lnTo>
                  <a:lnTo>
                    <a:pt x="206" y="151"/>
                  </a:lnTo>
                  <a:lnTo>
                    <a:pt x="203" y="148"/>
                  </a:lnTo>
                  <a:lnTo>
                    <a:pt x="199" y="151"/>
                  </a:lnTo>
                  <a:lnTo>
                    <a:pt x="196" y="148"/>
                  </a:lnTo>
                  <a:lnTo>
                    <a:pt x="199" y="145"/>
                  </a:lnTo>
                  <a:lnTo>
                    <a:pt x="206" y="142"/>
                  </a:lnTo>
                  <a:lnTo>
                    <a:pt x="213" y="139"/>
                  </a:lnTo>
                  <a:lnTo>
                    <a:pt x="213" y="139"/>
                  </a:lnTo>
                  <a:lnTo>
                    <a:pt x="213" y="139"/>
                  </a:lnTo>
                  <a:lnTo>
                    <a:pt x="209" y="132"/>
                  </a:lnTo>
                  <a:lnTo>
                    <a:pt x="209" y="132"/>
                  </a:lnTo>
                  <a:lnTo>
                    <a:pt x="206" y="135"/>
                  </a:lnTo>
                  <a:lnTo>
                    <a:pt x="206" y="132"/>
                  </a:lnTo>
                  <a:lnTo>
                    <a:pt x="199" y="132"/>
                  </a:lnTo>
                  <a:lnTo>
                    <a:pt x="196" y="132"/>
                  </a:lnTo>
                  <a:lnTo>
                    <a:pt x="192" y="135"/>
                  </a:lnTo>
                  <a:lnTo>
                    <a:pt x="189" y="132"/>
                  </a:lnTo>
                  <a:lnTo>
                    <a:pt x="185" y="132"/>
                  </a:lnTo>
                  <a:lnTo>
                    <a:pt x="182" y="129"/>
                  </a:lnTo>
                  <a:lnTo>
                    <a:pt x="185" y="129"/>
                  </a:lnTo>
                  <a:lnTo>
                    <a:pt x="185" y="129"/>
                  </a:lnTo>
                  <a:lnTo>
                    <a:pt x="179" y="126"/>
                  </a:lnTo>
                  <a:lnTo>
                    <a:pt x="172" y="126"/>
                  </a:lnTo>
                  <a:lnTo>
                    <a:pt x="172" y="122"/>
                  </a:lnTo>
                  <a:lnTo>
                    <a:pt x="175" y="122"/>
                  </a:lnTo>
                  <a:lnTo>
                    <a:pt x="182" y="122"/>
                  </a:lnTo>
                  <a:lnTo>
                    <a:pt x="185" y="126"/>
                  </a:lnTo>
                  <a:lnTo>
                    <a:pt x="189" y="122"/>
                  </a:lnTo>
                  <a:lnTo>
                    <a:pt x="192" y="122"/>
                  </a:lnTo>
                  <a:lnTo>
                    <a:pt x="185" y="122"/>
                  </a:lnTo>
                  <a:lnTo>
                    <a:pt x="182" y="122"/>
                  </a:lnTo>
                  <a:lnTo>
                    <a:pt x="182" y="119"/>
                  </a:lnTo>
                  <a:lnTo>
                    <a:pt x="179" y="119"/>
                  </a:lnTo>
                  <a:lnTo>
                    <a:pt x="179" y="119"/>
                  </a:lnTo>
                  <a:lnTo>
                    <a:pt x="175" y="122"/>
                  </a:lnTo>
                  <a:lnTo>
                    <a:pt x="172" y="122"/>
                  </a:lnTo>
                  <a:lnTo>
                    <a:pt x="172" y="122"/>
                  </a:lnTo>
                  <a:lnTo>
                    <a:pt x="172" y="119"/>
                  </a:lnTo>
                  <a:lnTo>
                    <a:pt x="168" y="122"/>
                  </a:lnTo>
                  <a:lnTo>
                    <a:pt x="161" y="122"/>
                  </a:lnTo>
                  <a:lnTo>
                    <a:pt x="158" y="126"/>
                  </a:lnTo>
                  <a:lnTo>
                    <a:pt x="158" y="129"/>
                  </a:lnTo>
                  <a:lnTo>
                    <a:pt x="154" y="135"/>
                  </a:lnTo>
                  <a:lnTo>
                    <a:pt x="154" y="135"/>
                  </a:lnTo>
                  <a:lnTo>
                    <a:pt x="154" y="135"/>
                  </a:lnTo>
                  <a:lnTo>
                    <a:pt x="148" y="145"/>
                  </a:lnTo>
                  <a:lnTo>
                    <a:pt x="144" y="145"/>
                  </a:lnTo>
                  <a:lnTo>
                    <a:pt x="144" y="142"/>
                  </a:lnTo>
                  <a:lnTo>
                    <a:pt x="144" y="145"/>
                  </a:lnTo>
                  <a:lnTo>
                    <a:pt x="144" y="145"/>
                  </a:lnTo>
                  <a:lnTo>
                    <a:pt x="144" y="148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1" y="148"/>
                  </a:lnTo>
                  <a:lnTo>
                    <a:pt x="134" y="148"/>
                  </a:lnTo>
                  <a:lnTo>
                    <a:pt x="130" y="151"/>
                  </a:lnTo>
                  <a:lnTo>
                    <a:pt x="123" y="151"/>
                  </a:lnTo>
                  <a:lnTo>
                    <a:pt x="120" y="148"/>
                  </a:lnTo>
                  <a:lnTo>
                    <a:pt x="117" y="145"/>
                  </a:lnTo>
                  <a:lnTo>
                    <a:pt x="120" y="145"/>
                  </a:lnTo>
                  <a:lnTo>
                    <a:pt x="123" y="145"/>
                  </a:lnTo>
                  <a:lnTo>
                    <a:pt x="123" y="142"/>
                  </a:lnTo>
                  <a:lnTo>
                    <a:pt x="127" y="135"/>
                  </a:lnTo>
                  <a:lnTo>
                    <a:pt x="127" y="135"/>
                  </a:lnTo>
                  <a:lnTo>
                    <a:pt x="127" y="132"/>
                  </a:lnTo>
                  <a:lnTo>
                    <a:pt x="127" y="126"/>
                  </a:lnTo>
                  <a:lnTo>
                    <a:pt x="130" y="126"/>
                  </a:lnTo>
                  <a:lnTo>
                    <a:pt x="137" y="126"/>
                  </a:lnTo>
                  <a:lnTo>
                    <a:pt x="141" y="126"/>
                  </a:lnTo>
                  <a:lnTo>
                    <a:pt x="144" y="126"/>
                  </a:lnTo>
                  <a:lnTo>
                    <a:pt x="148" y="126"/>
                  </a:lnTo>
                  <a:lnTo>
                    <a:pt x="144" y="122"/>
                  </a:lnTo>
                  <a:lnTo>
                    <a:pt x="144" y="119"/>
                  </a:lnTo>
                  <a:lnTo>
                    <a:pt x="144" y="116"/>
                  </a:lnTo>
                  <a:lnTo>
                    <a:pt x="137" y="113"/>
                  </a:lnTo>
                  <a:lnTo>
                    <a:pt x="134" y="109"/>
                  </a:lnTo>
                  <a:lnTo>
                    <a:pt x="134" y="106"/>
                  </a:lnTo>
                  <a:lnTo>
                    <a:pt x="130" y="106"/>
                  </a:lnTo>
                  <a:lnTo>
                    <a:pt x="130" y="103"/>
                  </a:lnTo>
                  <a:lnTo>
                    <a:pt x="127" y="97"/>
                  </a:lnTo>
                  <a:lnTo>
                    <a:pt x="123" y="93"/>
                  </a:lnTo>
                  <a:lnTo>
                    <a:pt x="117" y="90"/>
                  </a:lnTo>
                  <a:lnTo>
                    <a:pt x="117" y="90"/>
                  </a:lnTo>
                  <a:lnTo>
                    <a:pt x="113" y="90"/>
                  </a:lnTo>
                  <a:lnTo>
                    <a:pt x="106" y="90"/>
                  </a:lnTo>
                  <a:lnTo>
                    <a:pt x="103" y="87"/>
                  </a:lnTo>
                  <a:lnTo>
                    <a:pt x="96" y="87"/>
                  </a:lnTo>
                  <a:lnTo>
                    <a:pt x="93" y="80"/>
                  </a:lnTo>
                  <a:lnTo>
                    <a:pt x="93" y="84"/>
                  </a:lnTo>
                  <a:lnTo>
                    <a:pt x="89" y="84"/>
                  </a:lnTo>
                  <a:lnTo>
                    <a:pt x="86" y="84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79" y="84"/>
                  </a:lnTo>
                  <a:lnTo>
                    <a:pt x="79" y="87"/>
                  </a:lnTo>
                  <a:lnTo>
                    <a:pt x="79" y="90"/>
                  </a:lnTo>
                  <a:lnTo>
                    <a:pt x="79" y="93"/>
                  </a:lnTo>
                  <a:lnTo>
                    <a:pt x="75" y="93"/>
                  </a:lnTo>
                  <a:lnTo>
                    <a:pt x="72" y="97"/>
                  </a:lnTo>
                  <a:lnTo>
                    <a:pt x="58" y="100"/>
                  </a:lnTo>
                  <a:lnTo>
                    <a:pt x="55" y="103"/>
                  </a:lnTo>
                  <a:lnTo>
                    <a:pt x="51" y="103"/>
                  </a:lnTo>
                  <a:lnTo>
                    <a:pt x="44" y="103"/>
                  </a:lnTo>
                  <a:lnTo>
                    <a:pt x="41" y="103"/>
                  </a:lnTo>
                  <a:lnTo>
                    <a:pt x="41" y="100"/>
                  </a:lnTo>
                  <a:lnTo>
                    <a:pt x="34" y="97"/>
                  </a:lnTo>
                  <a:lnTo>
                    <a:pt x="27" y="97"/>
                  </a:lnTo>
                  <a:lnTo>
                    <a:pt x="20" y="93"/>
                  </a:lnTo>
                  <a:lnTo>
                    <a:pt x="17" y="93"/>
                  </a:lnTo>
                  <a:lnTo>
                    <a:pt x="17" y="97"/>
                  </a:lnTo>
                  <a:lnTo>
                    <a:pt x="10" y="97"/>
                  </a:lnTo>
                  <a:lnTo>
                    <a:pt x="10" y="93"/>
                  </a:lnTo>
                  <a:lnTo>
                    <a:pt x="7" y="90"/>
                  </a:lnTo>
                  <a:lnTo>
                    <a:pt x="0" y="87"/>
                  </a:lnTo>
                  <a:lnTo>
                    <a:pt x="3" y="87"/>
                  </a:lnTo>
                  <a:lnTo>
                    <a:pt x="3" y="80"/>
                  </a:lnTo>
                  <a:lnTo>
                    <a:pt x="7" y="74"/>
                  </a:lnTo>
                  <a:lnTo>
                    <a:pt x="10" y="74"/>
                  </a:lnTo>
                  <a:lnTo>
                    <a:pt x="10" y="67"/>
                  </a:lnTo>
                  <a:lnTo>
                    <a:pt x="10" y="64"/>
                  </a:lnTo>
                  <a:lnTo>
                    <a:pt x="20" y="51"/>
                  </a:lnTo>
                  <a:lnTo>
                    <a:pt x="24" y="48"/>
                  </a:lnTo>
                  <a:lnTo>
                    <a:pt x="27" y="45"/>
                  </a:lnTo>
                  <a:lnTo>
                    <a:pt x="31" y="45"/>
                  </a:lnTo>
                  <a:lnTo>
                    <a:pt x="31" y="38"/>
                  </a:lnTo>
                  <a:lnTo>
                    <a:pt x="27" y="38"/>
                  </a:lnTo>
                  <a:lnTo>
                    <a:pt x="27" y="35"/>
                  </a:lnTo>
                  <a:lnTo>
                    <a:pt x="31" y="32"/>
                  </a:lnTo>
                  <a:lnTo>
                    <a:pt x="24" y="32"/>
                  </a:lnTo>
                  <a:lnTo>
                    <a:pt x="24" y="25"/>
                  </a:lnTo>
                  <a:lnTo>
                    <a:pt x="20" y="25"/>
                  </a:lnTo>
                  <a:lnTo>
                    <a:pt x="20" y="16"/>
                  </a:lnTo>
                  <a:lnTo>
                    <a:pt x="2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6" name="Freeform 47"/>
            <p:cNvSpPr>
              <a:spLocks/>
            </p:cNvSpPr>
            <p:nvPr/>
          </p:nvSpPr>
          <p:spPr bwMode="auto">
            <a:xfrm>
              <a:off x="7004051" y="3231217"/>
              <a:ext cx="109538" cy="103187"/>
            </a:xfrm>
            <a:custGeom>
              <a:avLst/>
              <a:gdLst>
                <a:gd name="T0" fmla="*/ 0 w 69"/>
                <a:gd name="T1" fmla="*/ 13 h 65"/>
                <a:gd name="T2" fmla="*/ 0 w 69"/>
                <a:gd name="T3" fmla="*/ 10 h 65"/>
                <a:gd name="T4" fmla="*/ 0 w 69"/>
                <a:gd name="T5" fmla="*/ 7 h 65"/>
                <a:gd name="T6" fmla="*/ 0 w 69"/>
                <a:gd name="T7" fmla="*/ 4 h 65"/>
                <a:gd name="T8" fmla="*/ 3 w 69"/>
                <a:gd name="T9" fmla="*/ 4 h 65"/>
                <a:gd name="T10" fmla="*/ 3 w 69"/>
                <a:gd name="T11" fmla="*/ 4 h 65"/>
                <a:gd name="T12" fmla="*/ 7 w 69"/>
                <a:gd name="T13" fmla="*/ 4 h 65"/>
                <a:gd name="T14" fmla="*/ 10 w 69"/>
                <a:gd name="T15" fmla="*/ 4 h 65"/>
                <a:gd name="T16" fmla="*/ 14 w 69"/>
                <a:gd name="T17" fmla="*/ 4 h 65"/>
                <a:gd name="T18" fmla="*/ 14 w 69"/>
                <a:gd name="T19" fmla="*/ 0 h 65"/>
                <a:gd name="T20" fmla="*/ 17 w 69"/>
                <a:gd name="T21" fmla="*/ 7 h 65"/>
                <a:gd name="T22" fmla="*/ 24 w 69"/>
                <a:gd name="T23" fmla="*/ 7 h 65"/>
                <a:gd name="T24" fmla="*/ 27 w 69"/>
                <a:gd name="T25" fmla="*/ 10 h 65"/>
                <a:gd name="T26" fmla="*/ 34 w 69"/>
                <a:gd name="T27" fmla="*/ 10 h 65"/>
                <a:gd name="T28" fmla="*/ 38 w 69"/>
                <a:gd name="T29" fmla="*/ 10 h 65"/>
                <a:gd name="T30" fmla="*/ 38 w 69"/>
                <a:gd name="T31" fmla="*/ 10 h 65"/>
                <a:gd name="T32" fmla="*/ 44 w 69"/>
                <a:gd name="T33" fmla="*/ 13 h 65"/>
                <a:gd name="T34" fmla="*/ 48 w 69"/>
                <a:gd name="T35" fmla="*/ 17 h 65"/>
                <a:gd name="T36" fmla="*/ 51 w 69"/>
                <a:gd name="T37" fmla="*/ 23 h 65"/>
                <a:gd name="T38" fmla="*/ 51 w 69"/>
                <a:gd name="T39" fmla="*/ 26 h 65"/>
                <a:gd name="T40" fmla="*/ 55 w 69"/>
                <a:gd name="T41" fmla="*/ 26 h 65"/>
                <a:gd name="T42" fmla="*/ 55 w 69"/>
                <a:gd name="T43" fmla="*/ 29 h 65"/>
                <a:gd name="T44" fmla="*/ 58 w 69"/>
                <a:gd name="T45" fmla="*/ 33 h 65"/>
                <a:gd name="T46" fmla="*/ 65 w 69"/>
                <a:gd name="T47" fmla="*/ 36 h 65"/>
                <a:gd name="T48" fmla="*/ 65 w 69"/>
                <a:gd name="T49" fmla="*/ 39 h 65"/>
                <a:gd name="T50" fmla="*/ 65 w 69"/>
                <a:gd name="T51" fmla="*/ 42 h 65"/>
                <a:gd name="T52" fmla="*/ 69 w 69"/>
                <a:gd name="T53" fmla="*/ 46 h 65"/>
                <a:gd name="T54" fmla="*/ 65 w 69"/>
                <a:gd name="T55" fmla="*/ 46 h 65"/>
                <a:gd name="T56" fmla="*/ 62 w 69"/>
                <a:gd name="T57" fmla="*/ 46 h 65"/>
                <a:gd name="T58" fmla="*/ 58 w 69"/>
                <a:gd name="T59" fmla="*/ 46 h 65"/>
                <a:gd name="T60" fmla="*/ 51 w 69"/>
                <a:gd name="T61" fmla="*/ 46 h 65"/>
                <a:gd name="T62" fmla="*/ 48 w 69"/>
                <a:gd name="T63" fmla="*/ 46 h 65"/>
                <a:gd name="T64" fmla="*/ 48 w 69"/>
                <a:gd name="T65" fmla="*/ 52 h 65"/>
                <a:gd name="T66" fmla="*/ 48 w 69"/>
                <a:gd name="T67" fmla="*/ 55 h 65"/>
                <a:gd name="T68" fmla="*/ 48 w 69"/>
                <a:gd name="T69" fmla="*/ 55 h 65"/>
                <a:gd name="T70" fmla="*/ 44 w 69"/>
                <a:gd name="T71" fmla="*/ 62 h 65"/>
                <a:gd name="T72" fmla="*/ 44 w 69"/>
                <a:gd name="T73" fmla="*/ 65 h 65"/>
                <a:gd name="T74" fmla="*/ 41 w 69"/>
                <a:gd name="T75" fmla="*/ 65 h 65"/>
                <a:gd name="T76" fmla="*/ 38 w 69"/>
                <a:gd name="T77" fmla="*/ 65 h 65"/>
                <a:gd name="T78" fmla="*/ 38 w 69"/>
                <a:gd name="T79" fmla="*/ 65 h 65"/>
                <a:gd name="T80" fmla="*/ 34 w 69"/>
                <a:gd name="T81" fmla="*/ 62 h 65"/>
                <a:gd name="T82" fmla="*/ 34 w 69"/>
                <a:gd name="T83" fmla="*/ 46 h 65"/>
                <a:gd name="T84" fmla="*/ 31 w 69"/>
                <a:gd name="T85" fmla="*/ 39 h 65"/>
                <a:gd name="T86" fmla="*/ 31 w 69"/>
                <a:gd name="T87" fmla="*/ 36 h 65"/>
                <a:gd name="T88" fmla="*/ 20 w 69"/>
                <a:gd name="T89" fmla="*/ 29 h 65"/>
                <a:gd name="T90" fmla="*/ 20 w 69"/>
                <a:gd name="T91" fmla="*/ 26 h 65"/>
                <a:gd name="T92" fmla="*/ 10 w 69"/>
                <a:gd name="T93" fmla="*/ 20 h 65"/>
                <a:gd name="T94" fmla="*/ 10 w 69"/>
                <a:gd name="T95" fmla="*/ 13 h 65"/>
                <a:gd name="T96" fmla="*/ 0 w 69"/>
                <a:gd name="T97" fmla="*/ 1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9" h="65">
                  <a:moveTo>
                    <a:pt x="0" y="13"/>
                  </a:moveTo>
                  <a:lnTo>
                    <a:pt x="0" y="10"/>
                  </a:lnTo>
                  <a:lnTo>
                    <a:pt x="0" y="7"/>
                  </a:lnTo>
                  <a:lnTo>
                    <a:pt x="0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7" y="4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7" y="7"/>
                  </a:lnTo>
                  <a:lnTo>
                    <a:pt x="24" y="7"/>
                  </a:lnTo>
                  <a:lnTo>
                    <a:pt x="27" y="10"/>
                  </a:lnTo>
                  <a:lnTo>
                    <a:pt x="34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44" y="13"/>
                  </a:lnTo>
                  <a:lnTo>
                    <a:pt x="48" y="17"/>
                  </a:lnTo>
                  <a:lnTo>
                    <a:pt x="51" y="23"/>
                  </a:lnTo>
                  <a:lnTo>
                    <a:pt x="51" y="26"/>
                  </a:lnTo>
                  <a:lnTo>
                    <a:pt x="55" y="26"/>
                  </a:lnTo>
                  <a:lnTo>
                    <a:pt x="55" y="29"/>
                  </a:lnTo>
                  <a:lnTo>
                    <a:pt x="58" y="33"/>
                  </a:lnTo>
                  <a:lnTo>
                    <a:pt x="65" y="36"/>
                  </a:lnTo>
                  <a:lnTo>
                    <a:pt x="65" y="39"/>
                  </a:lnTo>
                  <a:lnTo>
                    <a:pt x="65" y="42"/>
                  </a:lnTo>
                  <a:lnTo>
                    <a:pt x="69" y="46"/>
                  </a:lnTo>
                  <a:lnTo>
                    <a:pt x="65" y="46"/>
                  </a:lnTo>
                  <a:lnTo>
                    <a:pt x="62" y="46"/>
                  </a:lnTo>
                  <a:lnTo>
                    <a:pt x="58" y="46"/>
                  </a:lnTo>
                  <a:lnTo>
                    <a:pt x="51" y="46"/>
                  </a:lnTo>
                  <a:lnTo>
                    <a:pt x="48" y="46"/>
                  </a:lnTo>
                  <a:lnTo>
                    <a:pt x="48" y="52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4" y="62"/>
                  </a:lnTo>
                  <a:lnTo>
                    <a:pt x="44" y="65"/>
                  </a:lnTo>
                  <a:lnTo>
                    <a:pt x="41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4" y="62"/>
                  </a:lnTo>
                  <a:lnTo>
                    <a:pt x="34" y="46"/>
                  </a:lnTo>
                  <a:lnTo>
                    <a:pt x="31" y="39"/>
                  </a:lnTo>
                  <a:lnTo>
                    <a:pt x="31" y="36"/>
                  </a:lnTo>
                  <a:lnTo>
                    <a:pt x="20" y="29"/>
                  </a:lnTo>
                  <a:lnTo>
                    <a:pt x="20" y="26"/>
                  </a:lnTo>
                  <a:lnTo>
                    <a:pt x="10" y="20"/>
                  </a:lnTo>
                  <a:lnTo>
                    <a:pt x="1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7" name="Freeform 48"/>
            <p:cNvSpPr>
              <a:spLocks/>
            </p:cNvSpPr>
            <p:nvPr/>
          </p:nvSpPr>
          <p:spPr bwMode="auto">
            <a:xfrm>
              <a:off x="6834188" y="3251855"/>
              <a:ext cx="273050" cy="144462"/>
            </a:xfrm>
            <a:custGeom>
              <a:avLst/>
              <a:gdLst>
                <a:gd name="T0" fmla="*/ 45 w 172"/>
                <a:gd name="T1" fmla="*/ 4 h 91"/>
                <a:gd name="T2" fmla="*/ 48 w 172"/>
                <a:gd name="T3" fmla="*/ 0 h 91"/>
                <a:gd name="T4" fmla="*/ 62 w 172"/>
                <a:gd name="T5" fmla="*/ 4 h 91"/>
                <a:gd name="T6" fmla="*/ 69 w 172"/>
                <a:gd name="T7" fmla="*/ 10 h 91"/>
                <a:gd name="T8" fmla="*/ 79 w 172"/>
                <a:gd name="T9" fmla="*/ 10 h 91"/>
                <a:gd name="T10" fmla="*/ 86 w 172"/>
                <a:gd name="T11" fmla="*/ 7 h 91"/>
                <a:gd name="T12" fmla="*/ 103 w 172"/>
                <a:gd name="T13" fmla="*/ 0 h 91"/>
                <a:gd name="T14" fmla="*/ 117 w 172"/>
                <a:gd name="T15" fmla="*/ 7 h 91"/>
                <a:gd name="T16" fmla="*/ 127 w 172"/>
                <a:gd name="T17" fmla="*/ 16 h 91"/>
                <a:gd name="T18" fmla="*/ 138 w 172"/>
                <a:gd name="T19" fmla="*/ 26 h 91"/>
                <a:gd name="T20" fmla="*/ 141 w 172"/>
                <a:gd name="T21" fmla="*/ 49 h 91"/>
                <a:gd name="T22" fmla="*/ 148 w 172"/>
                <a:gd name="T23" fmla="*/ 55 h 91"/>
                <a:gd name="T24" fmla="*/ 158 w 172"/>
                <a:gd name="T25" fmla="*/ 58 h 91"/>
                <a:gd name="T26" fmla="*/ 169 w 172"/>
                <a:gd name="T27" fmla="*/ 55 h 91"/>
                <a:gd name="T28" fmla="*/ 169 w 172"/>
                <a:gd name="T29" fmla="*/ 58 h 91"/>
                <a:gd name="T30" fmla="*/ 172 w 172"/>
                <a:gd name="T31" fmla="*/ 62 h 91"/>
                <a:gd name="T32" fmla="*/ 165 w 172"/>
                <a:gd name="T33" fmla="*/ 68 h 91"/>
                <a:gd name="T34" fmla="*/ 158 w 172"/>
                <a:gd name="T35" fmla="*/ 71 h 91"/>
                <a:gd name="T36" fmla="*/ 155 w 172"/>
                <a:gd name="T37" fmla="*/ 78 h 91"/>
                <a:gd name="T38" fmla="*/ 155 w 172"/>
                <a:gd name="T39" fmla="*/ 84 h 91"/>
                <a:gd name="T40" fmla="*/ 151 w 172"/>
                <a:gd name="T41" fmla="*/ 88 h 91"/>
                <a:gd name="T42" fmla="*/ 145 w 172"/>
                <a:gd name="T43" fmla="*/ 84 h 91"/>
                <a:gd name="T44" fmla="*/ 138 w 172"/>
                <a:gd name="T45" fmla="*/ 84 h 91"/>
                <a:gd name="T46" fmla="*/ 127 w 172"/>
                <a:gd name="T47" fmla="*/ 81 h 91"/>
                <a:gd name="T48" fmla="*/ 110 w 172"/>
                <a:gd name="T49" fmla="*/ 88 h 91"/>
                <a:gd name="T50" fmla="*/ 103 w 172"/>
                <a:gd name="T51" fmla="*/ 91 h 91"/>
                <a:gd name="T52" fmla="*/ 93 w 172"/>
                <a:gd name="T53" fmla="*/ 91 h 91"/>
                <a:gd name="T54" fmla="*/ 86 w 172"/>
                <a:gd name="T55" fmla="*/ 91 h 91"/>
                <a:gd name="T56" fmla="*/ 79 w 172"/>
                <a:gd name="T57" fmla="*/ 91 h 91"/>
                <a:gd name="T58" fmla="*/ 69 w 172"/>
                <a:gd name="T59" fmla="*/ 91 h 91"/>
                <a:gd name="T60" fmla="*/ 62 w 172"/>
                <a:gd name="T61" fmla="*/ 88 h 91"/>
                <a:gd name="T62" fmla="*/ 55 w 172"/>
                <a:gd name="T63" fmla="*/ 91 h 91"/>
                <a:gd name="T64" fmla="*/ 52 w 172"/>
                <a:gd name="T65" fmla="*/ 88 h 91"/>
                <a:gd name="T66" fmla="*/ 52 w 172"/>
                <a:gd name="T67" fmla="*/ 81 h 91"/>
                <a:gd name="T68" fmla="*/ 45 w 172"/>
                <a:gd name="T69" fmla="*/ 78 h 91"/>
                <a:gd name="T70" fmla="*/ 48 w 172"/>
                <a:gd name="T71" fmla="*/ 71 h 91"/>
                <a:gd name="T72" fmla="*/ 38 w 172"/>
                <a:gd name="T73" fmla="*/ 75 h 91"/>
                <a:gd name="T74" fmla="*/ 31 w 172"/>
                <a:gd name="T75" fmla="*/ 75 h 91"/>
                <a:gd name="T76" fmla="*/ 21 w 172"/>
                <a:gd name="T77" fmla="*/ 68 h 91"/>
                <a:gd name="T78" fmla="*/ 24 w 172"/>
                <a:gd name="T79" fmla="*/ 65 h 91"/>
                <a:gd name="T80" fmla="*/ 14 w 172"/>
                <a:gd name="T81" fmla="*/ 58 h 91"/>
                <a:gd name="T82" fmla="*/ 7 w 172"/>
                <a:gd name="T83" fmla="*/ 49 h 91"/>
                <a:gd name="T84" fmla="*/ 0 w 172"/>
                <a:gd name="T85" fmla="*/ 46 h 91"/>
                <a:gd name="T86" fmla="*/ 7 w 172"/>
                <a:gd name="T87" fmla="*/ 42 h 91"/>
                <a:gd name="T88" fmla="*/ 14 w 172"/>
                <a:gd name="T89" fmla="*/ 39 h 91"/>
                <a:gd name="T90" fmla="*/ 17 w 172"/>
                <a:gd name="T91" fmla="*/ 33 h 91"/>
                <a:gd name="T92" fmla="*/ 31 w 172"/>
                <a:gd name="T93" fmla="*/ 13 h 91"/>
                <a:gd name="T94" fmla="*/ 38 w 172"/>
                <a:gd name="T95" fmla="*/ 7 h 91"/>
                <a:gd name="T96" fmla="*/ 38 w 172"/>
                <a:gd name="T97" fmla="*/ 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72" h="91">
                  <a:moveTo>
                    <a:pt x="38" y="4"/>
                  </a:moveTo>
                  <a:lnTo>
                    <a:pt x="45" y="4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55" y="4"/>
                  </a:lnTo>
                  <a:lnTo>
                    <a:pt x="62" y="4"/>
                  </a:lnTo>
                  <a:lnTo>
                    <a:pt x="69" y="7"/>
                  </a:lnTo>
                  <a:lnTo>
                    <a:pt x="69" y="10"/>
                  </a:lnTo>
                  <a:lnTo>
                    <a:pt x="72" y="10"/>
                  </a:lnTo>
                  <a:lnTo>
                    <a:pt x="79" y="10"/>
                  </a:lnTo>
                  <a:lnTo>
                    <a:pt x="83" y="10"/>
                  </a:lnTo>
                  <a:lnTo>
                    <a:pt x="86" y="7"/>
                  </a:lnTo>
                  <a:lnTo>
                    <a:pt x="100" y="4"/>
                  </a:lnTo>
                  <a:lnTo>
                    <a:pt x="103" y="0"/>
                  </a:lnTo>
                  <a:lnTo>
                    <a:pt x="117" y="0"/>
                  </a:lnTo>
                  <a:lnTo>
                    <a:pt x="117" y="7"/>
                  </a:lnTo>
                  <a:lnTo>
                    <a:pt x="127" y="13"/>
                  </a:lnTo>
                  <a:lnTo>
                    <a:pt x="127" y="16"/>
                  </a:lnTo>
                  <a:lnTo>
                    <a:pt x="138" y="23"/>
                  </a:lnTo>
                  <a:lnTo>
                    <a:pt x="138" y="26"/>
                  </a:lnTo>
                  <a:lnTo>
                    <a:pt x="141" y="33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5"/>
                  </a:lnTo>
                  <a:lnTo>
                    <a:pt x="151" y="58"/>
                  </a:lnTo>
                  <a:lnTo>
                    <a:pt x="158" y="58"/>
                  </a:lnTo>
                  <a:lnTo>
                    <a:pt x="162" y="55"/>
                  </a:lnTo>
                  <a:lnTo>
                    <a:pt x="169" y="55"/>
                  </a:lnTo>
                  <a:lnTo>
                    <a:pt x="172" y="58"/>
                  </a:lnTo>
                  <a:lnTo>
                    <a:pt x="169" y="58"/>
                  </a:lnTo>
                  <a:lnTo>
                    <a:pt x="172" y="62"/>
                  </a:lnTo>
                  <a:lnTo>
                    <a:pt x="172" y="62"/>
                  </a:lnTo>
                  <a:lnTo>
                    <a:pt x="169" y="68"/>
                  </a:lnTo>
                  <a:lnTo>
                    <a:pt x="165" y="68"/>
                  </a:lnTo>
                  <a:lnTo>
                    <a:pt x="158" y="68"/>
                  </a:lnTo>
                  <a:lnTo>
                    <a:pt x="158" y="71"/>
                  </a:lnTo>
                  <a:lnTo>
                    <a:pt x="155" y="75"/>
                  </a:lnTo>
                  <a:lnTo>
                    <a:pt x="155" y="78"/>
                  </a:lnTo>
                  <a:lnTo>
                    <a:pt x="155" y="81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1" y="88"/>
                  </a:lnTo>
                  <a:lnTo>
                    <a:pt x="151" y="88"/>
                  </a:lnTo>
                  <a:lnTo>
                    <a:pt x="145" y="84"/>
                  </a:lnTo>
                  <a:lnTo>
                    <a:pt x="141" y="84"/>
                  </a:lnTo>
                  <a:lnTo>
                    <a:pt x="138" y="84"/>
                  </a:lnTo>
                  <a:lnTo>
                    <a:pt x="134" y="81"/>
                  </a:lnTo>
                  <a:lnTo>
                    <a:pt x="127" y="81"/>
                  </a:lnTo>
                  <a:lnTo>
                    <a:pt x="121" y="81"/>
                  </a:lnTo>
                  <a:lnTo>
                    <a:pt x="110" y="88"/>
                  </a:lnTo>
                  <a:lnTo>
                    <a:pt x="110" y="88"/>
                  </a:lnTo>
                  <a:lnTo>
                    <a:pt x="103" y="91"/>
                  </a:lnTo>
                  <a:lnTo>
                    <a:pt x="100" y="91"/>
                  </a:lnTo>
                  <a:lnTo>
                    <a:pt x="93" y="91"/>
                  </a:lnTo>
                  <a:lnTo>
                    <a:pt x="90" y="91"/>
                  </a:lnTo>
                  <a:lnTo>
                    <a:pt x="86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6" y="91"/>
                  </a:lnTo>
                  <a:lnTo>
                    <a:pt x="69" y="91"/>
                  </a:lnTo>
                  <a:lnTo>
                    <a:pt x="65" y="91"/>
                  </a:lnTo>
                  <a:lnTo>
                    <a:pt x="62" y="88"/>
                  </a:lnTo>
                  <a:lnTo>
                    <a:pt x="59" y="88"/>
                  </a:lnTo>
                  <a:lnTo>
                    <a:pt x="55" y="91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1"/>
                  </a:lnTo>
                  <a:lnTo>
                    <a:pt x="45" y="81"/>
                  </a:lnTo>
                  <a:lnTo>
                    <a:pt x="45" y="78"/>
                  </a:lnTo>
                  <a:lnTo>
                    <a:pt x="45" y="75"/>
                  </a:lnTo>
                  <a:lnTo>
                    <a:pt x="48" y="71"/>
                  </a:lnTo>
                  <a:lnTo>
                    <a:pt x="41" y="71"/>
                  </a:lnTo>
                  <a:lnTo>
                    <a:pt x="38" y="75"/>
                  </a:lnTo>
                  <a:lnTo>
                    <a:pt x="35" y="71"/>
                  </a:lnTo>
                  <a:lnTo>
                    <a:pt x="31" y="75"/>
                  </a:lnTo>
                  <a:lnTo>
                    <a:pt x="28" y="71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4" y="65"/>
                  </a:lnTo>
                  <a:lnTo>
                    <a:pt x="17" y="62"/>
                  </a:lnTo>
                  <a:lnTo>
                    <a:pt x="14" y="58"/>
                  </a:lnTo>
                  <a:lnTo>
                    <a:pt x="10" y="55"/>
                  </a:lnTo>
                  <a:lnTo>
                    <a:pt x="7" y="49"/>
                  </a:lnTo>
                  <a:lnTo>
                    <a:pt x="4" y="46"/>
                  </a:lnTo>
                  <a:lnTo>
                    <a:pt x="0" y="46"/>
                  </a:lnTo>
                  <a:lnTo>
                    <a:pt x="4" y="42"/>
                  </a:lnTo>
                  <a:lnTo>
                    <a:pt x="7" y="42"/>
                  </a:lnTo>
                  <a:lnTo>
                    <a:pt x="10" y="39"/>
                  </a:lnTo>
                  <a:lnTo>
                    <a:pt x="14" y="39"/>
                  </a:lnTo>
                  <a:lnTo>
                    <a:pt x="17" y="36"/>
                  </a:lnTo>
                  <a:lnTo>
                    <a:pt x="17" y="33"/>
                  </a:lnTo>
                  <a:lnTo>
                    <a:pt x="24" y="26"/>
                  </a:lnTo>
                  <a:lnTo>
                    <a:pt x="31" y="13"/>
                  </a:lnTo>
                  <a:lnTo>
                    <a:pt x="35" y="7"/>
                  </a:lnTo>
                  <a:lnTo>
                    <a:pt x="38" y="7"/>
                  </a:lnTo>
                  <a:lnTo>
                    <a:pt x="41" y="4"/>
                  </a:lnTo>
                  <a:lnTo>
                    <a:pt x="3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8" name="Freeform 49"/>
            <p:cNvSpPr>
              <a:spLocks/>
            </p:cNvSpPr>
            <p:nvPr/>
          </p:nvSpPr>
          <p:spPr bwMode="auto">
            <a:xfrm>
              <a:off x="6719888" y="3242330"/>
              <a:ext cx="179388" cy="96837"/>
            </a:xfrm>
            <a:custGeom>
              <a:avLst/>
              <a:gdLst>
                <a:gd name="T0" fmla="*/ 72 w 113"/>
                <a:gd name="T1" fmla="*/ 52 h 61"/>
                <a:gd name="T2" fmla="*/ 76 w 113"/>
                <a:gd name="T3" fmla="*/ 48 h 61"/>
                <a:gd name="T4" fmla="*/ 79 w 113"/>
                <a:gd name="T5" fmla="*/ 48 h 61"/>
                <a:gd name="T6" fmla="*/ 82 w 113"/>
                <a:gd name="T7" fmla="*/ 45 h 61"/>
                <a:gd name="T8" fmla="*/ 86 w 113"/>
                <a:gd name="T9" fmla="*/ 45 h 61"/>
                <a:gd name="T10" fmla="*/ 89 w 113"/>
                <a:gd name="T11" fmla="*/ 42 h 61"/>
                <a:gd name="T12" fmla="*/ 89 w 113"/>
                <a:gd name="T13" fmla="*/ 39 h 61"/>
                <a:gd name="T14" fmla="*/ 96 w 113"/>
                <a:gd name="T15" fmla="*/ 32 h 61"/>
                <a:gd name="T16" fmla="*/ 103 w 113"/>
                <a:gd name="T17" fmla="*/ 19 h 61"/>
                <a:gd name="T18" fmla="*/ 107 w 113"/>
                <a:gd name="T19" fmla="*/ 13 h 61"/>
                <a:gd name="T20" fmla="*/ 110 w 113"/>
                <a:gd name="T21" fmla="*/ 13 h 61"/>
                <a:gd name="T22" fmla="*/ 113 w 113"/>
                <a:gd name="T23" fmla="*/ 10 h 61"/>
                <a:gd name="T24" fmla="*/ 110 w 113"/>
                <a:gd name="T25" fmla="*/ 6 h 61"/>
                <a:gd name="T26" fmla="*/ 107 w 113"/>
                <a:gd name="T27" fmla="*/ 3 h 61"/>
                <a:gd name="T28" fmla="*/ 100 w 113"/>
                <a:gd name="T29" fmla="*/ 0 h 61"/>
                <a:gd name="T30" fmla="*/ 96 w 113"/>
                <a:gd name="T31" fmla="*/ 3 h 61"/>
                <a:gd name="T32" fmla="*/ 89 w 113"/>
                <a:gd name="T33" fmla="*/ 0 h 61"/>
                <a:gd name="T34" fmla="*/ 82 w 113"/>
                <a:gd name="T35" fmla="*/ 0 h 61"/>
                <a:gd name="T36" fmla="*/ 79 w 113"/>
                <a:gd name="T37" fmla="*/ 0 h 61"/>
                <a:gd name="T38" fmla="*/ 72 w 113"/>
                <a:gd name="T39" fmla="*/ 0 h 61"/>
                <a:gd name="T40" fmla="*/ 69 w 113"/>
                <a:gd name="T41" fmla="*/ 6 h 61"/>
                <a:gd name="T42" fmla="*/ 65 w 113"/>
                <a:gd name="T43" fmla="*/ 6 h 61"/>
                <a:gd name="T44" fmla="*/ 65 w 113"/>
                <a:gd name="T45" fmla="*/ 10 h 61"/>
                <a:gd name="T46" fmla="*/ 58 w 113"/>
                <a:gd name="T47" fmla="*/ 6 h 61"/>
                <a:gd name="T48" fmla="*/ 51 w 113"/>
                <a:gd name="T49" fmla="*/ 10 h 61"/>
                <a:gd name="T50" fmla="*/ 48 w 113"/>
                <a:gd name="T51" fmla="*/ 13 h 61"/>
                <a:gd name="T52" fmla="*/ 48 w 113"/>
                <a:gd name="T53" fmla="*/ 16 h 61"/>
                <a:gd name="T54" fmla="*/ 38 w 113"/>
                <a:gd name="T55" fmla="*/ 16 h 61"/>
                <a:gd name="T56" fmla="*/ 31 w 113"/>
                <a:gd name="T57" fmla="*/ 16 h 61"/>
                <a:gd name="T58" fmla="*/ 24 w 113"/>
                <a:gd name="T59" fmla="*/ 16 h 61"/>
                <a:gd name="T60" fmla="*/ 10 w 113"/>
                <a:gd name="T61" fmla="*/ 10 h 61"/>
                <a:gd name="T62" fmla="*/ 10 w 113"/>
                <a:gd name="T63" fmla="*/ 13 h 61"/>
                <a:gd name="T64" fmla="*/ 10 w 113"/>
                <a:gd name="T65" fmla="*/ 16 h 61"/>
                <a:gd name="T66" fmla="*/ 10 w 113"/>
                <a:gd name="T67" fmla="*/ 19 h 61"/>
                <a:gd name="T68" fmla="*/ 3 w 113"/>
                <a:gd name="T69" fmla="*/ 19 h 61"/>
                <a:gd name="T70" fmla="*/ 0 w 113"/>
                <a:gd name="T71" fmla="*/ 19 h 61"/>
                <a:gd name="T72" fmla="*/ 3 w 113"/>
                <a:gd name="T73" fmla="*/ 22 h 61"/>
                <a:gd name="T74" fmla="*/ 3 w 113"/>
                <a:gd name="T75" fmla="*/ 26 h 61"/>
                <a:gd name="T76" fmla="*/ 3 w 113"/>
                <a:gd name="T77" fmla="*/ 29 h 61"/>
                <a:gd name="T78" fmla="*/ 3 w 113"/>
                <a:gd name="T79" fmla="*/ 32 h 61"/>
                <a:gd name="T80" fmla="*/ 0 w 113"/>
                <a:gd name="T81" fmla="*/ 35 h 61"/>
                <a:gd name="T82" fmla="*/ 0 w 113"/>
                <a:gd name="T83" fmla="*/ 35 h 61"/>
                <a:gd name="T84" fmla="*/ 7 w 113"/>
                <a:gd name="T85" fmla="*/ 42 h 61"/>
                <a:gd name="T86" fmla="*/ 7 w 113"/>
                <a:gd name="T87" fmla="*/ 48 h 61"/>
                <a:gd name="T88" fmla="*/ 10 w 113"/>
                <a:gd name="T89" fmla="*/ 48 h 61"/>
                <a:gd name="T90" fmla="*/ 17 w 113"/>
                <a:gd name="T91" fmla="*/ 55 h 61"/>
                <a:gd name="T92" fmla="*/ 21 w 113"/>
                <a:gd name="T93" fmla="*/ 55 h 61"/>
                <a:gd name="T94" fmla="*/ 24 w 113"/>
                <a:gd name="T95" fmla="*/ 58 h 61"/>
                <a:gd name="T96" fmla="*/ 34 w 113"/>
                <a:gd name="T97" fmla="*/ 58 h 61"/>
                <a:gd name="T98" fmla="*/ 41 w 113"/>
                <a:gd name="T99" fmla="*/ 61 h 61"/>
                <a:gd name="T100" fmla="*/ 45 w 113"/>
                <a:gd name="T101" fmla="*/ 58 h 61"/>
                <a:gd name="T102" fmla="*/ 48 w 113"/>
                <a:gd name="T103" fmla="*/ 58 h 61"/>
                <a:gd name="T104" fmla="*/ 51 w 113"/>
                <a:gd name="T105" fmla="*/ 55 h 61"/>
                <a:gd name="T106" fmla="*/ 55 w 113"/>
                <a:gd name="T107" fmla="*/ 55 h 61"/>
                <a:gd name="T108" fmla="*/ 58 w 113"/>
                <a:gd name="T109" fmla="*/ 55 h 61"/>
                <a:gd name="T110" fmla="*/ 58 w 113"/>
                <a:gd name="T111" fmla="*/ 52 h 61"/>
                <a:gd name="T112" fmla="*/ 62 w 113"/>
                <a:gd name="T113" fmla="*/ 48 h 61"/>
                <a:gd name="T114" fmla="*/ 65 w 113"/>
                <a:gd name="T115" fmla="*/ 52 h 61"/>
                <a:gd name="T116" fmla="*/ 69 w 113"/>
                <a:gd name="T117" fmla="*/ 52 h 61"/>
                <a:gd name="T118" fmla="*/ 72 w 113"/>
                <a:gd name="T119" fmla="*/ 5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" h="61">
                  <a:moveTo>
                    <a:pt x="72" y="52"/>
                  </a:moveTo>
                  <a:lnTo>
                    <a:pt x="76" y="48"/>
                  </a:lnTo>
                  <a:lnTo>
                    <a:pt x="79" y="48"/>
                  </a:lnTo>
                  <a:lnTo>
                    <a:pt x="82" y="45"/>
                  </a:lnTo>
                  <a:lnTo>
                    <a:pt x="86" y="45"/>
                  </a:lnTo>
                  <a:lnTo>
                    <a:pt x="89" y="42"/>
                  </a:lnTo>
                  <a:lnTo>
                    <a:pt x="89" y="39"/>
                  </a:lnTo>
                  <a:lnTo>
                    <a:pt x="96" y="32"/>
                  </a:lnTo>
                  <a:lnTo>
                    <a:pt x="103" y="19"/>
                  </a:lnTo>
                  <a:lnTo>
                    <a:pt x="107" y="13"/>
                  </a:lnTo>
                  <a:lnTo>
                    <a:pt x="110" y="13"/>
                  </a:lnTo>
                  <a:lnTo>
                    <a:pt x="113" y="10"/>
                  </a:lnTo>
                  <a:lnTo>
                    <a:pt x="110" y="6"/>
                  </a:lnTo>
                  <a:lnTo>
                    <a:pt x="107" y="3"/>
                  </a:lnTo>
                  <a:lnTo>
                    <a:pt x="100" y="0"/>
                  </a:lnTo>
                  <a:lnTo>
                    <a:pt x="96" y="3"/>
                  </a:lnTo>
                  <a:lnTo>
                    <a:pt x="89" y="0"/>
                  </a:lnTo>
                  <a:lnTo>
                    <a:pt x="82" y="0"/>
                  </a:lnTo>
                  <a:lnTo>
                    <a:pt x="79" y="0"/>
                  </a:lnTo>
                  <a:lnTo>
                    <a:pt x="72" y="0"/>
                  </a:lnTo>
                  <a:lnTo>
                    <a:pt x="69" y="6"/>
                  </a:lnTo>
                  <a:lnTo>
                    <a:pt x="65" y="6"/>
                  </a:lnTo>
                  <a:lnTo>
                    <a:pt x="65" y="10"/>
                  </a:lnTo>
                  <a:lnTo>
                    <a:pt x="58" y="6"/>
                  </a:lnTo>
                  <a:lnTo>
                    <a:pt x="51" y="10"/>
                  </a:lnTo>
                  <a:lnTo>
                    <a:pt x="48" y="13"/>
                  </a:lnTo>
                  <a:lnTo>
                    <a:pt x="48" y="16"/>
                  </a:lnTo>
                  <a:lnTo>
                    <a:pt x="38" y="16"/>
                  </a:lnTo>
                  <a:lnTo>
                    <a:pt x="31" y="16"/>
                  </a:lnTo>
                  <a:lnTo>
                    <a:pt x="24" y="16"/>
                  </a:lnTo>
                  <a:lnTo>
                    <a:pt x="10" y="10"/>
                  </a:lnTo>
                  <a:lnTo>
                    <a:pt x="10" y="13"/>
                  </a:lnTo>
                  <a:lnTo>
                    <a:pt x="10" y="16"/>
                  </a:lnTo>
                  <a:lnTo>
                    <a:pt x="10" y="19"/>
                  </a:lnTo>
                  <a:lnTo>
                    <a:pt x="3" y="19"/>
                  </a:lnTo>
                  <a:lnTo>
                    <a:pt x="0" y="19"/>
                  </a:lnTo>
                  <a:lnTo>
                    <a:pt x="3" y="22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7" y="42"/>
                  </a:lnTo>
                  <a:lnTo>
                    <a:pt x="7" y="48"/>
                  </a:lnTo>
                  <a:lnTo>
                    <a:pt x="10" y="48"/>
                  </a:lnTo>
                  <a:lnTo>
                    <a:pt x="17" y="55"/>
                  </a:lnTo>
                  <a:lnTo>
                    <a:pt x="21" y="55"/>
                  </a:lnTo>
                  <a:lnTo>
                    <a:pt x="24" y="58"/>
                  </a:lnTo>
                  <a:lnTo>
                    <a:pt x="34" y="58"/>
                  </a:lnTo>
                  <a:lnTo>
                    <a:pt x="41" y="61"/>
                  </a:lnTo>
                  <a:lnTo>
                    <a:pt x="45" y="58"/>
                  </a:lnTo>
                  <a:lnTo>
                    <a:pt x="48" y="58"/>
                  </a:lnTo>
                  <a:lnTo>
                    <a:pt x="51" y="55"/>
                  </a:lnTo>
                  <a:lnTo>
                    <a:pt x="55" y="55"/>
                  </a:lnTo>
                  <a:lnTo>
                    <a:pt x="58" y="55"/>
                  </a:lnTo>
                  <a:lnTo>
                    <a:pt x="58" y="52"/>
                  </a:lnTo>
                  <a:lnTo>
                    <a:pt x="62" y="48"/>
                  </a:lnTo>
                  <a:lnTo>
                    <a:pt x="65" y="52"/>
                  </a:lnTo>
                  <a:lnTo>
                    <a:pt x="69" y="52"/>
                  </a:lnTo>
                  <a:lnTo>
                    <a:pt x="72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49" name="Freeform 50"/>
            <p:cNvSpPr>
              <a:spLocks/>
            </p:cNvSpPr>
            <p:nvPr/>
          </p:nvSpPr>
          <p:spPr bwMode="auto">
            <a:xfrm>
              <a:off x="6735763" y="3210580"/>
              <a:ext cx="153988" cy="57150"/>
            </a:xfrm>
            <a:custGeom>
              <a:avLst/>
              <a:gdLst>
                <a:gd name="T0" fmla="*/ 0 w 97"/>
                <a:gd name="T1" fmla="*/ 30 h 36"/>
                <a:gd name="T2" fmla="*/ 14 w 97"/>
                <a:gd name="T3" fmla="*/ 36 h 36"/>
                <a:gd name="T4" fmla="*/ 21 w 97"/>
                <a:gd name="T5" fmla="*/ 36 h 36"/>
                <a:gd name="T6" fmla="*/ 28 w 97"/>
                <a:gd name="T7" fmla="*/ 36 h 36"/>
                <a:gd name="T8" fmla="*/ 38 w 97"/>
                <a:gd name="T9" fmla="*/ 36 h 36"/>
                <a:gd name="T10" fmla="*/ 38 w 97"/>
                <a:gd name="T11" fmla="*/ 33 h 36"/>
                <a:gd name="T12" fmla="*/ 41 w 97"/>
                <a:gd name="T13" fmla="*/ 30 h 36"/>
                <a:gd name="T14" fmla="*/ 48 w 97"/>
                <a:gd name="T15" fmla="*/ 26 h 36"/>
                <a:gd name="T16" fmla="*/ 55 w 97"/>
                <a:gd name="T17" fmla="*/ 30 h 36"/>
                <a:gd name="T18" fmla="*/ 55 w 97"/>
                <a:gd name="T19" fmla="*/ 26 h 36"/>
                <a:gd name="T20" fmla="*/ 59 w 97"/>
                <a:gd name="T21" fmla="*/ 26 h 36"/>
                <a:gd name="T22" fmla="*/ 62 w 97"/>
                <a:gd name="T23" fmla="*/ 20 h 36"/>
                <a:gd name="T24" fmla="*/ 69 w 97"/>
                <a:gd name="T25" fmla="*/ 20 h 36"/>
                <a:gd name="T26" fmla="*/ 72 w 97"/>
                <a:gd name="T27" fmla="*/ 20 h 36"/>
                <a:gd name="T28" fmla="*/ 79 w 97"/>
                <a:gd name="T29" fmla="*/ 20 h 36"/>
                <a:gd name="T30" fmla="*/ 86 w 97"/>
                <a:gd name="T31" fmla="*/ 23 h 36"/>
                <a:gd name="T32" fmla="*/ 93 w 97"/>
                <a:gd name="T33" fmla="*/ 20 h 36"/>
                <a:gd name="T34" fmla="*/ 93 w 97"/>
                <a:gd name="T35" fmla="*/ 13 h 36"/>
                <a:gd name="T36" fmla="*/ 97 w 97"/>
                <a:gd name="T37" fmla="*/ 7 h 36"/>
                <a:gd name="T38" fmla="*/ 97 w 97"/>
                <a:gd name="T39" fmla="*/ 7 h 36"/>
                <a:gd name="T40" fmla="*/ 86 w 97"/>
                <a:gd name="T41" fmla="*/ 0 h 36"/>
                <a:gd name="T42" fmla="*/ 79 w 97"/>
                <a:gd name="T43" fmla="*/ 0 h 36"/>
                <a:gd name="T44" fmla="*/ 79 w 97"/>
                <a:gd name="T45" fmla="*/ 4 h 36"/>
                <a:gd name="T46" fmla="*/ 76 w 97"/>
                <a:gd name="T47" fmla="*/ 0 h 36"/>
                <a:gd name="T48" fmla="*/ 72 w 97"/>
                <a:gd name="T49" fmla="*/ 0 h 36"/>
                <a:gd name="T50" fmla="*/ 69 w 97"/>
                <a:gd name="T51" fmla="*/ 4 h 36"/>
                <a:gd name="T52" fmla="*/ 66 w 97"/>
                <a:gd name="T53" fmla="*/ 4 h 36"/>
                <a:gd name="T54" fmla="*/ 62 w 97"/>
                <a:gd name="T55" fmla="*/ 4 h 36"/>
                <a:gd name="T56" fmla="*/ 59 w 97"/>
                <a:gd name="T57" fmla="*/ 4 h 36"/>
                <a:gd name="T58" fmla="*/ 55 w 97"/>
                <a:gd name="T59" fmla="*/ 4 h 36"/>
                <a:gd name="T60" fmla="*/ 55 w 97"/>
                <a:gd name="T61" fmla="*/ 7 h 36"/>
                <a:gd name="T62" fmla="*/ 52 w 97"/>
                <a:gd name="T63" fmla="*/ 7 h 36"/>
                <a:gd name="T64" fmla="*/ 48 w 97"/>
                <a:gd name="T65" fmla="*/ 7 h 36"/>
                <a:gd name="T66" fmla="*/ 48 w 97"/>
                <a:gd name="T67" fmla="*/ 7 h 36"/>
                <a:gd name="T68" fmla="*/ 41 w 97"/>
                <a:gd name="T69" fmla="*/ 4 h 36"/>
                <a:gd name="T70" fmla="*/ 35 w 97"/>
                <a:gd name="T71" fmla="*/ 7 h 36"/>
                <a:gd name="T72" fmla="*/ 31 w 97"/>
                <a:gd name="T73" fmla="*/ 10 h 36"/>
                <a:gd name="T74" fmla="*/ 24 w 97"/>
                <a:gd name="T75" fmla="*/ 13 h 36"/>
                <a:gd name="T76" fmla="*/ 17 w 97"/>
                <a:gd name="T77" fmla="*/ 13 h 36"/>
                <a:gd name="T78" fmla="*/ 11 w 97"/>
                <a:gd name="T79" fmla="*/ 17 h 36"/>
                <a:gd name="T80" fmla="*/ 11 w 97"/>
                <a:gd name="T81" fmla="*/ 17 h 36"/>
                <a:gd name="T82" fmla="*/ 4 w 97"/>
                <a:gd name="T83" fmla="*/ 17 h 36"/>
                <a:gd name="T84" fmla="*/ 0 w 97"/>
                <a:gd name="T85" fmla="*/ 17 h 36"/>
                <a:gd name="T86" fmla="*/ 0 w 97"/>
                <a:gd name="T87" fmla="*/ 17 h 36"/>
                <a:gd name="T88" fmla="*/ 0 w 97"/>
                <a:gd name="T89" fmla="*/ 23 h 36"/>
                <a:gd name="T90" fmla="*/ 0 w 97"/>
                <a:gd name="T91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36">
                  <a:moveTo>
                    <a:pt x="0" y="30"/>
                  </a:moveTo>
                  <a:lnTo>
                    <a:pt x="14" y="36"/>
                  </a:lnTo>
                  <a:lnTo>
                    <a:pt x="21" y="36"/>
                  </a:lnTo>
                  <a:lnTo>
                    <a:pt x="28" y="36"/>
                  </a:lnTo>
                  <a:lnTo>
                    <a:pt x="38" y="36"/>
                  </a:lnTo>
                  <a:lnTo>
                    <a:pt x="38" y="33"/>
                  </a:lnTo>
                  <a:lnTo>
                    <a:pt x="41" y="30"/>
                  </a:lnTo>
                  <a:lnTo>
                    <a:pt x="48" y="26"/>
                  </a:lnTo>
                  <a:lnTo>
                    <a:pt x="55" y="30"/>
                  </a:lnTo>
                  <a:lnTo>
                    <a:pt x="55" y="26"/>
                  </a:lnTo>
                  <a:lnTo>
                    <a:pt x="59" y="26"/>
                  </a:lnTo>
                  <a:lnTo>
                    <a:pt x="62" y="20"/>
                  </a:lnTo>
                  <a:lnTo>
                    <a:pt x="69" y="20"/>
                  </a:lnTo>
                  <a:lnTo>
                    <a:pt x="72" y="20"/>
                  </a:lnTo>
                  <a:lnTo>
                    <a:pt x="79" y="20"/>
                  </a:lnTo>
                  <a:lnTo>
                    <a:pt x="86" y="23"/>
                  </a:lnTo>
                  <a:lnTo>
                    <a:pt x="93" y="20"/>
                  </a:lnTo>
                  <a:lnTo>
                    <a:pt x="93" y="13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86" y="0"/>
                  </a:lnTo>
                  <a:lnTo>
                    <a:pt x="79" y="0"/>
                  </a:lnTo>
                  <a:lnTo>
                    <a:pt x="79" y="4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69" y="4"/>
                  </a:lnTo>
                  <a:lnTo>
                    <a:pt x="66" y="4"/>
                  </a:lnTo>
                  <a:lnTo>
                    <a:pt x="62" y="4"/>
                  </a:lnTo>
                  <a:lnTo>
                    <a:pt x="59" y="4"/>
                  </a:lnTo>
                  <a:lnTo>
                    <a:pt x="55" y="4"/>
                  </a:lnTo>
                  <a:lnTo>
                    <a:pt x="55" y="7"/>
                  </a:lnTo>
                  <a:lnTo>
                    <a:pt x="52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1" y="4"/>
                  </a:lnTo>
                  <a:lnTo>
                    <a:pt x="35" y="7"/>
                  </a:lnTo>
                  <a:lnTo>
                    <a:pt x="31" y="10"/>
                  </a:lnTo>
                  <a:lnTo>
                    <a:pt x="24" y="13"/>
                  </a:lnTo>
                  <a:lnTo>
                    <a:pt x="17" y="13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4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23"/>
                  </a:ln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0" name="Freeform 51"/>
            <p:cNvSpPr>
              <a:spLocks/>
            </p:cNvSpPr>
            <p:nvPr/>
          </p:nvSpPr>
          <p:spPr bwMode="auto">
            <a:xfrm>
              <a:off x="6905626" y="3380442"/>
              <a:ext cx="174625" cy="96837"/>
            </a:xfrm>
            <a:custGeom>
              <a:avLst/>
              <a:gdLst>
                <a:gd name="T0" fmla="*/ 7 w 110"/>
                <a:gd name="T1" fmla="*/ 0 h 61"/>
                <a:gd name="T2" fmla="*/ 7 w 110"/>
                <a:gd name="T3" fmla="*/ 7 h 61"/>
                <a:gd name="T4" fmla="*/ 10 w 110"/>
                <a:gd name="T5" fmla="*/ 10 h 61"/>
                <a:gd name="T6" fmla="*/ 17 w 110"/>
                <a:gd name="T7" fmla="*/ 7 h 61"/>
                <a:gd name="T8" fmla="*/ 24 w 110"/>
                <a:gd name="T9" fmla="*/ 10 h 61"/>
                <a:gd name="T10" fmla="*/ 34 w 110"/>
                <a:gd name="T11" fmla="*/ 10 h 61"/>
                <a:gd name="T12" fmla="*/ 41 w 110"/>
                <a:gd name="T13" fmla="*/ 10 h 61"/>
                <a:gd name="T14" fmla="*/ 48 w 110"/>
                <a:gd name="T15" fmla="*/ 10 h 61"/>
                <a:gd name="T16" fmla="*/ 58 w 110"/>
                <a:gd name="T17" fmla="*/ 10 h 61"/>
                <a:gd name="T18" fmla="*/ 65 w 110"/>
                <a:gd name="T19" fmla="*/ 7 h 61"/>
                <a:gd name="T20" fmla="*/ 82 w 110"/>
                <a:gd name="T21" fmla="*/ 0 h 61"/>
                <a:gd name="T22" fmla="*/ 93 w 110"/>
                <a:gd name="T23" fmla="*/ 3 h 61"/>
                <a:gd name="T24" fmla="*/ 100 w 110"/>
                <a:gd name="T25" fmla="*/ 3 h 61"/>
                <a:gd name="T26" fmla="*/ 106 w 110"/>
                <a:gd name="T27" fmla="*/ 7 h 61"/>
                <a:gd name="T28" fmla="*/ 110 w 110"/>
                <a:gd name="T29" fmla="*/ 10 h 61"/>
                <a:gd name="T30" fmla="*/ 106 w 110"/>
                <a:gd name="T31" fmla="*/ 16 h 61"/>
                <a:gd name="T32" fmla="*/ 100 w 110"/>
                <a:gd name="T33" fmla="*/ 19 h 61"/>
                <a:gd name="T34" fmla="*/ 100 w 110"/>
                <a:gd name="T35" fmla="*/ 29 h 61"/>
                <a:gd name="T36" fmla="*/ 93 w 110"/>
                <a:gd name="T37" fmla="*/ 36 h 61"/>
                <a:gd name="T38" fmla="*/ 100 w 110"/>
                <a:gd name="T39" fmla="*/ 42 h 61"/>
                <a:gd name="T40" fmla="*/ 103 w 110"/>
                <a:gd name="T41" fmla="*/ 45 h 61"/>
                <a:gd name="T42" fmla="*/ 96 w 110"/>
                <a:gd name="T43" fmla="*/ 45 h 61"/>
                <a:gd name="T44" fmla="*/ 86 w 110"/>
                <a:gd name="T45" fmla="*/ 42 h 61"/>
                <a:gd name="T46" fmla="*/ 79 w 110"/>
                <a:gd name="T47" fmla="*/ 45 h 61"/>
                <a:gd name="T48" fmla="*/ 76 w 110"/>
                <a:gd name="T49" fmla="*/ 49 h 61"/>
                <a:gd name="T50" fmla="*/ 69 w 110"/>
                <a:gd name="T51" fmla="*/ 52 h 61"/>
                <a:gd name="T52" fmla="*/ 72 w 110"/>
                <a:gd name="T53" fmla="*/ 58 h 61"/>
                <a:gd name="T54" fmla="*/ 62 w 110"/>
                <a:gd name="T55" fmla="*/ 58 h 61"/>
                <a:gd name="T56" fmla="*/ 55 w 110"/>
                <a:gd name="T57" fmla="*/ 58 h 61"/>
                <a:gd name="T58" fmla="*/ 48 w 110"/>
                <a:gd name="T59" fmla="*/ 61 h 61"/>
                <a:gd name="T60" fmla="*/ 45 w 110"/>
                <a:gd name="T61" fmla="*/ 58 h 61"/>
                <a:gd name="T62" fmla="*/ 34 w 110"/>
                <a:gd name="T63" fmla="*/ 58 h 61"/>
                <a:gd name="T64" fmla="*/ 24 w 110"/>
                <a:gd name="T65" fmla="*/ 61 h 61"/>
                <a:gd name="T66" fmla="*/ 17 w 110"/>
                <a:gd name="T67" fmla="*/ 58 h 61"/>
                <a:gd name="T68" fmla="*/ 17 w 110"/>
                <a:gd name="T69" fmla="*/ 55 h 61"/>
                <a:gd name="T70" fmla="*/ 10 w 110"/>
                <a:gd name="T71" fmla="*/ 45 h 61"/>
                <a:gd name="T72" fmla="*/ 3 w 110"/>
                <a:gd name="T73" fmla="*/ 39 h 61"/>
                <a:gd name="T74" fmla="*/ 0 w 110"/>
                <a:gd name="T75" fmla="*/ 32 h 61"/>
                <a:gd name="T76" fmla="*/ 7 w 110"/>
                <a:gd name="T77" fmla="*/ 26 h 61"/>
                <a:gd name="T78" fmla="*/ 7 w 110"/>
                <a:gd name="T79" fmla="*/ 16 h 61"/>
                <a:gd name="T80" fmla="*/ 0 w 110"/>
                <a:gd name="T81" fmla="*/ 7 h 61"/>
                <a:gd name="T82" fmla="*/ 0 w 110"/>
                <a:gd name="T8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0" h="61">
                  <a:moveTo>
                    <a:pt x="0" y="0"/>
                  </a:moveTo>
                  <a:lnTo>
                    <a:pt x="7" y="0"/>
                  </a:lnTo>
                  <a:lnTo>
                    <a:pt x="7" y="3"/>
                  </a:lnTo>
                  <a:lnTo>
                    <a:pt x="7" y="7"/>
                  </a:lnTo>
                  <a:lnTo>
                    <a:pt x="7" y="7"/>
                  </a:lnTo>
                  <a:lnTo>
                    <a:pt x="10" y="10"/>
                  </a:lnTo>
                  <a:lnTo>
                    <a:pt x="14" y="7"/>
                  </a:lnTo>
                  <a:lnTo>
                    <a:pt x="17" y="7"/>
                  </a:lnTo>
                  <a:lnTo>
                    <a:pt x="20" y="10"/>
                  </a:lnTo>
                  <a:lnTo>
                    <a:pt x="24" y="10"/>
                  </a:lnTo>
                  <a:lnTo>
                    <a:pt x="31" y="10"/>
                  </a:lnTo>
                  <a:lnTo>
                    <a:pt x="34" y="10"/>
                  </a:lnTo>
                  <a:lnTo>
                    <a:pt x="38" y="10"/>
                  </a:lnTo>
                  <a:lnTo>
                    <a:pt x="41" y="10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5" y="10"/>
                  </a:lnTo>
                  <a:lnTo>
                    <a:pt x="58" y="10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76" y="0"/>
                  </a:lnTo>
                  <a:lnTo>
                    <a:pt x="82" y="0"/>
                  </a:lnTo>
                  <a:lnTo>
                    <a:pt x="89" y="0"/>
                  </a:lnTo>
                  <a:lnTo>
                    <a:pt x="93" y="3"/>
                  </a:lnTo>
                  <a:lnTo>
                    <a:pt x="96" y="3"/>
                  </a:lnTo>
                  <a:lnTo>
                    <a:pt x="100" y="3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10" y="7"/>
                  </a:lnTo>
                  <a:lnTo>
                    <a:pt x="110" y="10"/>
                  </a:lnTo>
                  <a:lnTo>
                    <a:pt x="110" y="13"/>
                  </a:lnTo>
                  <a:lnTo>
                    <a:pt x="106" y="16"/>
                  </a:lnTo>
                  <a:lnTo>
                    <a:pt x="103" y="16"/>
                  </a:lnTo>
                  <a:lnTo>
                    <a:pt x="100" y="19"/>
                  </a:lnTo>
                  <a:lnTo>
                    <a:pt x="100" y="26"/>
                  </a:lnTo>
                  <a:lnTo>
                    <a:pt x="100" y="29"/>
                  </a:lnTo>
                  <a:lnTo>
                    <a:pt x="93" y="32"/>
                  </a:lnTo>
                  <a:lnTo>
                    <a:pt x="93" y="36"/>
                  </a:lnTo>
                  <a:lnTo>
                    <a:pt x="96" y="36"/>
                  </a:lnTo>
                  <a:lnTo>
                    <a:pt x="100" y="42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0" y="45"/>
                  </a:lnTo>
                  <a:lnTo>
                    <a:pt x="96" y="45"/>
                  </a:lnTo>
                  <a:lnTo>
                    <a:pt x="93" y="42"/>
                  </a:lnTo>
                  <a:lnTo>
                    <a:pt x="86" y="42"/>
                  </a:lnTo>
                  <a:lnTo>
                    <a:pt x="82" y="45"/>
                  </a:lnTo>
                  <a:lnTo>
                    <a:pt x="79" y="45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69" y="52"/>
                  </a:lnTo>
                  <a:lnTo>
                    <a:pt x="69" y="55"/>
                  </a:lnTo>
                  <a:lnTo>
                    <a:pt x="72" y="58"/>
                  </a:lnTo>
                  <a:lnTo>
                    <a:pt x="69" y="58"/>
                  </a:lnTo>
                  <a:lnTo>
                    <a:pt x="62" y="58"/>
                  </a:lnTo>
                  <a:lnTo>
                    <a:pt x="58" y="61"/>
                  </a:lnTo>
                  <a:lnTo>
                    <a:pt x="55" y="58"/>
                  </a:lnTo>
                  <a:lnTo>
                    <a:pt x="51" y="58"/>
                  </a:lnTo>
                  <a:lnTo>
                    <a:pt x="48" y="61"/>
                  </a:lnTo>
                  <a:lnTo>
                    <a:pt x="45" y="61"/>
                  </a:lnTo>
                  <a:lnTo>
                    <a:pt x="45" y="58"/>
                  </a:lnTo>
                  <a:lnTo>
                    <a:pt x="38" y="58"/>
                  </a:lnTo>
                  <a:lnTo>
                    <a:pt x="34" y="58"/>
                  </a:lnTo>
                  <a:lnTo>
                    <a:pt x="31" y="58"/>
                  </a:lnTo>
                  <a:lnTo>
                    <a:pt x="24" y="61"/>
                  </a:lnTo>
                  <a:lnTo>
                    <a:pt x="17" y="61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5"/>
                  </a:lnTo>
                  <a:lnTo>
                    <a:pt x="14" y="52"/>
                  </a:lnTo>
                  <a:lnTo>
                    <a:pt x="10" y="45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7" y="26"/>
                  </a:lnTo>
                  <a:lnTo>
                    <a:pt x="10" y="23"/>
                  </a:lnTo>
                  <a:lnTo>
                    <a:pt x="7" y="16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1" name="Freeform 52"/>
            <p:cNvSpPr>
              <a:spLocks/>
            </p:cNvSpPr>
            <p:nvPr/>
          </p:nvSpPr>
          <p:spPr bwMode="auto">
            <a:xfrm>
              <a:off x="6856413" y="3442355"/>
              <a:ext cx="76200" cy="55562"/>
            </a:xfrm>
            <a:custGeom>
              <a:avLst/>
              <a:gdLst>
                <a:gd name="T0" fmla="*/ 34 w 48"/>
                <a:gd name="T1" fmla="*/ 0 h 35"/>
                <a:gd name="T2" fmla="*/ 41 w 48"/>
                <a:gd name="T3" fmla="*/ 6 h 35"/>
                <a:gd name="T4" fmla="*/ 45 w 48"/>
                <a:gd name="T5" fmla="*/ 13 h 35"/>
                <a:gd name="T6" fmla="*/ 48 w 48"/>
                <a:gd name="T7" fmla="*/ 16 h 35"/>
                <a:gd name="T8" fmla="*/ 48 w 48"/>
                <a:gd name="T9" fmla="*/ 19 h 35"/>
                <a:gd name="T10" fmla="*/ 45 w 48"/>
                <a:gd name="T11" fmla="*/ 22 h 35"/>
                <a:gd name="T12" fmla="*/ 41 w 48"/>
                <a:gd name="T13" fmla="*/ 22 h 35"/>
                <a:gd name="T14" fmla="*/ 38 w 48"/>
                <a:gd name="T15" fmla="*/ 26 h 35"/>
                <a:gd name="T16" fmla="*/ 27 w 48"/>
                <a:gd name="T17" fmla="*/ 26 h 35"/>
                <a:gd name="T18" fmla="*/ 24 w 48"/>
                <a:gd name="T19" fmla="*/ 26 h 35"/>
                <a:gd name="T20" fmla="*/ 24 w 48"/>
                <a:gd name="T21" fmla="*/ 29 h 35"/>
                <a:gd name="T22" fmla="*/ 17 w 48"/>
                <a:gd name="T23" fmla="*/ 29 h 35"/>
                <a:gd name="T24" fmla="*/ 10 w 48"/>
                <a:gd name="T25" fmla="*/ 32 h 35"/>
                <a:gd name="T26" fmla="*/ 10 w 48"/>
                <a:gd name="T27" fmla="*/ 35 h 35"/>
                <a:gd name="T28" fmla="*/ 7 w 48"/>
                <a:gd name="T29" fmla="*/ 32 h 35"/>
                <a:gd name="T30" fmla="*/ 3 w 48"/>
                <a:gd name="T31" fmla="*/ 29 h 35"/>
                <a:gd name="T32" fmla="*/ 0 w 48"/>
                <a:gd name="T33" fmla="*/ 22 h 35"/>
                <a:gd name="T34" fmla="*/ 0 w 48"/>
                <a:gd name="T35" fmla="*/ 16 h 35"/>
                <a:gd name="T36" fmla="*/ 0 w 48"/>
                <a:gd name="T37" fmla="*/ 13 h 35"/>
                <a:gd name="T38" fmla="*/ 0 w 48"/>
                <a:gd name="T39" fmla="*/ 13 h 35"/>
                <a:gd name="T40" fmla="*/ 3 w 48"/>
                <a:gd name="T41" fmla="*/ 10 h 35"/>
                <a:gd name="T42" fmla="*/ 3 w 48"/>
                <a:gd name="T43" fmla="*/ 10 h 35"/>
                <a:gd name="T44" fmla="*/ 7 w 48"/>
                <a:gd name="T45" fmla="*/ 6 h 35"/>
                <a:gd name="T46" fmla="*/ 10 w 48"/>
                <a:gd name="T47" fmla="*/ 6 h 35"/>
                <a:gd name="T48" fmla="*/ 14 w 48"/>
                <a:gd name="T49" fmla="*/ 3 h 35"/>
                <a:gd name="T50" fmla="*/ 21 w 48"/>
                <a:gd name="T51" fmla="*/ 0 h 35"/>
                <a:gd name="T52" fmla="*/ 24 w 48"/>
                <a:gd name="T53" fmla="*/ 3 h 35"/>
                <a:gd name="T54" fmla="*/ 31 w 48"/>
                <a:gd name="T55" fmla="*/ 0 h 35"/>
                <a:gd name="T56" fmla="*/ 34 w 48"/>
                <a:gd name="T5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" h="35">
                  <a:moveTo>
                    <a:pt x="34" y="0"/>
                  </a:moveTo>
                  <a:lnTo>
                    <a:pt x="41" y="6"/>
                  </a:lnTo>
                  <a:lnTo>
                    <a:pt x="45" y="13"/>
                  </a:lnTo>
                  <a:lnTo>
                    <a:pt x="48" y="16"/>
                  </a:lnTo>
                  <a:lnTo>
                    <a:pt x="48" y="19"/>
                  </a:lnTo>
                  <a:lnTo>
                    <a:pt x="45" y="22"/>
                  </a:lnTo>
                  <a:lnTo>
                    <a:pt x="41" y="22"/>
                  </a:lnTo>
                  <a:lnTo>
                    <a:pt x="38" y="26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4" y="29"/>
                  </a:lnTo>
                  <a:lnTo>
                    <a:pt x="17" y="29"/>
                  </a:lnTo>
                  <a:lnTo>
                    <a:pt x="10" y="32"/>
                  </a:lnTo>
                  <a:lnTo>
                    <a:pt x="10" y="35"/>
                  </a:lnTo>
                  <a:lnTo>
                    <a:pt x="7" y="32"/>
                  </a:lnTo>
                  <a:lnTo>
                    <a:pt x="3" y="29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7" y="6"/>
                  </a:lnTo>
                  <a:lnTo>
                    <a:pt x="10" y="6"/>
                  </a:lnTo>
                  <a:lnTo>
                    <a:pt x="14" y="3"/>
                  </a:lnTo>
                  <a:lnTo>
                    <a:pt x="21" y="0"/>
                  </a:lnTo>
                  <a:lnTo>
                    <a:pt x="24" y="3"/>
                  </a:lnTo>
                  <a:lnTo>
                    <a:pt x="31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2" name="Freeform 53"/>
            <p:cNvSpPr>
              <a:spLocks/>
            </p:cNvSpPr>
            <p:nvPr/>
          </p:nvSpPr>
          <p:spPr bwMode="auto">
            <a:xfrm>
              <a:off x="6818313" y="3437592"/>
              <a:ext cx="53975" cy="92075"/>
            </a:xfrm>
            <a:custGeom>
              <a:avLst/>
              <a:gdLst>
                <a:gd name="T0" fmla="*/ 24 w 34"/>
                <a:gd name="T1" fmla="*/ 16 h 58"/>
                <a:gd name="T2" fmla="*/ 24 w 34"/>
                <a:gd name="T3" fmla="*/ 19 h 58"/>
                <a:gd name="T4" fmla="*/ 24 w 34"/>
                <a:gd name="T5" fmla="*/ 25 h 58"/>
                <a:gd name="T6" fmla="*/ 27 w 34"/>
                <a:gd name="T7" fmla="*/ 32 h 58"/>
                <a:gd name="T8" fmla="*/ 31 w 34"/>
                <a:gd name="T9" fmla="*/ 35 h 58"/>
                <a:gd name="T10" fmla="*/ 34 w 34"/>
                <a:gd name="T11" fmla="*/ 38 h 58"/>
                <a:gd name="T12" fmla="*/ 34 w 34"/>
                <a:gd name="T13" fmla="*/ 42 h 58"/>
                <a:gd name="T14" fmla="*/ 31 w 34"/>
                <a:gd name="T15" fmla="*/ 45 h 58"/>
                <a:gd name="T16" fmla="*/ 24 w 34"/>
                <a:gd name="T17" fmla="*/ 48 h 58"/>
                <a:gd name="T18" fmla="*/ 24 w 34"/>
                <a:gd name="T19" fmla="*/ 51 h 58"/>
                <a:gd name="T20" fmla="*/ 20 w 34"/>
                <a:gd name="T21" fmla="*/ 58 h 58"/>
                <a:gd name="T22" fmla="*/ 17 w 34"/>
                <a:gd name="T23" fmla="*/ 58 h 58"/>
                <a:gd name="T24" fmla="*/ 14 w 34"/>
                <a:gd name="T25" fmla="*/ 55 h 58"/>
                <a:gd name="T26" fmla="*/ 10 w 34"/>
                <a:gd name="T27" fmla="*/ 48 h 58"/>
                <a:gd name="T28" fmla="*/ 3 w 34"/>
                <a:gd name="T29" fmla="*/ 48 h 58"/>
                <a:gd name="T30" fmla="*/ 0 w 34"/>
                <a:gd name="T31" fmla="*/ 45 h 58"/>
                <a:gd name="T32" fmla="*/ 3 w 34"/>
                <a:gd name="T33" fmla="*/ 42 h 58"/>
                <a:gd name="T34" fmla="*/ 0 w 34"/>
                <a:gd name="T35" fmla="*/ 38 h 58"/>
                <a:gd name="T36" fmla="*/ 0 w 34"/>
                <a:gd name="T37" fmla="*/ 35 h 58"/>
                <a:gd name="T38" fmla="*/ 3 w 34"/>
                <a:gd name="T39" fmla="*/ 32 h 58"/>
                <a:gd name="T40" fmla="*/ 0 w 34"/>
                <a:gd name="T41" fmla="*/ 25 h 58"/>
                <a:gd name="T42" fmla="*/ 3 w 34"/>
                <a:gd name="T43" fmla="*/ 19 h 58"/>
                <a:gd name="T44" fmla="*/ 3 w 34"/>
                <a:gd name="T45" fmla="*/ 19 h 58"/>
                <a:gd name="T46" fmla="*/ 3 w 34"/>
                <a:gd name="T47" fmla="*/ 16 h 58"/>
                <a:gd name="T48" fmla="*/ 0 w 34"/>
                <a:gd name="T49" fmla="*/ 13 h 58"/>
                <a:gd name="T50" fmla="*/ 0 w 34"/>
                <a:gd name="T51" fmla="*/ 9 h 58"/>
                <a:gd name="T52" fmla="*/ 0 w 34"/>
                <a:gd name="T53" fmla="*/ 3 h 58"/>
                <a:gd name="T54" fmla="*/ 7 w 34"/>
                <a:gd name="T55" fmla="*/ 0 h 58"/>
                <a:gd name="T56" fmla="*/ 7 w 34"/>
                <a:gd name="T57" fmla="*/ 0 h 58"/>
                <a:gd name="T58" fmla="*/ 10 w 34"/>
                <a:gd name="T59" fmla="*/ 3 h 58"/>
                <a:gd name="T60" fmla="*/ 14 w 34"/>
                <a:gd name="T61" fmla="*/ 0 h 58"/>
                <a:gd name="T62" fmla="*/ 14 w 34"/>
                <a:gd name="T63" fmla="*/ 0 h 58"/>
                <a:gd name="T64" fmla="*/ 14 w 34"/>
                <a:gd name="T65" fmla="*/ 0 h 58"/>
                <a:gd name="T66" fmla="*/ 17 w 34"/>
                <a:gd name="T67" fmla="*/ 3 h 58"/>
                <a:gd name="T68" fmla="*/ 17 w 34"/>
                <a:gd name="T69" fmla="*/ 3 h 58"/>
                <a:gd name="T70" fmla="*/ 24 w 34"/>
                <a:gd name="T71" fmla="*/ 6 h 58"/>
                <a:gd name="T72" fmla="*/ 24 w 34"/>
                <a:gd name="T73" fmla="*/ 9 h 58"/>
                <a:gd name="T74" fmla="*/ 24 w 34"/>
                <a:gd name="T75" fmla="*/ 13 h 58"/>
                <a:gd name="T76" fmla="*/ 24 w 34"/>
                <a:gd name="T77" fmla="*/ 1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" h="58">
                  <a:moveTo>
                    <a:pt x="24" y="16"/>
                  </a:moveTo>
                  <a:lnTo>
                    <a:pt x="24" y="19"/>
                  </a:lnTo>
                  <a:lnTo>
                    <a:pt x="24" y="25"/>
                  </a:lnTo>
                  <a:lnTo>
                    <a:pt x="27" y="32"/>
                  </a:lnTo>
                  <a:lnTo>
                    <a:pt x="31" y="35"/>
                  </a:lnTo>
                  <a:lnTo>
                    <a:pt x="34" y="38"/>
                  </a:lnTo>
                  <a:lnTo>
                    <a:pt x="34" y="42"/>
                  </a:lnTo>
                  <a:lnTo>
                    <a:pt x="31" y="45"/>
                  </a:lnTo>
                  <a:lnTo>
                    <a:pt x="24" y="48"/>
                  </a:lnTo>
                  <a:lnTo>
                    <a:pt x="24" y="51"/>
                  </a:lnTo>
                  <a:lnTo>
                    <a:pt x="20" y="58"/>
                  </a:lnTo>
                  <a:lnTo>
                    <a:pt x="17" y="58"/>
                  </a:lnTo>
                  <a:lnTo>
                    <a:pt x="14" y="55"/>
                  </a:lnTo>
                  <a:lnTo>
                    <a:pt x="10" y="48"/>
                  </a:lnTo>
                  <a:lnTo>
                    <a:pt x="3" y="48"/>
                  </a:lnTo>
                  <a:lnTo>
                    <a:pt x="0" y="45"/>
                  </a:lnTo>
                  <a:lnTo>
                    <a:pt x="3" y="42"/>
                  </a:lnTo>
                  <a:lnTo>
                    <a:pt x="0" y="38"/>
                  </a:lnTo>
                  <a:lnTo>
                    <a:pt x="0" y="35"/>
                  </a:lnTo>
                  <a:lnTo>
                    <a:pt x="3" y="32"/>
                  </a:lnTo>
                  <a:lnTo>
                    <a:pt x="0" y="25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6"/>
                  </a:lnTo>
                  <a:lnTo>
                    <a:pt x="0" y="13"/>
                  </a:lnTo>
                  <a:lnTo>
                    <a:pt x="0" y="9"/>
                  </a:lnTo>
                  <a:lnTo>
                    <a:pt x="0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10" y="3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24" y="6"/>
                  </a:lnTo>
                  <a:lnTo>
                    <a:pt x="24" y="9"/>
                  </a:lnTo>
                  <a:lnTo>
                    <a:pt x="24" y="13"/>
                  </a:lnTo>
                  <a:lnTo>
                    <a:pt x="2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3" name="Freeform 54"/>
            <p:cNvSpPr>
              <a:spLocks/>
            </p:cNvSpPr>
            <p:nvPr/>
          </p:nvSpPr>
          <p:spPr bwMode="auto">
            <a:xfrm>
              <a:off x="6796088" y="3318530"/>
              <a:ext cx="125413" cy="144462"/>
            </a:xfrm>
            <a:custGeom>
              <a:avLst/>
              <a:gdLst>
                <a:gd name="T0" fmla="*/ 3 w 79"/>
                <a:gd name="T1" fmla="*/ 7 h 91"/>
                <a:gd name="T2" fmla="*/ 10 w 79"/>
                <a:gd name="T3" fmla="*/ 7 h 91"/>
                <a:gd name="T4" fmla="*/ 14 w 79"/>
                <a:gd name="T5" fmla="*/ 0 h 91"/>
                <a:gd name="T6" fmla="*/ 21 w 79"/>
                <a:gd name="T7" fmla="*/ 4 h 91"/>
                <a:gd name="T8" fmla="*/ 31 w 79"/>
                <a:gd name="T9" fmla="*/ 7 h 91"/>
                <a:gd name="T10" fmla="*/ 38 w 79"/>
                <a:gd name="T11" fmla="*/ 16 h 91"/>
                <a:gd name="T12" fmla="*/ 48 w 79"/>
                <a:gd name="T13" fmla="*/ 23 h 91"/>
                <a:gd name="T14" fmla="*/ 45 w 79"/>
                <a:gd name="T15" fmla="*/ 26 h 91"/>
                <a:gd name="T16" fmla="*/ 55 w 79"/>
                <a:gd name="T17" fmla="*/ 33 h 91"/>
                <a:gd name="T18" fmla="*/ 62 w 79"/>
                <a:gd name="T19" fmla="*/ 33 h 91"/>
                <a:gd name="T20" fmla="*/ 72 w 79"/>
                <a:gd name="T21" fmla="*/ 29 h 91"/>
                <a:gd name="T22" fmla="*/ 69 w 79"/>
                <a:gd name="T23" fmla="*/ 36 h 91"/>
                <a:gd name="T24" fmla="*/ 69 w 79"/>
                <a:gd name="T25" fmla="*/ 46 h 91"/>
                <a:gd name="T26" fmla="*/ 76 w 79"/>
                <a:gd name="T27" fmla="*/ 55 h 91"/>
                <a:gd name="T28" fmla="*/ 76 w 79"/>
                <a:gd name="T29" fmla="*/ 65 h 91"/>
                <a:gd name="T30" fmla="*/ 69 w 79"/>
                <a:gd name="T31" fmla="*/ 71 h 91"/>
                <a:gd name="T32" fmla="*/ 72 w 79"/>
                <a:gd name="T33" fmla="*/ 78 h 91"/>
                <a:gd name="T34" fmla="*/ 62 w 79"/>
                <a:gd name="T35" fmla="*/ 81 h 91"/>
                <a:gd name="T36" fmla="*/ 52 w 79"/>
                <a:gd name="T37" fmla="*/ 81 h 91"/>
                <a:gd name="T38" fmla="*/ 45 w 79"/>
                <a:gd name="T39" fmla="*/ 84 h 91"/>
                <a:gd name="T40" fmla="*/ 41 w 79"/>
                <a:gd name="T41" fmla="*/ 88 h 91"/>
                <a:gd name="T42" fmla="*/ 38 w 79"/>
                <a:gd name="T43" fmla="*/ 88 h 91"/>
                <a:gd name="T44" fmla="*/ 38 w 79"/>
                <a:gd name="T45" fmla="*/ 81 h 91"/>
                <a:gd name="T46" fmla="*/ 31 w 79"/>
                <a:gd name="T47" fmla="*/ 78 h 91"/>
                <a:gd name="T48" fmla="*/ 28 w 79"/>
                <a:gd name="T49" fmla="*/ 75 h 91"/>
                <a:gd name="T50" fmla="*/ 31 w 79"/>
                <a:gd name="T51" fmla="*/ 68 h 91"/>
                <a:gd name="T52" fmla="*/ 24 w 79"/>
                <a:gd name="T53" fmla="*/ 65 h 91"/>
                <a:gd name="T54" fmla="*/ 17 w 79"/>
                <a:gd name="T55" fmla="*/ 62 h 91"/>
                <a:gd name="T56" fmla="*/ 17 w 79"/>
                <a:gd name="T57" fmla="*/ 58 h 91"/>
                <a:gd name="T58" fmla="*/ 14 w 79"/>
                <a:gd name="T59" fmla="*/ 55 h 91"/>
                <a:gd name="T60" fmla="*/ 7 w 79"/>
                <a:gd name="T61" fmla="*/ 46 h 91"/>
                <a:gd name="T62" fmla="*/ 14 w 79"/>
                <a:gd name="T63" fmla="*/ 46 h 91"/>
                <a:gd name="T64" fmla="*/ 14 w 79"/>
                <a:gd name="T65" fmla="*/ 42 h 91"/>
                <a:gd name="T66" fmla="*/ 3 w 79"/>
                <a:gd name="T67" fmla="*/ 39 h 91"/>
                <a:gd name="T68" fmla="*/ 7 w 79"/>
                <a:gd name="T69" fmla="*/ 33 h 91"/>
                <a:gd name="T70" fmla="*/ 7 w 79"/>
                <a:gd name="T71" fmla="*/ 26 h 91"/>
                <a:gd name="T72" fmla="*/ 3 w 79"/>
                <a:gd name="T73" fmla="*/ 26 h 91"/>
                <a:gd name="T74" fmla="*/ 7 w 79"/>
                <a:gd name="T75" fmla="*/ 23 h 91"/>
                <a:gd name="T76" fmla="*/ 7 w 79"/>
                <a:gd name="T77" fmla="*/ 23 h 91"/>
                <a:gd name="T78" fmla="*/ 3 w 79"/>
                <a:gd name="T79" fmla="*/ 20 h 91"/>
                <a:gd name="T80" fmla="*/ 0 w 79"/>
                <a:gd name="T81" fmla="*/ 1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9" h="91">
                  <a:moveTo>
                    <a:pt x="0" y="10"/>
                  </a:moveTo>
                  <a:lnTo>
                    <a:pt x="3" y="7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0" y="4"/>
                  </a:lnTo>
                  <a:lnTo>
                    <a:pt x="14" y="0"/>
                  </a:lnTo>
                  <a:lnTo>
                    <a:pt x="17" y="4"/>
                  </a:lnTo>
                  <a:lnTo>
                    <a:pt x="21" y="4"/>
                  </a:lnTo>
                  <a:lnTo>
                    <a:pt x="28" y="4"/>
                  </a:lnTo>
                  <a:lnTo>
                    <a:pt x="31" y="7"/>
                  </a:lnTo>
                  <a:lnTo>
                    <a:pt x="34" y="13"/>
                  </a:lnTo>
                  <a:lnTo>
                    <a:pt x="38" y="16"/>
                  </a:lnTo>
                  <a:lnTo>
                    <a:pt x="41" y="20"/>
                  </a:lnTo>
                  <a:lnTo>
                    <a:pt x="48" y="23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52" y="29"/>
                  </a:lnTo>
                  <a:lnTo>
                    <a:pt x="55" y="33"/>
                  </a:lnTo>
                  <a:lnTo>
                    <a:pt x="59" y="29"/>
                  </a:lnTo>
                  <a:lnTo>
                    <a:pt x="62" y="33"/>
                  </a:lnTo>
                  <a:lnTo>
                    <a:pt x="65" y="29"/>
                  </a:lnTo>
                  <a:lnTo>
                    <a:pt x="72" y="29"/>
                  </a:lnTo>
                  <a:lnTo>
                    <a:pt x="69" y="33"/>
                  </a:lnTo>
                  <a:lnTo>
                    <a:pt x="69" y="36"/>
                  </a:lnTo>
                  <a:lnTo>
                    <a:pt x="72" y="42"/>
                  </a:lnTo>
                  <a:lnTo>
                    <a:pt x="69" y="46"/>
                  </a:lnTo>
                  <a:lnTo>
                    <a:pt x="69" y="52"/>
                  </a:lnTo>
                  <a:lnTo>
                    <a:pt x="76" y="55"/>
                  </a:lnTo>
                  <a:lnTo>
                    <a:pt x="79" y="62"/>
                  </a:lnTo>
                  <a:lnTo>
                    <a:pt x="76" y="65"/>
                  </a:lnTo>
                  <a:lnTo>
                    <a:pt x="69" y="68"/>
                  </a:lnTo>
                  <a:lnTo>
                    <a:pt x="69" y="71"/>
                  </a:lnTo>
                  <a:lnTo>
                    <a:pt x="72" y="75"/>
                  </a:lnTo>
                  <a:lnTo>
                    <a:pt x="72" y="78"/>
                  </a:lnTo>
                  <a:lnTo>
                    <a:pt x="69" y="78"/>
                  </a:lnTo>
                  <a:lnTo>
                    <a:pt x="62" y="81"/>
                  </a:lnTo>
                  <a:lnTo>
                    <a:pt x="59" y="78"/>
                  </a:lnTo>
                  <a:lnTo>
                    <a:pt x="52" y="81"/>
                  </a:lnTo>
                  <a:lnTo>
                    <a:pt x="48" y="84"/>
                  </a:lnTo>
                  <a:lnTo>
                    <a:pt x="45" y="84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38" y="91"/>
                  </a:lnTo>
                  <a:lnTo>
                    <a:pt x="38" y="88"/>
                  </a:lnTo>
                  <a:lnTo>
                    <a:pt x="38" y="84"/>
                  </a:lnTo>
                  <a:lnTo>
                    <a:pt x="38" y="81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31" y="68"/>
                  </a:lnTo>
                  <a:lnTo>
                    <a:pt x="31" y="65"/>
                  </a:lnTo>
                  <a:lnTo>
                    <a:pt x="24" y="65"/>
                  </a:lnTo>
                  <a:lnTo>
                    <a:pt x="21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58"/>
                  </a:lnTo>
                  <a:lnTo>
                    <a:pt x="10" y="55"/>
                  </a:lnTo>
                  <a:lnTo>
                    <a:pt x="14" y="55"/>
                  </a:lnTo>
                  <a:lnTo>
                    <a:pt x="7" y="49"/>
                  </a:lnTo>
                  <a:lnTo>
                    <a:pt x="7" y="46"/>
                  </a:lnTo>
                  <a:lnTo>
                    <a:pt x="10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2"/>
                  </a:lnTo>
                  <a:lnTo>
                    <a:pt x="10" y="42"/>
                  </a:lnTo>
                  <a:lnTo>
                    <a:pt x="3" y="39"/>
                  </a:lnTo>
                  <a:lnTo>
                    <a:pt x="3" y="36"/>
                  </a:lnTo>
                  <a:lnTo>
                    <a:pt x="7" y="33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3" y="29"/>
                  </a:lnTo>
                  <a:lnTo>
                    <a:pt x="3" y="26"/>
                  </a:lnTo>
                  <a:lnTo>
                    <a:pt x="3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6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4" name="Freeform 55"/>
            <p:cNvSpPr>
              <a:spLocks/>
            </p:cNvSpPr>
            <p:nvPr/>
          </p:nvSpPr>
          <p:spPr bwMode="auto">
            <a:xfrm>
              <a:off x="6791326" y="3401080"/>
              <a:ext cx="53975" cy="57150"/>
            </a:xfrm>
            <a:custGeom>
              <a:avLst/>
              <a:gdLst>
                <a:gd name="T0" fmla="*/ 17 w 34"/>
                <a:gd name="T1" fmla="*/ 36 h 36"/>
                <a:gd name="T2" fmla="*/ 17 w 34"/>
                <a:gd name="T3" fmla="*/ 32 h 36"/>
                <a:gd name="T4" fmla="*/ 17 w 34"/>
                <a:gd name="T5" fmla="*/ 26 h 36"/>
                <a:gd name="T6" fmla="*/ 24 w 34"/>
                <a:gd name="T7" fmla="*/ 23 h 36"/>
                <a:gd name="T8" fmla="*/ 24 w 34"/>
                <a:gd name="T9" fmla="*/ 23 h 36"/>
                <a:gd name="T10" fmla="*/ 27 w 34"/>
                <a:gd name="T11" fmla="*/ 26 h 36"/>
                <a:gd name="T12" fmla="*/ 31 w 34"/>
                <a:gd name="T13" fmla="*/ 23 h 36"/>
                <a:gd name="T14" fmla="*/ 31 w 34"/>
                <a:gd name="T15" fmla="*/ 19 h 36"/>
                <a:gd name="T16" fmla="*/ 34 w 34"/>
                <a:gd name="T17" fmla="*/ 16 h 36"/>
                <a:gd name="T18" fmla="*/ 34 w 34"/>
                <a:gd name="T19" fmla="*/ 13 h 36"/>
                <a:gd name="T20" fmla="*/ 27 w 34"/>
                <a:gd name="T21" fmla="*/ 13 h 36"/>
                <a:gd name="T22" fmla="*/ 24 w 34"/>
                <a:gd name="T23" fmla="*/ 10 h 36"/>
                <a:gd name="T24" fmla="*/ 20 w 34"/>
                <a:gd name="T25" fmla="*/ 10 h 36"/>
                <a:gd name="T26" fmla="*/ 20 w 34"/>
                <a:gd name="T27" fmla="*/ 10 h 36"/>
                <a:gd name="T28" fmla="*/ 20 w 34"/>
                <a:gd name="T29" fmla="*/ 6 h 36"/>
                <a:gd name="T30" fmla="*/ 13 w 34"/>
                <a:gd name="T31" fmla="*/ 3 h 36"/>
                <a:gd name="T32" fmla="*/ 13 w 34"/>
                <a:gd name="T33" fmla="*/ 3 h 36"/>
                <a:gd name="T34" fmla="*/ 10 w 34"/>
                <a:gd name="T35" fmla="*/ 3 h 36"/>
                <a:gd name="T36" fmla="*/ 6 w 34"/>
                <a:gd name="T37" fmla="*/ 0 h 36"/>
                <a:gd name="T38" fmla="*/ 3 w 34"/>
                <a:gd name="T39" fmla="*/ 0 h 36"/>
                <a:gd name="T40" fmla="*/ 6 w 34"/>
                <a:gd name="T41" fmla="*/ 3 h 36"/>
                <a:gd name="T42" fmla="*/ 10 w 34"/>
                <a:gd name="T43" fmla="*/ 6 h 36"/>
                <a:gd name="T44" fmla="*/ 10 w 34"/>
                <a:gd name="T45" fmla="*/ 10 h 36"/>
                <a:gd name="T46" fmla="*/ 6 w 34"/>
                <a:gd name="T47" fmla="*/ 10 h 36"/>
                <a:gd name="T48" fmla="*/ 3 w 34"/>
                <a:gd name="T49" fmla="*/ 10 h 36"/>
                <a:gd name="T50" fmla="*/ 3 w 34"/>
                <a:gd name="T51" fmla="*/ 13 h 36"/>
                <a:gd name="T52" fmla="*/ 3 w 34"/>
                <a:gd name="T53" fmla="*/ 16 h 36"/>
                <a:gd name="T54" fmla="*/ 0 w 34"/>
                <a:gd name="T55" fmla="*/ 23 h 36"/>
                <a:gd name="T56" fmla="*/ 0 w 34"/>
                <a:gd name="T57" fmla="*/ 23 h 36"/>
                <a:gd name="T58" fmla="*/ 0 w 34"/>
                <a:gd name="T59" fmla="*/ 23 h 36"/>
                <a:gd name="T60" fmla="*/ 3 w 34"/>
                <a:gd name="T61" fmla="*/ 26 h 36"/>
                <a:gd name="T62" fmla="*/ 10 w 34"/>
                <a:gd name="T63" fmla="*/ 32 h 36"/>
                <a:gd name="T64" fmla="*/ 10 w 34"/>
                <a:gd name="T65" fmla="*/ 36 h 36"/>
                <a:gd name="T66" fmla="*/ 17 w 34"/>
                <a:gd name="T6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36">
                  <a:moveTo>
                    <a:pt x="17" y="36"/>
                  </a:moveTo>
                  <a:lnTo>
                    <a:pt x="17" y="32"/>
                  </a:lnTo>
                  <a:lnTo>
                    <a:pt x="17" y="26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7" y="26"/>
                  </a:lnTo>
                  <a:lnTo>
                    <a:pt x="31" y="23"/>
                  </a:lnTo>
                  <a:lnTo>
                    <a:pt x="31" y="19"/>
                  </a:lnTo>
                  <a:lnTo>
                    <a:pt x="34" y="16"/>
                  </a:lnTo>
                  <a:lnTo>
                    <a:pt x="34" y="13"/>
                  </a:lnTo>
                  <a:lnTo>
                    <a:pt x="27" y="13"/>
                  </a:lnTo>
                  <a:lnTo>
                    <a:pt x="24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6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6" y="3"/>
                  </a:lnTo>
                  <a:lnTo>
                    <a:pt x="10" y="6"/>
                  </a:lnTo>
                  <a:lnTo>
                    <a:pt x="10" y="10"/>
                  </a:lnTo>
                  <a:lnTo>
                    <a:pt x="6" y="10"/>
                  </a:lnTo>
                  <a:lnTo>
                    <a:pt x="3" y="10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3" y="26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7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5" name="Freeform 56"/>
            <p:cNvSpPr>
              <a:spLocks noEditPoints="1"/>
            </p:cNvSpPr>
            <p:nvPr/>
          </p:nvSpPr>
          <p:spPr bwMode="auto">
            <a:xfrm>
              <a:off x="6643688" y="3318530"/>
              <a:ext cx="163513" cy="107950"/>
            </a:xfrm>
            <a:custGeom>
              <a:avLst/>
              <a:gdLst>
                <a:gd name="T0" fmla="*/ 103 w 103"/>
                <a:gd name="T1" fmla="*/ 23 h 68"/>
                <a:gd name="T2" fmla="*/ 99 w 103"/>
                <a:gd name="T3" fmla="*/ 20 h 68"/>
                <a:gd name="T4" fmla="*/ 96 w 103"/>
                <a:gd name="T5" fmla="*/ 10 h 68"/>
                <a:gd name="T6" fmla="*/ 82 w 103"/>
                <a:gd name="T7" fmla="*/ 10 h 68"/>
                <a:gd name="T8" fmla="*/ 65 w 103"/>
                <a:gd name="T9" fmla="*/ 7 h 68"/>
                <a:gd name="T10" fmla="*/ 55 w 103"/>
                <a:gd name="T11" fmla="*/ 0 h 68"/>
                <a:gd name="T12" fmla="*/ 34 w 103"/>
                <a:gd name="T13" fmla="*/ 10 h 68"/>
                <a:gd name="T14" fmla="*/ 24 w 103"/>
                <a:gd name="T15" fmla="*/ 16 h 68"/>
                <a:gd name="T16" fmla="*/ 7 w 103"/>
                <a:gd name="T17" fmla="*/ 20 h 68"/>
                <a:gd name="T18" fmla="*/ 0 w 103"/>
                <a:gd name="T19" fmla="*/ 26 h 68"/>
                <a:gd name="T20" fmla="*/ 7 w 103"/>
                <a:gd name="T21" fmla="*/ 33 h 68"/>
                <a:gd name="T22" fmla="*/ 13 w 103"/>
                <a:gd name="T23" fmla="*/ 20 h 68"/>
                <a:gd name="T24" fmla="*/ 24 w 103"/>
                <a:gd name="T25" fmla="*/ 26 h 68"/>
                <a:gd name="T26" fmla="*/ 34 w 103"/>
                <a:gd name="T27" fmla="*/ 39 h 68"/>
                <a:gd name="T28" fmla="*/ 34 w 103"/>
                <a:gd name="T29" fmla="*/ 42 h 68"/>
                <a:gd name="T30" fmla="*/ 34 w 103"/>
                <a:gd name="T31" fmla="*/ 49 h 68"/>
                <a:gd name="T32" fmla="*/ 44 w 103"/>
                <a:gd name="T33" fmla="*/ 52 h 68"/>
                <a:gd name="T34" fmla="*/ 55 w 103"/>
                <a:gd name="T35" fmla="*/ 55 h 68"/>
                <a:gd name="T36" fmla="*/ 75 w 103"/>
                <a:gd name="T37" fmla="*/ 68 h 68"/>
                <a:gd name="T38" fmla="*/ 72 w 103"/>
                <a:gd name="T39" fmla="*/ 68 h 68"/>
                <a:gd name="T40" fmla="*/ 75 w 103"/>
                <a:gd name="T41" fmla="*/ 65 h 68"/>
                <a:gd name="T42" fmla="*/ 48 w 103"/>
                <a:gd name="T43" fmla="*/ 39 h 68"/>
                <a:gd name="T44" fmla="*/ 44 w 103"/>
                <a:gd name="T45" fmla="*/ 33 h 68"/>
                <a:gd name="T46" fmla="*/ 38 w 103"/>
                <a:gd name="T47" fmla="*/ 26 h 68"/>
                <a:gd name="T48" fmla="*/ 41 w 103"/>
                <a:gd name="T49" fmla="*/ 20 h 68"/>
                <a:gd name="T50" fmla="*/ 51 w 103"/>
                <a:gd name="T51" fmla="*/ 23 h 68"/>
                <a:gd name="T52" fmla="*/ 55 w 103"/>
                <a:gd name="T53" fmla="*/ 23 h 68"/>
                <a:gd name="T54" fmla="*/ 62 w 103"/>
                <a:gd name="T55" fmla="*/ 20 h 68"/>
                <a:gd name="T56" fmla="*/ 69 w 103"/>
                <a:gd name="T57" fmla="*/ 23 h 68"/>
                <a:gd name="T58" fmla="*/ 79 w 103"/>
                <a:gd name="T59" fmla="*/ 23 h 68"/>
                <a:gd name="T60" fmla="*/ 89 w 103"/>
                <a:gd name="T61" fmla="*/ 23 h 68"/>
                <a:gd name="T62" fmla="*/ 99 w 103"/>
                <a:gd name="T63" fmla="*/ 26 h 68"/>
                <a:gd name="T64" fmla="*/ 58 w 103"/>
                <a:gd name="T65" fmla="*/ 65 h 68"/>
                <a:gd name="T66" fmla="*/ 62 w 103"/>
                <a:gd name="T67" fmla="*/ 68 h 68"/>
                <a:gd name="T68" fmla="*/ 55 w 103"/>
                <a:gd name="T69" fmla="*/ 62 h 68"/>
                <a:gd name="T70" fmla="*/ 55 w 103"/>
                <a:gd name="T71" fmla="*/ 62 h 68"/>
                <a:gd name="T72" fmla="*/ 62 w 103"/>
                <a:gd name="T73" fmla="*/ 58 h 68"/>
                <a:gd name="T74" fmla="*/ 58 w 103"/>
                <a:gd name="T75" fmla="*/ 62 h 68"/>
                <a:gd name="T76" fmla="*/ 27 w 103"/>
                <a:gd name="T77" fmla="*/ 39 h 68"/>
                <a:gd name="T78" fmla="*/ 31 w 103"/>
                <a:gd name="T79" fmla="*/ 42 h 68"/>
                <a:gd name="T80" fmla="*/ 24 w 103"/>
                <a:gd name="T81" fmla="*/ 33 h 68"/>
                <a:gd name="T82" fmla="*/ 24 w 103"/>
                <a:gd name="T83" fmla="*/ 33 h 68"/>
                <a:gd name="T84" fmla="*/ 31 w 103"/>
                <a:gd name="T85" fmla="*/ 46 h 68"/>
                <a:gd name="T86" fmla="*/ 24 w 103"/>
                <a:gd name="T87" fmla="*/ 42 h 68"/>
                <a:gd name="T88" fmla="*/ 24 w 103"/>
                <a:gd name="T89" fmla="*/ 42 h 68"/>
                <a:gd name="T90" fmla="*/ 13 w 103"/>
                <a:gd name="T91" fmla="*/ 29 h 68"/>
                <a:gd name="T92" fmla="*/ 17 w 103"/>
                <a:gd name="T93" fmla="*/ 36 h 68"/>
                <a:gd name="T94" fmla="*/ 13 w 103"/>
                <a:gd name="T95" fmla="*/ 29 h 68"/>
                <a:gd name="T96" fmla="*/ 24 w 103"/>
                <a:gd name="T97" fmla="*/ 29 h 68"/>
                <a:gd name="T98" fmla="*/ 13 w 103"/>
                <a:gd name="T99" fmla="*/ 29 h 68"/>
                <a:gd name="T100" fmla="*/ 17 w 103"/>
                <a:gd name="T101" fmla="*/ 2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3" h="68">
                  <a:moveTo>
                    <a:pt x="99" y="26"/>
                  </a:moveTo>
                  <a:lnTo>
                    <a:pt x="99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9" y="16"/>
                  </a:lnTo>
                  <a:lnTo>
                    <a:pt x="96" y="10"/>
                  </a:lnTo>
                  <a:lnTo>
                    <a:pt x="93" y="10"/>
                  </a:lnTo>
                  <a:lnTo>
                    <a:pt x="89" y="13"/>
                  </a:lnTo>
                  <a:lnTo>
                    <a:pt x="82" y="10"/>
                  </a:lnTo>
                  <a:lnTo>
                    <a:pt x="72" y="10"/>
                  </a:lnTo>
                  <a:lnTo>
                    <a:pt x="69" y="7"/>
                  </a:lnTo>
                  <a:lnTo>
                    <a:pt x="65" y="7"/>
                  </a:lnTo>
                  <a:lnTo>
                    <a:pt x="58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44" y="0"/>
                  </a:lnTo>
                  <a:lnTo>
                    <a:pt x="34" y="4"/>
                  </a:lnTo>
                  <a:lnTo>
                    <a:pt x="34" y="10"/>
                  </a:lnTo>
                  <a:lnTo>
                    <a:pt x="27" y="13"/>
                  </a:lnTo>
                  <a:lnTo>
                    <a:pt x="27" y="16"/>
                  </a:lnTo>
                  <a:lnTo>
                    <a:pt x="24" y="16"/>
                  </a:lnTo>
                  <a:lnTo>
                    <a:pt x="13" y="13"/>
                  </a:lnTo>
                  <a:lnTo>
                    <a:pt x="10" y="16"/>
                  </a:lnTo>
                  <a:lnTo>
                    <a:pt x="7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7" y="33"/>
                  </a:lnTo>
                  <a:lnTo>
                    <a:pt x="10" y="26"/>
                  </a:lnTo>
                  <a:lnTo>
                    <a:pt x="10" y="23"/>
                  </a:lnTo>
                  <a:lnTo>
                    <a:pt x="13" y="20"/>
                  </a:lnTo>
                  <a:lnTo>
                    <a:pt x="20" y="20"/>
                  </a:lnTo>
                  <a:lnTo>
                    <a:pt x="20" y="23"/>
                  </a:lnTo>
                  <a:lnTo>
                    <a:pt x="24" y="26"/>
                  </a:lnTo>
                  <a:lnTo>
                    <a:pt x="24" y="29"/>
                  </a:lnTo>
                  <a:lnTo>
                    <a:pt x="27" y="36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8" y="42"/>
                  </a:lnTo>
                  <a:lnTo>
                    <a:pt x="34" y="42"/>
                  </a:lnTo>
                  <a:lnTo>
                    <a:pt x="31" y="42"/>
                  </a:lnTo>
                  <a:lnTo>
                    <a:pt x="31" y="46"/>
                  </a:lnTo>
                  <a:lnTo>
                    <a:pt x="34" y="49"/>
                  </a:lnTo>
                  <a:lnTo>
                    <a:pt x="38" y="49"/>
                  </a:lnTo>
                  <a:lnTo>
                    <a:pt x="41" y="52"/>
                  </a:lnTo>
                  <a:lnTo>
                    <a:pt x="44" y="52"/>
                  </a:lnTo>
                  <a:lnTo>
                    <a:pt x="48" y="55"/>
                  </a:lnTo>
                  <a:lnTo>
                    <a:pt x="48" y="58"/>
                  </a:lnTo>
                  <a:lnTo>
                    <a:pt x="55" y="55"/>
                  </a:lnTo>
                  <a:lnTo>
                    <a:pt x="62" y="55"/>
                  </a:lnTo>
                  <a:lnTo>
                    <a:pt x="65" y="58"/>
                  </a:lnTo>
                  <a:lnTo>
                    <a:pt x="75" y="68"/>
                  </a:lnTo>
                  <a:lnTo>
                    <a:pt x="72" y="68"/>
                  </a:lnTo>
                  <a:lnTo>
                    <a:pt x="69" y="65"/>
                  </a:lnTo>
                  <a:lnTo>
                    <a:pt x="72" y="68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5" y="65"/>
                  </a:lnTo>
                  <a:lnTo>
                    <a:pt x="62" y="52"/>
                  </a:lnTo>
                  <a:lnTo>
                    <a:pt x="48" y="42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44" y="36"/>
                  </a:lnTo>
                  <a:lnTo>
                    <a:pt x="44" y="33"/>
                  </a:lnTo>
                  <a:lnTo>
                    <a:pt x="41" y="29"/>
                  </a:lnTo>
                  <a:lnTo>
                    <a:pt x="38" y="29"/>
                  </a:lnTo>
                  <a:lnTo>
                    <a:pt x="38" y="26"/>
                  </a:lnTo>
                  <a:lnTo>
                    <a:pt x="41" y="26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4" y="23"/>
                  </a:lnTo>
                  <a:lnTo>
                    <a:pt x="48" y="26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8" y="20"/>
                  </a:lnTo>
                  <a:lnTo>
                    <a:pt x="62" y="23"/>
                  </a:lnTo>
                  <a:lnTo>
                    <a:pt x="62" y="20"/>
                  </a:lnTo>
                  <a:lnTo>
                    <a:pt x="65" y="20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75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82" y="23"/>
                  </a:lnTo>
                  <a:lnTo>
                    <a:pt x="86" y="23"/>
                  </a:lnTo>
                  <a:lnTo>
                    <a:pt x="89" y="23"/>
                  </a:lnTo>
                  <a:lnTo>
                    <a:pt x="93" y="26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9" y="26"/>
                  </a:lnTo>
                  <a:close/>
                  <a:moveTo>
                    <a:pt x="58" y="65"/>
                  </a:moveTo>
                  <a:lnTo>
                    <a:pt x="58" y="65"/>
                  </a:lnTo>
                  <a:lnTo>
                    <a:pt x="65" y="65"/>
                  </a:lnTo>
                  <a:lnTo>
                    <a:pt x="69" y="68"/>
                  </a:lnTo>
                  <a:lnTo>
                    <a:pt x="62" y="68"/>
                  </a:lnTo>
                  <a:lnTo>
                    <a:pt x="58" y="65"/>
                  </a:lnTo>
                  <a:lnTo>
                    <a:pt x="58" y="65"/>
                  </a:lnTo>
                  <a:close/>
                  <a:moveTo>
                    <a:pt x="55" y="62"/>
                  </a:moveTo>
                  <a:lnTo>
                    <a:pt x="65" y="62"/>
                  </a:lnTo>
                  <a:lnTo>
                    <a:pt x="62" y="65"/>
                  </a:lnTo>
                  <a:lnTo>
                    <a:pt x="55" y="62"/>
                  </a:lnTo>
                  <a:lnTo>
                    <a:pt x="55" y="62"/>
                  </a:lnTo>
                  <a:close/>
                  <a:moveTo>
                    <a:pt x="55" y="58"/>
                  </a:moveTo>
                  <a:lnTo>
                    <a:pt x="62" y="58"/>
                  </a:lnTo>
                  <a:lnTo>
                    <a:pt x="65" y="58"/>
                  </a:lnTo>
                  <a:lnTo>
                    <a:pt x="62" y="62"/>
                  </a:lnTo>
                  <a:lnTo>
                    <a:pt x="58" y="62"/>
                  </a:lnTo>
                  <a:lnTo>
                    <a:pt x="55" y="58"/>
                  </a:lnTo>
                  <a:lnTo>
                    <a:pt x="55" y="58"/>
                  </a:lnTo>
                  <a:close/>
                  <a:moveTo>
                    <a:pt x="27" y="39"/>
                  </a:moveTo>
                  <a:lnTo>
                    <a:pt x="31" y="39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27" y="39"/>
                  </a:lnTo>
                  <a:lnTo>
                    <a:pt x="27" y="39"/>
                  </a:lnTo>
                  <a:close/>
                  <a:moveTo>
                    <a:pt x="24" y="33"/>
                  </a:moveTo>
                  <a:lnTo>
                    <a:pt x="27" y="36"/>
                  </a:lnTo>
                  <a:lnTo>
                    <a:pt x="24" y="36"/>
                  </a:lnTo>
                  <a:lnTo>
                    <a:pt x="24" y="33"/>
                  </a:lnTo>
                  <a:lnTo>
                    <a:pt x="24" y="33"/>
                  </a:lnTo>
                  <a:close/>
                  <a:moveTo>
                    <a:pt x="24" y="42"/>
                  </a:moveTo>
                  <a:lnTo>
                    <a:pt x="31" y="46"/>
                  </a:lnTo>
                  <a:lnTo>
                    <a:pt x="31" y="49"/>
                  </a:lnTo>
                  <a:lnTo>
                    <a:pt x="24" y="42"/>
                  </a:lnTo>
                  <a:lnTo>
                    <a:pt x="24" y="42"/>
                  </a:lnTo>
                  <a:close/>
                  <a:moveTo>
                    <a:pt x="20" y="39"/>
                  </a:moveTo>
                  <a:lnTo>
                    <a:pt x="24" y="39"/>
                  </a:lnTo>
                  <a:lnTo>
                    <a:pt x="24" y="42"/>
                  </a:lnTo>
                  <a:lnTo>
                    <a:pt x="20" y="39"/>
                  </a:lnTo>
                  <a:lnTo>
                    <a:pt x="20" y="39"/>
                  </a:lnTo>
                  <a:close/>
                  <a:moveTo>
                    <a:pt x="13" y="29"/>
                  </a:moveTo>
                  <a:lnTo>
                    <a:pt x="17" y="33"/>
                  </a:lnTo>
                  <a:lnTo>
                    <a:pt x="20" y="36"/>
                  </a:lnTo>
                  <a:lnTo>
                    <a:pt x="17" y="36"/>
                  </a:lnTo>
                  <a:lnTo>
                    <a:pt x="13" y="33"/>
                  </a:lnTo>
                  <a:lnTo>
                    <a:pt x="17" y="33"/>
                  </a:lnTo>
                  <a:lnTo>
                    <a:pt x="13" y="29"/>
                  </a:lnTo>
                  <a:lnTo>
                    <a:pt x="13" y="29"/>
                  </a:lnTo>
                  <a:close/>
                  <a:moveTo>
                    <a:pt x="17" y="23"/>
                  </a:moveTo>
                  <a:lnTo>
                    <a:pt x="24" y="29"/>
                  </a:lnTo>
                  <a:lnTo>
                    <a:pt x="20" y="29"/>
                  </a:lnTo>
                  <a:lnTo>
                    <a:pt x="17" y="29"/>
                  </a:lnTo>
                  <a:lnTo>
                    <a:pt x="13" y="29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7" y="23"/>
                  </a:lnTo>
                  <a:lnTo>
                    <a:pt x="1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6" name="Freeform 57"/>
            <p:cNvSpPr>
              <a:spLocks/>
            </p:cNvSpPr>
            <p:nvPr/>
          </p:nvSpPr>
          <p:spPr bwMode="auto">
            <a:xfrm>
              <a:off x="6704013" y="3350280"/>
              <a:ext cx="114300" cy="87312"/>
            </a:xfrm>
            <a:custGeom>
              <a:avLst/>
              <a:gdLst>
                <a:gd name="T0" fmla="*/ 37 w 72"/>
                <a:gd name="T1" fmla="*/ 45 h 55"/>
                <a:gd name="T2" fmla="*/ 10 w 72"/>
                <a:gd name="T3" fmla="*/ 22 h 55"/>
                <a:gd name="T4" fmla="*/ 10 w 72"/>
                <a:gd name="T5" fmla="*/ 19 h 55"/>
                <a:gd name="T6" fmla="*/ 6 w 72"/>
                <a:gd name="T7" fmla="*/ 13 h 55"/>
                <a:gd name="T8" fmla="*/ 0 w 72"/>
                <a:gd name="T9" fmla="*/ 9 h 55"/>
                <a:gd name="T10" fmla="*/ 3 w 72"/>
                <a:gd name="T11" fmla="*/ 6 h 55"/>
                <a:gd name="T12" fmla="*/ 3 w 72"/>
                <a:gd name="T13" fmla="*/ 0 h 55"/>
                <a:gd name="T14" fmla="*/ 10 w 72"/>
                <a:gd name="T15" fmla="*/ 6 h 55"/>
                <a:gd name="T16" fmla="*/ 13 w 72"/>
                <a:gd name="T17" fmla="*/ 3 h 55"/>
                <a:gd name="T18" fmla="*/ 17 w 72"/>
                <a:gd name="T19" fmla="*/ 3 h 55"/>
                <a:gd name="T20" fmla="*/ 24 w 72"/>
                <a:gd name="T21" fmla="*/ 3 h 55"/>
                <a:gd name="T22" fmla="*/ 27 w 72"/>
                <a:gd name="T23" fmla="*/ 0 h 55"/>
                <a:gd name="T24" fmla="*/ 31 w 72"/>
                <a:gd name="T25" fmla="*/ 3 h 55"/>
                <a:gd name="T26" fmla="*/ 41 w 72"/>
                <a:gd name="T27" fmla="*/ 3 h 55"/>
                <a:gd name="T28" fmla="*/ 44 w 72"/>
                <a:gd name="T29" fmla="*/ 3 h 55"/>
                <a:gd name="T30" fmla="*/ 51 w 72"/>
                <a:gd name="T31" fmla="*/ 3 h 55"/>
                <a:gd name="T32" fmla="*/ 61 w 72"/>
                <a:gd name="T33" fmla="*/ 6 h 55"/>
                <a:gd name="T34" fmla="*/ 65 w 72"/>
                <a:gd name="T35" fmla="*/ 6 h 55"/>
                <a:gd name="T36" fmla="*/ 65 w 72"/>
                <a:gd name="T37" fmla="*/ 13 h 55"/>
                <a:gd name="T38" fmla="*/ 61 w 72"/>
                <a:gd name="T39" fmla="*/ 19 h 55"/>
                <a:gd name="T40" fmla="*/ 72 w 72"/>
                <a:gd name="T41" fmla="*/ 22 h 55"/>
                <a:gd name="T42" fmla="*/ 72 w 72"/>
                <a:gd name="T43" fmla="*/ 26 h 55"/>
                <a:gd name="T44" fmla="*/ 65 w 72"/>
                <a:gd name="T45" fmla="*/ 26 h 55"/>
                <a:gd name="T46" fmla="*/ 72 w 72"/>
                <a:gd name="T47" fmla="*/ 35 h 55"/>
                <a:gd name="T48" fmla="*/ 65 w 72"/>
                <a:gd name="T49" fmla="*/ 35 h 55"/>
                <a:gd name="T50" fmla="*/ 58 w 72"/>
                <a:gd name="T51" fmla="*/ 32 h 55"/>
                <a:gd name="T52" fmla="*/ 65 w 72"/>
                <a:gd name="T53" fmla="*/ 38 h 55"/>
                <a:gd name="T54" fmla="*/ 61 w 72"/>
                <a:gd name="T55" fmla="*/ 42 h 55"/>
                <a:gd name="T56" fmla="*/ 58 w 72"/>
                <a:gd name="T57" fmla="*/ 45 h 55"/>
                <a:gd name="T58" fmla="*/ 55 w 72"/>
                <a:gd name="T59" fmla="*/ 55 h 55"/>
                <a:gd name="T60" fmla="*/ 48 w 72"/>
                <a:gd name="T61" fmla="*/ 48 h 55"/>
                <a:gd name="T62" fmla="*/ 41 w 72"/>
                <a:gd name="T63" fmla="*/ 48 h 55"/>
                <a:gd name="T64" fmla="*/ 37 w 72"/>
                <a:gd name="T65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55">
                  <a:moveTo>
                    <a:pt x="37" y="48"/>
                  </a:moveTo>
                  <a:lnTo>
                    <a:pt x="37" y="45"/>
                  </a:lnTo>
                  <a:lnTo>
                    <a:pt x="24" y="32"/>
                  </a:lnTo>
                  <a:lnTo>
                    <a:pt x="10" y="22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3" y="9"/>
                  </a:lnTo>
                  <a:lnTo>
                    <a:pt x="0" y="9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3"/>
                  </a:lnTo>
                  <a:lnTo>
                    <a:pt x="10" y="6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20" y="0"/>
                  </a:lnTo>
                  <a:lnTo>
                    <a:pt x="24" y="3"/>
                  </a:lnTo>
                  <a:lnTo>
                    <a:pt x="24" y="0"/>
                  </a:lnTo>
                  <a:lnTo>
                    <a:pt x="27" y="0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7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4" y="3"/>
                  </a:lnTo>
                  <a:lnTo>
                    <a:pt x="48" y="3"/>
                  </a:lnTo>
                  <a:lnTo>
                    <a:pt x="51" y="3"/>
                  </a:lnTo>
                  <a:lnTo>
                    <a:pt x="55" y="6"/>
                  </a:lnTo>
                  <a:lnTo>
                    <a:pt x="61" y="6"/>
                  </a:lnTo>
                  <a:lnTo>
                    <a:pt x="61" y="9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13"/>
                  </a:lnTo>
                  <a:lnTo>
                    <a:pt x="61" y="16"/>
                  </a:lnTo>
                  <a:lnTo>
                    <a:pt x="61" y="19"/>
                  </a:lnTo>
                  <a:lnTo>
                    <a:pt x="68" y="22"/>
                  </a:lnTo>
                  <a:lnTo>
                    <a:pt x="72" y="22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68" y="26"/>
                  </a:lnTo>
                  <a:lnTo>
                    <a:pt x="65" y="26"/>
                  </a:lnTo>
                  <a:lnTo>
                    <a:pt x="65" y="29"/>
                  </a:lnTo>
                  <a:lnTo>
                    <a:pt x="72" y="35"/>
                  </a:lnTo>
                  <a:lnTo>
                    <a:pt x="68" y="35"/>
                  </a:lnTo>
                  <a:lnTo>
                    <a:pt x="65" y="35"/>
                  </a:lnTo>
                  <a:lnTo>
                    <a:pt x="61" y="32"/>
                  </a:lnTo>
                  <a:lnTo>
                    <a:pt x="58" y="32"/>
                  </a:lnTo>
                  <a:lnTo>
                    <a:pt x="61" y="35"/>
                  </a:lnTo>
                  <a:lnTo>
                    <a:pt x="65" y="38"/>
                  </a:lnTo>
                  <a:lnTo>
                    <a:pt x="65" y="42"/>
                  </a:lnTo>
                  <a:lnTo>
                    <a:pt x="61" y="42"/>
                  </a:lnTo>
                  <a:lnTo>
                    <a:pt x="58" y="42"/>
                  </a:lnTo>
                  <a:lnTo>
                    <a:pt x="58" y="45"/>
                  </a:lnTo>
                  <a:lnTo>
                    <a:pt x="58" y="48"/>
                  </a:lnTo>
                  <a:lnTo>
                    <a:pt x="55" y="55"/>
                  </a:lnTo>
                  <a:lnTo>
                    <a:pt x="55" y="55"/>
                  </a:lnTo>
                  <a:lnTo>
                    <a:pt x="48" y="48"/>
                  </a:lnTo>
                  <a:lnTo>
                    <a:pt x="48" y="51"/>
                  </a:lnTo>
                  <a:lnTo>
                    <a:pt x="41" y="48"/>
                  </a:lnTo>
                  <a:lnTo>
                    <a:pt x="37" y="48"/>
                  </a:lnTo>
                  <a:lnTo>
                    <a:pt x="3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7" name="Freeform 58"/>
            <p:cNvSpPr>
              <a:spLocks/>
            </p:cNvSpPr>
            <p:nvPr/>
          </p:nvSpPr>
          <p:spPr bwMode="auto">
            <a:xfrm>
              <a:off x="6637338" y="3297892"/>
              <a:ext cx="93663" cy="52387"/>
            </a:xfrm>
            <a:custGeom>
              <a:avLst/>
              <a:gdLst>
                <a:gd name="T0" fmla="*/ 4 w 59"/>
                <a:gd name="T1" fmla="*/ 33 h 33"/>
                <a:gd name="T2" fmla="*/ 11 w 59"/>
                <a:gd name="T3" fmla="*/ 33 h 33"/>
                <a:gd name="T4" fmla="*/ 14 w 59"/>
                <a:gd name="T5" fmla="*/ 29 h 33"/>
                <a:gd name="T6" fmla="*/ 17 w 59"/>
                <a:gd name="T7" fmla="*/ 26 h 33"/>
                <a:gd name="T8" fmla="*/ 28 w 59"/>
                <a:gd name="T9" fmla="*/ 29 h 33"/>
                <a:gd name="T10" fmla="*/ 31 w 59"/>
                <a:gd name="T11" fmla="*/ 29 h 33"/>
                <a:gd name="T12" fmla="*/ 31 w 59"/>
                <a:gd name="T13" fmla="*/ 26 h 33"/>
                <a:gd name="T14" fmla="*/ 38 w 59"/>
                <a:gd name="T15" fmla="*/ 23 h 33"/>
                <a:gd name="T16" fmla="*/ 38 w 59"/>
                <a:gd name="T17" fmla="*/ 17 h 33"/>
                <a:gd name="T18" fmla="*/ 48 w 59"/>
                <a:gd name="T19" fmla="*/ 13 h 33"/>
                <a:gd name="T20" fmla="*/ 59 w 59"/>
                <a:gd name="T21" fmla="*/ 13 h 33"/>
                <a:gd name="T22" fmla="*/ 59 w 59"/>
                <a:gd name="T23" fmla="*/ 7 h 33"/>
                <a:gd name="T24" fmla="*/ 52 w 59"/>
                <a:gd name="T25" fmla="*/ 0 h 33"/>
                <a:gd name="T26" fmla="*/ 48 w 59"/>
                <a:gd name="T27" fmla="*/ 4 h 33"/>
                <a:gd name="T28" fmla="*/ 38 w 59"/>
                <a:gd name="T29" fmla="*/ 7 h 33"/>
                <a:gd name="T30" fmla="*/ 38 w 59"/>
                <a:gd name="T31" fmla="*/ 7 h 33"/>
                <a:gd name="T32" fmla="*/ 35 w 59"/>
                <a:gd name="T33" fmla="*/ 7 h 33"/>
                <a:gd name="T34" fmla="*/ 31 w 59"/>
                <a:gd name="T35" fmla="*/ 10 h 33"/>
                <a:gd name="T36" fmla="*/ 28 w 59"/>
                <a:gd name="T37" fmla="*/ 10 h 33"/>
                <a:gd name="T38" fmla="*/ 21 w 59"/>
                <a:gd name="T39" fmla="*/ 10 h 33"/>
                <a:gd name="T40" fmla="*/ 17 w 59"/>
                <a:gd name="T41" fmla="*/ 7 h 33"/>
                <a:gd name="T42" fmla="*/ 11 w 59"/>
                <a:gd name="T43" fmla="*/ 7 h 33"/>
                <a:gd name="T44" fmla="*/ 7 w 59"/>
                <a:gd name="T45" fmla="*/ 7 h 33"/>
                <a:gd name="T46" fmla="*/ 4 w 59"/>
                <a:gd name="T47" fmla="*/ 13 h 33"/>
                <a:gd name="T48" fmla="*/ 4 w 59"/>
                <a:gd name="T49" fmla="*/ 17 h 33"/>
                <a:gd name="T50" fmla="*/ 0 w 59"/>
                <a:gd name="T51" fmla="*/ 20 h 33"/>
                <a:gd name="T52" fmla="*/ 4 w 59"/>
                <a:gd name="T53" fmla="*/ 26 h 33"/>
                <a:gd name="T54" fmla="*/ 4 w 59"/>
                <a:gd name="T55" fmla="*/ 26 h 33"/>
                <a:gd name="T56" fmla="*/ 7 w 59"/>
                <a:gd name="T57" fmla="*/ 26 h 33"/>
                <a:gd name="T58" fmla="*/ 7 w 59"/>
                <a:gd name="T59" fmla="*/ 29 h 33"/>
                <a:gd name="T60" fmla="*/ 4 w 59"/>
                <a:gd name="T61" fmla="*/ 29 h 33"/>
                <a:gd name="T62" fmla="*/ 4 w 59"/>
                <a:gd name="T6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9" h="33">
                  <a:moveTo>
                    <a:pt x="4" y="33"/>
                  </a:moveTo>
                  <a:lnTo>
                    <a:pt x="11" y="33"/>
                  </a:lnTo>
                  <a:lnTo>
                    <a:pt x="14" y="29"/>
                  </a:lnTo>
                  <a:lnTo>
                    <a:pt x="17" y="26"/>
                  </a:lnTo>
                  <a:lnTo>
                    <a:pt x="28" y="29"/>
                  </a:lnTo>
                  <a:lnTo>
                    <a:pt x="31" y="29"/>
                  </a:lnTo>
                  <a:lnTo>
                    <a:pt x="31" y="26"/>
                  </a:lnTo>
                  <a:lnTo>
                    <a:pt x="38" y="23"/>
                  </a:lnTo>
                  <a:lnTo>
                    <a:pt x="38" y="17"/>
                  </a:lnTo>
                  <a:lnTo>
                    <a:pt x="48" y="13"/>
                  </a:lnTo>
                  <a:lnTo>
                    <a:pt x="59" y="13"/>
                  </a:lnTo>
                  <a:lnTo>
                    <a:pt x="59" y="7"/>
                  </a:lnTo>
                  <a:lnTo>
                    <a:pt x="52" y="0"/>
                  </a:lnTo>
                  <a:lnTo>
                    <a:pt x="48" y="4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5" y="7"/>
                  </a:lnTo>
                  <a:lnTo>
                    <a:pt x="31" y="10"/>
                  </a:lnTo>
                  <a:lnTo>
                    <a:pt x="28" y="10"/>
                  </a:lnTo>
                  <a:lnTo>
                    <a:pt x="21" y="10"/>
                  </a:lnTo>
                  <a:lnTo>
                    <a:pt x="17" y="7"/>
                  </a:lnTo>
                  <a:lnTo>
                    <a:pt x="11" y="7"/>
                  </a:lnTo>
                  <a:lnTo>
                    <a:pt x="7" y="7"/>
                  </a:lnTo>
                  <a:lnTo>
                    <a:pt x="4" y="13"/>
                  </a:lnTo>
                  <a:lnTo>
                    <a:pt x="4" y="17"/>
                  </a:lnTo>
                  <a:lnTo>
                    <a:pt x="0" y="20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7" y="26"/>
                  </a:lnTo>
                  <a:lnTo>
                    <a:pt x="7" y="29"/>
                  </a:lnTo>
                  <a:lnTo>
                    <a:pt x="4" y="29"/>
                  </a:lnTo>
                  <a:lnTo>
                    <a:pt x="4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8" name="Freeform 59"/>
            <p:cNvSpPr>
              <a:spLocks/>
            </p:cNvSpPr>
            <p:nvPr/>
          </p:nvSpPr>
          <p:spPr bwMode="auto">
            <a:xfrm>
              <a:off x="6523038" y="3226455"/>
              <a:ext cx="212725" cy="87312"/>
            </a:xfrm>
            <a:custGeom>
              <a:avLst/>
              <a:gdLst>
                <a:gd name="T0" fmla="*/ 83 w 134"/>
                <a:gd name="T1" fmla="*/ 52 h 55"/>
                <a:gd name="T2" fmla="*/ 93 w 134"/>
                <a:gd name="T3" fmla="*/ 55 h 55"/>
                <a:gd name="T4" fmla="*/ 103 w 134"/>
                <a:gd name="T5" fmla="*/ 55 h 55"/>
                <a:gd name="T6" fmla="*/ 110 w 134"/>
                <a:gd name="T7" fmla="*/ 52 h 55"/>
                <a:gd name="T8" fmla="*/ 120 w 134"/>
                <a:gd name="T9" fmla="*/ 49 h 55"/>
                <a:gd name="T10" fmla="*/ 127 w 134"/>
                <a:gd name="T11" fmla="*/ 42 h 55"/>
                <a:gd name="T12" fmla="*/ 127 w 134"/>
                <a:gd name="T13" fmla="*/ 36 h 55"/>
                <a:gd name="T14" fmla="*/ 124 w 134"/>
                <a:gd name="T15" fmla="*/ 29 h 55"/>
                <a:gd name="T16" fmla="*/ 134 w 134"/>
                <a:gd name="T17" fmla="*/ 29 h 55"/>
                <a:gd name="T18" fmla="*/ 134 w 134"/>
                <a:gd name="T19" fmla="*/ 23 h 55"/>
                <a:gd name="T20" fmla="*/ 134 w 134"/>
                <a:gd name="T21" fmla="*/ 7 h 55"/>
                <a:gd name="T22" fmla="*/ 124 w 134"/>
                <a:gd name="T23" fmla="*/ 3 h 55"/>
                <a:gd name="T24" fmla="*/ 110 w 134"/>
                <a:gd name="T25" fmla="*/ 3 h 55"/>
                <a:gd name="T26" fmla="*/ 100 w 134"/>
                <a:gd name="T27" fmla="*/ 0 h 55"/>
                <a:gd name="T28" fmla="*/ 93 w 134"/>
                <a:gd name="T29" fmla="*/ 3 h 55"/>
                <a:gd name="T30" fmla="*/ 93 w 134"/>
                <a:gd name="T31" fmla="*/ 7 h 55"/>
                <a:gd name="T32" fmla="*/ 86 w 134"/>
                <a:gd name="T33" fmla="*/ 10 h 55"/>
                <a:gd name="T34" fmla="*/ 72 w 134"/>
                <a:gd name="T35" fmla="*/ 3 h 55"/>
                <a:gd name="T36" fmla="*/ 72 w 134"/>
                <a:gd name="T37" fmla="*/ 10 h 55"/>
                <a:gd name="T38" fmla="*/ 65 w 134"/>
                <a:gd name="T39" fmla="*/ 13 h 55"/>
                <a:gd name="T40" fmla="*/ 59 w 134"/>
                <a:gd name="T41" fmla="*/ 23 h 55"/>
                <a:gd name="T42" fmla="*/ 62 w 134"/>
                <a:gd name="T43" fmla="*/ 26 h 55"/>
                <a:gd name="T44" fmla="*/ 62 w 134"/>
                <a:gd name="T45" fmla="*/ 29 h 55"/>
                <a:gd name="T46" fmla="*/ 52 w 134"/>
                <a:gd name="T47" fmla="*/ 29 h 55"/>
                <a:gd name="T48" fmla="*/ 45 w 134"/>
                <a:gd name="T49" fmla="*/ 29 h 55"/>
                <a:gd name="T50" fmla="*/ 34 w 134"/>
                <a:gd name="T51" fmla="*/ 32 h 55"/>
                <a:gd name="T52" fmla="*/ 28 w 134"/>
                <a:gd name="T53" fmla="*/ 32 h 55"/>
                <a:gd name="T54" fmla="*/ 21 w 134"/>
                <a:gd name="T55" fmla="*/ 29 h 55"/>
                <a:gd name="T56" fmla="*/ 17 w 134"/>
                <a:gd name="T57" fmla="*/ 32 h 55"/>
                <a:gd name="T58" fmla="*/ 10 w 134"/>
                <a:gd name="T59" fmla="*/ 32 h 55"/>
                <a:gd name="T60" fmla="*/ 3 w 134"/>
                <a:gd name="T61" fmla="*/ 32 h 55"/>
                <a:gd name="T62" fmla="*/ 0 w 134"/>
                <a:gd name="T63" fmla="*/ 32 h 55"/>
                <a:gd name="T64" fmla="*/ 3 w 134"/>
                <a:gd name="T65" fmla="*/ 36 h 55"/>
                <a:gd name="T66" fmla="*/ 3 w 134"/>
                <a:gd name="T67" fmla="*/ 39 h 55"/>
                <a:gd name="T68" fmla="*/ 10 w 134"/>
                <a:gd name="T69" fmla="*/ 39 h 55"/>
                <a:gd name="T70" fmla="*/ 17 w 134"/>
                <a:gd name="T71" fmla="*/ 42 h 55"/>
                <a:gd name="T72" fmla="*/ 21 w 134"/>
                <a:gd name="T73" fmla="*/ 42 h 55"/>
                <a:gd name="T74" fmla="*/ 28 w 134"/>
                <a:gd name="T75" fmla="*/ 45 h 55"/>
                <a:gd name="T76" fmla="*/ 41 w 134"/>
                <a:gd name="T77" fmla="*/ 42 h 55"/>
                <a:gd name="T78" fmla="*/ 48 w 134"/>
                <a:gd name="T79" fmla="*/ 45 h 55"/>
                <a:gd name="T80" fmla="*/ 69 w 134"/>
                <a:gd name="T81" fmla="*/ 52 h 55"/>
                <a:gd name="T82" fmla="*/ 79 w 134"/>
                <a:gd name="T83" fmla="*/ 5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" h="55">
                  <a:moveTo>
                    <a:pt x="79" y="52"/>
                  </a:moveTo>
                  <a:lnTo>
                    <a:pt x="83" y="52"/>
                  </a:lnTo>
                  <a:lnTo>
                    <a:pt x="89" y="52"/>
                  </a:lnTo>
                  <a:lnTo>
                    <a:pt x="93" y="55"/>
                  </a:lnTo>
                  <a:lnTo>
                    <a:pt x="100" y="55"/>
                  </a:lnTo>
                  <a:lnTo>
                    <a:pt x="103" y="55"/>
                  </a:lnTo>
                  <a:lnTo>
                    <a:pt x="107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20" y="49"/>
                  </a:lnTo>
                  <a:lnTo>
                    <a:pt x="124" y="45"/>
                  </a:lnTo>
                  <a:lnTo>
                    <a:pt x="127" y="42"/>
                  </a:lnTo>
                  <a:lnTo>
                    <a:pt x="127" y="39"/>
                  </a:lnTo>
                  <a:lnTo>
                    <a:pt x="127" y="36"/>
                  </a:lnTo>
                  <a:lnTo>
                    <a:pt x="127" y="32"/>
                  </a:lnTo>
                  <a:lnTo>
                    <a:pt x="124" y="29"/>
                  </a:lnTo>
                  <a:lnTo>
                    <a:pt x="127" y="29"/>
                  </a:lnTo>
                  <a:lnTo>
                    <a:pt x="134" y="29"/>
                  </a:lnTo>
                  <a:lnTo>
                    <a:pt x="134" y="26"/>
                  </a:lnTo>
                  <a:lnTo>
                    <a:pt x="134" y="23"/>
                  </a:lnTo>
                  <a:lnTo>
                    <a:pt x="134" y="13"/>
                  </a:lnTo>
                  <a:lnTo>
                    <a:pt x="134" y="7"/>
                  </a:lnTo>
                  <a:lnTo>
                    <a:pt x="127" y="7"/>
                  </a:lnTo>
                  <a:lnTo>
                    <a:pt x="124" y="3"/>
                  </a:lnTo>
                  <a:lnTo>
                    <a:pt x="117" y="3"/>
                  </a:lnTo>
                  <a:lnTo>
                    <a:pt x="110" y="3"/>
                  </a:lnTo>
                  <a:lnTo>
                    <a:pt x="107" y="3"/>
                  </a:lnTo>
                  <a:lnTo>
                    <a:pt x="100" y="0"/>
                  </a:lnTo>
                  <a:lnTo>
                    <a:pt x="96" y="0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3" y="7"/>
                  </a:lnTo>
                  <a:lnTo>
                    <a:pt x="86" y="7"/>
                  </a:lnTo>
                  <a:lnTo>
                    <a:pt x="86" y="10"/>
                  </a:lnTo>
                  <a:lnTo>
                    <a:pt x="76" y="3"/>
                  </a:lnTo>
                  <a:lnTo>
                    <a:pt x="72" y="3"/>
                  </a:lnTo>
                  <a:lnTo>
                    <a:pt x="72" y="7"/>
                  </a:lnTo>
                  <a:lnTo>
                    <a:pt x="72" y="10"/>
                  </a:lnTo>
                  <a:lnTo>
                    <a:pt x="69" y="10"/>
                  </a:lnTo>
                  <a:lnTo>
                    <a:pt x="65" y="13"/>
                  </a:lnTo>
                  <a:lnTo>
                    <a:pt x="62" y="16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62" y="26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55" y="29"/>
                  </a:lnTo>
                  <a:lnTo>
                    <a:pt x="52" y="29"/>
                  </a:lnTo>
                  <a:lnTo>
                    <a:pt x="48" y="29"/>
                  </a:lnTo>
                  <a:lnTo>
                    <a:pt x="45" y="29"/>
                  </a:lnTo>
                  <a:lnTo>
                    <a:pt x="38" y="32"/>
                  </a:lnTo>
                  <a:lnTo>
                    <a:pt x="34" y="32"/>
                  </a:lnTo>
                  <a:lnTo>
                    <a:pt x="31" y="32"/>
                  </a:lnTo>
                  <a:lnTo>
                    <a:pt x="28" y="32"/>
                  </a:lnTo>
                  <a:lnTo>
                    <a:pt x="24" y="29"/>
                  </a:lnTo>
                  <a:lnTo>
                    <a:pt x="21" y="29"/>
                  </a:lnTo>
                  <a:lnTo>
                    <a:pt x="14" y="29"/>
                  </a:lnTo>
                  <a:lnTo>
                    <a:pt x="17" y="32"/>
                  </a:lnTo>
                  <a:lnTo>
                    <a:pt x="14" y="32"/>
                  </a:lnTo>
                  <a:lnTo>
                    <a:pt x="10" y="32"/>
                  </a:lnTo>
                  <a:lnTo>
                    <a:pt x="7" y="29"/>
                  </a:lnTo>
                  <a:lnTo>
                    <a:pt x="3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3" y="36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7" y="42"/>
                  </a:lnTo>
                  <a:lnTo>
                    <a:pt x="10" y="39"/>
                  </a:lnTo>
                  <a:lnTo>
                    <a:pt x="14" y="42"/>
                  </a:lnTo>
                  <a:lnTo>
                    <a:pt x="17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8" y="45"/>
                  </a:lnTo>
                  <a:lnTo>
                    <a:pt x="38" y="42"/>
                  </a:lnTo>
                  <a:lnTo>
                    <a:pt x="41" y="42"/>
                  </a:lnTo>
                  <a:lnTo>
                    <a:pt x="48" y="42"/>
                  </a:lnTo>
                  <a:lnTo>
                    <a:pt x="48" y="45"/>
                  </a:lnTo>
                  <a:lnTo>
                    <a:pt x="59" y="49"/>
                  </a:lnTo>
                  <a:lnTo>
                    <a:pt x="69" y="52"/>
                  </a:lnTo>
                  <a:lnTo>
                    <a:pt x="76" y="52"/>
                  </a:lnTo>
                  <a:lnTo>
                    <a:pt x="79" y="52"/>
                  </a:lnTo>
                  <a:lnTo>
                    <a:pt x="79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9" name="Freeform 60"/>
            <p:cNvSpPr>
              <a:spLocks/>
            </p:cNvSpPr>
            <p:nvPr/>
          </p:nvSpPr>
          <p:spPr bwMode="auto">
            <a:xfrm>
              <a:off x="6643688" y="3016905"/>
              <a:ext cx="284163" cy="204787"/>
            </a:xfrm>
            <a:custGeom>
              <a:avLst/>
              <a:gdLst>
                <a:gd name="T0" fmla="*/ 110 w 179"/>
                <a:gd name="T1" fmla="*/ 129 h 129"/>
                <a:gd name="T2" fmla="*/ 113 w 179"/>
                <a:gd name="T3" fmla="*/ 126 h 129"/>
                <a:gd name="T4" fmla="*/ 120 w 179"/>
                <a:gd name="T5" fmla="*/ 126 h 129"/>
                <a:gd name="T6" fmla="*/ 127 w 179"/>
                <a:gd name="T7" fmla="*/ 126 h 129"/>
                <a:gd name="T8" fmla="*/ 134 w 179"/>
                <a:gd name="T9" fmla="*/ 122 h 129"/>
                <a:gd name="T10" fmla="*/ 137 w 179"/>
                <a:gd name="T11" fmla="*/ 122 h 129"/>
                <a:gd name="T12" fmla="*/ 155 w 179"/>
                <a:gd name="T13" fmla="*/ 129 h 129"/>
                <a:gd name="T14" fmla="*/ 158 w 179"/>
                <a:gd name="T15" fmla="*/ 122 h 129"/>
                <a:gd name="T16" fmla="*/ 168 w 179"/>
                <a:gd name="T17" fmla="*/ 106 h 129"/>
                <a:gd name="T18" fmla="*/ 175 w 179"/>
                <a:gd name="T19" fmla="*/ 100 h 129"/>
                <a:gd name="T20" fmla="*/ 179 w 179"/>
                <a:gd name="T21" fmla="*/ 93 h 129"/>
                <a:gd name="T22" fmla="*/ 175 w 179"/>
                <a:gd name="T23" fmla="*/ 90 h 129"/>
                <a:gd name="T24" fmla="*/ 172 w 179"/>
                <a:gd name="T25" fmla="*/ 87 h 129"/>
                <a:gd name="T26" fmla="*/ 168 w 179"/>
                <a:gd name="T27" fmla="*/ 80 h 129"/>
                <a:gd name="T28" fmla="*/ 168 w 179"/>
                <a:gd name="T29" fmla="*/ 68 h 129"/>
                <a:gd name="T30" fmla="*/ 165 w 179"/>
                <a:gd name="T31" fmla="*/ 58 h 129"/>
                <a:gd name="T32" fmla="*/ 172 w 179"/>
                <a:gd name="T33" fmla="*/ 51 h 129"/>
                <a:gd name="T34" fmla="*/ 168 w 179"/>
                <a:gd name="T35" fmla="*/ 38 h 129"/>
                <a:gd name="T36" fmla="*/ 165 w 179"/>
                <a:gd name="T37" fmla="*/ 32 h 129"/>
                <a:gd name="T38" fmla="*/ 158 w 179"/>
                <a:gd name="T39" fmla="*/ 19 h 129"/>
                <a:gd name="T40" fmla="*/ 155 w 179"/>
                <a:gd name="T41" fmla="*/ 9 h 129"/>
                <a:gd name="T42" fmla="*/ 148 w 179"/>
                <a:gd name="T43" fmla="*/ 6 h 129"/>
                <a:gd name="T44" fmla="*/ 99 w 179"/>
                <a:gd name="T45" fmla="*/ 9 h 129"/>
                <a:gd name="T46" fmla="*/ 89 w 179"/>
                <a:gd name="T47" fmla="*/ 13 h 129"/>
                <a:gd name="T48" fmla="*/ 82 w 179"/>
                <a:gd name="T49" fmla="*/ 13 h 129"/>
                <a:gd name="T50" fmla="*/ 93 w 179"/>
                <a:gd name="T51" fmla="*/ 6 h 129"/>
                <a:gd name="T52" fmla="*/ 89 w 179"/>
                <a:gd name="T53" fmla="*/ 9 h 129"/>
                <a:gd name="T54" fmla="*/ 72 w 179"/>
                <a:gd name="T55" fmla="*/ 13 h 129"/>
                <a:gd name="T56" fmla="*/ 72 w 179"/>
                <a:gd name="T57" fmla="*/ 3 h 129"/>
                <a:gd name="T58" fmla="*/ 79 w 179"/>
                <a:gd name="T59" fmla="*/ 6 h 129"/>
                <a:gd name="T60" fmla="*/ 72 w 179"/>
                <a:gd name="T61" fmla="*/ 3 h 129"/>
                <a:gd name="T62" fmla="*/ 55 w 179"/>
                <a:gd name="T63" fmla="*/ 3 h 129"/>
                <a:gd name="T64" fmla="*/ 44 w 179"/>
                <a:gd name="T65" fmla="*/ 6 h 129"/>
                <a:gd name="T66" fmla="*/ 34 w 179"/>
                <a:gd name="T67" fmla="*/ 9 h 129"/>
                <a:gd name="T68" fmla="*/ 31 w 179"/>
                <a:gd name="T69" fmla="*/ 16 h 129"/>
                <a:gd name="T70" fmla="*/ 17 w 179"/>
                <a:gd name="T71" fmla="*/ 19 h 129"/>
                <a:gd name="T72" fmla="*/ 10 w 179"/>
                <a:gd name="T73" fmla="*/ 26 h 129"/>
                <a:gd name="T74" fmla="*/ 7 w 179"/>
                <a:gd name="T75" fmla="*/ 29 h 129"/>
                <a:gd name="T76" fmla="*/ 3 w 179"/>
                <a:gd name="T77" fmla="*/ 32 h 129"/>
                <a:gd name="T78" fmla="*/ 7 w 179"/>
                <a:gd name="T79" fmla="*/ 45 h 129"/>
                <a:gd name="T80" fmla="*/ 0 w 179"/>
                <a:gd name="T81" fmla="*/ 48 h 129"/>
                <a:gd name="T82" fmla="*/ 7 w 179"/>
                <a:gd name="T83" fmla="*/ 58 h 129"/>
                <a:gd name="T84" fmla="*/ 10 w 179"/>
                <a:gd name="T85" fmla="*/ 61 h 129"/>
                <a:gd name="T86" fmla="*/ 10 w 179"/>
                <a:gd name="T87" fmla="*/ 68 h 129"/>
                <a:gd name="T88" fmla="*/ 13 w 179"/>
                <a:gd name="T89" fmla="*/ 77 h 129"/>
                <a:gd name="T90" fmla="*/ 17 w 179"/>
                <a:gd name="T91" fmla="*/ 87 h 129"/>
                <a:gd name="T92" fmla="*/ 17 w 179"/>
                <a:gd name="T93" fmla="*/ 93 h 129"/>
                <a:gd name="T94" fmla="*/ 24 w 179"/>
                <a:gd name="T95" fmla="*/ 90 h 129"/>
                <a:gd name="T96" fmla="*/ 31 w 179"/>
                <a:gd name="T97" fmla="*/ 90 h 129"/>
                <a:gd name="T98" fmla="*/ 34 w 179"/>
                <a:gd name="T99" fmla="*/ 97 h 129"/>
                <a:gd name="T100" fmla="*/ 41 w 179"/>
                <a:gd name="T101" fmla="*/ 97 h 129"/>
                <a:gd name="T102" fmla="*/ 41 w 179"/>
                <a:gd name="T103" fmla="*/ 103 h 129"/>
                <a:gd name="T104" fmla="*/ 41 w 179"/>
                <a:gd name="T105" fmla="*/ 106 h 129"/>
                <a:gd name="T106" fmla="*/ 48 w 179"/>
                <a:gd name="T107" fmla="*/ 106 h 129"/>
                <a:gd name="T108" fmla="*/ 44 w 179"/>
                <a:gd name="T109" fmla="*/ 100 h 129"/>
                <a:gd name="T110" fmla="*/ 55 w 179"/>
                <a:gd name="T111" fmla="*/ 103 h 129"/>
                <a:gd name="T112" fmla="*/ 62 w 179"/>
                <a:gd name="T113" fmla="*/ 106 h 129"/>
                <a:gd name="T114" fmla="*/ 72 w 179"/>
                <a:gd name="T115" fmla="*/ 110 h 129"/>
                <a:gd name="T116" fmla="*/ 89 w 179"/>
                <a:gd name="T117" fmla="*/ 116 h 129"/>
                <a:gd name="T118" fmla="*/ 96 w 179"/>
                <a:gd name="T119" fmla="*/ 122 h 129"/>
                <a:gd name="T120" fmla="*/ 103 w 179"/>
                <a:gd name="T121" fmla="*/ 119 h 129"/>
                <a:gd name="T122" fmla="*/ 106 w 179"/>
                <a:gd name="T12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9" h="129">
                  <a:moveTo>
                    <a:pt x="106" y="129"/>
                  </a:moveTo>
                  <a:lnTo>
                    <a:pt x="110" y="129"/>
                  </a:lnTo>
                  <a:lnTo>
                    <a:pt x="113" y="129"/>
                  </a:lnTo>
                  <a:lnTo>
                    <a:pt x="113" y="126"/>
                  </a:lnTo>
                  <a:lnTo>
                    <a:pt x="117" y="126"/>
                  </a:lnTo>
                  <a:lnTo>
                    <a:pt x="120" y="126"/>
                  </a:lnTo>
                  <a:lnTo>
                    <a:pt x="124" y="126"/>
                  </a:lnTo>
                  <a:lnTo>
                    <a:pt x="127" y="126"/>
                  </a:lnTo>
                  <a:lnTo>
                    <a:pt x="130" y="122"/>
                  </a:lnTo>
                  <a:lnTo>
                    <a:pt x="134" y="122"/>
                  </a:lnTo>
                  <a:lnTo>
                    <a:pt x="137" y="126"/>
                  </a:lnTo>
                  <a:lnTo>
                    <a:pt x="137" y="122"/>
                  </a:lnTo>
                  <a:lnTo>
                    <a:pt x="144" y="122"/>
                  </a:lnTo>
                  <a:lnTo>
                    <a:pt x="155" y="129"/>
                  </a:lnTo>
                  <a:lnTo>
                    <a:pt x="158" y="129"/>
                  </a:lnTo>
                  <a:lnTo>
                    <a:pt x="158" y="122"/>
                  </a:lnTo>
                  <a:lnTo>
                    <a:pt x="158" y="119"/>
                  </a:lnTo>
                  <a:lnTo>
                    <a:pt x="168" y="106"/>
                  </a:lnTo>
                  <a:lnTo>
                    <a:pt x="172" y="103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3"/>
                  </a:lnTo>
                  <a:lnTo>
                    <a:pt x="175" y="93"/>
                  </a:lnTo>
                  <a:lnTo>
                    <a:pt x="175" y="90"/>
                  </a:lnTo>
                  <a:lnTo>
                    <a:pt x="179" y="87"/>
                  </a:lnTo>
                  <a:lnTo>
                    <a:pt x="172" y="87"/>
                  </a:lnTo>
                  <a:lnTo>
                    <a:pt x="172" y="80"/>
                  </a:lnTo>
                  <a:lnTo>
                    <a:pt x="168" y="80"/>
                  </a:lnTo>
                  <a:lnTo>
                    <a:pt x="168" y="71"/>
                  </a:lnTo>
                  <a:lnTo>
                    <a:pt x="168" y="68"/>
                  </a:lnTo>
                  <a:lnTo>
                    <a:pt x="165" y="61"/>
                  </a:lnTo>
                  <a:lnTo>
                    <a:pt x="165" y="58"/>
                  </a:lnTo>
                  <a:lnTo>
                    <a:pt x="165" y="51"/>
                  </a:lnTo>
                  <a:lnTo>
                    <a:pt x="172" y="51"/>
                  </a:lnTo>
                  <a:lnTo>
                    <a:pt x="172" y="42"/>
                  </a:lnTo>
                  <a:lnTo>
                    <a:pt x="168" y="38"/>
                  </a:lnTo>
                  <a:lnTo>
                    <a:pt x="168" y="35"/>
                  </a:lnTo>
                  <a:lnTo>
                    <a:pt x="165" y="32"/>
                  </a:lnTo>
                  <a:lnTo>
                    <a:pt x="161" y="26"/>
                  </a:lnTo>
                  <a:lnTo>
                    <a:pt x="158" y="19"/>
                  </a:lnTo>
                  <a:lnTo>
                    <a:pt x="158" y="16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48" y="6"/>
                  </a:lnTo>
                  <a:lnTo>
                    <a:pt x="124" y="9"/>
                  </a:lnTo>
                  <a:lnTo>
                    <a:pt x="99" y="9"/>
                  </a:lnTo>
                  <a:lnTo>
                    <a:pt x="96" y="9"/>
                  </a:lnTo>
                  <a:lnTo>
                    <a:pt x="89" y="13"/>
                  </a:lnTo>
                  <a:lnTo>
                    <a:pt x="86" y="16"/>
                  </a:lnTo>
                  <a:lnTo>
                    <a:pt x="82" y="13"/>
                  </a:lnTo>
                  <a:lnTo>
                    <a:pt x="89" y="13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89" y="9"/>
                  </a:lnTo>
                  <a:lnTo>
                    <a:pt x="82" y="13"/>
                  </a:lnTo>
                  <a:lnTo>
                    <a:pt x="72" y="13"/>
                  </a:lnTo>
                  <a:lnTo>
                    <a:pt x="72" y="6"/>
                  </a:lnTo>
                  <a:lnTo>
                    <a:pt x="72" y="3"/>
                  </a:lnTo>
                  <a:lnTo>
                    <a:pt x="75" y="6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2" y="3"/>
                  </a:lnTo>
                  <a:lnTo>
                    <a:pt x="65" y="0"/>
                  </a:lnTo>
                  <a:lnTo>
                    <a:pt x="55" y="3"/>
                  </a:lnTo>
                  <a:lnTo>
                    <a:pt x="51" y="3"/>
                  </a:lnTo>
                  <a:lnTo>
                    <a:pt x="44" y="6"/>
                  </a:lnTo>
                  <a:lnTo>
                    <a:pt x="41" y="9"/>
                  </a:lnTo>
                  <a:lnTo>
                    <a:pt x="34" y="9"/>
                  </a:lnTo>
                  <a:lnTo>
                    <a:pt x="31" y="13"/>
                  </a:lnTo>
                  <a:lnTo>
                    <a:pt x="31" y="16"/>
                  </a:lnTo>
                  <a:lnTo>
                    <a:pt x="27" y="16"/>
                  </a:lnTo>
                  <a:lnTo>
                    <a:pt x="17" y="19"/>
                  </a:lnTo>
                  <a:lnTo>
                    <a:pt x="10" y="19"/>
                  </a:lnTo>
                  <a:lnTo>
                    <a:pt x="10" y="26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32"/>
                  </a:lnTo>
                  <a:lnTo>
                    <a:pt x="3" y="32"/>
                  </a:lnTo>
                  <a:lnTo>
                    <a:pt x="7" y="38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7" y="55"/>
                  </a:lnTo>
                  <a:lnTo>
                    <a:pt x="7" y="58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0" y="64"/>
                  </a:lnTo>
                  <a:lnTo>
                    <a:pt x="10" y="68"/>
                  </a:lnTo>
                  <a:lnTo>
                    <a:pt x="13" y="74"/>
                  </a:lnTo>
                  <a:lnTo>
                    <a:pt x="13" y="77"/>
                  </a:lnTo>
                  <a:lnTo>
                    <a:pt x="17" y="80"/>
                  </a:lnTo>
                  <a:lnTo>
                    <a:pt x="17" y="87"/>
                  </a:lnTo>
                  <a:lnTo>
                    <a:pt x="17" y="90"/>
                  </a:lnTo>
                  <a:lnTo>
                    <a:pt x="17" y="93"/>
                  </a:lnTo>
                  <a:lnTo>
                    <a:pt x="20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31" y="90"/>
                  </a:lnTo>
                  <a:lnTo>
                    <a:pt x="31" y="93"/>
                  </a:lnTo>
                  <a:lnTo>
                    <a:pt x="34" y="97"/>
                  </a:lnTo>
                  <a:lnTo>
                    <a:pt x="38" y="97"/>
                  </a:lnTo>
                  <a:lnTo>
                    <a:pt x="41" y="97"/>
                  </a:lnTo>
                  <a:lnTo>
                    <a:pt x="41" y="100"/>
                  </a:lnTo>
                  <a:lnTo>
                    <a:pt x="41" y="103"/>
                  </a:lnTo>
                  <a:lnTo>
                    <a:pt x="41" y="103"/>
                  </a:lnTo>
                  <a:lnTo>
                    <a:pt x="41" y="106"/>
                  </a:lnTo>
                  <a:lnTo>
                    <a:pt x="44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55" y="103"/>
                  </a:lnTo>
                  <a:lnTo>
                    <a:pt x="62" y="103"/>
                  </a:lnTo>
                  <a:lnTo>
                    <a:pt x="62" y="106"/>
                  </a:lnTo>
                  <a:lnTo>
                    <a:pt x="65" y="110"/>
                  </a:lnTo>
                  <a:lnTo>
                    <a:pt x="72" y="110"/>
                  </a:lnTo>
                  <a:lnTo>
                    <a:pt x="79" y="110"/>
                  </a:lnTo>
                  <a:lnTo>
                    <a:pt x="89" y="116"/>
                  </a:lnTo>
                  <a:lnTo>
                    <a:pt x="93" y="122"/>
                  </a:lnTo>
                  <a:lnTo>
                    <a:pt x="96" y="122"/>
                  </a:lnTo>
                  <a:lnTo>
                    <a:pt x="99" y="119"/>
                  </a:lnTo>
                  <a:lnTo>
                    <a:pt x="103" y="119"/>
                  </a:lnTo>
                  <a:lnTo>
                    <a:pt x="106" y="122"/>
                  </a:lnTo>
                  <a:lnTo>
                    <a:pt x="10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0" name="Freeform 61"/>
            <p:cNvSpPr>
              <a:spLocks/>
            </p:cNvSpPr>
            <p:nvPr/>
          </p:nvSpPr>
          <p:spPr bwMode="auto">
            <a:xfrm>
              <a:off x="6588126" y="3159780"/>
              <a:ext cx="223838" cy="82550"/>
            </a:xfrm>
            <a:custGeom>
              <a:avLst/>
              <a:gdLst>
                <a:gd name="T0" fmla="*/ 52 w 141"/>
                <a:gd name="T1" fmla="*/ 3 h 52"/>
                <a:gd name="T2" fmla="*/ 59 w 141"/>
                <a:gd name="T3" fmla="*/ 0 h 52"/>
                <a:gd name="T4" fmla="*/ 66 w 141"/>
                <a:gd name="T5" fmla="*/ 0 h 52"/>
                <a:gd name="T6" fmla="*/ 69 w 141"/>
                <a:gd name="T7" fmla="*/ 7 h 52"/>
                <a:gd name="T8" fmla="*/ 76 w 141"/>
                <a:gd name="T9" fmla="*/ 7 h 52"/>
                <a:gd name="T10" fmla="*/ 76 w 141"/>
                <a:gd name="T11" fmla="*/ 13 h 52"/>
                <a:gd name="T12" fmla="*/ 76 w 141"/>
                <a:gd name="T13" fmla="*/ 16 h 52"/>
                <a:gd name="T14" fmla="*/ 83 w 141"/>
                <a:gd name="T15" fmla="*/ 16 h 52"/>
                <a:gd name="T16" fmla="*/ 79 w 141"/>
                <a:gd name="T17" fmla="*/ 10 h 52"/>
                <a:gd name="T18" fmla="*/ 90 w 141"/>
                <a:gd name="T19" fmla="*/ 13 h 52"/>
                <a:gd name="T20" fmla="*/ 97 w 141"/>
                <a:gd name="T21" fmla="*/ 16 h 52"/>
                <a:gd name="T22" fmla="*/ 107 w 141"/>
                <a:gd name="T23" fmla="*/ 20 h 52"/>
                <a:gd name="T24" fmla="*/ 124 w 141"/>
                <a:gd name="T25" fmla="*/ 26 h 52"/>
                <a:gd name="T26" fmla="*/ 131 w 141"/>
                <a:gd name="T27" fmla="*/ 32 h 52"/>
                <a:gd name="T28" fmla="*/ 138 w 141"/>
                <a:gd name="T29" fmla="*/ 29 h 52"/>
                <a:gd name="T30" fmla="*/ 141 w 141"/>
                <a:gd name="T31" fmla="*/ 39 h 52"/>
                <a:gd name="T32" fmla="*/ 128 w 141"/>
                <a:gd name="T33" fmla="*/ 39 h 52"/>
                <a:gd name="T34" fmla="*/ 117 w 141"/>
                <a:gd name="T35" fmla="*/ 45 h 52"/>
                <a:gd name="T36" fmla="*/ 104 w 141"/>
                <a:gd name="T37" fmla="*/ 49 h 52"/>
                <a:gd name="T38" fmla="*/ 97 w 141"/>
                <a:gd name="T39" fmla="*/ 49 h 52"/>
                <a:gd name="T40" fmla="*/ 86 w 141"/>
                <a:gd name="T41" fmla="*/ 49 h 52"/>
                <a:gd name="T42" fmla="*/ 76 w 141"/>
                <a:gd name="T43" fmla="*/ 45 h 52"/>
                <a:gd name="T44" fmla="*/ 66 w 141"/>
                <a:gd name="T45" fmla="*/ 45 h 52"/>
                <a:gd name="T46" fmla="*/ 55 w 141"/>
                <a:gd name="T47" fmla="*/ 42 h 52"/>
                <a:gd name="T48" fmla="*/ 52 w 141"/>
                <a:gd name="T49" fmla="*/ 45 h 52"/>
                <a:gd name="T50" fmla="*/ 45 w 141"/>
                <a:gd name="T51" fmla="*/ 49 h 52"/>
                <a:gd name="T52" fmla="*/ 35 w 141"/>
                <a:gd name="T53" fmla="*/ 45 h 52"/>
                <a:gd name="T54" fmla="*/ 31 w 141"/>
                <a:gd name="T55" fmla="*/ 45 h 52"/>
                <a:gd name="T56" fmla="*/ 21 w 141"/>
                <a:gd name="T57" fmla="*/ 36 h 52"/>
                <a:gd name="T58" fmla="*/ 11 w 141"/>
                <a:gd name="T59" fmla="*/ 32 h 52"/>
                <a:gd name="T60" fmla="*/ 11 w 141"/>
                <a:gd name="T61" fmla="*/ 26 h 52"/>
                <a:gd name="T62" fmla="*/ 0 w 141"/>
                <a:gd name="T63" fmla="*/ 16 h 52"/>
                <a:gd name="T64" fmla="*/ 0 w 141"/>
                <a:gd name="T65" fmla="*/ 13 h 52"/>
                <a:gd name="T66" fmla="*/ 7 w 141"/>
                <a:gd name="T67" fmla="*/ 16 h 52"/>
                <a:gd name="T68" fmla="*/ 18 w 141"/>
                <a:gd name="T69" fmla="*/ 10 h 52"/>
                <a:gd name="T70" fmla="*/ 24 w 141"/>
                <a:gd name="T71" fmla="*/ 7 h 52"/>
                <a:gd name="T72" fmla="*/ 35 w 141"/>
                <a:gd name="T73" fmla="*/ 3 h 52"/>
                <a:gd name="T74" fmla="*/ 38 w 141"/>
                <a:gd name="T75" fmla="*/ 3 h 52"/>
                <a:gd name="T76" fmla="*/ 45 w 141"/>
                <a:gd name="T77" fmla="*/ 0 h 52"/>
                <a:gd name="T78" fmla="*/ 52 w 141"/>
                <a:gd name="T7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1" h="52">
                  <a:moveTo>
                    <a:pt x="52" y="0"/>
                  </a:moveTo>
                  <a:lnTo>
                    <a:pt x="52" y="3"/>
                  </a:lnTo>
                  <a:lnTo>
                    <a:pt x="55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6" y="0"/>
                  </a:lnTo>
                  <a:lnTo>
                    <a:pt x="66" y="3"/>
                  </a:lnTo>
                  <a:lnTo>
                    <a:pt x="69" y="7"/>
                  </a:lnTo>
                  <a:lnTo>
                    <a:pt x="73" y="7"/>
                  </a:lnTo>
                  <a:lnTo>
                    <a:pt x="76" y="7"/>
                  </a:lnTo>
                  <a:lnTo>
                    <a:pt x="76" y="10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6"/>
                  </a:lnTo>
                  <a:lnTo>
                    <a:pt x="79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79" y="10"/>
                  </a:lnTo>
                  <a:lnTo>
                    <a:pt x="83" y="10"/>
                  </a:lnTo>
                  <a:lnTo>
                    <a:pt x="90" y="13"/>
                  </a:lnTo>
                  <a:lnTo>
                    <a:pt x="97" y="13"/>
                  </a:lnTo>
                  <a:lnTo>
                    <a:pt x="97" y="16"/>
                  </a:lnTo>
                  <a:lnTo>
                    <a:pt x="100" y="20"/>
                  </a:lnTo>
                  <a:lnTo>
                    <a:pt x="107" y="20"/>
                  </a:lnTo>
                  <a:lnTo>
                    <a:pt x="114" y="20"/>
                  </a:lnTo>
                  <a:lnTo>
                    <a:pt x="124" y="26"/>
                  </a:lnTo>
                  <a:lnTo>
                    <a:pt x="128" y="32"/>
                  </a:lnTo>
                  <a:lnTo>
                    <a:pt x="131" y="32"/>
                  </a:lnTo>
                  <a:lnTo>
                    <a:pt x="134" y="29"/>
                  </a:lnTo>
                  <a:lnTo>
                    <a:pt x="138" y="29"/>
                  </a:lnTo>
                  <a:lnTo>
                    <a:pt x="141" y="32"/>
                  </a:lnTo>
                  <a:lnTo>
                    <a:pt x="141" y="39"/>
                  </a:lnTo>
                  <a:lnTo>
                    <a:pt x="134" y="36"/>
                  </a:lnTo>
                  <a:lnTo>
                    <a:pt x="128" y="39"/>
                  </a:lnTo>
                  <a:lnTo>
                    <a:pt x="124" y="42"/>
                  </a:lnTo>
                  <a:lnTo>
                    <a:pt x="117" y="45"/>
                  </a:lnTo>
                  <a:lnTo>
                    <a:pt x="110" y="45"/>
                  </a:lnTo>
                  <a:lnTo>
                    <a:pt x="104" y="49"/>
                  </a:lnTo>
                  <a:lnTo>
                    <a:pt x="104" y="49"/>
                  </a:lnTo>
                  <a:lnTo>
                    <a:pt x="97" y="49"/>
                  </a:lnTo>
                  <a:lnTo>
                    <a:pt x="93" y="49"/>
                  </a:lnTo>
                  <a:lnTo>
                    <a:pt x="86" y="49"/>
                  </a:lnTo>
                  <a:lnTo>
                    <a:pt x="83" y="45"/>
                  </a:lnTo>
                  <a:lnTo>
                    <a:pt x="76" y="45"/>
                  </a:lnTo>
                  <a:lnTo>
                    <a:pt x="69" y="45"/>
                  </a:lnTo>
                  <a:lnTo>
                    <a:pt x="66" y="45"/>
                  </a:lnTo>
                  <a:lnTo>
                    <a:pt x="59" y="42"/>
                  </a:lnTo>
                  <a:lnTo>
                    <a:pt x="55" y="42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9"/>
                  </a:lnTo>
                  <a:lnTo>
                    <a:pt x="45" y="49"/>
                  </a:lnTo>
                  <a:lnTo>
                    <a:pt x="45" y="52"/>
                  </a:lnTo>
                  <a:lnTo>
                    <a:pt x="35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24" y="39"/>
                  </a:lnTo>
                  <a:lnTo>
                    <a:pt x="21" y="36"/>
                  </a:lnTo>
                  <a:lnTo>
                    <a:pt x="14" y="32"/>
                  </a:lnTo>
                  <a:lnTo>
                    <a:pt x="11" y="32"/>
                  </a:lnTo>
                  <a:lnTo>
                    <a:pt x="7" y="29"/>
                  </a:lnTo>
                  <a:lnTo>
                    <a:pt x="11" y="26"/>
                  </a:lnTo>
                  <a:lnTo>
                    <a:pt x="4" y="20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6"/>
                  </a:lnTo>
                  <a:lnTo>
                    <a:pt x="14" y="10"/>
                  </a:lnTo>
                  <a:lnTo>
                    <a:pt x="18" y="10"/>
                  </a:lnTo>
                  <a:lnTo>
                    <a:pt x="21" y="7"/>
                  </a:lnTo>
                  <a:lnTo>
                    <a:pt x="24" y="7"/>
                  </a:lnTo>
                  <a:lnTo>
                    <a:pt x="28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8" y="3"/>
                  </a:lnTo>
                  <a:lnTo>
                    <a:pt x="38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1" name="Freeform 62"/>
            <p:cNvSpPr>
              <a:spLocks/>
            </p:cNvSpPr>
            <p:nvPr/>
          </p:nvSpPr>
          <p:spPr bwMode="auto">
            <a:xfrm>
              <a:off x="6413501" y="3021667"/>
              <a:ext cx="257175" cy="255587"/>
            </a:xfrm>
            <a:custGeom>
              <a:avLst/>
              <a:gdLst>
                <a:gd name="T0" fmla="*/ 59 w 162"/>
                <a:gd name="T1" fmla="*/ 0 h 161"/>
                <a:gd name="T2" fmla="*/ 69 w 162"/>
                <a:gd name="T3" fmla="*/ 10 h 161"/>
                <a:gd name="T4" fmla="*/ 72 w 162"/>
                <a:gd name="T5" fmla="*/ 16 h 161"/>
                <a:gd name="T6" fmla="*/ 79 w 162"/>
                <a:gd name="T7" fmla="*/ 13 h 161"/>
                <a:gd name="T8" fmla="*/ 90 w 162"/>
                <a:gd name="T9" fmla="*/ 13 h 161"/>
                <a:gd name="T10" fmla="*/ 83 w 162"/>
                <a:gd name="T11" fmla="*/ 19 h 161"/>
                <a:gd name="T12" fmla="*/ 93 w 162"/>
                <a:gd name="T13" fmla="*/ 23 h 161"/>
                <a:gd name="T14" fmla="*/ 107 w 162"/>
                <a:gd name="T15" fmla="*/ 16 h 161"/>
                <a:gd name="T16" fmla="*/ 114 w 162"/>
                <a:gd name="T17" fmla="*/ 10 h 161"/>
                <a:gd name="T18" fmla="*/ 114 w 162"/>
                <a:gd name="T19" fmla="*/ 13 h 161"/>
                <a:gd name="T20" fmla="*/ 121 w 162"/>
                <a:gd name="T21" fmla="*/ 13 h 161"/>
                <a:gd name="T22" fmla="*/ 131 w 162"/>
                <a:gd name="T23" fmla="*/ 19 h 161"/>
                <a:gd name="T24" fmla="*/ 141 w 162"/>
                <a:gd name="T25" fmla="*/ 26 h 161"/>
                <a:gd name="T26" fmla="*/ 152 w 162"/>
                <a:gd name="T27" fmla="*/ 35 h 161"/>
                <a:gd name="T28" fmla="*/ 152 w 162"/>
                <a:gd name="T29" fmla="*/ 52 h 161"/>
                <a:gd name="T30" fmla="*/ 155 w 162"/>
                <a:gd name="T31" fmla="*/ 61 h 161"/>
                <a:gd name="T32" fmla="*/ 162 w 162"/>
                <a:gd name="T33" fmla="*/ 77 h 161"/>
                <a:gd name="T34" fmla="*/ 155 w 162"/>
                <a:gd name="T35" fmla="*/ 87 h 161"/>
                <a:gd name="T36" fmla="*/ 145 w 162"/>
                <a:gd name="T37" fmla="*/ 90 h 161"/>
                <a:gd name="T38" fmla="*/ 128 w 162"/>
                <a:gd name="T39" fmla="*/ 97 h 161"/>
                <a:gd name="T40" fmla="*/ 110 w 162"/>
                <a:gd name="T41" fmla="*/ 100 h 161"/>
                <a:gd name="T42" fmla="*/ 121 w 162"/>
                <a:gd name="T43" fmla="*/ 113 h 161"/>
                <a:gd name="T44" fmla="*/ 131 w 162"/>
                <a:gd name="T45" fmla="*/ 123 h 161"/>
                <a:gd name="T46" fmla="*/ 141 w 162"/>
                <a:gd name="T47" fmla="*/ 139 h 161"/>
                <a:gd name="T48" fmla="*/ 128 w 162"/>
                <a:gd name="T49" fmla="*/ 152 h 161"/>
                <a:gd name="T50" fmla="*/ 131 w 162"/>
                <a:gd name="T51" fmla="*/ 158 h 161"/>
                <a:gd name="T52" fmla="*/ 114 w 162"/>
                <a:gd name="T53" fmla="*/ 158 h 161"/>
                <a:gd name="T54" fmla="*/ 97 w 162"/>
                <a:gd name="T55" fmla="*/ 161 h 161"/>
                <a:gd name="T56" fmla="*/ 86 w 162"/>
                <a:gd name="T57" fmla="*/ 161 h 161"/>
                <a:gd name="T58" fmla="*/ 72 w 162"/>
                <a:gd name="T59" fmla="*/ 161 h 161"/>
                <a:gd name="T60" fmla="*/ 62 w 162"/>
                <a:gd name="T61" fmla="*/ 158 h 161"/>
                <a:gd name="T62" fmla="*/ 55 w 162"/>
                <a:gd name="T63" fmla="*/ 155 h 161"/>
                <a:gd name="T64" fmla="*/ 45 w 162"/>
                <a:gd name="T65" fmla="*/ 158 h 161"/>
                <a:gd name="T66" fmla="*/ 35 w 162"/>
                <a:gd name="T67" fmla="*/ 155 h 161"/>
                <a:gd name="T68" fmla="*/ 38 w 162"/>
                <a:gd name="T69" fmla="*/ 142 h 161"/>
                <a:gd name="T70" fmla="*/ 38 w 162"/>
                <a:gd name="T71" fmla="*/ 129 h 161"/>
                <a:gd name="T72" fmla="*/ 24 w 162"/>
                <a:gd name="T73" fmla="*/ 126 h 161"/>
                <a:gd name="T74" fmla="*/ 14 w 162"/>
                <a:gd name="T75" fmla="*/ 123 h 161"/>
                <a:gd name="T76" fmla="*/ 11 w 162"/>
                <a:gd name="T77" fmla="*/ 113 h 161"/>
                <a:gd name="T78" fmla="*/ 4 w 162"/>
                <a:gd name="T79" fmla="*/ 100 h 161"/>
                <a:gd name="T80" fmla="*/ 0 w 162"/>
                <a:gd name="T81" fmla="*/ 87 h 161"/>
                <a:gd name="T82" fmla="*/ 4 w 162"/>
                <a:gd name="T83" fmla="*/ 74 h 161"/>
                <a:gd name="T84" fmla="*/ 17 w 162"/>
                <a:gd name="T85" fmla="*/ 68 h 161"/>
                <a:gd name="T86" fmla="*/ 21 w 162"/>
                <a:gd name="T87" fmla="*/ 58 h 161"/>
                <a:gd name="T88" fmla="*/ 14 w 162"/>
                <a:gd name="T89" fmla="*/ 55 h 161"/>
                <a:gd name="T90" fmla="*/ 24 w 162"/>
                <a:gd name="T91" fmla="*/ 48 h 161"/>
                <a:gd name="T92" fmla="*/ 28 w 162"/>
                <a:gd name="T93" fmla="*/ 39 h 161"/>
                <a:gd name="T94" fmla="*/ 21 w 162"/>
                <a:gd name="T95" fmla="*/ 32 h 161"/>
                <a:gd name="T96" fmla="*/ 35 w 162"/>
                <a:gd name="T97" fmla="*/ 29 h 161"/>
                <a:gd name="T98" fmla="*/ 38 w 162"/>
                <a:gd name="T99" fmla="*/ 32 h 161"/>
                <a:gd name="T100" fmla="*/ 45 w 162"/>
                <a:gd name="T101" fmla="*/ 35 h 161"/>
                <a:gd name="T102" fmla="*/ 45 w 162"/>
                <a:gd name="T103" fmla="*/ 29 h 161"/>
                <a:gd name="T104" fmla="*/ 59 w 162"/>
                <a:gd name="T105" fmla="*/ 26 h 161"/>
                <a:gd name="T106" fmla="*/ 59 w 162"/>
                <a:gd name="T107" fmla="*/ 23 h 161"/>
                <a:gd name="T108" fmla="*/ 55 w 162"/>
                <a:gd name="T109" fmla="*/ 19 h 161"/>
                <a:gd name="T110" fmla="*/ 48 w 162"/>
                <a:gd name="T111" fmla="*/ 10 h 161"/>
                <a:gd name="T112" fmla="*/ 48 w 162"/>
                <a:gd name="T113" fmla="*/ 3 h 161"/>
                <a:gd name="T114" fmla="*/ 45 w 162"/>
                <a:gd name="T11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2" h="161">
                  <a:moveTo>
                    <a:pt x="45" y="0"/>
                  </a:moveTo>
                  <a:lnTo>
                    <a:pt x="52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2" y="0"/>
                  </a:lnTo>
                  <a:lnTo>
                    <a:pt x="66" y="3"/>
                  </a:lnTo>
                  <a:lnTo>
                    <a:pt x="69" y="3"/>
                  </a:lnTo>
                  <a:lnTo>
                    <a:pt x="69" y="10"/>
                  </a:lnTo>
                  <a:lnTo>
                    <a:pt x="66" y="10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72" y="16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0"/>
                  </a:lnTo>
                  <a:lnTo>
                    <a:pt x="79" y="13"/>
                  </a:lnTo>
                  <a:lnTo>
                    <a:pt x="83" y="16"/>
                  </a:lnTo>
                  <a:lnTo>
                    <a:pt x="86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6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3" y="19"/>
                  </a:lnTo>
                  <a:lnTo>
                    <a:pt x="86" y="23"/>
                  </a:lnTo>
                  <a:lnTo>
                    <a:pt x="90" y="19"/>
                  </a:lnTo>
                  <a:lnTo>
                    <a:pt x="93" y="19"/>
                  </a:lnTo>
                  <a:lnTo>
                    <a:pt x="93" y="23"/>
                  </a:lnTo>
                  <a:lnTo>
                    <a:pt x="97" y="23"/>
                  </a:lnTo>
                  <a:lnTo>
                    <a:pt x="97" y="19"/>
                  </a:lnTo>
                  <a:lnTo>
                    <a:pt x="100" y="16"/>
                  </a:lnTo>
                  <a:lnTo>
                    <a:pt x="107" y="16"/>
                  </a:lnTo>
                  <a:lnTo>
                    <a:pt x="107" y="13"/>
                  </a:lnTo>
                  <a:lnTo>
                    <a:pt x="110" y="13"/>
                  </a:lnTo>
                  <a:lnTo>
                    <a:pt x="110" y="10"/>
                  </a:lnTo>
                  <a:lnTo>
                    <a:pt x="114" y="10"/>
                  </a:lnTo>
                  <a:lnTo>
                    <a:pt x="117" y="10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7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4" y="13"/>
                  </a:lnTo>
                  <a:lnTo>
                    <a:pt x="128" y="16"/>
                  </a:lnTo>
                  <a:lnTo>
                    <a:pt x="131" y="19"/>
                  </a:lnTo>
                  <a:lnTo>
                    <a:pt x="134" y="19"/>
                  </a:lnTo>
                  <a:lnTo>
                    <a:pt x="138" y="23"/>
                  </a:lnTo>
                  <a:lnTo>
                    <a:pt x="138" y="23"/>
                  </a:lnTo>
                  <a:lnTo>
                    <a:pt x="141" y="26"/>
                  </a:lnTo>
                  <a:lnTo>
                    <a:pt x="145" y="26"/>
                  </a:lnTo>
                  <a:lnTo>
                    <a:pt x="145" y="29"/>
                  </a:lnTo>
                  <a:lnTo>
                    <a:pt x="148" y="29"/>
                  </a:lnTo>
                  <a:lnTo>
                    <a:pt x="152" y="35"/>
                  </a:lnTo>
                  <a:lnTo>
                    <a:pt x="152" y="42"/>
                  </a:lnTo>
                  <a:lnTo>
                    <a:pt x="145" y="42"/>
                  </a:lnTo>
                  <a:lnTo>
                    <a:pt x="145" y="45"/>
                  </a:lnTo>
                  <a:lnTo>
                    <a:pt x="152" y="52"/>
                  </a:lnTo>
                  <a:lnTo>
                    <a:pt x="152" y="55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5" y="61"/>
                  </a:lnTo>
                  <a:lnTo>
                    <a:pt x="155" y="65"/>
                  </a:lnTo>
                  <a:lnTo>
                    <a:pt x="158" y="71"/>
                  </a:lnTo>
                  <a:lnTo>
                    <a:pt x="158" y="74"/>
                  </a:lnTo>
                  <a:lnTo>
                    <a:pt x="162" y="77"/>
                  </a:lnTo>
                  <a:lnTo>
                    <a:pt x="162" y="84"/>
                  </a:lnTo>
                  <a:lnTo>
                    <a:pt x="162" y="87"/>
                  </a:lnTo>
                  <a:lnTo>
                    <a:pt x="158" y="87"/>
                  </a:lnTo>
                  <a:lnTo>
                    <a:pt x="155" y="87"/>
                  </a:lnTo>
                  <a:lnTo>
                    <a:pt x="148" y="87"/>
                  </a:lnTo>
                  <a:lnTo>
                    <a:pt x="148" y="90"/>
                  </a:lnTo>
                  <a:lnTo>
                    <a:pt x="145" y="90"/>
                  </a:lnTo>
                  <a:lnTo>
                    <a:pt x="145" y="90"/>
                  </a:lnTo>
                  <a:lnTo>
                    <a:pt x="138" y="90"/>
                  </a:lnTo>
                  <a:lnTo>
                    <a:pt x="134" y="94"/>
                  </a:lnTo>
                  <a:lnTo>
                    <a:pt x="131" y="94"/>
                  </a:lnTo>
                  <a:lnTo>
                    <a:pt x="128" y="97"/>
                  </a:lnTo>
                  <a:lnTo>
                    <a:pt x="124" y="97"/>
                  </a:lnTo>
                  <a:lnTo>
                    <a:pt x="117" y="103"/>
                  </a:lnTo>
                  <a:lnTo>
                    <a:pt x="114" y="100"/>
                  </a:lnTo>
                  <a:lnTo>
                    <a:pt x="110" y="100"/>
                  </a:lnTo>
                  <a:lnTo>
                    <a:pt x="110" y="100"/>
                  </a:lnTo>
                  <a:lnTo>
                    <a:pt x="110" y="103"/>
                  </a:lnTo>
                  <a:lnTo>
                    <a:pt x="114" y="107"/>
                  </a:lnTo>
                  <a:lnTo>
                    <a:pt x="121" y="113"/>
                  </a:lnTo>
                  <a:lnTo>
                    <a:pt x="117" y="116"/>
                  </a:lnTo>
                  <a:lnTo>
                    <a:pt x="121" y="119"/>
                  </a:lnTo>
                  <a:lnTo>
                    <a:pt x="124" y="119"/>
                  </a:lnTo>
                  <a:lnTo>
                    <a:pt x="131" y="123"/>
                  </a:lnTo>
                  <a:lnTo>
                    <a:pt x="134" y="126"/>
                  </a:lnTo>
                  <a:lnTo>
                    <a:pt x="141" y="132"/>
                  </a:lnTo>
                  <a:lnTo>
                    <a:pt x="141" y="136"/>
                  </a:lnTo>
                  <a:lnTo>
                    <a:pt x="141" y="139"/>
                  </a:lnTo>
                  <a:lnTo>
                    <a:pt x="138" y="139"/>
                  </a:lnTo>
                  <a:lnTo>
                    <a:pt x="134" y="142"/>
                  </a:lnTo>
                  <a:lnTo>
                    <a:pt x="131" y="145"/>
                  </a:lnTo>
                  <a:lnTo>
                    <a:pt x="128" y="152"/>
                  </a:lnTo>
                  <a:lnTo>
                    <a:pt x="128" y="152"/>
                  </a:lnTo>
                  <a:lnTo>
                    <a:pt x="131" y="155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24" y="158"/>
                  </a:lnTo>
                  <a:lnTo>
                    <a:pt x="121" y="158"/>
                  </a:lnTo>
                  <a:lnTo>
                    <a:pt x="117" y="158"/>
                  </a:lnTo>
                  <a:lnTo>
                    <a:pt x="114" y="158"/>
                  </a:lnTo>
                  <a:lnTo>
                    <a:pt x="107" y="161"/>
                  </a:lnTo>
                  <a:lnTo>
                    <a:pt x="103" y="161"/>
                  </a:lnTo>
                  <a:lnTo>
                    <a:pt x="100" y="161"/>
                  </a:lnTo>
                  <a:lnTo>
                    <a:pt x="97" y="161"/>
                  </a:lnTo>
                  <a:lnTo>
                    <a:pt x="93" y="158"/>
                  </a:lnTo>
                  <a:lnTo>
                    <a:pt x="90" y="158"/>
                  </a:lnTo>
                  <a:lnTo>
                    <a:pt x="83" y="158"/>
                  </a:lnTo>
                  <a:lnTo>
                    <a:pt x="86" y="161"/>
                  </a:lnTo>
                  <a:lnTo>
                    <a:pt x="83" y="161"/>
                  </a:lnTo>
                  <a:lnTo>
                    <a:pt x="79" y="161"/>
                  </a:lnTo>
                  <a:lnTo>
                    <a:pt x="76" y="158"/>
                  </a:lnTo>
                  <a:lnTo>
                    <a:pt x="72" y="161"/>
                  </a:lnTo>
                  <a:lnTo>
                    <a:pt x="69" y="161"/>
                  </a:lnTo>
                  <a:lnTo>
                    <a:pt x="69" y="161"/>
                  </a:lnTo>
                  <a:lnTo>
                    <a:pt x="69" y="161"/>
                  </a:lnTo>
                  <a:lnTo>
                    <a:pt x="62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5" y="158"/>
                  </a:lnTo>
                  <a:lnTo>
                    <a:pt x="55" y="155"/>
                  </a:lnTo>
                  <a:lnTo>
                    <a:pt x="48" y="155"/>
                  </a:lnTo>
                  <a:lnTo>
                    <a:pt x="52" y="158"/>
                  </a:lnTo>
                  <a:lnTo>
                    <a:pt x="48" y="158"/>
                  </a:lnTo>
                  <a:lnTo>
                    <a:pt x="45" y="158"/>
                  </a:lnTo>
                  <a:lnTo>
                    <a:pt x="42" y="161"/>
                  </a:lnTo>
                  <a:lnTo>
                    <a:pt x="38" y="158"/>
                  </a:lnTo>
                  <a:lnTo>
                    <a:pt x="38" y="158"/>
                  </a:lnTo>
                  <a:lnTo>
                    <a:pt x="35" y="155"/>
                  </a:lnTo>
                  <a:lnTo>
                    <a:pt x="31" y="155"/>
                  </a:lnTo>
                  <a:lnTo>
                    <a:pt x="31" y="149"/>
                  </a:lnTo>
                  <a:lnTo>
                    <a:pt x="35" y="145"/>
                  </a:lnTo>
                  <a:lnTo>
                    <a:pt x="38" y="142"/>
                  </a:lnTo>
                  <a:lnTo>
                    <a:pt x="38" y="139"/>
                  </a:lnTo>
                  <a:lnTo>
                    <a:pt x="38" y="136"/>
                  </a:lnTo>
                  <a:lnTo>
                    <a:pt x="42" y="129"/>
                  </a:lnTo>
                  <a:lnTo>
                    <a:pt x="38" y="129"/>
                  </a:lnTo>
                  <a:lnTo>
                    <a:pt x="35" y="129"/>
                  </a:lnTo>
                  <a:lnTo>
                    <a:pt x="31" y="126"/>
                  </a:lnTo>
                  <a:lnTo>
                    <a:pt x="28" y="126"/>
                  </a:lnTo>
                  <a:lnTo>
                    <a:pt x="24" y="126"/>
                  </a:lnTo>
                  <a:lnTo>
                    <a:pt x="21" y="126"/>
                  </a:lnTo>
                  <a:lnTo>
                    <a:pt x="17" y="126"/>
                  </a:lnTo>
                  <a:lnTo>
                    <a:pt x="14" y="126"/>
                  </a:lnTo>
                  <a:lnTo>
                    <a:pt x="14" y="123"/>
                  </a:lnTo>
                  <a:lnTo>
                    <a:pt x="11" y="119"/>
                  </a:lnTo>
                  <a:lnTo>
                    <a:pt x="11" y="119"/>
                  </a:lnTo>
                  <a:lnTo>
                    <a:pt x="11" y="116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4" y="100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0" y="90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4" y="84"/>
                  </a:lnTo>
                  <a:lnTo>
                    <a:pt x="4" y="81"/>
                  </a:lnTo>
                  <a:lnTo>
                    <a:pt x="4" y="74"/>
                  </a:lnTo>
                  <a:lnTo>
                    <a:pt x="4" y="71"/>
                  </a:lnTo>
                  <a:lnTo>
                    <a:pt x="7" y="68"/>
                  </a:lnTo>
                  <a:lnTo>
                    <a:pt x="14" y="68"/>
                  </a:lnTo>
                  <a:lnTo>
                    <a:pt x="17" y="68"/>
                  </a:lnTo>
                  <a:lnTo>
                    <a:pt x="21" y="68"/>
                  </a:lnTo>
                  <a:lnTo>
                    <a:pt x="17" y="65"/>
                  </a:lnTo>
                  <a:lnTo>
                    <a:pt x="21" y="61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7" y="52"/>
                  </a:lnTo>
                  <a:lnTo>
                    <a:pt x="21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5"/>
                  </a:lnTo>
                  <a:lnTo>
                    <a:pt x="24" y="42"/>
                  </a:lnTo>
                  <a:lnTo>
                    <a:pt x="28" y="42"/>
                  </a:lnTo>
                  <a:lnTo>
                    <a:pt x="28" y="39"/>
                  </a:lnTo>
                  <a:lnTo>
                    <a:pt x="28" y="42"/>
                  </a:lnTo>
                  <a:lnTo>
                    <a:pt x="24" y="39"/>
                  </a:lnTo>
                  <a:lnTo>
                    <a:pt x="21" y="35"/>
                  </a:lnTo>
                  <a:lnTo>
                    <a:pt x="21" y="32"/>
                  </a:lnTo>
                  <a:lnTo>
                    <a:pt x="21" y="29"/>
                  </a:lnTo>
                  <a:lnTo>
                    <a:pt x="28" y="29"/>
                  </a:lnTo>
                  <a:lnTo>
                    <a:pt x="31" y="29"/>
                  </a:lnTo>
                  <a:lnTo>
                    <a:pt x="35" y="29"/>
                  </a:lnTo>
                  <a:lnTo>
                    <a:pt x="35" y="35"/>
                  </a:lnTo>
                  <a:lnTo>
                    <a:pt x="38" y="39"/>
                  </a:lnTo>
                  <a:lnTo>
                    <a:pt x="42" y="35"/>
                  </a:lnTo>
                  <a:lnTo>
                    <a:pt x="38" y="32"/>
                  </a:lnTo>
                  <a:lnTo>
                    <a:pt x="38" y="29"/>
                  </a:lnTo>
                  <a:lnTo>
                    <a:pt x="42" y="29"/>
                  </a:lnTo>
                  <a:lnTo>
                    <a:pt x="45" y="32"/>
                  </a:lnTo>
                  <a:lnTo>
                    <a:pt x="45" y="35"/>
                  </a:lnTo>
                  <a:lnTo>
                    <a:pt x="48" y="39"/>
                  </a:lnTo>
                  <a:lnTo>
                    <a:pt x="45" y="35"/>
                  </a:lnTo>
                  <a:lnTo>
                    <a:pt x="45" y="32"/>
                  </a:lnTo>
                  <a:lnTo>
                    <a:pt x="45" y="29"/>
                  </a:lnTo>
                  <a:lnTo>
                    <a:pt x="48" y="26"/>
                  </a:lnTo>
                  <a:lnTo>
                    <a:pt x="52" y="26"/>
                  </a:lnTo>
                  <a:lnTo>
                    <a:pt x="55" y="26"/>
                  </a:lnTo>
                  <a:lnTo>
                    <a:pt x="59" y="26"/>
                  </a:lnTo>
                  <a:lnTo>
                    <a:pt x="66" y="32"/>
                  </a:lnTo>
                  <a:lnTo>
                    <a:pt x="72" y="32"/>
                  </a:lnTo>
                  <a:lnTo>
                    <a:pt x="66" y="29"/>
                  </a:lnTo>
                  <a:lnTo>
                    <a:pt x="59" y="23"/>
                  </a:lnTo>
                  <a:lnTo>
                    <a:pt x="55" y="23"/>
                  </a:lnTo>
                  <a:lnTo>
                    <a:pt x="52" y="23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2" y="16"/>
                  </a:lnTo>
                  <a:lnTo>
                    <a:pt x="52" y="13"/>
                  </a:lnTo>
                  <a:lnTo>
                    <a:pt x="48" y="13"/>
                  </a:lnTo>
                  <a:lnTo>
                    <a:pt x="48" y="10"/>
                  </a:lnTo>
                  <a:lnTo>
                    <a:pt x="52" y="10"/>
                  </a:lnTo>
                  <a:lnTo>
                    <a:pt x="55" y="10"/>
                  </a:lnTo>
                  <a:lnTo>
                    <a:pt x="48" y="6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5" y="3"/>
                  </a:lnTo>
                  <a:lnTo>
                    <a:pt x="45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2" name="Freeform 63"/>
            <p:cNvSpPr>
              <a:spLocks/>
            </p:cNvSpPr>
            <p:nvPr/>
          </p:nvSpPr>
          <p:spPr bwMode="auto">
            <a:xfrm>
              <a:off x="6523038" y="3283605"/>
              <a:ext cx="4763" cy="4762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3 h 3"/>
                <a:gd name="T4" fmla="*/ 3 w 3"/>
                <a:gd name="T5" fmla="*/ 3 h 3"/>
                <a:gd name="T6" fmla="*/ 3 w 3"/>
                <a:gd name="T7" fmla="*/ 3 h 3"/>
                <a:gd name="T8" fmla="*/ 0 w 3"/>
                <a:gd name="T9" fmla="*/ 3 h 3"/>
                <a:gd name="T10" fmla="*/ 3 w 3"/>
                <a:gd name="T11" fmla="*/ 0 h 3"/>
                <a:gd name="T12" fmla="*/ 3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3" name="Freeform 64"/>
            <p:cNvSpPr>
              <a:spLocks/>
            </p:cNvSpPr>
            <p:nvPr/>
          </p:nvSpPr>
          <p:spPr bwMode="auto">
            <a:xfrm>
              <a:off x="6419851" y="3267730"/>
              <a:ext cx="136525" cy="66675"/>
            </a:xfrm>
            <a:custGeom>
              <a:avLst/>
              <a:gdLst>
                <a:gd name="T0" fmla="*/ 38 w 86"/>
                <a:gd name="T1" fmla="*/ 6 h 42"/>
                <a:gd name="T2" fmla="*/ 44 w 86"/>
                <a:gd name="T3" fmla="*/ 3 h 42"/>
                <a:gd name="T4" fmla="*/ 44 w 86"/>
                <a:gd name="T5" fmla="*/ 0 h 42"/>
                <a:gd name="T6" fmla="*/ 51 w 86"/>
                <a:gd name="T7" fmla="*/ 3 h 42"/>
                <a:gd name="T8" fmla="*/ 55 w 86"/>
                <a:gd name="T9" fmla="*/ 3 h 42"/>
                <a:gd name="T10" fmla="*/ 65 w 86"/>
                <a:gd name="T11" fmla="*/ 6 h 42"/>
                <a:gd name="T12" fmla="*/ 68 w 86"/>
                <a:gd name="T13" fmla="*/ 10 h 42"/>
                <a:gd name="T14" fmla="*/ 68 w 86"/>
                <a:gd name="T15" fmla="*/ 13 h 42"/>
                <a:gd name="T16" fmla="*/ 75 w 86"/>
                <a:gd name="T17" fmla="*/ 13 h 42"/>
                <a:gd name="T18" fmla="*/ 82 w 86"/>
                <a:gd name="T19" fmla="*/ 16 h 42"/>
                <a:gd name="T20" fmla="*/ 86 w 86"/>
                <a:gd name="T21" fmla="*/ 16 h 42"/>
                <a:gd name="T22" fmla="*/ 86 w 86"/>
                <a:gd name="T23" fmla="*/ 26 h 42"/>
                <a:gd name="T24" fmla="*/ 75 w 86"/>
                <a:gd name="T25" fmla="*/ 36 h 42"/>
                <a:gd name="T26" fmla="*/ 68 w 86"/>
                <a:gd name="T27" fmla="*/ 32 h 42"/>
                <a:gd name="T28" fmla="*/ 62 w 86"/>
                <a:gd name="T29" fmla="*/ 36 h 42"/>
                <a:gd name="T30" fmla="*/ 55 w 86"/>
                <a:gd name="T31" fmla="*/ 36 h 42"/>
                <a:gd name="T32" fmla="*/ 51 w 86"/>
                <a:gd name="T33" fmla="*/ 32 h 42"/>
                <a:gd name="T34" fmla="*/ 38 w 86"/>
                <a:gd name="T35" fmla="*/ 39 h 42"/>
                <a:gd name="T36" fmla="*/ 27 w 86"/>
                <a:gd name="T37" fmla="*/ 42 h 42"/>
                <a:gd name="T38" fmla="*/ 20 w 86"/>
                <a:gd name="T39" fmla="*/ 39 h 42"/>
                <a:gd name="T40" fmla="*/ 17 w 86"/>
                <a:gd name="T41" fmla="*/ 32 h 42"/>
                <a:gd name="T42" fmla="*/ 10 w 86"/>
                <a:gd name="T43" fmla="*/ 29 h 42"/>
                <a:gd name="T44" fmla="*/ 10 w 86"/>
                <a:gd name="T45" fmla="*/ 36 h 42"/>
                <a:gd name="T46" fmla="*/ 0 w 86"/>
                <a:gd name="T47" fmla="*/ 36 h 42"/>
                <a:gd name="T48" fmla="*/ 3 w 86"/>
                <a:gd name="T49" fmla="*/ 32 h 42"/>
                <a:gd name="T50" fmla="*/ 3 w 86"/>
                <a:gd name="T51" fmla="*/ 29 h 42"/>
                <a:gd name="T52" fmla="*/ 10 w 86"/>
                <a:gd name="T53" fmla="*/ 16 h 42"/>
                <a:gd name="T54" fmla="*/ 17 w 86"/>
                <a:gd name="T55" fmla="*/ 13 h 42"/>
                <a:gd name="T56" fmla="*/ 20 w 86"/>
                <a:gd name="T57" fmla="*/ 6 h 42"/>
                <a:gd name="T58" fmla="*/ 17 w 86"/>
                <a:gd name="T59" fmla="*/ 3 h 42"/>
                <a:gd name="T60" fmla="*/ 24 w 86"/>
                <a:gd name="T61" fmla="*/ 6 h 42"/>
                <a:gd name="T62" fmla="*/ 34 w 86"/>
                <a:gd name="T63" fmla="*/ 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6" h="42">
                  <a:moveTo>
                    <a:pt x="34" y="3"/>
                  </a:moveTo>
                  <a:lnTo>
                    <a:pt x="38" y="6"/>
                  </a:lnTo>
                  <a:lnTo>
                    <a:pt x="41" y="3"/>
                  </a:lnTo>
                  <a:lnTo>
                    <a:pt x="44" y="3"/>
                  </a:lnTo>
                  <a:lnTo>
                    <a:pt x="48" y="3"/>
                  </a:lnTo>
                  <a:lnTo>
                    <a:pt x="44" y="0"/>
                  </a:lnTo>
                  <a:lnTo>
                    <a:pt x="51" y="0"/>
                  </a:lnTo>
                  <a:lnTo>
                    <a:pt x="51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8" y="3"/>
                  </a:lnTo>
                  <a:lnTo>
                    <a:pt x="65" y="6"/>
                  </a:lnTo>
                  <a:lnTo>
                    <a:pt x="68" y="6"/>
                  </a:lnTo>
                  <a:lnTo>
                    <a:pt x="68" y="10"/>
                  </a:lnTo>
                  <a:lnTo>
                    <a:pt x="65" y="13"/>
                  </a:lnTo>
                  <a:lnTo>
                    <a:pt x="68" y="13"/>
                  </a:lnTo>
                  <a:lnTo>
                    <a:pt x="72" y="16"/>
                  </a:lnTo>
                  <a:lnTo>
                    <a:pt x="75" y="13"/>
                  </a:lnTo>
                  <a:lnTo>
                    <a:pt x="79" y="16"/>
                  </a:lnTo>
                  <a:lnTo>
                    <a:pt x="82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2" y="23"/>
                  </a:lnTo>
                  <a:lnTo>
                    <a:pt x="86" y="26"/>
                  </a:lnTo>
                  <a:lnTo>
                    <a:pt x="79" y="29"/>
                  </a:lnTo>
                  <a:lnTo>
                    <a:pt x="75" y="36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2" y="29"/>
                  </a:lnTo>
                  <a:lnTo>
                    <a:pt x="62" y="36"/>
                  </a:lnTo>
                  <a:lnTo>
                    <a:pt x="58" y="42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51" y="32"/>
                  </a:lnTo>
                  <a:lnTo>
                    <a:pt x="44" y="29"/>
                  </a:lnTo>
                  <a:lnTo>
                    <a:pt x="38" y="39"/>
                  </a:lnTo>
                  <a:lnTo>
                    <a:pt x="34" y="36"/>
                  </a:lnTo>
                  <a:lnTo>
                    <a:pt x="27" y="42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6"/>
                  </a:lnTo>
                  <a:lnTo>
                    <a:pt x="17" y="32"/>
                  </a:lnTo>
                  <a:lnTo>
                    <a:pt x="17" y="29"/>
                  </a:lnTo>
                  <a:lnTo>
                    <a:pt x="10" y="29"/>
                  </a:lnTo>
                  <a:lnTo>
                    <a:pt x="7" y="29"/>
                  </a:lnTo>
                  <a:lnTo>
                    <a:pt x="10" y="36"/>
                  </a:lnTo>
                  <a:lnTo>
                    <a:pt x="3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29"/>
                  </a:lnTo>
                  <a:lnTo>
                    <a:pt x="7" y="23"/>
                  </a:lnTo>
                  <a:lnTo>
                    <a:pt x="10" y="16"/>
                  </a:lnTo>
                  <a:lnTo>
                    <a:pt x="13" y="16"/>
                  </a:lnTo>
                  <a:lnTo>
                    <a:pt x="17" y="13"/>
                  </a:lnTo>
                  <a:lnTo>
                    <a:pt x="20" y="10"/>
                  </a:lnTo>
                  <a:lnTo>
                    <a:pt x="20" y="6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24" y="3"/>
                  </a:lnTo>
                  <a:lnTo>
                    <a:pt x="24" y="6"/>
                  </a:lnTo>
                  <a:lnTo>
                    <a:pt x="27" y="6"/>
                  </a:lnTo>
                  <a:lnTo>
                    <a:pt x="34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4" name="Freeform 65"/>
            <p:cNvSpPr>
              <a:spLocks noEditPoints="1"/>
            </p:cNvSpPr>
            <p:nvPr/>
          </p:nvSpPr>
          <p:spPr bwMode="auto">
            <a:xfrm>
              <a:off x="6348413" y="3077230"/>
              <a:ext cx="109538" cy="82550"/>
            </a:xfrm>
            <a:custGeom>
              <a:avLst/>
              <a:gdLst>
                <a:gd name="T0" fmla="*/ 45 w 69"/>
                <a:gd name="T1" fmla="*/ 49 h 52"/>
                <a:gd name="T2" fmla="*/ 45 w 69"/>
                <a:gd name="T3" fmla="*/ 39 h 52"/>
                <a:gd name="T4" fmla="*/ 48 w 69"/>
                <a:gd name="T5" fmla="*/ 33 h 52"/>
                <a:gd name="T6" fmla="*/ 58 w 69"/>
                <a:gd name="T7" fmla="*/ 33 h 52"/>
                <a:gd name="T8" fmla="*/ 58 w 69"/>
                <a:gd name="T9" fmla="*/ 30 h 52"/>
                <a:gd name="T10" fmla="*/ 62 w 69"/>
                <a:gd name="T11" fmla="*/ 23 h 52"/>
                <a:gd name="T12" fmla="*/ 62 w 69"/>
                <a:gd name="T13" fmla="*/ 20 h 52"/>
                <a:gd name="T14" fmla="*/ 55 w 69"/>
                <a:gd name="T15" fmla="*/ 20 h 52"/>
                <a:gd name="T16" fmla="*/ 62 w 69"/>
                <a:gd name="T17" fmla="*/ 17 h 52"/>
                <a:gd name="T18" fmla="*/ 65 w 69"/>
                <a:gd name="T19" fmla="*/ 13 h 52"/>
                <a:gd name="T20" fmla="*/ 65 w 69"/>
                <a:gd name="T21" fmla="*/ 7 h 52"/>
                <a:gd name="T22" fmla="*/ 69 w 69"/>
                <a:gd name="T23" fmla="*/ 4 h 52"/>
                <a:gd name="T24" fmla="*/ 62 w 69"/>
                <a:gd name="T25" fmla="*/ 0 h 52"/>
                <a:gd name="T26" fmla="*/ 48 w 69"/>
                <a:gd name="T27" fmla="*/ 0 h 52"/>
                <a:gd name="T28" fmla="*/ 45 w 69"/>
                <a:gd name="T29" fmla="*/ 0 h 52"/>
                <a:gd name="T30" fmla="*/ 38 w 69"/>
                <a:gd name="T31" fmla="*/ 4 h 52"/>
                <a:gd name="T32" fmla="*/ 24 w 69"/>
                <a:gd name="T33" fmla="*/ 10 h 52"/>
                <a:gd name="T34" fmla="*/ 21 w 69"/>
                <a:gd name="T35" fmla="*/ 10 h 52"/>
                <a:gd name="T36" fmla="*/ 14 w 69"/>
                <a:gd name="T37" fmla="*/ 17 h 52"/>
                <a:gd name="T38" fmla="*/ 17 w 69"/>
                <a:gd name="T39" fmla="*/ 23 h 52"/>
                <a:gd name="T40" fmla="*/ 14 w 69"/>
                <a:gd name="T41" fmla="*/ 30 h 52"/>
                <a:gd name="T42" fmla="*/ 10 w 69"/>
                <a:gd name="T43" fmla="*/ 33 h 52"/>
                <a:gd name="T44" fmla="*/ 17 w 69"/>
                <a:gd name="T45" fmla="*/ 39 h 52"/>
                <a:gd name="T46" fmla="*/ 10 w 69"/>
                <a:gd name="T47" fmla="*/ 39 h 52"/>
                <a:gd name="T48" fmla="*/ 14 w 69"/>
                <a:gd name="T49" fmla="*/ 42 h 52"/>
                <a:gd name="T50" fmla="*/ 14 w 69"/>
                <a:gd name="T51" fmla="*/ 46 h 52"/>
                <a:gd name="T52" fmla="*/ 7 w 69"/>
                <a:gd name="T53" fmla="*/ 42 h 52"/>
                <a:gd name="T54" fmla="*/ 0 w 69"/>
                <a:gd name="T55" fmla="*/ 42 h 52"/>
                <a:gd name="T56" fmla="*/ 7 w 69"/>
                <a:gd name="T57" fmla="*/ 42 h 52"/>
                <a:gd name="T58" fmla="*/ 10 w 69"/>
                <a:gd name="T59" fmla="*/ 46 h 52"/>
                <a:gd name="T60" fmla="*/ 10 w 69"/>
                <a:gd name="T61" fmla="*/ 46 h 52"/>
                <a:gd name="T62" fmla="*/ 3 w 69"/>
                <a:gd name="T63" fmla="*/ 46 h 52"/>
                <a:gd name="T64" fmla="*/ 0 w 69"/>
                <a:gd name="T65" fmla="*/ 46 h 52"/>
                <a:gd name="T66" fmla="*/ 3 w 69"/>
                <a:gd name="T67" fmla="*/ 49 h 52"/>
                <a:gd name="T68" fmla="*/ 7 w 69"/>
                <a:gd name="T69" fmla="*/ 49 h 52"/>
                <a:gd name="T70" fmla="*/ 14 w 69"/>
                <a:gd name="T71" fmla="*/ 49 h 52"/>
                <a:gd name="T72" fmla="*/ 17 w 69"/>
                <a:gd name="T73" fmla="*/ 46 h 52"/>
                <a:gd name="T74" fmla="*/ 24 w 69"/>
                <a:gd name="T75" fmla="*/ 42 h 52"/>
                <a:gd name="T76" fmla="*/ 31 w 69"/>
                <a:gd name="T77" fmla="*/ 46 h 52"/>
                <a:gd name="T78" fmla="*/ 38 w 69"/>
                <a:gd name="T79" fmla="*/ 49 h 52"/>
                <a:gd name="T80" fmla="*/ 38 w 69"/>
                <a:gd name="T81" fmla="*/ 52 h 52"/>
                <a:gd name="T82" fmla="*/ 41 w 69"/>
                <a:gd name="T83" fmla="*/ 52 h 52"/>
                <a:gd name="T84" fmla="*/ 7 w 69"/>
                <a:gd name="T85" fmla="*/ 39 h 52"/>
                <a:gd name="T86" fmla="*/ 7 w 69"/>
                <a:gd name="T87" fmla="*/ 39 h 52"/>
                <a:gd name="T88" fmla="*/ 3 w 69"/>
                <a:gd name="T89" fmla="*/ 39 h 52"/>
                <a:gd name="T90" fmla="*/ 7 w 69"/>
                <a:gd name="T91" fmla="*/ 36 h 52"/>
                <a:gd name="T92" fmla="*/ 14 w 69"/>
                <a:gd name="T93" fmla="*/ 36 h 52"/>
                <a:gd name="T94" fmla="*/ 10 w 69"/>
                <a:gd name="T95" fmla="*/ 39 h 52"/>
                <a:gd name="T96" fmla="*/ 7 w 69"/>
                <a:gd name="T97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9" h="52">
                  <a:moveTo>
                    <a:pt x="41" y="52"/>
                  </a:moveTo>
                  <a:lnTo>
                    <a:pt x="45" y="49"/>
                  </a:lnTo>
                  <a:lnTo>
                    <a:pt x="45" y="46"/>
                  </a:lnTo>
                  <a:lnTo>
                    <a:pt x="45" y="39"/>
                  </a:lnTo>
                  <a:lnTo>
                    <a:pt x="45" y="36"/>
                  </a:lnTo>
                  <a:lnTo>
                    <a:pt x="48" y="33"/>
                  </a:lnTo>
                  <a:lnTo>
                    <a:pt x="55" y="33"/>
                  </a:lnTo>
                  <a:lnTo>
                    <a:pt x="58" y="33"/>
                  </a:lnTo>
                  <a:lnTo>
                    <a:pt x="62" y="33"/>
                  </a:lnTo>
                  <a:lnTo>
                    <a:pt x="58" y="30"/>
                  </a:lnTo>
                  <a:lnTo>
                    <a:pt x="62" y="26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2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8" y="17"/>
                  </a:lnTo>
                  <a:lnTo>
                    <a:pt x="62" y="17"/>
                  </a:lnTo>
                  <a:lnTo>
                    <a:pt x="65" y="17"/>
                  </a:lnTo>
                  <a:lnTo>
                    <a:pt x="65" y="13"/>
                  </a:lnTo>
                  <a:lnTo>
                    <a:pt x="65" y="10"/>
                  </a:lnTo>
                  <a:lnTo>
                    <a:pt x="65" y="7"/>
                  </a:lnTo>
                  <a:lnTo>
                    <a:pt x="69" y="7"/>
                  </a:lnTo>
                  <a:lnTo>
                    <a:pt x="69" y="4"/>
                  </a:lnTo>
                  <a:lnTo>
                    <a:pt x="65" y="4"/>
                  </a:lnTo>
                  <a:lnTo>
                    <a:pt x="62" y="0"/>
                  </a:lnTo>
                  <a:lnTo>
                    <a:pt x="55" y="0"/>
                  </a:lnTo>
                  <a:lnTo>
                    <a:pt x="48" y="0"/>
                  </a:lnTo>
                  <a:lnTo>
                    <a:pt x="45" y="4"/>
                  </a:lnTo>
                  <a:lnTo>
                    <a:pt x="45" y="0"/>
                  </a:lnTo>
                  <a:lnTo>
                    <a:pt x="41" y="4"/>
                  </a:lnTo>
                  <a:lnTo>
                    <a:pt x="38" y="4"/>
                  </a:lnTo>
                  <a:lnTo>
                    <a:pt x="31" y="7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1" y="10"/>
                  </a:lnTo>
                  <a:lnTo>
                    <a:pt x="21" y="13"/>
                  </a:lnTo>
                  <a:lnTo>
                    <a:pt x="14" y="17"/>
                  </a:lnTo>
                  <a:lnTo>
                    <a:pt x="17" y="20"/>
                  </a:lnTo>
                  <a:lnTo>
                    <a:pt x="17" y="23"/>
                  </a:lnTo>
                  <a:lnTo>
                    <a:pt x="14" y="26"/>
                  </a:lnTo>
                  <a:lnTo>
                    <a:pt x="14" y="30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4" y="36"/>
                  </a:lnTo>
                  <a:lnTo>
                    <a:pt x="17" y="39"/>
                  </a:lnTo>
                  <a:lnTo>
                    <a:pt x="14" y="39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6"/>
                  </a:lnTo>
                  <a:lnTo>
                    <a:pt x="10" y="46"/>
                  </a:lnTo>
                  <a:lnTo>
                    <a:pt x="7" y="42"/>
                  </a:lnTo>
                  <a:lnTo>
                    <a:pt x="3" y="39"/>
                  </a:lnTo>
                  <a:lnTo>
                    <a:pt x="0" y="42"/>
                  </a:lnTo>
                  <a:lnTo>
                    <a:pt x="3" y="42"/>
                  </a:lnTo>
                  <a:lnTo>
                    <a:pt x="7" y="42"/>
                  </a:lnTo>
                  <a:lnTo>
                    <a:pt x="7" y="46"/>
                  </a:lnTo>
                  <a:lnTo>
                    <a:pt x="10" y="46"/>
                  </a:lnTo>
                  <a:lnTo>
                    <a:pt x="14" y="46"/>
                  </a:lnTo>
                  <a:lnTo>
                    <a:pt x="10" y="46"/>
                  </a:lnTo>
                  <a:lnTo>
                    <a:pt x="7" y="46"/>
                  </a:lnTo>
                  <a:lnTo>
                    <a:pt x="3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3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10" y="49"/>
                  </a:lnTo>
                  <a:lnTo>
                    <a:pt x="14" y="49"/>
                  </a:lnTo>
                  <a:lnTo>
                    <a:pt x="14" y="46"/>
                  </a:lnTo>
                  <a:lnTo>
                    <a:pt x="17" y="46"/>
                  </a:lnTo>
                  <a:lnTo>
                    <a:pt x="17" y="42"/>
                  </a:lnTo>
                  <a:lnTo>
                    <a:pt x="24" y="42"/>
                  </a:lnTo>
                  <a:lnTo>
                    <a:pt x="27" y="46"/>
                  </a:lnTo>
                  <a:lnTo>
                    <a:pt x="31" y="46"/>
                  </a:lnTo>
                  <a:lnTo>
                    <a:pt x="31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52"/>
                  </a:lnTo>
                  <a:lnTo>
                    <a:pt x="41" y="52"/>
                  </a:lnTo>
                  <a:lnTo>
                    <a:pt x="41" y="52"/>
                  </a:lnTo>
                  <a:close/>
                  <a:moveTo>
                    <a:pt x="3" y="39"/>
                  </a:moveTo>
                  <a:lnTo>
                    <a:pt x="7" y="39"/>
                  </a:lnTo>
                  <a:lnTo>
                    <a:pt x="10" y="39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3" y="39"/>
                  </a:lnTo>
                  <a:lnTo>
                    <a:pt x="3" y="39"/>
                  </a:lnTo>
                  <a:close/>
                  <a:moveTo>
                    <a:pt x="7" y="36"/>
                  </a:moveTo>
                  <a:lnTo>
                    <a:pt x="10" y="36"/>
                  </a:lnTo>
                  <a:lnTo>
                    <a:pt x="14" y="36"/>
                  </a:lnTo>
                  <a:lnTo>
                    <a:pt x="14" y="39"/>
                  </a:lnTo>
                  <a:lnTo>
                    <a:pt x="10" y="39"/>
                  </a:lnTo>
                  <a:lnTo>
                    <a:pt x="10" y="36"/>
                  </a:lnTo>
                  <a:lnTo>
                    <a:pt x="7" y="36"/>
                  </a:lnTo>
                  <a:lnTo>
                    <a:pt x="7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5" name="Freeform 66"/>
            <p:cNvSpPr>
              <a:spLocks/>
            </p:cNvSpPr>
            <p:nvPr/>
          </p:nvSpPr>
          <p:spPr bwMode="auto">
            <a:xfrm>
              <a:off x="6337301" y="3143905"/>
              <a:ext cx="82550" cy="66675"/>
            </a:xfrm>
            <a:custGeom>
              <a:avLst/>
              <a:gdLst>
                <a:gd name="T0" fmla="*/ 52 w 52"/>
                <a:gd name="T1" fmla="*/ 30 h 42"/>
                <a:gd name="T2" fmla="*/ 52 w 52"/>
                <a:gd name="T3" fmla="*/ 23 h 42"/>
                <a:gd name="T4" fmla="*/ 52 w 52"/>
                <a:gd name="T5" fmla="*/ 20 h 42"/>
                <a:gd name="T6" fmla="*/ 52 w 52"/>
                <a:gd name="T7" fmla="*/ 20 h 42"/>
                <a:gd name="T8" fmla="*/ 48 w 52"/>
                <a:gd name="T9" fmla="*/ 13 h 42"/>
                <a:gd name="T10" fmla="*/ 48 w 52"/>
                <a:gd name="T11" fmla="*/ 10 h 42"/>
                <a:gd name="T12" fmla="*/ 45 w 52"/>
                <a:gd name="T13" fmla="*/ 10 h 42"/>
                <a:gd name="T14" fmla="*/ 45 w 52"/>
                <a:gd name="T15" fmla="*/ 7 h 42"/>
                <a:gd name="T16" fmla="*/ 45 w 52"/>
                <a:gd name="T17" fmla="*/ 7 h 42"/>
                <a:gd name="T18" fmla="*/ 38 w 52"/>
                <a:gd name="T19" fmla="*/ 7 h 42"/>
                <a:gd name="T20" fmla="*/ 38 w 52"/>
                <a:gd name="T21" fmla="*/ 4 h 42"/>
                <a:gd name="T22" fmla="*/ 34 w 52"/>
                <a:gd name="T23" fmla="*/ 4 h 42"/>
                <a:gd name="T24" fmla="*/ 31 w 52"/>
                <a:gd name="T25" fmla="*/ 0 h 42"/>
                <a:gd name="T26" fmla="*/ 24 w 52"/>
                <a:gd name="T27" fmla="*/ 0 h 42"/>
                <a:gd name="T28" fmla="*/ 24 w 52"/>
                <a:gd name="T29" fmla="*/ 4 h 42"/>
                <a:gd name="T30" fmla="*/ 21 w 52"/>
                <a:gd name="T31" fmla="*/ 4 h 42"/>
                <a:gd name="T32" fmla="*/ 21 w 52"/>
                <a:gd name="T33" fmla="*/ 7 h 42"/>
                <a:gd name="T34" fmla="*/ 17 w 52"/>
                <a:gd name="T35" fmla="*/ 7 h 42"/>
                <a:gd name="T36" fmla="*/ 14 w 52"/>
                <a:gd name="T37" fmla="*/ 7 h 42"/>
                <a:gd name="T38" fmla="*/ 14 w 52"/>
                <a:gd name="T39" fmla="*/ 7 h 42"/>
                <a:gd name="T40" fmla="*/ 10 w 52"/>
                <a:gd name="T41" fmla="*/ 7 h 42"/>
                <a:gd name="T42" fmla="*/ 7 w 52"/>
                <a:gd name="T43" fmla="*/ 4 h 42"/>
                <a:gd name="T44" fmla="*/ 7 w 52"/>
                <a:gd name="T45" fmla="*/ 4 h 42"/>
                <a:gd name="T46" fmla="*/ 0 w 52"/>
                <a:gd name="T47" fmla="*/ 7 h 42"/>
                <a:gd name="T48" fmla="*/ 0 w 52"/>
                <a:gd name="T49" fmla="*/ 10 h 42"/>
                <a:gd name="T50" fmla="*/ 0 w 52"/>
                <a:gd name="T51" fmla="*/ 10 h 42"/>
                <a:gd name="T52" fmla="*/ 4 w 52"/>
                <a:gd name="T53" fmla="*/ 17 h 42"/>
                <a:gd name="T54" fmla="*/ 7 w 52"/>
                <a:gd name="T55" fmla="*/ 17 h 42"/>
                <a:gd name="T56" fmla="*/ 7 w 52"/>
                <a:gd name="T57" fmla="*/ 20 h 42"/>
                <a:gd name="T58" fmla="*/ 14 w 52"/>
                <a:gd name="T59" fmla="*/ 23 h 42"/>
                <a:gd name="T60" fmla="*/ 14 w 52"/>
                <a:gd name="T61" fmla="*/ 23 h 42"/>
                <a:gd name="T62" fmla="*/ 17 w 52"/>
                <a:gd name="T63" fmla="*/ 26 h 42"/>
                <a:gd name="T64" fmla="*/ 21 w 52"/>
                <a:gd name="T65" fmla="*/ 26 h 42"/>
                <a:gd name="T66" fmla="*/ 21 w 52"/>
                <a:gd name="T67" fmla="*/ 33 h 42"/>
                <a:gd name="T68" fmla="*/ 24 w 52"/>
                <a:gd name="T69" fmla="*/ 33 h 42"/>
                <a:gd name="T70" fmla="*/ 28 w 52"/>
                <a:gd name="T71" fmla="*/ 33 h 42"/>
                <a:gd name="T72" fmla="*/ 28 w 52"/>
                <a:gd name="T73" fmla="*/ 33 h 42"/>
                <a:gd name="T74" fmla="*/ 31 w 52"/>
                <a:gd name="T75" fmla="*/ 33 h 42"/>
                <a:gd name="T76" fmla="*/ 34 w 52"/>
                <a:gd name="T77" fmla="*/ 33 h 42"/>
                <a:gd name="T78" fmla="*/ 38 w 52"/>
                <a:gd name="T79" fmla="*/ 39 h 42"/>
                <a:gd name="T80" fmla="*/ 41 w 52"/>
                <a:gd name="T81" fmla="*/ 39 h 42"/>
                <a:gd name="T82" fmla="*/ 45 w 52"/>
                <a:gd name="T83" fmla="*/ 42 h 42"/>
                <a:gd name="T84" fmla="*/ 48 w 52"/>
                <a:gd name="T85" fmla="*/ 39 h 42"/>
                <a:gd name="T86" fmla="*/ 48 w 52"/>
                <a:gd name="T87" fmla="*/ 39 h 42"/>
                <a:gd name="T88" fmla="*/ 48 w 52"/>
                <a:gd name="T89" fmla="*/ 39 h 42"/>
                <a:gd name="T90" fmla="*/ 48 w 52"/>
                <a:gd name="T91" fmla="*/ 36 h 42"/>
                <a:gd name="T92" fmla="*/ 48 w 52"/>
                <a:gd name="T93" fmla="*/ 36 h 42"/>
                <a:gd name="T94" fmla="*/ 48 w 52"/>
                <a:gd name="T95" fmla="*/ 33 h 42"/>
                <a:gd name="T96" fmla="*/ 48 w 52"/>
                <a:gd name="T97" fmla="*/ 33 h 42"/>
                <a:gd name="T98" fmla="*/ 48 w 52"/>
                <a:gd name="T99" fmla="*/ 30 h 42"/>
                <a:gd name="T100" fmla="*/ 52 w 52"/>
                <a:gd name="T101" fmla="*/ 3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2" h="42">
                  <a:moveTo>
                    <a:pt x="52" y="30"/>
                  </a:moveTo>
                  <a:lnTo>
                    <a:pt x="52" y="23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13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38" y="7"/>
                  </a:lnTo>
                  <a:lnTo>
                    <a:pt x="38" y="4"/>
                  </a:lnTo>
                  <a:lnTo>
                    <a:pt x="34" y="4"/>
                  </a:lnTo>
                  <a:lnTo>
                    <a:pt x="31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1" y="4"/>
                  </a:lnTo>
                  <a:lnTo>
                    <a:pt x="21" y="7"/>
                  </a:lnTo>
                  <a:lnTo>
                    <a:pt x="17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0" y="7"/>
                  </a:lnTo>
                  <a:lnTo>
                    <a:pt x="7" y="4"/>
                  </a:lnTo>
                  <a:lnTo>
                    <a:pt x="7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4" y="17"/>
                  </a:lnTo>
                  <a:lnTo>
                    <a:pt x="7" y="17"/>
                  </a:lnTo>
                  <a:lnTo>
                    <a:pt x="7" y="20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7" y="26"/>
                  </a:lnTo>
                  <a:lnTo>
                    <a:pt x="21" y="26"/>
                  </a:lnTo>
                  <a:lnTo>
                    <a:pt x="21" y="33"/>
                  </a:lnTo>
                  <a:lnTo>
                    <a:pt x="24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31" y="33"/>
                  </a:lnTo>
                  <a:lnTo>
                    <a:pt x="34" y="33"/>
                  </a:lnTo>
                  <a:lnTo>
                    <a:pt x="38" y="39"/>
                  </a:lnTo>
                  <a:lnTo>
                    <a:pt x="41" y="39"/>
                  </a:lnTo>
                  <a:lnTo>
                    <a:pt x="45" y="42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8" y="30"/>
                  </a:lnTo>
                  <a:lnTo>
                    <a:pt x="52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6" name="Freeform 67"/>
            <p:cNvSpPr>
              <a:spLocks/>
            </p:cNvSpPr>
            <p:nvPr/>
          </p:nvSpPr>
          <p:spPr bwMode="auto">
            <a:xfrm>
              <a:off x="6413501" y="3191530"/>
              <a:ext cx="17463" cy="25400"/>
            </a:xfrm>
            <a:custGeom>
              <a:avLst/>
              <a:gdLst>
                <a:gd name="T0" fmla="*/ 0 w 11"/>
                <a:gd name="T1" fmla="*/ 9 h 16"/>
                <a:gd name="T2" fmla="*/ 0 w 11"/>
                <a:gd name="T3" fmla="*/ 9 h 16"/>
                <a:gd name="T4" fmla="*/ 0 w 11"/>
                <a:gd name="T5" fmla="*/ 6 h 16"/>
                <a:gd name="T6" fmla="*/ 0 w 11"/>
                <a:gd name="T7" fmla="*/ 6 h 16"/>
                <a:gd name="T8" fmla="*/ 0 w 11"/>
                <a:gd name="T9" fmla="*/ 3 h 16"/>
                <a:gd name="T10" fmla="*/ 0 w 11"/>
                <a:gd name="T11" fmla="*/ 3 h 16"/>
                <a:gd name="T12" fmla="*/ 0 w 11"/>
                <a:gd name="T13" fmla="*/ 0 h 16"/>
                <a:gd name="T14" fmla="*/ 4 w 11"/>
                <a:gd name="T15" fmla="*/ 0 h 16"/>
                <a:gd name="T16" fmla="*/ 11 w 11"/>
                <a:gd name="T17" fmla="*/ 3 h 16"/>
                <a:gd name="T18" fmla="*/ 11 w 11"/>
                <a:gd name="T19" fmla="*/ 6 h 16"/>
                <a:gd name="T20" fmla="*/ 11 w 11"/>
                <a:gd name="T21" fmla="*/ 9 h 16"/>
                <a:gd name="T22" fmla="*/ 11 w 11"/>
                <a:gd name="T23" fmla="*/ 12 h 16"/>
                <a:gd name="T24" fmla="*/ 7 w 11"/>
                <a:gd name="T25" fmla="*/ 16 h 16"/>
                <a:gd name="T26" fmla="*/ 4 w 11"/>
                <a:gd name="T27" fmla="*/ 12 h 16"/>
                <a:gd name="T28" fmla="*/ 0 w 11"/>
                <a:gd name="T29" fmla="*/ 9 h 16"/>
                <a:gd name="T30" fmla="*/ 0 w 11"/>
                <a:gd name="T3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6">
                  <a:moveTo>
                    <a:pt x="0" y="9"/>
                  </a:moveTo>
                  <a:lnTo>
                    <a:pt x="0" y="9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0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11" y="9"/>
                  </a:lnTo>
                  <a:lnTo>
                    <a:pt x="11" y="12"/>
                  </a:lnTo>
                  <a:lnTo>
                    <a:pt x="7" y="16"/>
                  </a:lnTo>
                  <a:lnTo>
                    <a:pt x="4" y="12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7" name="Freeform 68"/>
            <p:cNvSpPr>
              <a:spLocks noEditPoints="1"/>
            </p:cNvSpPr>
            <p:nvPr/>
          </p:nvSpPr>
          <p:spPr bwMode="auto">
            <a:xfrm>
              <a:off x="6070601" y="2729567"/>
              <a:ext cx="20638" cy="41275"/>
            </a:xfrm>
            <a:custGeom>
              <a:avLst/>
              <a:gdLst>
                <a:gd name="T0" fmla="*/ 6 w 13"/>
                <a:gd name="T1" fmla="*/ 19 h 26"/>
                <a:gd name="T2" fmla="*/ 10 w 13"/>
                <a:gd name="T3" fmla="*/ 26 h 26"/>
                <a:gd name="T4" fmla="*/ 10 w 13"/>
                <a:gd name="T5" fmla="*/ 22 h 26"/>
                <a:gd name="T6" fmla="*/ 10 w 13"/>
                <a:gd name="T7" fmla="*/ 19 h 26"/>
                <a:gd name="T8" fmla="*/ 6 w 13"/>
                <a:gd name="T9" fmla="*/ 19 h 26"/>
                <a:gd name="T10" fmla="*/ 6 w 13"/>
                <a:gd name="T11" fmla="*/ 19 h 26"/>
                <a:gd name="T12" fmla="*/ 6 w 13"/>
                <a:gd name="T13" fmla="*/ 13 h 26"/>
                <a:gd name="T14" fmla="*/ 6 w 13"/>
                <a:gd name="T15" fmla="*/ 13 h 26"/>
                <a:gd name="T16" fmla="*/ 10 w 13"/>
                <a:gd name="T17" fmla="*/ 16 h 26"/>
                <a:gd name="T18" fmla="*/ 10 w 13"/>
                <a:gd name="T19" fmla="*/ 13 h 26"/>
                <a:gd name="T20" fmla="*/ 6 w 13"/>
                <a:gd name="T21" fmla="*/ 13 h 26"/>
                <a:gd name="T22" fmla="*/ 6 w 13"/>
                <a:gd name="T23" fmla="*/ 13 h 26"/>
                <a:gd name="T24" fmla="*/ 0 w 13"/>
                <a:gd name="T25" fmla="*/ 3 h 26"/>
                <a:gd name="T26" fmla="*/ 0 w 13"/>
                <a:gd name="T27" fmla="*/ 6 h 26"/>
                <a:gd name="T28" fmla="*/ 3 w 13"/>
                <a:gd name="T29" fmla="*/ 6 h 26"/>
                <a:gd name="T30" fmla="*/ 0 w 13"/>
                <a:gd name="T31" fmla="*/ 3 h 26"/>
                <a:gd name="T32" fmla="*/ 0 w 13"/>
                <a:gd name="T33" fmla="*/ 3 h 26"/>
                <a:gd name="T34" fmla="*/ 10 w 13"/>
                <a:gd name="T35" fmla="*/ 0 h 26"/>
                <a:gd name="T36" fmla="*/ 13 w 13"/>
                <a:gd name="T37" fmla="*/ 0 h 26"/>
                <a:gd name="T38" fmla="*/ 13 w 13"/>
                <a:gd name="T39" fmla="*/ 0 h 26"/>
                <a:gd name="T40" fmla="*/ 10 w 13"/>
                <a:gd name="T41" fmla="*/ 0 h 26"/>
                <a:gd name="T42" fmla="*/ 10 w 13"/>
                <a:gd name="T43" fmla="*/ 0 h 26"/>
                <a:gd name="T44" fmla="*/ 3 w 13"/>
                <a:gd name="T45" fmla="*/ 0 h 26"/>
                <a:gd name="T46" fmla="*/ 3 w 13"/>
                <a:gd name="T47" fmla="*/ 0 h 26"/>
                <a:gd name="T48" fmla="*/ 6 w 13"/>
                <a:gd name="T49" fmla="*/ 0 h 26"/>
                <a:gd name="T50" fmla="*/ 10 w 13"/>
                <a:gd name="T51" fmla="*/ 0 h 26"/>
                <a:gd name="T52" fmla="*/ 10 w 13"/>
                <a:gd name="T53" fmla="*/ 3 h 26"/>
                <a:gd name="T54" fmla="*/ 6 w 13"/>
                <a:gd name="T55" fmla="*/ 3 h 26"/>
                <a:gd name="T56" fmla="*/ 3 w 13"/>
                <a:gd name="T57" fmla="*/ 0 h 26"/>
                <a:gd name="T58" fmla="*/ 3 w 13"/>
                <a:gd name="T59" fmla="*/ 0 h 26"/>
                <a:gd name="T60" fmla="*/ 3 w 13"/>
                <a:gd name="T61" fmla="*/ 0 h 26"/>
                <a:gd name="T62" fmla="*/ 6 w 13"/>
                <a:gd name="T63" fmla="*/ 6 h 26"/>
                <a:gd name="T64" fmla="*/ 10 w 13"/>
                <a:gd name="T65" fmla="*/ 10 h 26"/>
                <a:gd name="T66" fmla="*/ 6 w 13"/>
                <a:gd name="T67" fmla="*/ 10 h 26"/>
                <a:gd name="T68" fmla="*/ 3 w 13"/>
                <a:gd name="T69" fmla="*/ 3 h 26"/>
                <a:gd name="T70" fmla="*/ 3 w 13"/>
                <a:gd name="T71" fmla="*/ 0 h 26"/>
                <a:gd name="T72" fmla="*/ 3 w 13"/>
                <a:gd name="T7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" h="26">
                  <a:moveTo>
                    <a:pt x="6" y="19"/>
                  </a:moveTo>
                  <a:lnTo>
                    <a:pt x="10" y="26"/>
                  </a:lnTo>
                  <a:lnTo>
                    <a:pt x="10" y="22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6" y="19"/>
                  </a:lnTo>
                  <a:close/>
                  <a:moveTo>
                    <a:pt x="6" y="13"/>
                  </a:moveTo>
                  <a:lnTo>
                    <a:pt x="6" y="13"/>
                  </a:lnTo>
                  <a:lnTo>
                    <a:pt x="10" y="16"/>
                  </a:lnTo>
                  <a:lnTo>
                    <a:pt x="10" y="13"/>
                  </a:lnTo>
                  <a:lnTo>
                    <a:pt x="6" y="13"/>
                  </a:lnTo>
                  <a:lnTo>
                    <a:pt x="6" y="13"/>
                  </a:lnTo>
                  <a:close/>
                  <a:moveTo>
                    <a:pt x="0" y="3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3"/>
                  </a:lnTo>
                  <a:close/>
                  <a:moveTo>
                    <a:pt x="10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6" y="6"/>
                  </a:lnTo>
                  <a:lnTo>
                    <a:pt x="10" y="10"/>
                  </a:lnTo>
                  <a:lnTo>
                    <a:pt x="6" y="10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8" name="Freeform 69"/>
            <p:cNvSpPr>
              <a:spLocks/>
            </p:cNvSpPr>
            <p:nvPr/>
          </p:nvSpPr>
          <p:spPr bwMode="auto">
            <a:xfrm>
              <a:off x="5972176" y="3001030"/>
              <a:ext cx="125413" cy="138112"/>
            </a:xfrm>
            <a:custGeom>
              <a:avLst/>
              <a:gdLst>
                <a:gd name="T0" fmla="*/ 34 w 79"/>
                <a:gd name="T1" fmla="*/ 87 h 87"/>
                <a:gd name="T2" fmla="*/ 41 w 79"/>
                <a:gd name="T3" fmla="*/ 81 h 87"/>
                <a:gd name="T4" fmla="*/ 44 w 79"/>
                <a:gd name="T5" fmla="*/ 78 h 87"/>
                <a:gd name="T6" fmla="*/ 62 w 79"/>
                <a:gd name="T7" fmla="*/ 74 h 87"/>
                <a:gd name="T8" fmla="*/ 65 w 79"/>
                <a:gd name="T9" fmla="*/ 74 h 87"/>
                <a:gd name="T10" fmla="*/ 68 w 79"/>
                <a:gd name="T11" fmla="*/ 71 h 87"/>
                <a:gd name="T12" fmla="*/ 75 w 79"/>
                <a:gd name="T13" fmla="*/ 65 h 87"/>
                <a:gd name="T14" fmla="*/ 75 w 79"/>
                <a:gd name="T15" fmla="*/ 48 h 87"/>
                <a:gd name="T16" fmla="*/ 79 w 79"/>
                <a:gd name="T17" fmla="*/ 45 h 87"/>
                <a:gd name="T18" fmla="*/ 72 w 79"/>
                <a:gd name="T19" fmla="*/ 36 h 87"/>
                <a:gd name="T20" fmla="*/ 72 w 79"/>
                <a:gd name="T21" fmla="*/ 32 h 87"/>
                <a:gd name="T22" fmla="*/ 62 w 79"/>
                <a:gd name="T23" fmla="*/ 23 h 87"/>
                <a:gd name="T24" fmla="*/ 55 w 79"/>
                <a:gd name="T25" fmla="*/ 29 h 87"/>
                <a:gd name="T26" fmla="*/ 55 w 79"/>
                <a:gd name="T27" fmla="*/ 16 h 87"/>
                <a:gd name="T28" fmla="*/ 58 w 79"/>
                <a:gd name="T29" fmla="*/ 10 h 87"/>
                <a:gd name="T30" fmla="*/ 65 w 79"/>
                <a:gd name="T31" fmla="*/ 6 h 87"/>
                <a:gd name="T32" fmla="*/ 58 w 79"/>
                <a:gd name="T33" fmla="*/ 3 h 87"/>
                <a:gd name="T34" fmla="*/ 55 w 79"/>
                <a:gd name="T35" fmla="*/ 10 h 87"/>
                <a:gd name="T36" fmla="*/ 55 w 79"/>
                <a:gd name="T37" fmla="*/ 3 h 87"/>
                <a:gd name="T38" fmla="*/ 48 w 79"/>
                <a:gd name="T39" fmla="*/ 6 h 87"/>
                <a:gd name="T40" fmla="*/ 41 w 79"/>
                <a:gd name="T41" fmla="*/ 6 h 87"/>
                <a:gd name="T42" fmla="*/ 41 w 79"/>
                <a:gd name="T43" fmla="*/ 13 h 87"/>
                <a:gd name="T44" fmla="*/ 37 w 79"/>
                <a:gd name="T45" fmla="*/ 13 h 87"/>
                <a:gd name="T46" fmla="*/ 41 w 79"/>
                <a:gd name="T47" fmla="*/ 16 h 87"/>
                <a:gd name="T48" fmla="*/ 44 w 79"/>
                <a:gd name="T49" fmla="*/ 16 h 87"/>
                <a:gd name="T50" fmla="*/ 37 w 79"/>
                <a:gd name="T51" fmla="*/ 26 h 87"/>
                <a:gd name="T52" fmla="*/ 27 w 79"/>
                <a:gd name="T53" fmla="*/ 26 h 87"/>
                <a:gd name="T54" fmla="*/ 17 w 79"/>
                <a:gd name="T55" fmla="*/ 26 h 87"/>
                <a:gd name="T56" fmla="*/ 13 w 79"/>
                <a:gd name="T57" fmla="*/ 26 h 87"/>
                <a:gd name="T58" fmla="*/ 17 w 79"/>
                <a:gd name="T59" fmla="*/ 32 h 87"/>
                <a:gd name="T60" fmla="*/ 10 w 79"/>
                <a:gd name="T61" fmla="*/ 29 h 87"/>
                <a:gd name="T62" fmla="*/ 20 w 79"/>
                <a:gd name="T63" fmla="*/ 36 h 87"/>
                <a:gd name="T64" fmla="*/ 17 w 79"/>
                <a:gd name="T65" fmla="*/ 39 h 87"/>
                <a:gd name="T66" fmla="*/ 10 w 79"/>
                <a:gd name="T67" fmla="*/ 42 h 87"/>
                <a:gd name="T68" fmla="*/ 13 w 79"/>
                <a:gd name="T69" fmla="*/ 45 h 87"/>
                <a:gd name="T70" fmla="*/ 31 w 79"/>
                <a:gd name="T71" fmla="*/ 48 h 87"/>
                <a:gd name="T72" fmla="*/ 20 w 79"/>
                <a:gd name="T73" fmla="*/ 55 h 87"/>
                <a:gd name="T74" fmla="*/ 10 w 79"/>
                <a:gd name="T75" fmla="*/ 65 h 87"/>
                <a:gd name="T76" fmla="*/ 20 w 79"/>
                <a:gd name="T77" fmla="*/ 61 h 87"/>
                <a:gd name="T78" fmla="*/ 27 w 79"/>
                <a:gd name="T79" fmla="*/ 61 h 87"/>
                <a:gd name="T80" fmla="*/ 17 w 79"/>
                <a:gd name="T81" fmla="*/ 65 h 87"/>
                <a:gd name="T82" fmla="*/ 13 w 79"/>
                <a:gd name="T83" fmla="*/ 68 h 87"/>
                <a:gd name="T84" fmla="*/ 10 w 79"/>
                <a:gd name="T85" fmla="*/ 71 h 87"/>
                <a:gd name="T86" fmla="*/ 6 w 79"/>
                <a:gd name="T87" fmla="*/ 71 h 87"/>
                <a:gd name="T88" fmla="*/ 13 w 79"/>
                <a:gd name="T89" fmla="*/ 71 h 87"/>
                <a:gd name="T90" fmla="*/ 3 w 79"/>
                <a:gd name="T91" fmla="*/ 81 h 87"/>
                <a:gd name="T92" fmla="*/ 13 w 79"/>
                <a:gd name="T93" fmla="*/ 81 h 87"/>
                <a:gd name="T94" fmla="*/ 10 w 79"/>
                <a:gd name="T95" fmla="*/ 84 h 87"/>
                <a:gd name="T96" fmla="*/ 10 w 79"/>
                <a:gd name="T97" fmla="*/ 87 h 87"/>
                <a:gd name="T98" fmla="*/ 17 w 79"/>
                <a:gd name="T9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9" h="87">
                  <a:moveTo>
                    <a:pt x="20" y="87"/>
                  </a:moveTo>
                  <a:lnTo>
                    <a:pt x="27" y="87"/>
                  </a:lnTo>
                  <a:lnTo>
                    <a:pt x="34" y="87"/>
                  </a:lnTo>
                  <a:lnTo>
                    <a:pt x="37" y="84"/>
                  </a:lnTo>
                  <a:lnTo>
                    <a:pt x="37" y="81"/>
                  </a:lnTo>
                  <a:lnTo>
                    <a:pt x="41" y="81"/>
                  </a:lnTo>
                  <a:lnTo>
                    <a:pt x="37" y="81"/>
                  </a:lnTo>
                  <a:lnTo>
                    <a:pt x="41" y="81"/>
                  </a:lnTo>
                  <a:lnTo>
                    <a:pt x="44" y="78"/>
                  </a:lnTo>
                  <a:lnTo>
                    <a:pt x="48" y="81"/>
                  </a:lnTo>
                  <a:lnTo>
                    <a:pt x="48" y="78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5" y="74"/>
                  </a:lnTo>
                  <a:lnTo>
                    <a:pt x="68" y="74"/>
                  </a:lnTo>
                  <a:lnTo>
                    <a:pt x="72" y="74"/>
                  </a:lnTo>
                  <a:lnTo>
                    <a:pt x="68" y="71"/>
                  </a:lnTo>
                  <a:lnTo>
                    <a:pt x="72" y="68"/>
                  </a:lnTo>
                  <a:lnTo>
                    <a:pt x="75" y="65"/>
                  </a:lnTo>
                  <a:lnTo>
                    <a:pt x="75" y="65"/>
                  </a:lnTo>
                  <a:lnTo>
                    <a:pt x="79" y="61"/>
                  </a:lnTo>
                  <a:lnTo>
                    <a:pt x="79" y="58"/>
                  </a:lnTo>
                  <a:lnTo>
                    <a:pt x="75" y="48"/>
                  </a:lnTo>
                  <a:lnTo>
                    <a:pt x="75" y="48"/>
                  </a:lnTo>
                  <a:lnTo>
                    <a:pt x="79" y="48"/>
                  </a:lnTo>
                  <a:lnTo>
                    <a:pt x="79" y="45"/>
                  </a:lnTo>
                  <a:lnTo>
                    <a:pt x="75" y="42"/>
                  </a:lnTo>
                  <a:lnTo>
                    <a:pt x="75" y="39"/>
                  </a:lnTo>
                  <a:lnTo>
                    <a:pt x="72" y="36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5" y="26"/>
                  </a:lnTo>
                  <a:lnTo>
                    <a:pt x="62" y="23"/>
                  </a:lnTo>
                  <a:lnTo>
                    <a:pt x="58" y="23"/>
                  </a:lnTo>
                  <a:lnTo>
                    <a:pt x="58" y="29"/>
                  </a:lnTo>
                  <a:lnTo>
                    <a:pt x="55" y="29"/>
                  </a:lnTo>
                  <a:lnTo>
                    <a:pt x="44" y="23"/>
                  </a:lnTo>
                  <a:lnTo>
                    <a:pt x="51" y="16"/>
                  </a:lnTo>
                  <a:lnTo>
                    <a:pt x="55" y="16"/>
                  </a:lnTo>
                  <a:lnTo>
                    <a:pt x="55" y="13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62" y="6"/>
                  </a:lnTo>
                  <a:lnTo>
                    <a:pt x="65" y="6"/>
                  </a:lnTo>
                  <a:lnTo>
                    <a:pt x="62" y="3"/>
                  </a:lnTo>
                  <a:lnTo>
                    <a:pt x="58" y="0"/>
                  </a:lnTo>
                  <a:lnTo>
                    <a:pt x="58" y="3"/>
                  </a:lnTo>
                  <a:lnTo>
                    <a:pt x="55" y="3"/>
                  </a:lnTo>
                  <a:lnTo>
                    <a:pt x="55" y="6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6"/>
                  </a:lnTo>
                  <a:lnTo>
                    <a:pt x="55" y="3"/>
                  </a:lnTo>
                  <a:lnTo>
                    <a:pt x="51" y="3"/>
                  </a:lnTo>
                  <a:lnTo>
                    <a:pt x="51" y="6"/>
                  </a:lnTo>
                  <a:lnTo>
                    <a:pt x="48" y="6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10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4" y="16"/>
                  </a:lnTo>
                  <a:lnTo>
                    <a:pt x="37" y="16"/>
                  </a:lnTo>
                  <a:lnTo>
                    <a:pt x="41" y="16"/>
                  </a:lnTo>
                  <a:lnTo>
                    <a:pt x="41" y="19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1" y="23"/>
                  </a:lnTo>
                  <a:lnTo>
                    <a:pt x="34" y="23"/>
                  </a:lnTo>
                  <a:lnTo>
                    <a:pt x="37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27" y="26"/>
                  </a:lnTo>
                  <a:lnTo>
                    <a:pt x="27" y="23"/>
                  </a:lnTo>
                  <a:lnTo>
                    <a:pt x="17" y="23"/>
                  </a:lnTo>
                  <a:lnTo>
                    <a:pt x="17" y="26"/>
                  </a:lnTo>
                  <a:lnTo>
                    <a:pt x="13" y="23"/>
                  </a:lnTo>
                  <a:lnTo>
                    <a:pt x="10" y="29"/>
                  </a:lnTo>
                  <a:lnTo>
                    <a:pt x="13" y="26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7" y="32"/>
                  </a:lnTo>
                  <a:lnTo>
                    <a:pt x="13" y="32"/>
                  </a:lnTo>
                  <a:lnTo>
                    <a:pt x="13" y="29"/>
                  </a:lnTo>
                  <a:lnTo>
                    <a:pt x="10" y="29"/>
                  </a:lnTo>
                  <a:lnTo>
                    <a:pt x="13" y="32"/>
                  </a:lnTo>
                  <a:lnTo>
                    <a:pt x="17" y="32"/>
                  </a:lnTo>
                  <a:lnTo>
                    <a:pt x="20" y="36"/>
                  </a:lnTo>
                  <a:lnTo>
                    <a:pt x="13" y="36"/>
                  </a:lnTo>
                  <a:lnTo>
                    <a:pt x="13" y="39"/>
                  </a:lnTo>
                  <a:lnTo>
                    <a:pt x="17" y="39"/>
                  </a:lnTo>
                  <a:lnTo>
                    <a:pt x="10" y="39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7" y="45"/>
                  </a:lnTo>
                  <a:lnTo>
                    <a:pt x="17" y="48"/>
                  </a:lnTo>
                  <a:lnTo>
                    <a:pt x="31" y="48"/>
                  </a:lnTo>
                  <a:lnTo>
                    <a:pt x="27" y="52"/>
                  </a:lnTo>
                  <a:lnTo>
                    <a:pt x="24" y="52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17" y="58"/>
                  </a:lnTo>
                  <a:lnTo>
                    <a:pt x="10" y="65"/>
                  </a:lnTo>
                  <a:lnTo>
                    <a:pt x="13" y="65"/>
                  </a:lnTo>
                  <a:lnTo>
                    <a:pt x="17" y="61"/>
                  </a:lnTo>
                  <a:lnTo>
                    <a:pt x="20" y="61"/>
                  </a:lnTo>
                  <a:lnTo>
                    <a:pt x="24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31" y="61"/>
                  </a:lnTo>
                  <a:lnTo>
                    <a:pt x="24" y="65"/>
                  </a:lnTo>
                  <a:lnTo>
                    <a:pt x="17" y="65"/>
                  </a:lnTo>
                  <a:lnTo>
                    <a:pt x="13" y="65"/>
                  </a:lnTo>
                  <a:lnTo>
                    <a:pt x="10" y="68"/>
                  </a:lnTo>
                  <a:lnTo>
                    <a:pt x="13" y="68"/>
                  </a:lnTo>
                  <a:lnTo>
                    <a:pt x="10" y="71"/>
                  </a:lnTo>
                  <a:lnTo>
                    <a:pt x="13" y="71"/>
                  </a:lnTo>
                  <a:lnTo>
                    <a:pt x="10" y="71"/>
                  </a:lnTo>
                  <a:lnTo>
                    <a:pt x="6" y="68"/>
                  </a:lnTo>
                  <a:lnTo>
                    <a:pt x="6" y="71"/>
                  </a:lnTo>
                  <a:lnTo>
                    <a:pt x="6" y="71"/>
                  </a:lnTo>
                  <a:lnTo>
                    <a:pt x="0" y="71"/>
                  </a:lnTo>
                  <a:lnTo>
                    <a:pt x="0" y="74"/>
                  </a:lnTo>
                  <a:lnTo>
                    <a:pt x="13" y="71"/>
                  </a:lnTo>
                  <a:lnTo>
                    <a:pt x="10" y="74"/>
                  </a:lnTo>
                  <a:lnTo>
                    <a:pt x="3" y="78"/>
                  </a:lnTo>
                  <a:lnTo>
                    <a:pt x="3" y="81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13" y="81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10" y="84"/>
                  </a:lnTo>
                  <a:lnTo>
                    <a:pt x="17" y="81"/>
                  </a:lnTo>
                  <a:lnTo>
                    <a:pt x="17" y="84"/>
                  </a:lnTo>
                  <a:lnTo>
                    <a:pt x="10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7" y="87"/>
                  </a:lnTo>
                  <a:lnTo>
                    <a:pt x="2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9" name="Freeform 70"/>
            <p:cNvSpPr>
              <a:spLocks noEditPoints="1"/>
            </p:cNvSpPr>
            <p:nvPr/>
          </p:nvSpPr>
          <p:spPr bwMode="auto">
            <a:xfrm>
              <a:off x="6042026" y="2791480"/>
              <a:ext cx="268288" cy="409575"/>
            </a:xfrm>
            <a:custGeom>
              <a:avLst/>
              <a:gdLst>
                <a:gd name="T0" fmla="*/ 11 w 169"/>
                <a:gd name="T1" fmla="*/ 148 h 258"/>
                <a:gd name="T2" fmla="*/ 42 w 169"/>
                <a:gd name="T3" fmla="*/ 148 h 258"/>
                <a:gd name="T4" fmla="*/ 38 w 169"/>
                <a:gd name="T5" fmla="*/ 161 h 258"/>
                <a:gd name="T6" fmla="*/ 121 w 169"/>
                <a:gd name="T7" fmla="*/ 3 h 258"/>
                <a:gd name="T8" fmla="*/ 114 w 169"/>
                <a:gd name="T9" fmla="*/ 9 h 258"/>
                <a:gd name="T10" fmla="*/ 110 w 169"/>
                <a:gd name="T11" fmla="*/ 16 h 258"/>
                <a:gd name="T12" fmla="*/ 117 w 169"/>
                <a:gd name="T13" fmla="*/ 16 h 258"/>
                <a:gd name="T14" fmla="*/ 114 w 169"/>
                <a:gd name="T15" fmla="*/ 242 h 258"/>
                <a:gd name="T16" fmla="*/ 48 w 169"/>
                <a:gd name="T17" fmla="*/ 126 h 258"/>
                <a:gd name="T18" fmla="*/ 21 w 169"/>
                <a:gd name="T19" fmla="*/ 106 h 258"/>
                <a:gd name="T20" fmla="*/ 35 w 169"/>
                <a:gd name="T21" fmla="*/ 100 h 258"/>
                <a:gd name="T22" fmla="*/ 83 w 169"/>
                <a:gd name="T23" fmla="*/ 48 h 258"/>
                <a:gd name="T24" fmla="*/ 79 w 169"/>
                <a:gd name="T25" fmla="*/ 51 h 258"/>
                <a:gd name="T26" fmla="*/ 21 w 169"/>
                <a:gd name="T27" fmla="*/ 74 h 258"/>
                <a:gd name="T28" fmla="*/ 28 w 169"/>
                <a:gd name="T29" fmla="*/ 74 h 258"/>
                <a:gd name="T30" fmla="*/ 21 w 169"/>
                <a:gd name="T31" fmla="*/ 77 h 258"/>
                <a:gd name="T32" fmla="*/ 14 w 169"/>
                <a:gd name="T33" fmla="*/ 84 h 258"/>
                <a:gd name="T34" fmla="*/ 18 w 169"/>
                <a:gd name="T35" fmla="*/ 90 h 258"/>
                <a:gd name="T36" fmla="*/ 31 w 169"/>
                <a:gd name="T37" fmla="*/ 93 h 258"/>
                <a:gd name="T38" fmla="*/ 35 w 169"/>
                <a:gd name="T39" fmla="*/ 80 h 258"/>
                <a:gd name="T40" fmla="*/ 38 w 169"/>
                <a:gd name="T41" fmla="*/ 113 h 258"/>
                <a:gd name="T42" fmla="*/ 31 w 169"/>
                <a:gd name="T43" fmla="*/ 113 h 258"/>
                <a:gd name="T44" fmla="*/ 28 w 169"/>
                <a:gd name="T45" fmla="*/ 129 h 258"/>
                <a:gd name="T46" fmla="*/ 59 w 169"/>
                <a:gd name="T47" fmla="*/ 184 h 258"/>
                <a:gd name="T48" fmla="*/ 62 w 169"/>
                <a:gd name="T49" fmla="*/ 155 h 258"/>
                <a:gd name="T50" fmla="*/ 55 w 169"/>
                <a:gd name="T51" fmla="*/ 252 h 258"/>
                <a:gd name="T52" fmla="*/ 76 w 169"/>
                <a:gd name="T53" fmla="*/ 252 h 258"/>
                <a:gd name="T54" fmla="*/ 104 w 169"/>
                <a:gd name="T55" fmla="*/ 242 h 258"/>
                <a:gd name="T56" fmla="*/ 131 w 169"/>
                <a:gd name="T57" fmla="*/ 239 h 258"/>
                <a:gd name="T58" fmla="*/ 162 w 169"/>
                <a:gd name="T59" fmla="*/ 229 h 258"/>
                <a:gd name="T60" fmla="*/ 152 w 169"/>
                <a:gd name="T61" fmla="*/ 222 h 258"/>
                <a:gd name="T62" fmla="*/ 159 w 169"/>
                <a:gd name="T63" fmla="*/ 216 h 258"/>
                <a:gd name="T64" fmla="*/ 165 w 169"/>
                <a:gd name="T65" fmla="*/ 203 h 258"/>
                <a:gd name="T66" fmla="*/ 141 w 169"/>
                <a:gd name="T67" fmla="*/ 184 h 258"/>
                <a:gd name="T68" fmla="*/ 128 w 169"/>
                <a:gd name="T69" fmla="*/ 171 h 258"/>
                <a:gd name="T70" fmla="*/ 131 w 169"/>
                <a:gd name="T71" fmla="*/ 158 h 258"/>
                <a:gd name="T72" fmla="*/ 104 w 169"/>
                <a:gd name="T73" fmla="*/ 129 h 258"/>
                <a:gd name="T74" fmla="*/ 73 w 169"/>
                <a:gd name="T75" fmla="*/ 119 h 258"/>
                <a:gd name="T76" fmla="*/ 83 w 169"/>
                <a:gd name="T77" fmla="*/ 109 h 258"/>
                <a:gd name="T78" fmla="*/ 104 w 169"/>
                <a:gd name="T79" fmla="*/ 87 h 258"/>
                <a:gd name="T80" fmla="*/ 73 w 169"/>
                <a:gd name="T81" fmla="*/ 84 h 258"/>
                <a:gd name="T82" fmla="*/ 76 w 169"/>
                <a:gd name="T83" fmla="*/ 71 h 258"/>
                <a:gd name="T84" fmla="*/ 66 w 169"/>
                <a:gd name="T85" fmla="*/ 61 h 258"/>
                <a:gd name="T86" fmla="*/ 52 w 169"/>
                <a:gd name="T87" fmla="*/ 64 h 258"/>
                <a:gd name="T88" fmla="*/ 42 w 169"/>
                <a:gd name="T89" fmla="*/ 74 h 258"/>
                <a:gd name="T90" fmla="*/ 38 w 169"/>
                <a:gd name="T91" fmla="*/ 84 h 258"/>
                <a:gd name="T92" fmla="*/ 42 w 169"/>
                <a:gd name="T93" fmla="*/ 90 h 258"/>
                <a:gd name="T94" fmla="*/ 38 w 169"/>
                <a:gd name="T95" fmla="*/ 103 h 258"/>
                <a:gd name="T96" fmla="*/ 48 w 169"/>
                <a:gd name="T97" fmla="*/ 103 h 258"/>
                <a:gd name="T98" fmla="*/ 42 w 169"/>
                <a:gd name="T99" fmla="*/ 126 h 258"/>
                <a:gd name="T100" fmla="*/ 45 w 169"/>
                <a:gd name="T101" fmla="*/ 119 h 258"/>
                <a:gd name="T102" fmla="*/ 55 w 169"/>
                <a:gd name="T103" fmla="*/ 116 h 258"/>
                <a:gd name="T104" fmla="*/ 48 w 169"/>
                <a:gd name="T105" fmla="*/ 142 h 258"/>
                <a:gd name="T106" fmla="*/ 69 w 169"/>
                <a:gd name="T107" fmla="*/ 145 h 258"/>
                <a:gd name="T108" fmla="*/ 86 w 169"/>
                <a:gd name="T109" fmla="*/ 164 h 258"/>
                <a:gd name="T110" fmla="*/ 83 w 169"/>
                <a:gd name="T111" fmla="*/ 180 h 258"/>
                <a:gd name="T112" fmla="*/ 59 w 169"/>
                <a:gd name="T113" fmla="*/ 193 h 258"/>
                <a:gd name="T114" fmla="*/ 59 w 169"/>
                <a:gd name="T115" fmla="*/ 210 h 258"/>
                <a:gd name="T116" fmla="*/ 55 w 169"/>
                <a:gd name="T117" fmla="*/ 219 h 258"/>
                <a:gd name="T118" fmla="*/ 76 w 169"/>
                <a:gd name="T119" fmla="*/ 226 h 258"/>
                <a:gd name="T120" fmla="*/ 83 w 169"/>
                <a:gd name="T121" fmla="*/ 232 h 258"/>
                <a:gd name="T122" fmla="*/ 52 w 169"/>
                <a:gd name="T123" fmla="*/ 24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9" h="258">
                  <a:moveTo>
                    <a:pt x="31" y="164"/>
                  </a:moveTo>
                  <a:lnTo>
                    <a:pt x="28" y="164"/>
                  </a:lnTo>
                  <a:lnTo>
                    <a:pt x="24" y="164"/>
                  </a:lnTo>
                  <a:lnTo>
                    <a:pt x="21" y="158"/>
                  </a:lnTo>
                  <a:lnTo>
                    <a:pt x="18" y="155"/>
                  </a:lnTo>
                  <a:lnTo>
                    <a:pt x="14" y="155"/>
                  </a:lnTo>
                  <a:lnTo>
                    <a:pt x="14" y="161"/>
                  </a:lnTo>
                  <a:lnTo>
                    <a:pt x="11" y="161"/>
                  </a:lnTo>
                  <a:lnTo>
                    <a:pt x="0" y="155"/>
                  </a:lnTo>
                  <a:lnTo>
                    <a:pt x="7" y="148"/>
                  </a:lnTo>
                  <a:lnTo>
                    <a:pt x="11" y="148"/>
                  </a:lnTo>
                  <a:lnTo>
                    <a:pt x="11" y="145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8" y="142"/>
                  </a:lnTo>
                  <a:lnTo>
                    <a:pt x="21" y="138"/>
                  </a:lnTo>
                  <a:lnTo>
                    <a:pt x="21" y="138"/>
                  </a:lnTo>
                  <a:lnTo>
                    <a:pt x="28" y="138"/>
                  </a:lnTo>
                  <a:lnTo>
                    <a:pt x="31" y="138"/>
                  </a:lnTo>
                  <a:lnTo>
                    <a:pt x="35" y="138"/>
                  </a:lnTo>
                  <a:lnTo>
                    <a:pt x="35" y="142"/>
                  </a:lnTo>
                  <a:lnTo>
                    <a:pt x="42" y="148"/>
                  </a:lnTo>
                  <a:lnTo>
                    <a:pt x="38" y="151"/>
                  </a:lnTo>
                  <a:lnTo>
                    <a:pt x="42" y="151"/>
                  </a:lnTo>
                  <a:lnTo>
                    <a:pt x="45" y="158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42" y="155"/>
                  </a:lnTo>
                  <a:lnTo>
                    <a:pt x="42" y="158"/>
                  </a:lnTo>
                  <a:lnTo>
                    <a:pt x="42" y="158"/>
                  </a:lnTo>
                  <a:lnTo>
                    <a:pt x="42" y="161"/>
                  </a:lnTo>
                  <a:lnTo>
                    <a:pt x="38" y="161"/>
                  </a:lnTo>
                  <a:lnTo>
                    <a:pt x="38" y="161"/>
                  </a:lnTo>
                  <a:lnTo>
                    <a:pt x="35" y="164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1" y="164"/>
                  </a:lnTo>
                  <a:close/>
                  <a:moveTo>
                    <a:pt x="114" y="22"/>
                  </a:moveTo>
                  <a:lnTo>
                    <a:pt x="114" y="19"/>
                  </a:lnTo>
                  <a:lnTo>
                    <a:pt x="117" y="19"/>
                  </a:lnTo>
                  <a:lnTo>
                    <a:pt x="114" y="22"/>
                  </a:lnTo>
                  <a:lnTo>
                    <a:pt x="114" y="22"/>
                  </a:lnTo>
                  <a:close/>
                  <a:moveTo>
                    <a:pt x="121" y="3"/>
                  </a:moveTo>
                  <a:lnTo>
                    <a:pt x="121" y="0"/>
                  </a:lnTo>
                  <a:lnTo>
                    <a:pt x="121" y="0"/>
                  </a:lnTo>
                  <a:lnTo>
                    <a:pt x="121" y="3"/>
                  </a:lnTo>
                  <a:lnTo>
                    <a:pt x="121" y="3"/>
                  </a:lnTo>
                  <a:close/>
                  <a:moveTo>
                    <a:pt x="114" y="9"/>
                  </a:moveTo>
                  <a:lnTo>
                    <a:pt x="114" y="6"/>
                  </a:lnTo>
                  <a:lnTo>
                    <a:pt x="110" y="6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4" y="9"/>
                  </a:lnTo>
                  <a:lnTo>
                    <a:pt x="114" y="9"/>
                  </a:lnTo>
                  <a:close/>
                  <a:moveTo>
                    <a:pt x="117" y="6"/>
                  </a:moveTo>
                  <a:lnTo>
                    <a:pt x="114" y="6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close/>
                  <a:moveTo>
                    <a:pt x="114" y="16"/>
                  </a:moveTo>
                  <a:lnTo>
                    <a:pt x="114" y="16"/>
                  </a:lnTo>
                  <a:lnTo>
                    <a:pt x="110" y="16"/>
                  </a:lnTo>
                  <a:lnTo>
                    <a:pt x="107" y="13"/>
                  </a:lnTo>
                  <a:lnTo>
                    <a:pt x="110" y="13"/>
                  </a:lnTo>
                  <a:lnTo>
                    <a:pt x="114" y="13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7" y="9"/>
                  </a:lnTo>
                  <a:lnTo>
                    <a:pt x="121" y="9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6"/>
                  </a:lnTo>
                  <a:lnTo>
                    <a:pt x="117" y="19"/>
                  </a:lnTo>
                  <a:lnTo>
                    <a:pt x="114" y="16"/>
                  </a:lnTo>
                  <a:lnTo>
                    <a:pt x="114" y="16"/>
                  </a:lnTo>
                  <a:close/>
                  <a:moveTo>
                    <a:pt x="152" y="222"/>
                  </a:moveTo>
                  <a:lnTo>
                    <a:pt x="155" y="226"/>
                  </a:lnTo>
                  <a:lnTo>
                    <a:pt x="155" y="222"/>
                  </a:lnTo>
                  <a:lnTo>
                    <a:pt x="155" y="222"/>
                  </a:lnTo>
                  <a:lnTo>
                    <a:pt x="155" y="222"/>
                  </a:lnTo>
                  <a:lnTo>
                    <a:pt x="152" y="222"/>
                  </a:lnTo>
                  <a:lnTo>
                    <a:pt x="152" y="222"/>
                  </a:lnTo>
                  <a:close/>
                  <a:moveTo>
                    <a:pt x="114" y="242"/>
                  </a:moveTo>
                  <a:lnTo>
                    <a:pt x="117" y="239"/>
                  </a:lnTo>
                  <a:lnTo>
                    <a:pt x="121" y="242"/>
                  </a:lnTo>
                  <a:lnTo>
                    <a:pt x="121" y="242"/>
                  </a:lnTo>
                  <a:lnTo>
                    <a:pt x="121" y="242"/>
                  </a:lnTo>
                  <a:lnTo>
                    <a:pt x="121" y="245"/>
                  </a:lnTo>
                  <a:lnTo>
                    <a:pt x="117" y="245"/>
                  </a:lnTo>
                  <a:lnTo>
                    <a:pt x="114" y="242"/>
                  </a:lnTo>
                  <a:lnTo>
                    <a:pt x="114" y="242"/>
                  </a:lnTo>
                  <a:lnTo>
                    <a:pt x="114" y="242"/>
                  </a:lnTo>
                  <a:close/>
                  <a:moveTo>
                    <a:pt x="52" y="122"/>
                  </a:moveTo>
                  <a:lnTo>
                    <a:pt x="48" y="126"/>
                  </a:lnTo>
                  <a:lnTo>
                    <a:pt x="52" y="126"/>
                  </a:lnTo>
                  <a:lnTo>
                    <a:pt x="52" y="122"/>
                  </a:lnTo>
                  <a:lnTo>
                    <a:pt x="52" y="122"/>
                  </a:lnTo>
                  <a:lnTo>
                    <a:pt x="52" y="122"/>
                  </a:lnTo>
                  <a:close/>
                  <a:moveTo>
                    <a:pt x="31" y="119"/>
                  </a:moveTo>
                  <a:lnTo>
                    <a:pt x="35" y="116"/>
                  </a:lnTo>
                  <a:lnTo>
                    <a:pt x="35" y="119"/>
                  </a:lnTo>
                  <a:lnTo>
                    <a:pt x="31" y="119"/>
                  </a:lnTo>
                  <a:lnTo>
                    <a:pt x="31" y="119"/>
                  </a:lnTo>
                  <a:close/>
                  <a:moveTo>
                    <a:pt x="21" y="109"/>
                  </a:moveTo>
                  <a:lnTo>
                    <a:pt x="21" y="106"/>
                  </a:lnTo>
                  <a:lnTo>
                    <a:pt x="24" y="106"/>
                  </a:lnTo>
                  <a:lnTo>
                    <a:pt x="21" y="109"/>
                  </a:lnTo>
                  <a:lnTo>
                    <a:pt x="21" y="109"/>
                  </a:lnTo>
                  <a:close/>
                  <a:moveTo>
                    <a:pt x="28" y="106"/>
                  </a:moveTo>
                  <a:lnTo>
                    <a:pt x="28" y="103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8" y="106"/>
                  </a:lnTo>
                  <a:close/>
                  <a:moveTo>
                    <a:pt x="35" y="100"/>
                  </a:moveTo>
                  <a:lnTo>
                    <a:pt x="35" y="100"/>
                  </a:lnTo>
                  <a:lnTo>
                    <a:pt x="35" y="100"/>
                  </a:lnTo>
                  <a:lnTo>
                    <a:pt x="35" y="100"/>
                  </a:lnTo>
                  <a:lnTo>
                    <a:pt x="35" y="100"/>
                  </a:lnTo>
                  <a:close/>
                  <a:moveTo>
                    <a:pt x="31" y="96"/>
                  </a:moveTo>
                  <a:lnTo>
                    <a:pt x="31" y="100"/>
                  </a:lnTo>
                  <a:lnTo>
                    <a:pt x="35" y="96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6"/>
                  </a:lnTo>
                  <a:close/>
                  <a:moveTo>
                    <a:pt x="79" y="48"/>
                  </a:moveTo>
                  <a:lnTo>
                    <a:pt x="83" y="48"/>
                  </a:lnTo>
                  <a:lnTo>
                    <a:pt x="83" y="48"/>
                  </a:lnTo>
                  <a:lnTo>
                    <a:pt x="79" y="48"/>
                  </a:lnTo>
                  <a:lnTo>
                    <a:pt x="79" y="48"/>
                  </a:lnTo>
                  <a:close/>
                  <a:moveTo>
                    <a:pt x="76" y="48"/>
                  </a:moveTo>
                  <a:lnTo>
                    <a:pt x="79" y="48"/>
                  </a:lnTo>
                  <a:lnTo>
                    <a:pt x="83" y="51"/>
                  </a:lnTo>
                  <a:lnTo>
                    <a:pt x="79" y="51"/>
                  </a:lnTo>
                  <a:lnTo>
                    <a:pt x="83" y="51"/>
                  </a:lnTo>
                  <a:lnTo>
                    <a:pt x="83" y="54"/>
                  </a:lnTo>
                  <a:lnTo>
                    <a:pt x="83" y="51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76" y="51"/>
                  </a:lnTo>
                  <a:lnTo>
                    <a:pt x="76" y="48"/>
                  </a:lnTo>
                  <a:lnTo>
                    <a:pt x="76" y="48"/>
                  </a:lnTo>
                  <a:close/>
                  <a:moveTo>
                    <a:pt x="76" y="54"/>
                  </a:moveTo>
                  <a:lnTo>
                    <a:pt x="79" y="58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6" y="54"/>
                  </a:lnTo>
                  <a:lnTo>
                    <a:pt x="76" y="54"/>
                  </a:lnTo>
                  <a:close/>
                  <a:moveTo>
                    <a:pt x="21" y="74"/>
                  </a:moveTo>
                  <a:lnTo>
                    <a:pt x="24" y="71"/>
                  </a:lnTo>
                  <a:lnTo>
                    <a:pt x="21" y="71"/>
                  </a:lnTo>
                  <a:lnTo>
                    <a:pt x="24" y="67"/>
                  </a:lnTo>
                  <a:lnTo>
                    <a:pt x="28" y="71"/>
                  </a:lnTo>
                  <a:lnTo>
                    <a:pt x="24" y="67"/>
                  </a:lnTo>
                  <a:lnTo>
                    <a:pt x="35" y="61"/>
                  </a:lnTo>
                  <a:lnTo>
                    <a:pt x="35" y="67"/>
                  </a:lnTo>
                  <a:lnTo>
                    <a:pt x="31" y="67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4" y="74"/>
                  </a:lnTo>
                  <a:lnTo>
                    <a:pt x="21" y="74"/>
                  </a:lnTo>
                  <a:lnTo>
                    <a:pt x="21" y="74"/>
                  </a:lnTo>
                  <a:close/>
                  <a:moveTo>
                    <a:pt x="21" y="77"/>
                  </a:moveTo>
                  <a:lnTo>
                    <a:pt x="24" y="80"/>
                  </a:lnTo>
                  <a:lnTo>
                    <a:pt x="28" y="77"/>
                  </a:lnTo>
                  <a:lnTo>
                    <a:pt x="24" y="74"/>
                  </a:lnTo>
                  <a:lnTo>
                    <a:pt x="24" y="77"/>
                  </a:lnTo>
                  <a:lnTo>
                    <a:pt x="21" y="77"/>
                  </a:lnTo>
                  <a:lnTo>
                    <a:pt x="21" y="77"/>
                  </a:lnTo>
                  <a:lnTo>
                    <a:pt x="21" y="77"/>
                  </a:lnTo>
                  <a:close/>
                  <a:moveTo>
                    <a:pt x="21" y="84"/>
                  </a:moveTo>
                  <a:lnTo>
                    <a:pt x="18" y="84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21" y="80"/>
                  </a:lnTo>
                  <a:lnTo>
                    <a:pt x="21" y="84"/>
                  </a:lnTo>
                  <a:lnTo>
                    <a:pt x="21" y="84"/>
                  </a:lnTo>
                  <a:close/>
                  <a:moveTo>
                    <a:pt x="18" y="87"/>
                  </a:moveTo>
                  <a:lnTo>
                    <a:pt x="14" y="87"/>
                  </a:lnTo>
                  <a:lnTo>
                    <a:pt x="14" y="84"/>
                  </a:lnTo>
                  <a:lnTo>
                    <a:pt x="18" y="84"/>
                  </a:lnTo>
                  <a:lnTo>
                    <a:pt x="18" y="87"/>
                  </a:lnTo>
                  <a:lnTo>
                    <a:pt x="18" y="87"/>
                  </a:lnTo>
                  <a:close/>
                  <a:moveTo>
                    <a:pt x="14" y="93"/>
                  </a:moveTo>
                  <a:lnTo>
                    <a:pt x="14" y="96"/>
                  </a:lnTo>
                  <a:lnTo>
                    <a:pt x="14" y="100"/>
                  </a:lnTo>
                  <a:lnTo>
                    <a:pt x="14" y="96"/>
                  </a:lnTo>
                  <a:lnTo>
                    <a:pt x="14" y="93"/>
                  </a:lnTo>
                  <a:lnTo>
                    <a:pt x="14" y="93"/>
                  </a:lnTo>
                  <a:close/>
                  <a:moveTo>
                    <a:pt x="18" y="93"/>
                  </a:moveTo>
                  <a:lnTo>
                    <a:pt x="18" y="90"/>
                  </a:lnTo>
                  <a:lnTo>
                    <a:pt x="18" y="90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8" y="90"/>
                  </a:lnTo>
                  <a:lnTo>
                    <a:pt x="14" y="90"/>
                  </a:lnTo>
                  <a:lnTo>
                    <a:pt x="14" y="93"/>
                  </a:lnTo>
                  <a:lnTo>
                    <a:pt x="18" y="93"/>
                  </a:lnTo>
                  <a:lnTo>
                    <a:pt x="18" y="93"/>
                  </a:lnTo>
                  <a:close/>
                  <a:moveTo>
                    <a:pt x="38" y="96"/>
                  </a:moveTo>
                  <a:lnTo>
                    <a:pt x="38" y="93"/>
                  </a:lnTo>
                  <a:lnTo>
                    <a:pt x="31" y="93"/>
                  </a:lnTo>
                  <a:lnTo>
                    <a:pt x="31" y="90"/>
                  </a:lnTo>
                  <a:lnTo>
                    <a:pt x="31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4" y="87"/>
                  </a:lnTo>
                  <a:lnTo>
                    <a:pt x="28" y="84"/>
                  </a:lnTo>
                  <a:lnTo>
                    <a:pt x="28" y="87"/>
                  </a:lnTo>
                  <a:lnTo>
                    <a:pt x="28" y="84"/>
                  </a:lnTo>
                  <a:lnTo>
                    <a:pt x="31" y="87"/>
                  </a:lnTo>
                  <a:lnTo>
                    <a:pt x="31" y="80"/>
                  </a:lnTo>
                  <a:lnTo>
                    <a:pt x="35" y="80"/>
                  </a:lnTo>
                  <a:lnTo>
                    <a:pt x="35" y="84"/>
                  </a:lnTo>
                  <a:lnTo>
                    <a:pt x="35" y="90"/>
                  </a:lnTo>
                  <a:lnTo>
                    <a:pt x="38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38" y="93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38" y="96"/>
                  </a:lnTo>
                  <a:close/>
                  <a:moveTo>
                    <a:pt x="31" y="113"/>
                  </a:moveTo>
                  <a:lnTo>
                    <a:pt x="38" y="113"/>
                  </a:lnTo>
                  <a:lnTo>
                    <a:pt x="38" y="113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38" y="106"/>
                  </a:lnTo>
                  <a:lnTo>
                    <a:pt x="35" y="106"/>
                  </a:lnTo>
                  <a:lnTo>
                    <a:pt x="31" y="106"/>
                  </a:lnTo>
                  <a:lnTo>
                    <a:pt x="35" y="109"/>
                  </a:lnTo>
                  <a:lnTo>
                    <a:pt x="35" y="109"/>
                  </a:lnTo>
                  <a:lnTo>
                    <a:pt x="35" y="113"/>
                  </a:lnTo>
                  <a:lnTo>
                    <a:pt x="31" y="113"/>
                  </a:lnTo>
                  <a:lnTo>
                    <a:pt x="31" y="113"/>
                  </a:lnTo>
                  <a:close/>
                  <a:moveTo>
                    <a:pt x="35" y="126"/>
                  </a:moveTo>
                  <a:lnTo>
                    <a:pt x="35" y="122"/>
                  </a:lnTo>
                  <a:lnTo>
                    <a:pt x="42" y="116"/>
                  </a:lnTo>
                  <a:lnTo>
                    <a:pt x="38" y="122"/>
                  </a:lnTo>
                  <a:lnTo>
                    <a:pt x="35" y="126"/>
                  </a:lnTo>
                  <a:lnTo>
                    <a:pt x="35" y="126"/>
                  </a:lnTo>
                  <a:close/>
                  <a:moveTo>
                    <a:pt x="31" y="129"/>
                  </a:moveTo>
                  <a:lnTo>
                    <a:pt x="35" y="126"/>
                  </a:lnTo>
                  <a:lnTo>
                    <a:pt x="35" y="122"/>
                  </a:lnTo>
                  <a:lnTo>
                    <a:pt x="28" y="122"/>
                  </a:lnTo>
                  <a:lnTo>
                    <a:pt x="28" y="129"/>
                  </a:lnTo>
                  <a:lnTo>
                    <a:pt x="31" y="126"/>
                  </a:lnTo>
                  <a:lnTo>
                    <a:pt x="31" y="129"/>
                  </a:lnTo>
                  <a:lnTo>
                    <a:pt x="31" y="129"/>
                  </a:lnTo>
                  <a:close/>
                  <a:moveTo>
                    <a:pt x="45" y="129"/>
                  </a:moveTo>
                  <a:lnTo>
                    <a:pt x="45" y="132"/>
                  </a:lnTo>
                  <a:lnTo>
                    <a:pt x="52" y="135"/>
                  </a:lnTo>
                  <a:lnTo>
                    <a:pt x="52" y="132"/>
                  </a:lnTo>
                  <a:lnTo>
                    <a:pt x="48" y="126"/>
                  </a:lnTo>
                  <a:lnTo>
                    <a:pt x="45" y="129"/>
                  </a:lnTo>
                  <a:lnTo>
                    <a:pt x="45" y="129"/>
                  </a:lnTo>
                  <a:close/>
                  <a:moveTo>
                    <a:pt x="59" y="184"/>
                  </a:moveTo>
                  <a:lnTo>
                    <a:pt x="62" y="184"/>
                  </a:lnTo>
                  <a:lnTo>
                    <a:pt x="69" y="180"/>
                  </a:lnTo>
                  <a:lnTo>
                    <a:pt x="66" y="180"/>
                  </a:lnTo>
                  <a:lnTo>
                    <a:pt x="62" y="180"/>
                  </a:lnTo>
                  <a:lnTo>
                    <a:pt x="59" y="180"/>
                  </a:lnTo>
                  <a:lnTo>
                    <a:pt x="59" y="180"/>
                  </a:lnTo>
                  <a:lnTo>
                    <a:pt x="59" y="184"/>
                  </a:lnTo>
                  <a:lnTo>
                    <a:pt x="59" y="184"/>
                  </a:lnTo>
                  <a:close/>
                  <a:moveTo>
                    <a:pt x="55" y="164"/>
                  </a:moveTo>
                  <a:lnTo>
                    <a:pt x="55" y="161"/>
                  </a:lnTo>
                  <a:lnTo>
                    <a:pt x="62" y="155"/>
                  </a:lnTo>
                  <a:lnTo>
                    <a:pt x="62" y="158"/>
                  </a:lnTo>
                  <a:lnTo>
                    <a:pt x="62" y="161"/>
                  </a:lnTo>
                  <a:lnTo>
                    <a:pt x="59" y="164"/>
                  </a:lnTo>
                  <a:lnTo>
                    <a:pt x="55" y="164"/>
                  </a:lnTo>
                  <a:lnTo>
                    <a:pt x="55" y="164"/>
                  </a:lnTo>
                  <a:close/>
                  <a:moveTo>
                    <a:pt x="48" y="258"/>
                  </a:moveTo>
                  <a:lnTo>
                    <a:pt x="48" y="258"/>
                  </a:lnTo>
                  <a:lnTo>
                    <a:pt x="48" y="255"/>
                  </a:lnTo>
                  <a:lnTo>
                    <a:pt x="52" y="255"/>
                  </a:lnTo>
                  <a:lnTo>
                    <a:pt x="52" y="255"/>
                  </a:lnTo>
                  <a:lnTo>
                    <a:pt x="55" y="252"/>
                  </a:lnTo>
                  <a:lnTo>
                    <a:pt x="55" y="252"/>
                  </a:lnTo>
                  <a:lnTo>
                    <a:pt x="55" y="252"/>
                  </a:lnTo>
                  <a:lnTo>
                    <a:pt x="59" y="252"/>
                  </a:lnTo>
                  <a:lnTo>
                    <a:pt x="62" y="248"/>
                  </a:lnTo>
                  <a:lnTo>
                    <a:pt x="66" y="252"/>
                  </a:lnTo>
                  <a:lnTo>
                    <a:pt x="66" y="248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73" y="252"/>
                  </a:lnTo>
                  <a:lnTo>
                    <a:pt x="76" y="252"/>
                  </a:lnTo>
                  <a:lnTo>
                    <a:pt x="76" y="252"/>
                  </a:lnTo>
                  <a:lnTo>
                    <a:pt x="79" y="252"/>
                  </a:lnTo>
                  <a:lnTo>
                    <a:pt x="79" y="248"/>
                  </a:lnTo>
                  <a:lnTo>
                    <a:pt x="79" y="245"/>
                  </a:lnTo>
                  <a:lnTo>
                    <a:pt x="79" y="245"/>
                  </a:lnTo>
                  <a:lnTo>
                    <a:pt x="83" y="245"/>
                  </a:lnTo>
                  <a:lnTo>
                    <a:pt x="83" y="242"/>
                  </a:lnTo>
                  <a:lnTo>
                    <a:pt x="90" y="242"/>
                  </a:lnTo>
                  <a:lnTo>
                    <a:pt x="93" y="242"/>
                  </a:lnTo>
                  <a:lnTo>
                    <a:pt x="97" y="245"/>
                  </a:lnTo>
                  <a:lnTo>
                    <a:pt x="100" y="242"/>
                  </a:lnTo>
                  <a:lnTo>
                    <a:pt x="104" y="242"/>
                  </a:lnTo>
                  <a:lnTo>
                    <a:pt x="107" y="245"/>
                  </a:lnTo>
                  <a:lnTo>
                    <a:pt x="107" y="242"/>
                  </a:lnTo>
                  <a:lnTo>
                    <a:pt x="110" y="239"/>
                  </a:lnTo>
                  <a:lnTo>
                    <a:pt x="114" y="242"/>
                  </a:lnTo>
                  <a:lnTo>
                    <a:pt x="117" y="239"/>
                  </a:lnTo>
                  <a:lnTo>
                    <a:pt x="121" y="239"/>
                  </a:lnTo>
                  <a:lnTo>
                    <a:pt x="121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8" y="239"/>
                  </a:lnTo>
                  <a:lnTo>
                    <a:pt x="131" y="239"/>
                  </a:lnTo>
                  <a:lnTo>
                    <a:pt x="138" y="239"/>
                  </a:lnTo>
                  <a:lnTo>
                    <a:pt x="141" y="239"/>
                  </a:lnTo>
                  <a:lnTo>
                    <a:pt x="145" y="239"/>
                  </a:lnTo>
                  <a:lnTo>
                    <a:pt x="145" y="239"/>
                  </a:lnTo>
                  <a:lnTo>
                    <a:pt x="148" y="235"/>
                  </a:lnTo>
                  <a:lnTo>
                    <a:pt x="152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9" y="235"/>
                  </a:lnTo>
                  <a:lnTo>
                    <a:pt x="159" y="232"/>
                  </a:lnTo>
                  <a:lnTo>
                    <a:pt x="162" y="229"/>
                  </a:lnTo>
                  <a:lnTo>
                    <a:pt x="165" y="229"/>
                  </a:lnTo>
                  <a:lnTo>
                    <a:pt x="165" y="226"/>
                  </a:lnTo>
                  <a:lnTo>
                    <a:pt x="165" y="226"/>
                  </a:lnTo>
                  <a:lnTo>
                    <a:pt x="165" y="222"/>
                  </a:lnTo>
                  <a:lnTo>
                    <a:pt x="162" y="222"/>
                  </a:lnTo>
                  <a:lnTo>
                    <a:pt x="159" y="226"/>
                  </a:lnTo>
                  <a:lnTo>
                    <a:pt x="155" y="226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48" y="222"/>
                  </a:lnTo>
                  <a:lnTo>
                    <a:pt x="148" y="222"/>
                  </a:lnTo>
                  <a:lnTo>
                    <a:pt x="152" y="219"/>
                  </a:lnTo>
                  <a:lnTo>
                    <a:pt x="152" y="219"/>
                  </a:lnTo>
                  <a:lnTo>
                    <a:pt x="155" y="219"/>
                  </a:lnTo>
                  <a:lnTo>
                    <a:pt x="155" y="216"/>
                  </a:lnTo>
                  <a:lnTo>
                    <a:pt x="152" y="216"/>
                  </a:lnTo>
                  <a:lnTo>
                    <a:pt x="155" y="216"/>
                  </a:lnTo>
                  <a:lnTo>
                    <a:pt x="155" y="213"/>
                  </a:lnTo>
                  <a:lnTo>
                    <a:pt x="159" y="216"/>
                  </a:lnTo>
                  <a:lnTo>
                    <a:pt x="162" y="213"/>
                  </a:lnTo>
                  <a:lnTo>
                    <a:pt x="162" y="213"/>
                  </a:lnTo>
                  <a:lnTo>
                    <a:pt x="162" y="213"/>
                  </a:lnTo>
                  <a:lnTo>
                    <a:pt x="162" y="210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62" y="210"/>
                  </a:lnTo>
                  <a:lnTo>
                    <a:pt x="162" y="210"/>
                  </a:lnTo>
                  <a:lnTo>
                    <a:pt x="165" y="206"/>
                  </a:lnTo>
                  <a:lnTo>
                    <a:pt x="165" y="206"/>
                  </a:lnTo>
                  <a:lnTo>
                    <a:pt x="165" y="203"/>
                  </a:lnTo>
                  <a:lnTo>
                    <a:pt x="169" y="197"/>
                  </a:lnTo>
                  <a:lnTo>
                    <a:pt x="169" y="197"/>
                  </a:lnTo>
                  <a:lnTo>
                    <a:pt x="165" y="193"/>
                  </a:lnTo>
                  <a:lnTo>
                    <a:pt x="159" y="187"/>
                  </a:lnTo>
                  <a:lnTo>
                    <a:pt x="152" y="187"/>
                  </a:lnTo>
                  <a:lnTo>
                    <a:pt x="145" y="187"/>
                  </a:lnTo>
                  <a:lnTo>
                    <a:pt x="145" y="190"/>
                  </a:lnTo>
                  <a:lnTo>
                    <a:pt x="145" y="193"/>
                  </a:lnTo>
                  <a:lnTo>
                    <a:pt x="141" y="190"/>
                  </a:lnTo>
                  <a:lnTo>
                    <a:pt x="138" y="190"/>
                  </a:lnTo>
                  <a:lnTo>
                    <a:pt x="141" y="184"/>
                  </a:lnTo>
                  <a:lnTo>
                    <a:pt x="141" y="180"/>
                  </a:lnTo>
                  <a:lnTo>
                    <a:pt x="138" y="177"/>
                  </a:lnTo>
                  <a:lnTo>
                    <a:pt x="138" y="177"/>
                  </a:lnTo>
                  <a:lnTo>
                    <a:pt x="131" y="174"/>
                  </a:lnTo>
                  <a:lnTo>
                    <a:pt x="131" y="17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24" y="171"/>
                  </a:lnTo>
                  <a:lnTo>
                    <a:pt x="124" y="17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31" y="171"/>
                  </a:lnTo>
                  <a:lnTo>
                    <a:pt x="134" y="171"/>
                  </a:lnTo>
                  <a:lnTo>
                    <a:pt x="134" y="174"/>
                  </a:lnTo>
                  <a:lnTo>
                    <a:pt x="138" y="174"/>
                  </a:lnTo>
                  <a:lnTo>
                    <a:pt x="138" y="174"/>
                  </a:lnTo>
                  <a:lnTo>
                    <a:pt x="134" y="168"/>
                  </a:lnTo>
                  <a:lnTo>
                    <a:pt x="131" y="164"/>
                  </a:lnTo>
                  <a:lnTo>
                    <a:pt x="131" y="161"/>
                  </a:lnTo>
                  <a:lnTo>
                    <a:pt x="134" y="161"/>
                  </a:lnTo>
                  <a:lnTo>
                    <a:pt x="131" y="161"/>
                  </a:lnTo>
                  <a:lnTo>
                    <a:pt x="131" y="158"/>
                  </a:lnTo>
                  <a:lnTo>
                    <a:pt x="128" y="158"/>
                  </a:lnTo>
                  <a:lnTo>
                    <a:pt x="124" y="155"/>
                  </a:lnTo>
                  <a:lnTo>
                    <a:pt x="121" y="151"/>
                  </a:lnTo>
                  <a:lnTo>
                    <a:pt x="114" y="151"/>
                  </a:lnTo>
                  <a:lnTo>
                    <a:pt x="114" y="148"/>
                  </a:lnTo>
                  <a:lnTo>
                    <a:pt x="114" y="148"/>
                  </a:lnTo>
                  <a:lnTo>
                    <a:pt x="110" y="142"/>
                  </a:lnTo>
                  <a:lnTo>
                    <a:pt x="107" y="138"/>
                  </a:lnTo>
                  <a:lnTo>
                    <a:pt x="107" y="132"/>
                  </a:lnTo>
                  <a:lnTo>
                    <a:pt x="104" y="129"/>
                  </a:lnTo>
                  <a:lnTo>
                    <a:pt x="104" y="129"/>
                  </a:lnTo>
                  <a:lnTo>
                    <a:pt x="97" y="122"/>
                  </a:lnTo>
                  <a:lnTo>
                    <a:pt x="93" y="122"/>
                  </a:lnTo>
                  <a:lnTo>
                    <a:pt x="93" y="119"/>
                  </a:lnTo>
                  <a:lnTo>
                    <a:pt x="90" y="119"/>
                  </a:lnTo>
                  <a:lnTo>
                    <a:pt x="86" y="119"/>
                  </a:lnTo>
                  <a:lnTo>
                    <a:pt x="83" y="122"/>
                  </a:lnTo>
                  <a:lnTo>
                    <a:pt x="79" y="119"/>
                  </a:lnTo>
                  <a:lnTo>
                    <a:pt x="76" y="119"/>
                  </a:lnTo>
                  <a:lnTo>
                    <a:pt x="73" y="119"/>
                  </a:lnTo>
                  <a:lnTo>
                    <a:pt x="73" y="119"/>
                  </a:lnTo>
                  <a:lnTo>
                    <a:pt x="73" y="119"/>
                  </a:lnTo>
                  <a:lnTo>
                    <a:pt x="79" y="119"/>
                  </a:lnTo>
                  <a:lnTo>
                    <a:pt x="83" y="119"/>
                  </a:lnTo>
                  <a:lnTo>
                    <a:pt x="83" y="116"/>
                  </a:lnTo>
                  <a:lnTo>
                    <a:pt x="86" y="116"/>
                  </a:lnTo>
                  <a:lnTo>
                    <a:pt x="90" y="113"/>
                  </a:lnTo>
                  <a:lnTo>
                    <a:pt x="86" y="113"/>
                  </a:lnTo>
                  <a:lnTo>
                    <a:pt x="86" y="109"/>
                  </a:lnTo>
                  <a:lnTo>
                    <a:pt x="86" y="109"/>
                  </a:lnTo>
                  <a:lnTo>
                    <a:pt x="79" y="113"/>
                  </a:lnTo>
                  <a:lnTo>
                    <a:pt x="79" y="109"/>
                  </a:lnTo>
                  <a:lnTo>
                    <a:pt x="83" y="109"/>
                  </a:lnTo>
                  <a:lnTo>
                    <a:pt x="86" y="109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3" y="103"/>
                  </a:lnTo>
                  <a:lnTo>
                    <a:pt x="97" y="100"/>
                  </a:lnTo>
                  <a:lnTo>
                    <a:pt x="97" y="96"/>
                  </a:lnTo>
                  <a:lnTo>
                    <a:pt x="97" y="96"/>
                  </a:lnTo>
                  <a:lnTo>
                    <a:pt x="97" y="93"/>
                  </a:lnTo>
                  <a:lnTo>
                    <a:pt x="97" y="93"/>
                  </a:lnTo>
                  <a:lnTo>
                    <a:pt x="100" y="90"/>
                  </a:lnTo>
                  <a:lnTo>
                    <a:pt x="104" y="87"/>
                  </a:lnTo>
                  <a:lnTo>
                    <a:pt x="104" y="84"/>
                  </a:lnTo>
                  <a:lnTo>
                    <a:pt x="97" y="80"/>
                  </a:lnTo>
                  <a:lnTo>
                    <a:pt x="97" y="80"/>
                  </a:lnTo>
                  <a:lnTo>
                    <a:pt x="90" y="80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79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3" y="84"/>
                  </a:lnTo>
                  <a:lnTo>
                    <a:pt x="69" y="84"/>
                  </a:lnTo>
                  <a:lnTo>
                    <a:pt x="69" y="84"/>
                  </a:lnTo>
                  <a:lnTo>
                    <a:pt x="66" y="87"/>
                  </a:lnTo>
                  <a:lnTo>
                    <a:pt x="66" y="84"/>
                  </a:lnTo>
                  <a:lnTo>
                    <a:pt x="69" y="80"/>
                  </a:lnTo>
                  <a:lnTo>
                    <a:pt x="73" y="77"/>
                  </a:lnTo>
                  <a:lnTo>
                    <a:pt x="69" y="80"/>
                  </a:lnTo>
                  <a:lnTo>
                    <a:pt x="66" y="77"/>
                  </a:lnTo>
                  <a:lnTo>
                    <a:pt x="69" y="77"/>
                  </a:lnTo>
                  <a:lnTo>
                    <a:pt x="69" y="74"/>
                  </a:lnTo>
                  <a:lnTo>
                    <a:pt x="76" y="71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83" y="64"/>
                  </a:lnTo>
                  <a:lnTo>
                    <a:pt x="79" y="61"/>
                  </a:lnTo>
                  <a:lnTo>
                    <a:pt x="83" y="61"/>
                  </a:lnTo>
                  <a:lnTo>
                    <a:pt x="83" y="58"/>
                  </a:lnTo>
                  <a:lnTo>
                    <a:pt x="79" y="58"/>
                  </a:lnTo>
                  <a:lnTo>
                    <a:pt x="76" y="61"/>
                  </a:lnTo>
                  <a:lnTo>
                    <a:pt x="73" y="61"/>
                  </a:lnTo>
                  <a:lnTo>
                    <a:pt x="69" y="61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2" y="61"/>
                  </a:lnTo>
                  <a:lnTo>
                    <a:pt x="62" y="64"/>
                  </a:lnTo>
                  <a:lnTo>
                    <a:pt x="62" y="61"/>
                  </a:lnTo>
                  <a:lnTo>
                    <a:pt x="59" y="61"/>
                  </a:lnTo>
                  <a:lnTo>
                    <a:pt x="55" y="64"/>
                  </a:lnTo>
                  <a:lnTo>
                    <a:pt x="59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71"/>
                  </a:lnTo>
                  <a:lnTo>
                    <a:pt x="48" y="74"/>
                  </a:lnTo>
                  <a:lnTo>
                    <a:pt x="45" y="74"/>
                  </a:lnTo>
                  <a:lnTo>
                    <a:pt x="48" y="77"/>
                  </a:lnTo>
                  <a:lnTo>
                    <a:pt x="52" y="77"/>
                  </a:lnTo>
                  <a:lnTo>
                    <a:pt x="48" y="77"/>
                  </a:lnTo>
                  <a:lnTo>
                    <a:pt x="45" y="77"/>
                  </a:lnTo>
                  <a:lnTo>
                    <a:pt x="42" y="74"/>
                  </a:lnTo>
                  <a:lnTo>
                    <a:pt x="42" y="77"/>
                  </a:lnTo>
                  <a:lnTo>
                    <a:pt x="45" y="77"/>
                  </a:lnTo>
                  <a:lnTo>
                    <a:pt x="42" y="80"/>
                  </a:lnTo>
                  <a:lnTo>
                    <a:pt x="42" y="77"/>
                  </a:lnTo>
                  <a:lnTo>
                    <a:pt x="42" y="80"/>
                  </a:lnTo>
                  <a:lnTo>
                    <a:pt x="42" y="80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5" y="84"/>
                  </a:lnTo>
                  <a:lnTo>
                    <a:pt x="42" y="84"/>
                  </a:lnTo>
                  <a:lnTo>
                    <a:pt x="38" y="84"/>
                  </a:lnTo>
                  <a:lnTo>
                    <a:pt x="42" y="87"/>
                  </a:lnTo>
                  <a:lnTo>
                    <a:pt x="42" y="90"/>
                  </a:lnTo>
                  <a:lnTo>
                    <a:pt x="45" y="87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3"/>
                  </a:lnTo>
                  <a:lnTo>
                    <a:pt x="45" y="90"/>
                  </a:lnTo>
                  <a:lnTo>
                    <a:pt x="42" y="90"/>
                  </a:lnTo>
                  <a:lnTo>
                    <a:pt x="42" y="93"/>
                  </a:lnTo>
                  <a:lnTo>
                    <a:pt x="45" y="93"/>
                  </a:lnTo>
                  <a:lnTo>
                    <a:pt x="42" y="93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38" y="96"/>
                  </a:lnTo>
                  <a:lnTo>
                    <a:pt x="38" y="100"/>
                  </a:lnTo>
                  <a:lnTo>
                    <a:pt x="42" y="100"/>
                  </a:lnTo>
                  <a:lnTo>
                    <a:pt x="38" y="100"/>
                  </a:lnTo>
                  <a:lnTo>
                    <a:pt x="38" y="103"/>
                  </a:lnTo>
                  <a:lnTo>
                    <a:pt x="35" y="103"/>
                  </a:lnTo>
                  <a:lnTo>
                    <a:pt x="35" y="103"/>
                  </a:lnTo>
                  <a:lnTo>
                    <a:pt x="35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42" y="106"/>
                  </a:lnTo>
                  <a:lnTo>
                    <a:pt x="42" y="10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6"/>
                  </a:lnTo>
                  <a:lnTo>
                    <a:pt x="45" y="109"/>
                  </a:lnTo>
                  <a:lnTo>
                    <a:pt x="45" y="109"/>
                  </a:lnTo>
                  <a:lnTo>
                    <a:pt x="45" y="113"/>
                  </a:lnTo>
                  <a:lnTo>
                    <a:pt x="45" y="113"/>
                  </a:lnTo>
                  <a:lnTo>
                    <a:pt x="42" y="119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2" y="126"/>
                  </a:lnTo>
                  <a:lnTo>
                    <a:pt x="45" y="126"/>
                  </a:lnTo>
                  <a:lnTo>
                    <a:pt x="42" y="129"/>
                  </a:lnTo>
                  <a:lnTo>
                    <a:pt x="42" y="132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45" y="135"/>
                  </a:lnTo>
                  <a:lnTo>
                    <a:pt x="42" y="132"/>
                  </a:lnTo>
                  <a:lnTo>
                    <a:pt x="45" y="129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52" y="113"/>
                  </a:lnTo>
                  <a:lnTo>
                    <a:pt x="48" y="119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52" y="119"/>
                  </a:lnTo>
                  <a:lnTo>
                    <a:pt x="52" y="122"/>
                  </a:lnTo>
                  <a:lnTo>
                    <a:pt x="55" y="119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9"/>
                  </a:lnTo>
                  <a:lnTo>
                    <a:pt x="59" y="122"/>
                  </a:lnTo>
                  <a:lnTo>
                    <a:pt x="55" y="119"/>
                  </a:lnTo>
                  <a:lnTo>
                    <a:pt x="55" y="126"/>
                  </a:lnTo>
                  <a:lnTo>
                    <a:pt x="55" y="129"/>
                  </a:lnTo>
                  <a:lnTo>
                    <a:pt x="59" y="129"/>
                  </a:lnTo>
                  <a:lnTo>
                    <a:pt x="59" y="132"/>
                  </a:lnTo>
                  <a:lnTo>
                    <a:pt x="55" y="135"/>
                  </a:lnTo>
                  <a:lnTo>
                    <a:pt x="52" y="142"/>
                  </a:lnTo>
                  <a:lnTo>
                    <a:pt x="52" y="145"/>
                  </a:lnTo>
                  <a:lnTo>
                    <a:pt x="48" y="142"/>
                  </a:lnTo>
                  <a:lnTo>
                    <a:pt x="52" y="145"/>
                  </a:lnTo>
                  <a:lnTo>
                    <a:pt x="55" y="151"/>
                  </a:lnTo>
                  <a:lnTo>
                    <a:pt x="52" y="148"/>
                  </a:lnTo>
                  <a:lnTo>
                    <a:pt x="55" y="145"/>
                  </a:lnTo>
                  <a:lnTo>
                    <a:pt x="62" y="151"/>
                  </a:lnTo>
                  <a:lnTo>
                    <a:pt x="62" y="148"/>
                  </a:lnTo>
                  <a:lnTo>
                    <a:pt x="59" y="145"/>
                  </a:lnTo>
                  <a:lnTo>
                    <a:pt x="62" y="145"/>
                  </a:lnTo>
                  <a:lnTo>
                    <a:pt x="66" y="148"/>
                  </a:lnTo>
                  <a:lnTo>
                    <a:pt x="69" y="148"/>
                  </a:lnTo>
                  <a:lnTo>
                    <a:pt x="69" y="145"/>
                  </a:lnTo>
                  <a:lnTo>
                    <a:pt x="73" y="145"/>
                  </a:lnTo>
                  <a:lnTo>
                    <a:pt x="76" y="142"/>
                  </a:lnTo>
                  <a:lnTo>
                    <a:pt x="86" y="145"/>
                  </a:lnTo>
                  <a:lnTo>
                    <a:pt x="79" y="145"/>
                  </a:lnTo>
                  <a:lnTo>
                    <a:pt x="76" y="155"/>
                  </a:lnTo>
                  <a:lnTo>
                    <a:pt x="79" y="161"/>
                  </a:lnTo>
                  <a:lnTo>
                    <a:pt x="83" y="161"/>
                  </a:lnTo>
                  <a:lnTo>
                    <a:pt x="83" y="164"/>
                  </a:lnTo>
                  <a:lnTo>
                    <a:pt x="86" y="161"/>
                  </a:lnTo>
                  <a:lnTo>
                    <a:pt x="90" y="161"/>
                  </a:lnTo>
                  <a:lnTo>
                    <a:pt x="86" y="164"/>
                  </a:lnTo>
                  <a:lnTo>
                    <a:pt x="90" y="164"/>
                  </a:lnTo>
                  <a:lnTo>
                    <a:pt x="83" y="168"/>
                  </a:lnTo>
                  <a:lnTo>
                    <a:pt x="86" y="174"/>
                  </a:lnTo>
                  <a:lnTo>
                    <a:pt x="83" y="177"/>
                  </a:lnTo>
                  <a:lnTo>
                    <a:pt x="86" y="177"/>
                  </a:lnTo>
                  <a:lnTo>
                    <a:pt x="90" y="180"/>
                  </a:lnTo>
                  <a:lnTo>
                    <a:pt x="90" y="180"/>
                  </a:lnTo>
                  <a:lnTo>
                    <a:pt x="90" y="180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83" y="180"/>
                  </a:lnTo>
                  <a:lnTo>
                    <a:pt x="83" y="184"/>
                  </a:lnTo>
                  <a:lnTo>
                    <a:pt x="86" y="184"/>
                  </a:lnTo>
                  <a:lnTo>
                    <a:pt x="83" y="184"/>
                  </a:lnTo>
                  <a:lnTo>
                    <a:pt x="79" y="180"/>
                  </a:lnTo>
                  <a:lnTo>
                    <a:pt x="76" y="184"/>
                  </a:lnTo>
                  <a:lnTo>
                    <a:pt x="73" y="184"/>
                  </a:lnTo>
                  <a:lnTo>
                    <a:pt x="66" y="184"/>
                  </a:lnTo>
                  <a:lnTo>
                    <a:pt x="62" y="190"/>
                  </a:lnTo>
                  <a:lnTo>
                    <a:pt x="59" y="190"/>
                  </a:lnTo>
                  <a:lnTo>
                    <a:pt x="55" y="193"/>
                  </a:lnTo>
                  <a:lnTo>
                    <a:pt x="59" y="193"/>
                  </a:lnTo>
                  <a:lnTo>
                    <a:pt x="59" y="193"/>
                  </a:lnTo>
                  <a:lnTo>
                    <a:pt x="62" y="193"/>
                  </a:lnTo>
                  <a:lnTo>
                    <a:pt x="66" y="190"/>
                  </a:lnTo>
                  <a:lnTo>
                    <a:pt x="66" y="193"/>
                  </a:lnTo>
                  <a:lnTo>
                    <a:pt x="69" y="197"/>
                  </a:lnTo>
                  <a:lnTo>
                    <a:pt x="66" y="197"/>
                  </a:lnTo>
                  <a:lnTo>
                    <a:pt x="69" y="200"/>
                  </a:lnTo>
                  <a:lnTo>
                    <a:pt x="69" y="200"/>
                  </a:lnTo>
                  <a:lnTo>
                    <a:pt x="66" y="206"/>
                  </a:lnTo>
                  <a:lnTo>
                    <a:pt x="62" y="206"/>
                  </a:lnTo>
                  <a:lnTo>
                    <a:pt x="59" y="210"/>
                  </a:lnTo>
                  <a:lnTo>
                    <a:pt x="59" y="210"/>
                  </a:lnTo>
                  <a:lnTo>
                    <a:pt x="52" y="213"/>
                  </a:lnTo>
                  <a:lnTo>
                    <a:pt x="52" y="213"/>
                  </a:lnTo>
                  <a:lnTo>
                    <a:pt x="45" y="213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48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5" y="219"/>
                  </a:lnTo>
                  <a:lnTo>
                    <a:pt x="59" y="219"/>
                  </a:lnTo>
                  <a:lnTo>
                    <a:pt x="62" y="216"/>
                  </a:lnTo>
                  <a:lnTo>
                    <a:pt x="62" y="219"/>
                  </a:lnTo>
                  <a:lnTo>
                    <a:pt x="69" y="219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73" y="219"/>
                  </a:lnTo>
                  <a:lnTo>
                    <a:pt x="76" y="222"/>
                  </a:lnTo>
                  <a:lnTo>
                    <a:pt x="76" y="226"/>
                  </a:lnTo>
                  <a:lnTo>
                    <a:pt x="83" y="226"/>
                  </a:lnTo>
                  <a:lnTo>
                    <a:pt x="86" y="222"/>
                  </a:lnTo>
                  <a:lnTo>
                    <a:pt x="86" y="222"/>
                  </a:lnTo>
                  <a:lnTo>
                    <a:pt x="93" y="222"/>
                  </a:lnTo>
                  <a:lnTo>
                    <a:pt x="93" y="219"/>
                  </a:lnTo>
                  <a:lnTo>
                    <a:pt x="97" y="219"/>
                  </a:lnTo>
                  <a:lnTo>
                    <a:pt x="93" y="222"/>
                  </a:lnTo>
                  <a:lnTo>
                    <a:pt x="86" y="226"/>
                  </a:lnTo>
                  <a:lnTo>
                    <a:pt x="86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79" y="229"/>
                  </a:lnTo>
                  <a:lnTo>
                    <a:pt x="73" y="229"/>
                  </a:lnTo>
                  <a:lnTo>
                    <a:pt x="66" y="232"/>
                  </a:lnTo>
                  <a:lnTo>
                    <a:pt x="66" y="232"/>
                  </a:lnTo>
                  <a:lnTo>
                    <a:pt x="62" y="235"/>
                  </a:lnTo>
                  <a:lnTo>
                    <a:pt x="59" y="235"/>
                  </a:lnTo>
                  <a:lnTo>
                    <a:pt x="59" y="242"/>
                  </a:lnTo>
                  <a:lnTo>
                    <a:pt x="55" y="242"/>
                  </a:lnTo>
                  <a:lnTo>
                    <a:pt x="55" y="245"/>
                  </a:lnTo>
                  <a:lnTo>
                    <a:pt x="52" y="245"/>
                  </a:lnTo>
                  <a:lnTo>
                    <a:pt x="52" y="248"/>
                  </a:lnTo>
                  <a:lnTo>
                    <a:pt x="48" y="248"/>
                  </a:lnTo>
                  <a:lnTo>
                    <a:pt x="48" y="252"/>
                  </a:lnTo>
                  <a:lnTo>
                    <a:pt x="42" y="252"/>
                  </a:lnTo>
                  <a:lnTo>
                    <a:pt x="42" y="252"/>
                  </a:lnTo>
                  <a:lnTo>
                    <a:pt x="38" y="255"/>
                  </a:lnTo>
                  <a:lnTo>
                    <a:pt x="38" y="258"/>
                  </a:lnTo>
                  <a:lnTo>
                    <a:pt x="42" y="258"/>
                  </a:lnTo>
                  <a:lnTo>
                    <a:pt x="42" y="255"/>
                  </a:lnTo>
                  <a:lnTo>
                    <a:pt x="45" y="255"/>
                  </a:lnTo>
                  <a:lnTo>
                    <a:pt x="48" y="2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70" name="Freeform 71"/>
            <p:cNvSpPr>
              <a:spLocks noEditPoints="1"/>
            </p:cNvSpPr>
            <p:nvPr/>
          </p:nvSpPr>
          <p:spPr bwMode="auto">
            <a:xfrm>
              <a:off x="6129338" y="3159780"/>
              <a:ext cx="404813" cy="312737"/>
            </a:xfrm>
            <a:custGeom>
              <a:avLst/>
              <a:gdLst>
                <a:gd name="T0" fmla="*/ 200 w 255"/>
                <a:gd name="T1" fmla="*/ 97 h 197"/>
                <a:gd name="T2" fmla="*/ 183 w 255"/>
                <a:gd name="T3" fmla="*/ 104 h 197"/>
                <a:gd name="T4" fmla="*/ 190 w 255"/>
                <a:gd name="T5" fmla="*/ 91 h 197"/>
                <a:gd name="T6" fmla="*/ 203 w 255"/>
                <a:gd name="T7" fmla="*/ 74 h 197"/>
                <a:gd name="T8" fmla="*/ 210 w 255"/>
                <a:gd name="T9" fmla="*/ 74 h 197"/>
                <a:gd name="T10" fmla="*/ 214 w 255"/>
                <a:gd name="T11" fmla="*/ 58 h 197"/>
                <a:gd name="T12" fmla="*/ 217 w 255"/>
                <a:gd name="T13" fmla="*/ 42 h 197"/>
                <a:gd name="T14" fmla="*/ 200 w 255"/>
                <a:gd name="T15" fmla="*/ 39 h 197"/>
                <a:gd name="T16" fmla="*/ 186 w 255"/>
                <a:gd name="T17" fmla="*/ 36 h 197"/>
                <a:gd name="T18" fmla="*/ 172 w 255"/>
                <a:gd name="T19" fmla="*/ 29 h 197"/>
                <a:gd name="T20" fmla="*/ 159 w 255"/>
                <a:gd name="T21" fmla="*/ 23 h 197"/>
                <a:gd name="T22" fmla="*/ 145 w 255"/>
                <a:gd name="T23" fmla="*/ 13 h 197"/>
                <a:gd name="T24" fmla="*/ 131 w 255"/>
                <a:gd name="T25" fmla="*/ 0 h 197"/>
                <a:gd name="T26" fmla="*/ 114 w 255"/>
                <a:gd name="T27" fmla="*/ 3 h 197"/>
                <a:gd name="T28" fmla="*/ 107 w 255"/>
                <a:gd name="T29" fmla="*/ 23 h 197"/>
                <a:gd name="T30" fmla="*/ 86 w 255"/>
                <a:gd name="T31" fmla="*/ 29 h 197"/>
                <a:gd name="T32" fmla="*/ 73 w 255"/>
                <a:gd name="T33" fmla="*/ 36 h 197"/>
                <a:gd name="T34" fmla="*/ 66 w 255"/>
                <a:gd name="T35" fmla="*/ 29 h 197"/>
                <a:gd name="T36" fmla="*/ 52 w 255"/>
                <a:gd name="T37" fmla="*/ 32 h 197"/>
                <a:gd name="T38" fmla="*/ 59 w 255"/>
                <a:gd name="T39" fmla="*/ 45 h 197"/>
                <a:gd name="T40" fmla="*/ 49 w 255"/>
                <a:gd name="T41" fmla="*/ 52 h 197"/>
                <a:gd name="T42" fmla="*/ 31 w 255"/>
                <a:gd name="T43" fmla="*/ 45 h 197"/>
                <a:gd name="T44" fmla="*/ 18 w 255"/>
                <a:gd name="T45" fmla="*/ 49 h 197"/>
                <a:gd name="T46" fmla="*/ 4 w 255"/>
                <a:gd name="T47" fmla="*/ 58 h 197"/>
                <a:gd name="T48" fmla="*/ 4 w 255"/>
                <a:gd name="T49" fmla="*/ 58 h 197"/>
                <a:gd name="T50" fmla="*/ 7 w 255"/>
                <a:gd name="T51" fmla="*/ 62 h 197"/>
                <a:gd name="T52" fmla="*/ 7 w 255"/>
                <a:gd name="T53" fmla="*/ 68 h 197"/>
                <a:gd name="T54" fmla="*/ 24 w 255"/>
                <a:gd name="T55" fmla="*/ 71 h 197"/>
                <a:gd name="T56" fmla="*/ 35 w 255"/>
                <a:gd name="T57" fmla="*/ 74 h 197"/>
                <a:gd name="T58" fmla="*/ 42 w 255"/>
                <a:gd name="T59" fmla="*/ 81 h 197"/>
                <a:gd name="T60" fmla="*/ 52 w 255"/>
                <a:gd name="T61" fmla="*/ 81 h 197"/>
                <a:gd name="T62" fmla="*/ 49 w 255"/>
                <a:gd name="T63" fmla="*/ 91 h 197"/>
                <a:gd name="T64" fmla="*/ 66 w 255"/>
                <a:gd name="T65" fmla="*/ 100 h 197"/>
                <a:gd name="T66" fmla="*/ 62 w 255"/>
                <a:gd name="T67" fmla="*/ 113 h 197"/>
                <a:gd name="T68" fmla="*/ 73 w 255"/>
                <a:gd name="T69" fmla="*/ 116 h 197"/>
                <a:gd name="T70" fmla="*/ 66 w 255"/>
                <a:gd name="T71" fmla="*/ 133 h 197"/>
                <a:gd name="T72" fmla="*/ 59 w 255"/>
                <a:gd name="T73" fmla="*/ 158 h 197"/>
                <a:gd name="T74" fmla="*/ 66 w 255"/>
                <a:gd name="T75" fmla="*/ 165 h 197"/>
                <a:gd name="T76" fmla="*/ 93 w 255"/>
                <a:gd name="T77" fmla="*/ 175 h 197"/>
                <a:gd name="T78" fmla="*/ 114 w 255"/>
                <a:gd name="T79" fmla="*/ 171 h 197"/>
                <a:gd name="T80" fmla="*/ 138 w 255"/>
                <a:gd name="T81" fmla="*/ 178 h 197"/>
                <a:gd name="T82" fmla="*/ 152 w 255"/>
                <a:gd name="T83" fmla="*/ 155 h 197"/>
                <a:gd name="T84" fmla="*/ 165 w 255"/>
                <a:gd name="T85" fmla="*/ 158 h 197"/>
                <a:gd name="T86" fmla="*/ 196 w 255"/>
                <a:gd name="T87" fmla="*/ 165 h 197"/>
                <a:gd name="T88" fmla="*/ 214 w 255"/>
                <a:gd name="T89" fmla="*/ 149 h 197"/>
                <a:gd name="T90" fmla="*/ 203 w 255"/>
                <a:gd name="T91" fmla="*/ 129 h 197"/>
                <a:gd name="T92" fmla="*/ 203 w 255"/>
                <a:gd name="T93" fmla="*/ 113 h 197"/>
                <a:gd name="T94" fmla="*/ 245 w 255"/>
                <a:gd name="T95" fmla="*/ 197 h 197"/>
                <a:gd name="T96" fmla="*/ 241 w 255"/>
                <a:gd name="T97" fmla="*/ 191 h 197"/>
                <a:gd name="T98" fmla="*/ 238 w 255"/>
                <a:gd name="T99" fmla="*/ 184 h 197"/>
                <a:gd name="T100" fmla="*/ 238 w 255"/>
                <a:gd name="T101" fmla="*/ 181 h 197"/>
                <a:gd name="T102" fmla="*/ 248 w 255"/>
                <a:gd name="T103" fmla="*/ 171 h 197"/>
                <a:gd name="T104" fmla="*/ 251 w 255"/>
                <a:gd name="T105" fmla="*/ 165 h 197"/>
                <a:gd name="T106" fmla="*/ 251 w 255"/>
                <a:gd name="T107" fmla="*/ 191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5" h="197">
                  <a:moveTo>
                    <a:pt x="203" y="107"/>
                  </a:moveTo>
                  <a:lnTo>
                    <a:pt x="203" y="107"/>
                  </a:lnTo>
                  <a:lnTo>
                    <a:pt x="203" y="104"/>
                  </a:lnTo>
                  <a:lnTo>
                    <a:pt x="200" y="100"/>
                  </a:lnTo>
                  <a:lnTo>
                    <a:pt x="200" y="97"/>
                  </a:lnTo>
                  <a:lnTo>
                    <a:pt x="193" y="97"/>
                  </a:lnTo>
                  <a:lnTo>
                    <a:pt x="190" y="97"/>
                  </a:lnTo>
                  <a:lnTo>
                    <a:pt x="193" y="104"/>
                  </a:lnTo>
                  <a:lnTo>
                    <a:pt x="186" y="104"/>
                  </a:lnTo>
                  <a:lnTo>
                    <a:pt x="183" y="104"/>
                  </a:lnTo>
                  <a:lnTo>
                    <a:pt x="183" y="100"/>
                  </a:lnTo>
                  <a:lnTo>
                    <a:pt x="186" y="100"/>
                  </a:lnTo>
                  <a:lnTo>
                    <a:pt x="186" y="100"/>
                  </a:lnTo>
                  <a:lnTo>
                    <a:pt x="186" y="97"/>
                  </a:lnTo>
                  <a:lnTo>
                    <a:pt x="190" y="91"/>
                  </a:lnTo>
                  <a:lnTo>
                    <a:pt x="193" y="84"/>
                  </a:lnTo>
                  <a:lnTo>
                    <a:pt x="196" y="84"/>
                  </a:lnTo>
                  <a:lnTo>
                    <a:pt x="200" y="81"/>
                  </a:lnTo>
                  <a:lnTo>
                    <a:pt x="203" y="78"/>
                  </a:lnTo>
                  <a:lnTo>
                    <a:pt x="203" y="74"/>
                  </a:lnTo>
                  <a:lnTo>
                    <a:pt x="200" y="74"/>
                  </a:lnTo>
                  <a:lnTo>
                    <a:pt x="200" y="71"/>
                  </a:lnTo>
                  <a:lnTo>
                    <a:pt x="207" y="71"/>
                  </a:lnTo>
                  <a:lnTo>
                    <a:pt x="207" y="74"/>
                  </a:lnTo>
                  <a:lnTo>
                    <a:pt x="210" y="74"/>
                  </a:lnTo>
                  <a:lnTo>
                    <a:pt x="217" y="71"/>
                  </a:lnTo>
                  <a:lnTo>
                    <a:pt x="214" y="68"/>
                  </a:lnTo>
                  <a:lnTo>
                    <a:pt x="210" y="68"/>
                  </a:lnTo>
                  <a:lnTo>
                    <a:pt x="210" y="62"/>
                  </a:lnTo>
                  <a:lnTo>
                    <a:pt x="214" y="58"/>
                  </a:lnTo>
                  <a:lnTo>
                    <a:pt x="217" y="55"/>
                  </a:lnTo>
                  <a:lnTo>
                    <a:pt x="217" y="52"/>
                  </a:lnTo>
                  <a:lnTo>
                    <a:pt x="217" y="49"/>
                  </a:lnTo>
                  <a:lnTo>
                    <a:pt x="221" y="42"/>
                  </a:lnTo>
                  <a:lnTo>
                    <a:pt x="217" y="42"/>
                  </a:lnTo>
                  <a:lnTo>
                    <a:pt x="214" y="42"/>
                  </a:lnTo>
                  <a:lnTo>
                    <a:pt x="210" y="39"/>
                  </a:lnTo>
                  <a:lnTo>
                    <a:pt x="207" y="39"/>
                  </a:lnTo>
                  <a:lnTo>
                    <a:pt x="203" y="39"/>
                  </a:lnTo>
                  <a:lnTo>
                    <a:pt x="200" y="39"/>
                  </a:lnTo>
                  <a:lnTo>
                    <a:pt x="196" y="39"/>
                  </a:lnTo>
                  <a:lnTo>
                    <a:pt x="193" y="39"/>
                  </a:lnTo>
                  <a:lnTo>
                    <a:pt x="193" y="36"/>
                  </a:lnTo>
                  <a:lnTo>
                    <a:pt x="190" y="32"/>
                  </a:lnTo>
                  <a:lnTo>
                    <a:pt x="186" y="36"/>
                  </a:lnTo>
                  <a:lnTo>
                    <a:pt x="183" y="32"/>
                  </a:lnTo>
                  <a:lnTo>
                    <a:pt x="179" y="29"/>
                  </a:lnTo>
                  <a:lnTo>
                    <a:pt x="179" y="29"/>
                  </a:lnTo>
                  <a:lnTo>
                    <a:pt x="176" y="32"/>
                  </a:lnTo>
                  <a:lnTo>
                    <a:pt x="172" y="29"/>
                  </a:lnTo>
                  <a:lnTo>
                    <a:pt x="169" y="29"/>
                  </a:lnTo>
                  <a:lnTo>
                    <a:pt x="165" y="23"/>
                  </a:lnTo>
                  <a:lnTo>
                    <a:pt x="162" y="23"/>
                  </a:lnTo>
                  <a:lnTo>
                    <a:pt x="159" y="23"/>
                  </a:lnTo>
                  <a:lnTo>
                    <a:pt x="159" y="23"/>
                  </a:lnTo>
                  <a:lnTo>
                    <a:pt x="155" y="23"/>
                  </a:lnTo>
                  <a:lnTo>
                    <a:pt x="152" y="23"/>
                  </a:lnTo>
                  <a:lnTo>
                    <a:pt x="152" y="16"/>
                  </a:lnTo>
                  <a:lnTo>
                    <a:pt x="148" y="16"/>
                  </a:lnTo>
                  <a:lnTo>
                    <a:pt x="145" y="13"/>
                  </a:lnTo>
                  <a:lnTo>
                    <a:pt x="145" y="13"/>
                  </a:lnTo>
                  <a:lnTo>
                    <a:pt x="138" y="10"/>
                  </a:lnTo>
                  <a:lnTo>
                    <a:pt x="138" y="7"/>
                  </a:lnTo>
                  <a:lnTo>
                    <a:pt x="135" y="7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4" y="3"/>
                  </a:lnTo>
                  <a:lnTo>
                    <a:pt x="121" y="0"/>
                  </a:lnTo>
                  <a:lnTo>
                    <a:pt x="114" y="3"/>
                  </a:lnTo>
                  <a:lnTo>
                    <a:pt x="114" y="7"/>
                  </a:lnTo>
                  <a:lnTo>
                    <a:pt x="114" y="10"/>
                  </a:lnTo>
                  <a:lnTo>
                    <a:pt x="114" y="16"/>
                  </a:lnTo>
                  <a:lnTo>
                    <a:pt x="107" y="23"/>
                  </a:lnTo>
                  <a:lnTo>
                    <a:pt x="107" y="23"/>
                  </a:lnTo>
                  <a:lnTo>
                    <a:pt x="104" y="26"/>
                  </a:lnTo>
                  <a:lnTo>
                    <a:pt x="100" y="26"/>
                  </a:lnTo>
                  <a:lnTo>
                    <a:pt x="97" y="23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86" y="32"/>
                  </a:lnTo>
                  <a:lnTo>
                    <a:pt x="90" y="32"/>
                  </a:lnTo>
                  <a:lnTo>
                    <a:pt x="86" y="36"/>
                  </a:lnTo>
                  <a:lnTo>
                    <a:pt x="79" y="36"/>
                  </a:lnTo>
                  <a:lnTo>
                    <a:pt x="73" y="36"/>
                  </a:lnTo>
                  <a:lnTo>
                    <a:pt x="69" y="36"/>
                  </a:lnTo>
                  <a:lnTo>
                    <a:pt x="66" y="36"/>
                  </a:lnTo>
                  <a:lnTo>
                    <a:pt x="66" y="32"/>
                  </a:lnTo>
                  <a:lnTo>
                    <a:pt x="62" y="32"/>
                  </a:lnTo>
                  <a:lnTo>
                    <a:pt x="66" y="29"/>
                  </a:lnTo>
                  <a:lnTo>
                    <a:pt x="62" y="29"/>
                  </a:lnTo>
                  <a:lnTo>
                    <a:pt x="59" y="29"/>
                  </a:lnTo>
                  <a:lnTo>
                    <a:pt x="55" y="29"/>
                  </a:lnTo>
                  <a:lnTo>
                    <a:pt x="52" y="29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9" y="39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5"/>
                  </a:lnTo>
                  <a:lnTo>
                    <a:pt x="59" y="49"/>
                  </a:lnTo>
                  <a:lnTo>
                    <a:pt x="59" y="52"/>
                  </a:lnTo>
                  <a:lnTo>
                    <a:pt x="52" y="49"/>
                  </a:lnTo>
                  <a:lnTo>
                    <a:pt x="52" y="52"/>
                  </a:lnTo>
                  <a:lnTo>
                    <a:pt x="49" y="52"/>
                  </a:lnTo>
                  <a:lnTo>
                    <a:pt x="45" y="52"/>
                  </a:lnTo>
                  <a:lnTo>
                    <a:pt x="42" y="49"/>
                  </a:lnTo>
                  <a:lnTo>
                    <a:pt x="38" y="52"/>
                  </a:lnTo>
                  <a:lnTo>
                    <a:pt x="35" y="45"/>
                  </a:lnTo>
                  <a:lnTo>
                    <a:pt x="31" y="45"/>
                  </a:lnTo>
                  <a:lnTo>
                    <a:pt x="24" y="45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18" y="52"/>
                  </a:lnTo>
                  <a:lnTo>
                    <a:pt x="18" y="49"/>
                  </a:lnTo>
                  <a:lnTo>
                    <a:pt x="11" y="49"/>
                  </a:lnTo>
                  <a:lnTo>
                    <a:pt x="11" y="52"/>
                  </a:lnTo>
                  <a:lnTo>
                    <a:pt x="4" y="52"/>
                  </a:lnTo>
                  <a:lnTo>
                    <a:pt x="0" y="55"/>
                  </a:lnTo>
                  <a:lnTo>
                    <a:pt x="4" y="58"/>
                  </a:lnTo>
                  <a:lnTo>
                    <a:pt x="7" y="55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7" y="58"/>
                  </a:lnTo>
                  <a:lnTo>
                    <a:pt x="4" y="58"/>
                  </a:lnTo>
                  <a:lnTo>
                    <a:pt x="7" y="62"/>
                  </a:lnTo>
                  <a:lnTo>
                    <a:pt x="7" y="58"/>
                  </a:lnTo>
                  <a:lnTo>
                    <a:pt x="11" y="58"/>
                  </a:lnTo>
                  <a:lnTo>
                    <a:pt x="11" y="62"/>
                  </a:lnTo>
                  <a:lnTo>
                    <a:pt x="7" y="62"/>
                  </a:lnTo>
                  <a:lnTo>
                    <a:pt x="4" y="62"/>
                  </a:lnTo>
                  <a:lnTo>
                    <a:pt x="4" y="65"/>
                  </a:lnTo>
                  <a:lnTo>
                    <a:pt x="7" y="65"/>
                  </a:lnTo>
                  <a:lnTo>
                    <a:pt x="11" y="68"/>
                  </a:lnTo>
                  <a:lnTo>
                    <a:pt x="7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8" y="68"/>
                  </a:lnTo>
                  <a:lnTo>
                    <a:pt x="24" y="68"/>
                  </a:lnTo>
                  <a:lnTo>
                    <a:pt x="24" y="71"/>
                  </a:lnTo>
                  <a:lnTo>
                    <a:pt x="28" y="71"/>
                  </a:lnTo>
                  <a:lnTo>
                    <a:pt x="31" y="74"/>
                  </a:lnTo>
                  <a:lnTo>
                    <a:pt x="35" y="71"/>
                  </a:lnTo>
                  <a:lnTo>
                    <a:pt x="38" y="71"/>
                  </a:lnTo>
                  <a:lnTo>
                    <a:pt x="35" y="74"/>
                  </a:lnTo>
                  <a:lnTo>
                    <a:pt x="38" y="74"/>
                  </a:lnTo>
                  <a:lnTo>
                    <a:pt x="42" y="74"/>
                  </a:lnTo>
                  <a:lnTo>
                    <a:pt x="42" y="74"/>
                  </a:lnTo>
                  <a:lnTo>
                    <a:pt x="42" y="78"/>
                  </a:lnTo>
                  <a:lnTo>
                    <a:pt x="42" y="81"/>
                  </a:lnTo>
                  <a:lnTo>
                    <a:pt x="45" y="81"/>
                  </a:lnTo>
                  <a:lnTo>
                    <a:pt x="49" y="78"/>
                  </a:lnTo>
                  <a:lnTo>
                    <a:pt x="52" y="78"/>
                  </a:lnTo>
                  <a:lnTo>
                    <a:pt x="55" y="81"/>
                  </a:lnTo>
                  <a:lnTo>
                    <a:pt x="52" y="81"/>
                  </a:lnTo>
                  <a:lnTo>
                    <a:pt x="49" y="81"/>
                  </a:lnTo>
                  <a:lnTo>
                    <a:pt x="45" y="84"/>
                  </a:lnTo>
                  <a:lnTo>
                    <a:pt x="49" y="84"/>
                  </a:lnTo>
                  <a:lnTo>
                    <a:pt x="49" y="87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52" y="91"/>
                  </a:lnTo>
                  <a:lnTo>
                    <a:pt x="55" y="97"/>
                  </a:lnTo>
                  <a:lnTo>
                    <a:pt x="62" y="97"/>
                  </a:lnTo>
                  <a:lnTo>
                    <a:pt x="66" y="100"/>
                  </a:lnTo>
                  <a:lnTo>
                    <a:pt x="66" y="104"/>
                  </a:lnTo>
                  <a:lnTo>
                    <a:pt x="66" y="107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2" y="113"/>
                  </a:lnTo>
                  <a:lnTo>
                    <a:pt x="66" y="113"/>
                  </a:lnTo>
                  <a:lnTo>
                    <a:pt x="73" y="116"/>
                  </a:lnTo>
                  <a:lnTo>
                    <a:pt x="76" y="126"/>
                  </a:lnTo>
                  <a:lnTo>
                    <a:pt x="73" y="123"/>
                  </a:lnTo>
                  <a:lnTo>
                    <a:pt x="73" y="116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2" y="126"/>
                  </a:lnTo>
                  <a:lnTo>
                    <a:pt x="62" y="133"/>
                  </a:lnTo>
                  <a:lnTo>
                    <a:pt x="66" y="133"/>
                  </a:lnTo>
                  <a:lnTo>
                    <a:pt x="66" y="136"/>
                  </a:lnTo>
                  <a:lnTo>
                    <a:pt x="62" y="146"/>
                  </a:lnTo>
                  <a:lnTo>
                    <a:pt x="59" y="155"/>
                  </a:lnTo>
                  <a:lnTo>
                    <a:pt x="55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62" y="162"/>
                  </a:lnTo>
                  <a:lnTo>
                    <a:pt x="62" y="165"/>
                  </a:lnTo>
                  <a:lnTo>
                    <a:pt x="62" y="165"/>
                  </a:lnTo>
                  <a:lnTo>
                    <a:pt x="66" y="165"/>
                  </a:lnTo>
                  <a:lnTo>
                    <a:pt x="76" y="168"/>
                  </a:lnTo>
                  <a:lnTo>
                    <a:pt x="79" y="171"/>
                  </a:lnTo>
                  <a:lnTo>
                    <a:pt x="83" y="171"/>
                  </a:lnTo>
                  <a:lnTo>
                    <a:pt x="86" y="175"/>
                  </a:lnTo>
                  <a:lnTo>
                    <a:pt x="93" y="175"/>
                  </a:lnTo>
                  <a:lnTo>
                    <a:pt x="93" y="175"/>
                  </a:lnTo>
                  <a:lnTo>
                    <a:pt x="97" y="171"/>
                  </a:lnTo>
                  <a:lnTo>
                    <a:pt x="107" y="171"/>
                  </a:lnTo>
                  <a:lnTo>
                    <a:pt x="110" y="175"/>
                  </a:lnTo>
                  <a:lnTo>
                    <a:pt x="114" y="171"/>
                  </a:lnTo>
                  <a:lnTo>
                    <a:pt x="121" y="175"/>
                  </a:lnTo>
                  <a:lnTo>
                    <a:pt x="131" y="175"/>
                  </a:lnTo>
                  <a:lnTo>
                    <a:pt x="138" y="178"/>
                  </a:lnTo>
                  <a:lnTo>
                    <a:pt x="138" y="178"/>
                  </a:lnTo>
                  <a:lnTo>
                    <a:pt x="138" y="178"/>
                  </a:lnTo>
                  <a:lnTo>
                    <a:pt x="138" y="171"/>
                  </a:lnTo>
                  <a:lnTo>
                    <a:pt x="138" y="168"/>
                  </a:lnTo>
                  <a:lnTo>
                    <a:pt x="138" y="165"/>
                  </a:lnTo>
                  <a:lnTo>
                    <a:pt x="145" y="162"/>
                  </a:lnTo>
                  <a:lnTo>
                    <a:pt x="152" y="155"/>
                  </a:lnTo>
                  <a:lnTo>
                    <a:pt x="152" y="155"/>
                  </a:lnTo>
                  <a:lnTo>
                    <a:pt x="155" y="155"/>
                  </a:lnTo>
                  <a:lnTo>
                    <a:pt x="159" y="155"/>
                  </a:lnTo>
                  <a:lnTo>
                    <a:pt x="162" y="158"/>
                  </a:lnTo>
                  <a:lnTo>
                    <a:pt x="165" y="158"/>
                  </a:lnTo>
                  <a:lnTo>
                    <a:pt x="169" y="158"/>
                  </a:lnTo>
                  <a:lnTo>
                    <a:pt x="172" y="155"/>
                  </a:lnTo>
                  <a:lnTo>
                    <a:pt x="183" y="162"/>
                  </a:lnTo>
                  <a:lnTo>
                    <a:pt x="186" y="165"/>
                  </a:lnTo>
                  <a:lnTo>
                    <a:pt x="196" y="165"/>
                  </a:lnTo>
                  <a:lnTo>
                    <a:pt x="200" y="162"/>
                  </a:lnTo>
                  <a:lnTo>
                    <a:pt x="200" y="162"/>
                  </a:lnTo>
                  <a:lnTo>
                    <a:pt x="203" y="158"/>
                  </a:lnTo>
                  <a:lnTo>
                    <a:pt x="214" y="149"/>
                  </a:lnTo>
                  <a:lnTo>
                    <a:pt x="214" y="149"/>
                  </a:lnTo>
                  <a:lnTo>
                    <a:pt x="214" y="146"/>
                  </a:lnTo>
                  <a:lnTo>
                    <a:pt x="217" y="142"/>
                  </a:lnTo>
                  <a:lnTo>
                    <a:pt x="210" y="142"/>
                  </a:lnTo>
                  <a:lnTo>
                    <a:pt x="203" y="139"/>
                  </a:lnTo>
                  <a:lnTo>
                    <a:pt x="203" y="129"/>
                  </a:lnTo>
                  <a:lnTo>
                    <a:pt x="200" y="126"/>
                  </a:lnTo>
                  <a:lnTo>
                    <a:pt x="200" y="123"/>
                  </a:lnTo>
                  <a:lnTo>
                    <a:pt x="207" y="123"/>
                  </a:lnTo>
                  <a:lnTo>
                    <a:pt x="207" y="116"/>
                  </a:lnTo>
                  <a:lnTo>
                    <a:pt x="203" y="113"/>
                  </a:lnTo>
                  <a:lnTo>
                    <a:pt x="203" y="110"/>
                  </a:lnTo>
                  <a:lnTo>
                    <a:pt x="203" y="107"/>
                  </a:lnTo>
                  <a:lnTo>
                    <a:pt x="203" y="107"/>
                  </a:lnTo>
                  <a:lnTo>
                    <a:pt x="203" y="107"/>
                  </a:lnTo>
                  <a:close/>
                  <a:moveTo>
                    <a:pt x="245" y="197"/>
                  </a:moveTo>
                  <a:lnTo>
                    <a:pt x="241" y="197"/>
                  </a:lnTo>
                  <a:lnTo>
                    <a:pt x="238" y="194"/>
                  </a:lnTo>
                  <a:lnTo>
                    <a:pt x="241" y="194"/>
                  </a:lnTo>
                  <a:lnTo>
                    <a:pt x="241" y="194"/>
                  </a:lnTo>
                  <a:lnTo>
                    <a:pt x="241" y="191"/>
                  </a:lnTo>
                  <a:lnTo>
                    <a:pt x="238" y="191"/>
                  </a:lnTo>
                  <a:lnTo>
                    <a:pt x="238" y="191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8" y="184"/>
                  </a:lnTo>
                  <a:lnTo>
                    <a:pt x="238" y="184"/>
                  </a:lnTo>
                  <a:lnTo>
                    <a:pt x="234" y="184"/>
                  </a:lnTo>
                  <a:lnTo>
                    <a:pt x="234" y="181"/>
                  </a:lnTo>
                  <a:lnTo>
                    <a:pt x="234" y="181"/>
                  </a:lnTo>
                  <a:lnTo>
                    <a:pt x="238" y="181"/>
                  </a:lnTo>
                  <a:lnTo>
                    <a:pt x="234" y="178"/>
                  </a:lnTo>
                  <a:lnTo>
                    <a:pt x="238" y="175"/>
                  </a:lnTo>
                  <a:lnTo>
                    <a:pt x="241" y="171"/>
                  </a:lnTo>
                  <a:lnTo>
                    <a:pt x="245" y="171"/>
                  </a:lnTo>
                  <a:lnTo>
                    <a:pt x="248" y="171"/>
                  </a:lnTo>
                  <a:lnTo>
                    <a:pt x="248" y="171"/>
                  </a:lnTo>
                  <a:lnTo>
                    <a:pt x="248" y="168"/>
                  </a:lnTo>
                  <a:lnTo>
                    <a:pt x="248" y="168"/>
                  </a:lnTo>
                  <a:lnTo>
                    <a:pt x="248" y="165"/>
                  </a:lnTo>
                  <a:lnTo>
                    <a:pt x="251" y="165"/>
                  </a:lnTo>
                  <a:lnTo>
                    <a:pt x="251" y="168"/>
                  </a:lnTo>
                  <a:lnTo>
                    <a:pt x="251" y="175"/>
                  </a:lnTo>
                  <a:lnTo>
                    <a:pt x="255" y="181"/>
                  </a:lnTo>
                  <a:lnTo>
                    <a:pt x="251" y="188"/>
                  </a:lnTo>
                  <a:lnTo>
                    <a:pt x="251" y="191"/>
                  </a:lnTo>
                  <a:lnTo>
                    <a:pt x="248" y="197"/>
                  </a:lnTo>
                  <a:lnTo>
                    <a:pt x="245" y="1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71" name="Freeform 72"/>
            <p:cNvSpPr>
              <a:spLocks/>
            </p:cNvSpPr>
            <p:nvPr/>
          </p:nvSpPr>
          <p:spPr bwMode="auto">
            <a:xfrm>
              <a:off x="6681788" y="3647142"/>
              <a:ext cx="11113" cy="4762"/>
            </a:xfrm>
            <a:custGeom>
              <a:avLst/>
              <a:gdLst>
                <a:gd name="T0" fmla="*/ 0 w 7"/>
                <a:gd name="T1" fmla="*/ 0 h 3"/>
                <a:gd name="T2" fmla="*/ 0 w 7"/>
                <a:gd name="T3" fmla="*/ 3 h 3"/>
                <a:gd name="T4" fmla="*/ 3 w 7"/>
                <a:gd name="T5" fmla="*/ 3 h 3"/>
                <a:gd name="T6" fmla="*/ 7 w 7"/>
                <a:gd name="T7" fmla="*/ 3 h 3"/>
                <a:gd name="T8" fmla="*/ 7 w 7"/>
                <a:gd name="T9" fmla="*/ 0 h 3"/>
                <a:gd name="T10" fmla="*/ 0 w 7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7" y="3"/>
                  </a:lnTo>
                  <a:lnTo>
                    <a:pt x="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72" name="Freeform 73"/>
            <p:cNvSpPr>
              <a:spLocks noEditPoints="1"/>
            </p:cNvSpPr>
            <p:nvPr/>
          </p:nvSpPr>
          <p:spPr bwMode="auto">
            <a:xfrm>
              <a:off x="6446838" y="3293130"/>
              <a:ext cx="349250" cy="333375"/>
            </a:xfrm>
            <a:custGeom>
              <a:avLst/>
              <a:gdLst>
                <a:gd name="T0" fmla="*/ 3 w 220"/>
                <a:gd name="T1" fmla="*/ 55 h 210"/>
                <a:gd name="T2" fmla="*/ 7 w 220"/>
                <a:gd name="T3" fmla="*/ 32 h 210"/>
                <a:gd name="T4" fmla="*/ 17 w 220"/>
                <a:gd name="T5" fmla="*/ 20 h 210"/>
                <a:gd name="T6" fmla="*/ 38 w 220"/>
                <a:gd name="T7" fmla="*/ 20 h 210"/>
                <a:gd name="T8" fmla="*/ 55 w 220"/>
                <a:gd name="T9" fmla="*/ 16 h 210"/>
                <a:gd name="T10" fmla="*/ 69 w 220"/>
                <a:gd name="T11" fmla="*/ 0 h 210"/>
                <a:gd name="T12" fmla="*/ 96 w 220"/>
                <a:gd name="T13" fmla="*/ 3 h 210"/>
                <a:gd name="T14" fmla="*/ 124 w 220"/>
                <a:gd name="T15" fmla="*/ 16 h 210"/>
                <a:gd name="T16" fmla="*/ 117 w 220"/>
                <a:gd name="T17" fmla="*/ 29 h 210"/>
                <a:gd name="T18" fmla="*/ 100 w 220"/>
                <a:gd name="T19" fmla="*/ 36 h 210"/>
                <a:gd name="T20" fmla="*/ 100 w 220"/>
                <a:gd name="T21" fmla="*/ 52 h 210"/>
                <a:gd name="T22" fmla="*/ 120 w 220"/>
                <a:gd name="T23" fmla="*/ 68 h 210"/>
                <a:gd name="T24" fmla="*/ 137 w 220"/>
                <a:gd name="T25" fmla="*/ 87 h 210"/>
                <a:gd name="T26" fmla="*/ 155 w 220"/>
                <a:gd name="T27" fmla="*/ 100 h 210"/>
                <a:gd name="T28" fmla="*/ 175 w 220"/>
                <a:gd name="T29" fmla="*/ 104 h 210"/>
                <a:gd name="T30" fmla="*/ 175 w 220"/>
                <a:gd name="T31" fmla="*/ 113 h 210"/>
                <a:gd name="T32" fmla="*/ 213 w 220"/>
                <a:gd name="T33" fmla="*/ 129 h 210"/>
                <a:gd name="T34" fmla="*/ 217 w 220"/>
                <a:gd name="T35" fmla="*/ 146 h 210"/>
                <a:gd name="T36" fmla="*/ 210 w 220"/>
                <a:gd name="T37" fmla="*/ 139 h 210"/>
                <a:gd name="T38" fmla="*/ 196 w 220"/>
                <a:gd name="T39" fmla="*/ 133 h 210"/>
                <a:gd name="T40" fmla="*/ 189 w 220"/>
                <a:gd name="T41" fmla="*/ 142 h 210"/>
                <a:gd name="T42" fmla="*/ 189 w 220"/>
                <a:gd name="T43" fmla="*/ 149 h 210"/>
                <a:gd name="T44" fmla="*/ 196 w 220"/>
                <a:gd name="T45" fmla="*/ 165 h 210"/>
                <a:gd name="T46" fmla="*/ 182 w 220"/>
                <a:gd name="T47" fmla="*/ 181 h 210"/>
                <a:gd name="T48" fmla="*/ 168 w 220"/>
                <a:gd name="T49" fmla="*/ 178 h 210"/>
                <a:gd name="T50" fmla="*/ 175 w 220"/>
                <a:gd name="T51" fmla="*/ 168 h 210"/>
                <a:gd name="T52" fmla="*/ 175 w 220"/>
                <a:gd name="T53" fmla="*/ 155 h 210"/>
                <a:gd name="T54" fmla="*/ 165 w 220"/>
                <a:gd name="T55" fmla="*/ 142 h 210"/>
                <a:gd name="T56" fmla="*/ 155 w 220"/>
                <a:gd name="T57" fmla="*/ 136 h 210"/>
                <a:gd name="T58" fmla="*/ 144 w 220"/>
                <a:gd name="T59" fmla="*/ 126 h 210"/>
                <a:gd name="T60" fmla="*/ 131 w 220"/>
                <a:gd name="T61" fmla="*/ 120 h 210"/>
                <a:gd name="T62" fmla="*/ 117 w 220"/>
                <a:gd name="T63" fmla="*/ 113 h 210"/>
                <a:gd name="T64" fmla="*/ 93 w 220"/>
                <a:gd name="T65" fmla="*/ 97 h 210"/>
                <a:gd name="T66" fmla="*/ 76 w 220"/>
                <a:gd name="T67" fmla="*/ 81 h 210"/>
                <a:gd name="T68" fmla="*/ 65 w 220"/>
                <a:gd name="T69" fmla="*/ 68 h 210"/>
                <a:gd name="T70" fmla="*/ 51 w 220"/>
                <a:gd name="T71" fmla="*/ 55 h 210"/>
                <a:gd name="T72" fmla="*/ 14 w 220"/>
                <a:gd name="T73" fmla="*/ 65 h 210"/>
                <a:gd name="T74" fmla="*/ 31 w 220"/>
                <a:gd name="T75" fmla="*/ 120 h 210"/>
                <a:gd name="T76" fmla="*/ 31 w 220"/>
                <a:gd name="T77" fmla="*/ 123 h 210"/>
                <a:gd name="T78" fmla="*/ 79 w 220"/>
                <a:gd name="T79" fmla="*/ 94 h 210"/>
                <a:gd name="T80" fmla="*/ 72 w 220"/>
                <a:gd name="T81" fmla="*/ 87 h 210"/>
                <a:gd name="T82" fmla="*/ 62 w 220"/>
                <a:gd name="T83" fmla="*/ 84 h 210"/>
                <a:gd name="T84" fmla="*/ 45 w 220"/>
                <a:gd name="T85" fmla="*/ 162 h 210"/>
                <a:gd name="T86" fmla="*/ 55 w 220"/>
                <a:gd name="T87" fmla="*/ 158 h 210"/>
                <a:gd name="T88" fmla="*/ 51 w 220"/>
                <a:gd name="T89" fmla="*/ 136 h 210"/>
                <a:gd name="T90" fmla="*/ 51 w 220"/>
                <a:gd name="T91" fmla="*/ 120 h 210"/>
                <a:gd name="T92" fmla="*/ 34 w 220"/>
                <a:gd name="T93" fmla="*/ 126 h 210"/>
                <a:gd name="T94" fmla="*/ 31 w 220"/>
                <a:gd name="T95" fmla="*/ 136 h 210"/>
                <a:gd name="T96" fmla="*/ 38 w 220"/>
                <a:gd name="T97" fmla="*/ 146 h 210"/>
                <a:gd name="T98" fmla="*/ 38 w 220"/>
                <a:gd name="T99" fmla="*/ 162 h 210"/>
                <a:gd name="T100" fmla="*/ 165 w 220"/>
                <a:gd name="T101" fmla="*/ 204 h 210"/>
                <a:gd name="T102" fmla="*/ 168 w 220"/>
                <a:gd name="T103" fmla="*/ 181 h 210"/>
                <a:gd name="T104" fmla="*/ 148 w 220"/>
                <a:gd name="T105" fmla="*/ 181 h 210"/>
                <a:gd name="T106" fmla="*/ 120 w 220"/>
                <a:gd name="T107" fmla="*/ 181 h 210"/>
                <a:gd name="T108" fmla="*/ 117 w 220"/>
                <a:gd name="T109" fmla="*/ 191 h 210"/>
                <a:gd name="T110" fmla="*/ 144 w 220"/>
                <a:gd name="T111" fmla="*/ 204 h 210"/>
                <a:gd name="T112" fmla="*/ 162 w 220"/>
                <a:gd name="T11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210">
                  <a:moveTo>
                    <a:pt x="14" y="65"/>
                  </a:moveTo>
                  <a:lnTo>
                    <a:pt x="14" y="62"/>
                  </a:lnTo>
                  <a:lnTo>
                    <a:pt x="17" y="58"/>
                  </a:lnTo>
                  <a:lnTo>
                    <a:pt x="10" y="58"/>
                  </a:lnTo>
                  <a:lnTo>
                    <a:pt x="3" y="55"/>
                  </a:lnTo>
                  <a:lnTo>
                    <a:pt x="3" y="45"/>
                  </a:lnTo>
                  <a:lnTo>
                    <a:pt x="0" y="42"/>
                  </a:lnTo>
                  <a:lnTo>
                    <a:pt x="0" y="39"/>
                  </a:lnTo>
                  <a:lnTo>
                    <a:pt x="7" y="39"/>
                  </a:lnTo>
                  <a:lnTo>
                    <a:pt x="7" y="32"/>
                  </a:lnTo>
                  <a:lnTo>
                    <a:pt x="3" y="29"/>
                  </a:lnTo>
                  <a:lnTo>
                    <a:pt x="3" y="26"/>
                  </a:lnTo>
                  <a:lnTo>
                    <a:pt x="3" y="23"/>
                  </a:lnTo>
                  <a:lnTo>
                    <a:pt x="10" y="26"/>
                  </a:lnTo>
                  <a:lnTo>
                    <a:pt x="17" y="20"/>
                  </a:lnTo>
                  <a:lnTo>
                    <a:pt x="21" y="23"/>
                  </a:lnTo>
                  <a:lnTo>
                    <a:pt x="27" y="13"/>
                  </a:lnTo>
                  <a:lnTo>
                    <a:pt x="34" y="16"/>
                  </a:lnTo>
                  <a:lnTo>
                    <a:pt x="34" y="20"/>
                  </a:lnTo>
                  <a:lnTo>
                    <a:pt x="38" y="20"/>
                  </a:lnTo>
                  <a:lnTo>
                    <a:pt x="41" y="26"/>
                  </a:lnTo>
                  <a:lnTo>
                    <a:pt x="45" y="20"/>
                  </a:lnTo>
                  <a:lnTo>
                    <a:pt x="45" y="13"/>
                  </a:lnTo>
                  <a:lnTo>
                    <a:pt x="51" y="16"/>
                  </a:lnTo>
                  <a:lnTo>
                    <a:pt x="55" y="16"/>
                  </a:lnTo>
                  <a:lnTo>
                    <a:pt x="58" y="20"/>
                  </a:lnTo>
                  <a:lnTo>
                    <a:pt x="62" y="13"/>
                  </a:lnTo>
                  <a:lnTo>
                    <a:pt x="69" y="10"/>
                  </a:lnTo>
                  <a:lnTo>
                    <a:pt x="65" y="7"/>
                  </a:lnTo>
                  <a:lnTo>
                    <a:pt x="69" y="0"/>
                  </a:lnTo>
                  <a:lnTo>
                    <a:pt x="76" y="3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6" y="0"/>
                  </a:lnTo>
                  <a:lnTo>
                    <a:pt x="96" y="3"/>
                  </a:lnTo>
                  <a:lnTo>
                    <a:pt x="107" y="7"/>
                  </a:lnTo>
                  <a:lnTo>
                    <a:pt x="117" y="10"/>
                  </a:lnTo>
                  <a:lnTo>
                    <a:pt x="124" y="10"/>
                  </a:lnTo>
                  <a:lnTo>
                    <a:pt x="127" y="10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0" y="23"/>
                  </a:lnTo>
                  <a:lnTo>
                    <a:pt x="124" y="29"/>
                  </a:lnTo>
                  <a:lnTo>
                    <a:pt x="117" y="26"/>
                  </a:lnTo>
                  <a:lnTo>
                    <a:pt x="117" y="29"/>
                  </a:lnTo>
                  <a:lnTo>
                    <a:pt x="113" y="29"/>
                  </a:lnTo>
                  <a:lnTo>
                    <a:pt x="110" y="29"/>
                  </a:lnTo>
                  <a:lnTo>
                    <a:pt x="103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9"/>
                  </a:lnTo>
                  <a:lnTo>
                    <a:pt x="103" y="42"/>
                  </a:lnTo>
                  <a:lnTo>
                    <a:pt x="100" y="45"/>
                  </a:lnTo>
                  <a:lnTo>
                    <a:pt x="100" y="49"/>
                  </a:lnTo>
                  <a:lnTo>
                    <a:pt x="100" y="52"/>
                  </a:lnTo>
                  <a:lnTo>
                    <a:pt x="103" y="55"/>
                  </a:lnTo>
                  <a:lnTo>
                    <a:pt x="103" y="58"/>
                  </a:lnTo>
                  <a:lnTo>
                    <a:pt x="113" y="62"/>
                  </a:lnTo>
                  <a:lnTo>
                    <a:pt x="117" y="65"/>
                  </a:lnTo>
                  <a:lnTo>
                    <a:pt x="120" y="68"/>
                  </a:lnTo>
                  <a:lnTo>
                    <a:pt x="131" y="78"/>
                  </a:lnTo>
                  <a:lnTo>
                    <a:pt x="131" y="81"/>
                  </a:lnTo>
                  <a:lnTo>
                    <a:pt x="134" y="81"/>
                  </a:lnTo>
                  <a:lnTo>
                    <a:pt x="134" y="84"/>
                  </a:lnTo>
                  <a:lnTo>
                    <a:pt x="137" y="87"/>
                  </a:lnTo>
                  <a:lnTo>
                    <a:pt x="141" y="91"/>
                  </a:lnTo>
                  <a:lnTo>
                    <a:pt x="144" y="94"/>
                  </a:lnTo>
                  <a:lnTo>
                    <a:pt x="148" y="100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8" y="104"/>
                  </a:lnTo>
                  <a:lnTo>
                    <a:pt x="165" y="104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5" y="104"/>
                  </a:lnTo>
                  <a:lnTo>
                    <a:pt x="175" y="107"/>
                  </a:lnTo>
                  <a:lnTo>
                    <a:pt x="172" y="110"/>
                  </a:lnTo>
                  <a:lnTo>
                    <a:pt x="168" y="110"/>
                  </a:lnTo>
                  <a:lnTo>
                    <a:pt x="172" y="113"/>
                  </a:lnTo>
                  <a:lnTo>
                    <a:pt x="175" y="113"/>
                  </a:lnTo>
                  <a:lnTo>
                    <a:pt x="182" y="116"/>
                  </a:lnTo>
                  <a:lnTo>
                    <a:pt x="199" y="123"/>
                  </a:lnTo>
                  <a:lnTo>
                    <a:pt x="203" y="126"/>
                  </a:lnTo>
                  <a:lnTo>
                    <a:pt x="210" y="129"/>
                  </a:lnTo>
                  <a:lnTo>
                    <a:pt x="213" y="129"/>
                  </a:lnTo>
                  <a:lnTo>
                    <a:pt x="217" y="133"/>
                  </a:lnTo>
                  <a:lnTo>
                    <a:pt x="220" y="136"/>
                  </a:lnTo>
                  <a:lnTo>
                    <a:pt x="220" y="139"/>
                  </a:lnTo>
                  <a:lnTo>
                    <a:pt x="217" y="142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3" y="146"/>
                  </a:lnTo>
                  <a:lnTo>
                    <a:pt x="210" y="142"/>
                  </a:lnTo>
                  <a:lnTo>
                    <a:pt x="210" y="139"/>
                  </a:lnTo>
                  <a:lnTo>
                    <a:pt x="210" y="136"/>
                  </a:lnTo>
                  <a:lnTo>
                    <a:pt x="206" y="136"/>
                  </a:lnTo>
                  <a:lnTo>
                    <a:pt x="199" y="136"/>
                  </a:lnTo>
                  <a:lnTo>
                    <a:pt x="199" y="133"/>
                  </a:lnTo>
                  <a:lnTo>
                    <a:pt x="196" y="133"/>
                  </a:lnTo>
                  <a:lnTo>
                    <a:pt x="193" y="133"/>
                  </a:lnTo>
                  <a:lnTo>
                    <a:pt x="193" y="133"/>
                  </a:lnTo>
                  <a:lnTo>
                    <a:pt x="189" y="136"/>
                  </a:lnTo>
                  <a:lnTo>
                    <a:pt x="189" y="139"/>
                  </a:lnTo>
                  <a:lnTo>
                    <a:pt x="189" y="142"/>
                  </a:lnTo>
                  <a:lnTo>
                    <a:pt x="189" y="142"/>
                  </a:lnTo>
                  <a:lnTo>
                    <a:pt x="186" y="146"/>
                  </a:lnTo>
                  <a:lnTo>
                    <a:pt x="186" y="149"/>
                  </a:lnTo>
                  <a:lnTo>
                    <a:pt x="186" y="149"/>
                  </a:lnTo>
                  <a:lnTo>
                    <a:pt x="189" y="149"/>
                  </a:lnTo>
                  <a:lnTo>
                    <a:pt x="196" y="155"/>
                  </a:lnTo>
                  <a:lnTo>
                    <a:pt x="196" y="155"/>
                  </a:lnTo>
                  <a:lnTo>
                    <a:pt x="196" y="162"/>
                  </a:lnTo>
                  <a:lnTo>
                    <a:pt x="196" y="162"/>
                  </a:lnTo>
                  <a:lnTo>
                    <a:pt x="196" y="165"/>
                  </a:lnTo>
                  <a:lnTo>
                    <a:pt x="193" y="165"/>
                  </a:lnTo>
                  <a:lnTo>
                    <a:pt x="189" y="168"/>
                  </a:lnTo>
                  <a:lnTo>
                    <a:pt x="189" y="175"/>
                  </a:lnTo>
                  <a:lnTo>
                    <a:pt x="182" y="178"/>
                  </a:lnTo>
                  <a:lnTo>
                    <a:pt x="182" y="181"/>
                  </a:lnTo>
                  <a:lnTo>
                    <a:pt x="179" y="184"/>
                  </a:lnTo>
                  <a:lnTo>
                    <a:pt x="172" y="188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78"/>
                  </a:lnTo>
                  <a:lnTo>
                    <a:pt x="172" y="178"/>
                  </a:lnTo>
                  <a:lnTo>
                    <a:pt x="175" y="175"/>
                  </a:lnTo>
                  <a:lnTo>
                    <a:pt x="175" y="171"/>
                  </a:lnTo>
                  <a:lnTo>
                    <a:pt x="175" y="168"/>
                  </a:lnTo>
                  <a:lnTo>
                    <a:pt x="175" y="168"/>
                  </a:lnTo>
                  <a:lnTo>
                    <a:pt x="179" y="168"/>
                  </a:lnTo>
                  <a:lnTo>
                    <a:pt x="179" y="165"/>
                  </a:lnTo>
                  <a:lnTo>
                    <a:pt x="179" y="162"/>
                  </a:lnTo>
                  <a:lnTo>
                    <a:pt x="179" y="162"/>
                  </a:lnTo>
                  <a:lnTo>
                    <a:pt x="175" y="155"/>
                  </a:lnTo>
                  <a:lnTo>
                    <a:pt x="172" y="152"/>
                  </a:lnTo>
                  <a:lnTo>
                    <a:pt x="172" y="149"/>
                  </a:lnTo>
                  <a:lnTo>
                    <a:pt x="172" y="142"/>
                  </a:lnTo>
                  <a:lnTo>
                    <a:pt x="168" y="142"/>
                  </a:lnTo>
                  <a:lnTo>
                    <a:pt x="165" y="142"/>
                  </a:lnTo>
                  <a:lnTo>
                    <a:pt x="162" y="142"/>
                  </a:lnTo>
                  <a:lnTo>
                    <a:pt x="158" y="139"/>
                  </a:lnTo>
                  <a:lnTo>
                    <a:pt x="155" y="139"/>
                  </a:lnTo>
                  <a:lnTo>
                    <a:pt x="155" y="136"/>
                  </a:lnTo>
                  <a:lnTo>
                    <a:pt x="155" y="136"/>
                  </a:lnTo>
                  <a:lnTo>
                    <a:pt x="155" y="133"/>
                  </a:lnTo>
                  <a:lnTo>
                    <a:pt x="151" y="129"/>
                  </a:lnTo>
                  <a:lnTo>
                    <a:pt x="148" y="129"/>
                  </a:lnTo>
                  <a:lnTo>
                    <a:pt x="144" y="129"/>
                  </a:lnTo>
                  <a:lnTo>
                    <a:pt x="144" y="126"/>
                  </a:lnTo>
                  <a:lnTo>
                    <a:pt x="141" y="126"/>
                  </a:lnTo>
                  <a:lnTo>
                    <a:pt x="141" y="126"/>
                  </a:lnTo>
                  <a:lnTo>
                    <a:pt x="137" y="126"/>
                  </a:lnTo>
                  <a:lnTo>
                    <a:pt x="134" y="120"/>
                  </a:lnTo>
                  <a:lnTo>
                    <a:pt x="131" y="120"/>
                  </a:ln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17" y="113"/>
                  </a:lnTo>
                  <a:lnTo>
                    <a:pt x="113" y="113"/>
                  </a:lnTo>
                  <a:lnTo>
                    <a:pt x="103" y="110"/>
                  </a:lnTo>
                  <a:lnTo>
                    <a:pt x="96" y="100"/>
                  </a:lnTo>
                  <a:lnTo>
                    <a:pt x="93" y="100"/>
                  </a:lnTo>
                  <a:lnTo>
                    <a:pt x="93" y="97"/>
                  </a:lnTo>
                  <a:lnTo>
                    <a:pt x="89" y="94"/>
                  </a:lnTo>
                  <a:lnTo>
                    <a:pt x="86" y="94"/>
                  </a:lnTo>
                  <a:lnTo>
                    <a:pt x="82" y="91"/>
                  </a:lnTo>
                  <a:lnTo>
                    <a:pt x="79" y="84"/>
                  </a:lnTo>
                  <a:lnTo>
                    <a:pt x="76" y="81"/>
                  </a:lnTo>
                  <a:lnTo>
                    <a:pt x="72" y="81"/>
                  </a:lnTo>
                  <a:lnTo>
                    <a:pt x="72" y="74"/>
                  </a:lnTo>
                  <a:lnTo>
                    <a:pt x="69" y="74"/>
                  </a:lnTo>
                  <a:lnTo>
                    <a:pt x="69" y="71"/>
                  </a:lnTo>
                  <a:lnTo>
                    <a:pt x="65" y="68"/>
                  </a:lnTo>
                  <a:lnTo>
                    <a:pt x="62" y="65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55" y="58"/>
                  </a:lnTo>
                  <a:lnTo>
                    <a:pt x="51" y="55"/>
                  </a:lnTo>
                  <a:lnTo>
                    <a:pt x="38" y="52"/>
                  </a:lnTo>
                  <a:lnTo>
                    <a:pt x="27" y="58"/>
                  </a:lnTo>
                  <a:lnTo>
                    <a:pt x="27" y="62"/>
                  </a:lnTo>
                  <a:lnTo>
                    <a:pt x="24" y="65"/>
                  </a:lnTo>
                  <a:lnTo>
                    <a:pt x="14" y="65"/>
                  </a:lnTo>
                  <a:lnTo>
                    <a:pt x="14" y="65"/>
                  </a:lnTo>
                  <a:close/>
                  <a:moveTo>
                    <a:pt x="31" y="123"/>
                  </a:moveTo>
                  <a:lnTo>
                    <a:pt x="31" y="120"/>
                  </a:lnTo>
                  <a:lnTo>
                    <a:pt x="31" y="120"/>
                  </a:lnTo>
                  <a:lnTo>
                    <a:pt x="31" y="120"/>
                  </a:lnTo>
                  <a:lnTo>
                    <a:pt x="31" y="116"/>
                  </a:lnTo>
                  <a:lnTo>
                    <a:pt x="31" y="120"/>
                  </a:lnTo>
                  <a:lnTo>
                    <a:pt x="31" y="120"/>
                  </a:lnTo>
                  <a:lnTo>
                    <a:pt x="31" y="123"/>
                  </a:lnTo>
                  <a:lnTo>
                    <a:pt x="31" y="123"/>
                  </a:lnTo>
                  <a:close/>
                  <a:moveTo>
                    <a:pt x="79" y="94"/>
                  </a:moveTo>
                  <a:lnTo>
                    <a:pt x="82" y="94"/>
                  </a:lnTo>
                  <a:lnTo>
                    <a:pt x="79" y="94"/>
                  </a:lnTo>
                  <a:lnTo>
                    <a:pt x="79" y="94"/>
                  </a:lnTo>
                  <a:lnTo>
                    <a:pt x="79" y="94"/>
                  </a:lnTo>
                  <a:close/>
                  <a:moveTo>
                    <a:pt x="62" y="84"/>
                  </a:moveTo>
                  <a:lnTo>
                    <a:pt x="62" y="87"/>
                  </a:lnTo>
                  <a:lnTo>
                    <a:pt x="65" y="87"/>
                  </a:lnTo>
                  <a:lnTo>
                    <a:pt x="69" y="87"/>
                  </a:lnTo>
                  <a:lnTo>
                    <a:pt x="72" y="87"/>
                  </a:lnTo>
                  <a:lnTo>
                    <a:pt x="69" y="84"/>
                  </a:lnTo>
                  <a:lnTo>
                    <a:pt x="69" y="84"/>
                  </a:lnTo>
                  <a:lnTo>
                    <a:pt x="69" y="84"/>
                  </a:lnTo>
                  <a:lnTo>
                    <a:pt x="62" y="84"/>
                  </a:lnTo>
                  <a:lnTo>
                    <a:pt x="62" y="84"/>
                  </a:lnTo>
                  <a:close/>
                  <a:moveTo>
                    <a:pt x="38" y="165"/>
                  </a:moveTo>
                  <a:lnTo>
                    <a:pt x="41" y="165"/>
                  </a:lnTo>
                  <a:lnTo>
                    <a:pt x="41" y="165"/>
                  </a:lnTo>
                  <a:lnTo>
                    <a:pt x="45" y="165"/>
                  </a:lnTo>
                  <a:lnTo>
                    <a:pt x="45" y="162"/>
                  </a:lnTo>
                  <a:lnTo>
                    <a:pt x="48" y="158"/>
                  </a:lnTo>
                  <a:lnTo>
                    <a:pt x="51" y="158"/>
                  </a:lnTo>
                  <a:lnTo>
                    <a:pt x="51" y="162"/>
                  </a:lnTo>
                  <a:lnTo>
                    <a:pt x="55" y="162"/>
                  </a:lnTo>
                  <a:lnTo>
                    <a:pt x="55" y="158"/>
                  </a:lnTo>
                  <a:lnTo>
                    <a:pt x="55" y="152"/>
                  </a:lnTo>
                  <a:lnTo>
                    <a:pt x="58" y="152"/>
                  </a:lnTo>
                  <a:lnTo>
                    <a:pt x="55" y="146"/>
                  </a:lnTo>
                  <a:lnTo>
                    <a:pt x="58" y="139"/>
                  </a:lnTo>
                  <a:lnTo>
                    <a:pt x="51" y="136"/>
                  </a:lnTo>
                  <a:lnTo>
                    <a:pt x="58" y="133"/>
                  </a:lnTo>
                  <a:lnTo>
                    <a:pt x="58" y="129"/>
                  </a:lnTo>
                  <a:lnTo>
                    <a:pt x="58" y="126"/>
                  </a:lnTo>
                  <a:lnTo>
                    <a:pt x="55" y="123"/>
                  </a:lnTo>
                  <a:lnTo>
                    <a:pt x="51" y="120"/>
                  </a:lnTo>
                  <a:lnTo>
                    <a:pt x="51" y="120"/>
                  </a:lnTo>
                  <a:lnTo>
                    <a:pt x="48" y="116"/>
                  </a:lnTo>
                  <a:lnTo>
                    <a:pt x="45" y="120"/>
                  </a:lnTo>
                  <a:lnTo>
                    <a:pt x="38" y="126"/>
                  </a:lnTo>
                  <a:lnTo>
                    <a:pt x="34" y="126"/>
                  </a:lnTo>
                  <a:lnTo>
                    <a:pt x="31" y="123"/>
                  </a:lnTo>
                  <a:lnTo>
                    <a:pt x="31" y="126"/>
                  </a:lnTo>
                  <a:lnTo>
                    <a:pt x="27" y="129"/>
                  </a:lnTo>
                  <a:lnTo>
                    <a:pt x="31" y="133"/>
                  </a:lnTo>
                  <a:lnTo>
                    <a:pt x="31" y="136"/>
                  </a:lnTo>
                  <a:lnTo>
                    <a:pt x="34" y="136"/>
                  </a:lnTo>
                  <a:lnTo>
                    <a:pt x="34" y="139"/>
                  </a:lnTo>
                  <a:lnTo>
                    <a:pt x="31" y="142"/>
                  </a:lnTo>
                  <a:lnTo>
                    <a:pt x="34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4" y="149"/>
                  </a:lnTo>
                  <a:lnTo>
                    <a:pt x="34" y="155"/>
                  </a:lnTo>
                  <a:lnTo>
                    <a:pt x="34" y="155"/>
                  </a:lnTo>
                  <a:lnTo>
                    <a:pt x="38" y="162"/>
                  </a:lnTo>
                  <a:lnTo>
                    <a:pt x="38" y="165"/>
                  </a:lnTo>
                  <a:lnTo>
                    <a:pt x="38" y="165"/>
                  </a:lnTo>
                  <a:close/>
                  <a:moveTo>
                    <a:pt x="162" y="210"/>
                  </a:moveTo>
                  <a:lnTo>
                    <a:pt x="162" y="204"/>
                  </a:lnTo>
                  <a:lnTo>
                    <a:pt x="165" y="204"/>
                  </a:lnTo>
                  <a:lnTo>
                    <a:pt x="162" y="200"/>
                  </a:lnTo>
                  <a:lnTo>
                    <a:pt x="158" y="194"/>
                  </a:lnTo>
                  <a:lnTo>
                    <a:pt x="162" y="188"/>
                  </a:lnTo>
                  <a:lnTo>
                    <a:pt x="165" y="184"/>
                  </a:lnTo>
                  <a:lnTo>
                    <a:pt x="168" y="181"/>
                  </a:lnTo>
                  <a:lnTo>
                    <a:pt x="165" y="178"/>
                  </a:lnTo>
                  <a:lnTo>
                    <a:pt x="158" y="181"/>
                  </a:lnTo>
                  <a:lnTo>
                    <a:pt x="158" y="181"/>
                  </a:lnTo>
                  <a:lnTo>
                    <a:pt x="155" y="178"/>
                  </a:lnTo>
                  <a:lnTo>
                    <a:pt x="148" y="181"/>
                  </a:lnTo>
                  <a:lnTo>
                    <a:pt x="141" y="181"/>
                  </a:lnTo>
                  <a:lnTo>
                    <a:pt x="134" y="184"/>
                  </a:lnTo>
                  <a:lnTo>
                    <a:pt x="127" y="184"/>
                  </a:lnTo>
                  <a:lnTo>
                    <a:pt x="124" y="181"/>
                  </a:lnTo>
                  <a:lnTo>
                    <a:pt x="120" y="181"/>
                  </a:lnTo>
                  <a:lnTo>
                    <a:pt x="117" y="184"/>
                  </a:lnTo>
                  <a:lnTo>
                    <a:pt x="117" y="181"/>
                  </a:lnTo>
                  <a:lnTo>
                    <a:pt x="113" y="184"/>
                  </a:lnTo>
                  <a:lnTo>
                    <a:pt x="110" y="188"/>
                  </a:lnTo>
                  <a:lnTo>
                    <a:pt x="117" y="191"/>
                  </a:lnTo>
                  <a:lnTo>
                    <a:pt x="120" y="191"/>
                  </a:lnTo>
                  <a:lnTo>
                    <a:pt x="127" y="194"/>
                  </a:lnTo>
                  <a:lnTo>
                    <a:pt x="131" y="197"/>
                  </a:lnTo>
                  <a:lnTo>
                    <a:pt x="134" y="200"/>
                  </a:lnTo>
                  <a:lnTo>
                    <a:pt x="144" y="204"/>
                  </a:lnTo>
                  <a:lnTo>
                    <a:pt x="144" y="200"/>
                  </a:lnTo>
                  <a:lnTo>
                    <a:pt x="148" y="204"/>
                  </a:lnTo>
                  <a:lnTo>
                    <a:pt x="148" y="207"/>
                  </a:lnTo>
                  <a:lnTo>
                    <a:pt x="158" y="210"/>
                  </a:lnTo>
                  <a:lnTo>
                    <a:pt x="162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73" name="Freeform 74"/>
            <p:cNvSpPr>
              <a:spLocks noEditPoints="1"/>
            </p:cNvSpPr>
            <p:nvPr/>
          </p:nvSpPr>
          <p:spPr bwMode="auto">
            <a:xfrm>
              <a:off x="5999163" y="3396317"/>
              <a:ext cx="382588" cy="246062"/>
            </a:xfrm>
            <a:custGeom>
              <a:avLst/>
              <a:gdLst>
                <a:gd name="T0" fmla="*/ 141 w 241"/>
                <a:gd name="T1" fmla="*/ 9 h 155"/>
                <a:gd name="T2" fmla="*/ 144 w 241"/>
                <a:gd name="T3" fmla="*/ 16 h 155"/>
                <a:gd name="T4" fmla="*/ 161 w 241"/>
                <a:gd name="T5" fmla="*/ 22 h 155"/>
                <a:gd name="T6" fmla="*/ 175 w 241"/>
                <a:gd name="T7" fmla="*/ 26 h 155"/>
                <a:gd name="T8" fmla="*/ 189 w 241"/>
                <a:gd name="T9" fmla="*/ 22 h 155"/>
                <a:gd name="T10" fmla="*/ 203 w 241"/>
                <a:gd name="T11" fmla="*/ 26 h 155"/>
                <a:gd name="T12" fmla="*/ 220 w 241"/>
                <a:gd name="T13" fmla="*/ 29 h 155"/>
                <a:gd name="T14" fmla="*/ 220 w 241"/>
                <a:gd name="T15" fmla="*/ 39 h 155"/>
                <a:gd name="T16" fmla="*/ 210 w 241"/>
                <a:gd name="T17" fmla="*/ 48 h 155"/>
                <a:gd name="T18" fmla="*/ 206 w 241"/>
                <a:gd name="T19" fmla="*/ 51 h 155"/>
                <a:gd name="T20" fmla="*/ 189 w 241"/>
                <a:gd name="T21" fmla="*/ 58 h 155"/>
                <a:gd name="T22" fmla="*/ 186 w 241"/>
                <a:gd name="T23" fmla="*/ 64 h 155"/>
                <a:gd name="T24" fmla="*/ 182 w 241"/>
                <a:gd name="T25" fmla="*/ 64 h 155"/>
                <a:gd name="T26" fmla="*/ 172 w 241"/>
                <a:gd name="T27" fmla="*/ 74 h 155"/>
                <a:gd name="T28" fmla="*/ 165 w 241"/>
                <a:gd name="T29" fmla="*/ 93 h 155"/>
                <a:gd name="T30" fmla="*/ 172 w 241"/>
                <a:gd name="T31" fmla="*/ 103 h 155"/>
                <a:gd name="T32" fmla="*/ 161 w 241"/>
                <a:gd name="T33" fmla="*/ 110 h 155"/>
                <a:gd name="T34" fmla="*/ 158 w 241"/>
                <a:gd name="T35" fmla="*/ 126 h 155"/>
                <a:gd name="T36" fmla="*/ 137 w 241"/>
                <a:gd name="T37" fmla="*/ 132 h 155"/>
                <a:gd name="T38" fmla="*/ 127 w 241"/>
                <a:gd name="T39" fmla="*/ 139 h 155"/>
                <a:gd name="T40" fmla="*/ 120 w 241"/>
                <a:gd name="T41" fmla="*/ 142 h 155"/>
                <a:gd name="T42" fmla="*/ 110 w 241"/>
                <a:gd name="T43" fmla="*/ 142 h 155"/>
                <a:gd name="T44" fmla="*/ 96 w 241"/>
                <a:gd name="T45" fmla="*/ 142 h 155"/>
                <a:gd name="T46" fmla="*/ 75 w 241"/>
                <a:gd name="T47" fmla="*/ 148 h 155"/>
                <a:gd name="T48" fmla="*/ 65 w 241"/>
                <a:gd name="T49" fmla="*/ 155 h 155"/>
                <a:gd name="T50" fmla="*/ 51 w 241"/>
                <a:gd name="T51" fmla="*/ 142 h 155"/>
                <a:gd name="T52" fmla="*/ 38 w 241"/>
                <a:gd name="T53" fmla="*/ 132 h 155"/>
                <a:gd name="T54" fmla="*/ 31 w 241"/>
                <a:gd name="T55" fmla="*/ 123 h 155"/>
                <a:gd name="T56" fmla="*/ 41 w 241"/>
                <a:gd name="T57" fmla="*/ 110 h 155"/>
                <a:gd name="T58" fmla="*/ 41 w 241"/>
                <a:gd name="T59" fmla="*/ 100 h 155"/>
                <a:gd name="T60" fmla="*/ 31 w 241"/>
                <a:gd name="T61" fmla="*/ 84 h 155"/>
                <a:gd name="T62" fmla="*/ 45 w 241"/>
                <a:gd name="T63" fmla="*/ 77 h 155"/>
                <a:gd name="T64" fmla="*/ 45 w 241"/>
                <a:gd name="T65" fmla="*/ 61 h 155"/>
                <a:gd name="T66" fmla="*/ 55 w 241"/>
                <a:gd name="T67" fmla="*/ 48 h 155"/>
                <a:gd name="T68" fmla="*/ 51 w 241"/>
                <a:gd name="T69" fmla="*/ 39 h 155"/>
                <a:gd name="T70" fmla="*/ 27 w 241"/>
                <a:gd name="T71" fmla="*/ 39 h 155"/>
                <a:gd name="T72" fmla="*/ 20 w 241"/>
                <a:gd name="T73" fmla="*/ 35 h 155"/>
                <a:gd name="T74" fmla="*/ 7 w 241"/>
                <a:gd name="T75" fmla="*/ 35 h 155"/>
                <a:gd name="T76" fmla="*/ 10 w 241"/>
                <a:gd name="T77" fmla="*/ 29 h 155"/>
                <a:gd name="T78" fmla="*/ 7 w 241"/>
                <a:gd name="T79" fmla="*/ 26 h 155"/>
                <a:gd name="T80" fmla="*/ 7 w 241"/>
                <a:gd name="T81" fmla="*/ 19 h 155"/>
                <a:gd name="T82" fmla="*/ 0 w 241"/>
                <a:gd name="T83" fmla="*/ 16 h 155"/>
                <a:gd name="T84" fmla="*/ 14 w 241"/>
                <a:gd name="T85" fmla="*/ 9 h 155"/>
                <a:gd name="T86" fmla="*/ 20 w 241"/>
                <a:gd name="T87" fmla="*/ 6 h 155"/>
                <a:gd name="T88" fmla="*/ 27 w 241"/>
                <a:gd name="T89" fmla="*/ 3 h 155"/>
                <a:gd name="T90" fmla="*/ 41 w 241"/>
                <a:gd name="T91" fmla="*/ 6 h 155"/>
                <a:gd name="T92" fmla="*/ 51 w 241"/>
                <a:gd name="T93" fmla="*/ 6 h 155"/>
                <a:gd name="T94" fmla="*/ 65 w 241"/>
                <a:gd name="T95" fmla="*/ 3 h 155"/>
                <a:gd name="T96" fmla="*/ 89 w 241"/>
                <a:gd name="T97" fmla="*/ 9 h 155"/>
                <a:gd name="T98" fmla="*/ 106 w 241"/>
                <a:gd name="T99" fmla="*/ 9 h 155"/>
                <a:gd name="T100" fmla="*/ 120 w 241"/>
                <a:gd name="T101" fmla="*/ 6 h 155"/>
                <a:gd name="T102" fmla="*/ 134 w 241"/>
                <a:gd name="T103" fmla="*/ 9 h 155"/>
                <a:gd name="T104" fmla="*/ 230 w 241"/>
                <a:gd name="T105" fmla="*/ 81 h 155"/>
                <a:gd name="T106" fmla="*/ 241 w 241"/>
                <a:gd name="T107" fmla="*/ 81 h 155"/>
                <a:gd name="T108" fmla="*/ 230 w 241"/>
                <a:gd name="T109" fmla="*/ 81 h 155"/>
                <a:gd name="T110" fmla="*/ 220 w 241"/>
                <a:gd name="T111" fmla="*/ 87 h 155"/>
                <a:gd name="T112" fmla="*/ 217 w 241"/>
                <a:gd name="T113" fmla="*/ 84 h 155"/>
                <a:gd name="T114" fmla="*/ 217 w 241"/>
                <a:gd name="T115" fmla="*/ 90 h 155"/>
                <a:gd name="T116" fmla="*/ 196 w 241"/>
                <a:gd name="T117" fmla="*/ 103 h 155"/>
                <a:gd name="T118" fmla="*/ 199 w 241"/>
                <a:gd name="T119" fmla="*/ 97 h 155"/>
                <a:gd name="T120" fmla="*/ 196 w 241"/>
                <a:gd name="T121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1" h="155">
                  <a:moveTo>
                    <a:pt x="137" y="9"/>
                  </a:moveTo>
                  <a:lnTo>
                    <a:pt x="141" y="9"/>
                  </a:lnTo>
                  <a:lnTo>
                    <a:pt x="141" y="9"/>
                  </a:lnTo>
                  <a:lnTo>
                    <a:pt x="144" y="13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58" y="19"/>
                  </a:lnTo>
                  <a:lnTo>
                    <a:pt x="161" y="22"/>
                  </a:lnTo>
                  <a:lnTo>
                    <a:pt x="165" y="22"/>
                  </a:lnTo>
                  <a:lnTo>
                    <a:pt x="168" y="26"/>
                  </a:lnTo>
                  <a:lnTo>
                    <a:pt x="175" y="26"/>
                  </a:lnTo>
                  <a:lnTo>
                    <a:pt x="175" y="26"/>
                  </a:lnTo>
                  <a:lnTo>
                    <a:pt x="179" y="22"/>
                  </a:lnTo>
                  <a:lnTo>
                    <a:pt x="189" y="22"/>
                  </a:lnTo>
                  <a:lnTo>
                    <a:pt x="192" y="26"/>
                  </a:lnTo>
                  <a:lnTo>
                    <a:pt x="196" y="22"/>
                  </a:lnTo>
                  <a:lnTo>
                    <a:pt x="203" y="26"/>
                  </a:lnTo>
                  <a:lnTo>
                    <a:pt x="213" y="26"/>
                  </a:lnTo>
                  <a:lnTo>
                    <a:pt x="220" y="29"/>
                  </a:lnTo>
                  <a:lnTo>
                    <a:pt x="220" y="29"/>
                  </a:lnTo>
                  <a:lnTo>
                    <a:pt x="220" y="32"/>
                  </a:lnTo>
                  <a:lnTo>
                    <a:pt x="217" y="32"/>
                  </a:lnTo>
                  <a:lnTo>
                    <a:pt x="220" y="39"/>
                  </a:lnTo>
                  <a:lnTo>
                    <a:pt x="220" y="42"/>
                  </a:lnTo>
                  <a:lnTo>
                    <a:pt x="217" y="45"/>
                  </a:lnTo>
                  <a:lnTo>
                    <a:pt x="210" y="48"/>
                  </a:lnTo>
                  <a:lnTo>
                    <a:pt x="210" y="48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199" y="55"/>
                  </a:lnTo>
                  <a:lnTo>
                    <a:pt x="192" y="55"/>
                  </a:lnTo>
                  <a:lnTo>
                    <a:pt x="189" y="58"/>
                  </a:lnTo>
                  <a:lnTo>
                    <a:pt x="182" y="61"/>
                  </a:lnTo>
                  <a:lnTo>
                    <a:pt x="186" y="61"/>
                  </a:lnTo>
                  <a:lnTo>
                    <a:pt x="186" y="64"/>
                  </a:lnTo>
                  <a:lnTo>
                    <a:pt x="182" y="68"/>
                  </a:lnTo>
                  <a:lnTo>
                    <a:pt x="182" y="68"/>
                  </a:lnTo>
                  <a:lnTo>
                    <a:pt x="182" y="64"/>
                  </a:lnTo>
                  <a:lnTo>
                    <a:pt x="179" y="64"/>
                  </a:lnTo>
                  <a:lnTo>
                    <a:pt x="175" y="74"/>
                  </a:lnTo>
                  <a:lnTo>
                    <a:pt x="172" y="74"/>
                  </a:lnTo>
                  <a:lnTo>
                    <a:pt x="161" y="84"/>
                  </a:lnTo>
                  <a:lnTo>
                    <a:pt x="161" y="87"/>
                  </a:lnTo>
                  <a:lnTo>
                    <a:pt x="165" y="93"/>
                  </a:lnTo>
                  <a:lnTo>
                    <a:pt x="165" y="97"/>
                  </a:lnTo>
                  <a:lnTo>
                    <a:pt x="168" y="97"/>
                  </a:lnTo>
                  <a:lnTo>
                    <a:pt x="172" y="103"/>
                  </a:lnTo>
                  <a:lnTo>
                    <a:pt x="168" y="106"/>
                  </a:lnTo>
                  <a:lnTo>
                    <a:pt x="161" y="106"/>
                  </a:lnTo>
                  <a:lnTo>
                    <a:pt x="161" y="110"/>
                  </a:lnTo>
                  <a:lnTo>
                    <a:pt x="155" y="119"/>
                  </a:lnTo>
                  <a:lnTo>
                    <a:pt x="155" y="123"/>
                  </a:lnTo>
                  <a:lnTo>
                    <a:pt x="158" y="126"/>
                  </a:lnTo>
                  <a:lnTo>
                    <a:pt x="155" y="126"/>
                  </a:lnTo>
                  <a:lnTo>
                    <a:pt x="148" y="126"/>
                  </a:lnTo>
                  <a:lnTo>
                    <a:pt x="137" y="132"/>
                  </a:lnTo>
                  <a:lnTo>
                    <a:pt x="137" y="135"/>
                  </a:lnTo>
                  <a:lnTo>
                    <a:pt x="131" y="142"/>
                  </a:lnTo>
                  <a:lnTo>
                    <a:pt x="127" y="139"/>
                  </a:lnTo>
                  <a:lnTo>
                    <a:pt x="124" y="135"/>
                  </a:lnTo>
                  <a:lnTo>
                    <a:pt x="124" y="139"/>
                  </a:lnTo>
                  <a:lnTo>
                    <a:pt x="120" y="142"/>
                  </a:lnTo>
                  <a:lnTo>
                    <a:pt x="117" y="139"/>
                  </a:lnTo>
                  <a:lnTo>
                    <a:pt x="113" y="139"/>
                  </a:lnTo>
                  <a:lnTo>
                    <a:pt x="110" y="142"/>
                  </a:lnTo>
                  <a:lnTo>
                    <a:pt x="106" y="142"/>
                  </a:lnTo>
                  <a:lnTo>
                    <a:pt x="100" y="139"/>
                  </a:lnTo>
                  <a:lnTo>
                    <a:pt x="96" y="142"/>
                  </a:lnTo>
                  <a:lnTo>
                    <a:pt x="89" y="142"/>
                  </a:lnTo>
                  <a:lnTo>
                    <a:pt x="82" y="145"/>
                  </a:lnTo>
                  <a:lnTo>
                    <a:pt x="75" y="148"/>
                  </a:lnTo>
                  <a:lnTo>
                    <a:pt x="72" y="148"/>
                  </a:lnTo>
                  <a:lnTo>
                    <a:pt x="72" y="152"/>
                  </a:lnTo>
                  <a:lnTo>
                    <a:pt x="65" y="155"/>
                  </a:lnTo>
                  <a:lnTo>
                    <a:pt x="62" y="155"/>
                  </a:lnTo>
                  <a:lnTo>
                    <a:pt x="55" y="148"/>
                  </a:lnTo>
                  <a:lnTo>
                    <a:pt x="51" y="142"/>
                  </a:lnTo>
                  <a:lnTo>
                    <a:pt x="51" y="139"/>
                  </a:lnTo>
                  <a:lnTo>
                    <a:pt x="45" y="132"/>
                  </a:lnTo>
                  <a:lnTo>
                    <a:pt x="38" y="132"/>
                  </a:lnTo>
                  <a:lnTo>
                    <a:pt x="34" y="132"/>
                  </a:lnTo>
                  <a:lnTo>
                    <a:pt x="34" y="129"/>
                  </a:lnTo>
                  <a:lnTo>
                    <a:pt x="31" y="123"/>
                  </a:lnTo>
                  <a:lnTo>
                    <a:pt x="34" y="116"/>
                  </a:lnTo>
                  <a:lnTo>
                    <a:pt x="41" y="113"/>
                  </a:lnTo>
                  <a:lnTo>
                    <a:pt x="41" y="110"/>
                  </a:lnTo>
                  <a:lnTo>
                    <a:pt x="38" y="110"/>
                  </a:lnTo>
                  <a:lnTo>
                    <a:pt x="34" y="106"/>
                  </a:lnTo>
                  <a:lnTo>
                    <a:pt x="41" y="100"/>
                  </a:lnTo>
                  <a:lnTo>
                    <a:pt x="41" y="93"/>
                  </a:lnTo>
                  <a:lnTo>
                    <a:pt x="34" y="90"/>
                  </a:lnTo>
                  <a:lnTo>
                    <a:pt x="31" y="84"/>
                  </a:lnTo>
                  <a:lnTo>
                    <a:pt x="34" y="84"/>
                  </a:lnTo>
                  <a:lnTo>
                    <a:pt x="38" y="84"/>
                  </a:lnTo>
                  <a:lnTo>
                    <a:pt x="45" y="77"/>
                  </a:lnTo>
                  <a:lnTo>
                    <a:pt x="41" y="74"/>
                  </a:lnTo>
                  <a:lnTo>
                    <a:pt x="45" y="71"/>
                  </a:lnTo>
                  <a:lnTo>
                    <a:pt x="45" y="61"/>
                  </a:lnTo>
                  <a:lnTo>
                    <a:pt x="45" y="55"/>
                  </a:lnTo>
                  <a:lnTo>
                    <a:pt x="51" y="48"/>
                  </a:lnTo>
                  <a:lnTo>
                    <a:pt x="55" y="48"/>
                  </a:lnTo>
                  <a:lnTo>
                    <a:pt x="55" y="45"/>
                  </a:lnTo>
                  <a:lnTo>
                    <a:pt x="51" y="42"/>
                  </a:lnTo>
                  <a:lnTo>
                    <a:pt x="51" y="39"/>
                  </a:lnTo>
                  <a:lnTo>
                    <a:pt x="41" y="35"/>
                  </a:lnTo>
                  <a:lnTo>
                    <a:pt x="38" y="39"/>
                  </a:lnTo>
                  <a:lnTo>
                    <a:pt x="27" y="39"/>
                  </a:lnTo>
                  <a:lnTo>
                    <a:pt x="20" y="42"/>
                  </a:lnTo>
                  <a:lnTo>
                    <a:pt x="20" y="39"/>
                  </a:lnTo>
                  <a:lnTo>
                    <a:pt x="20" y="35"/>
                  </a:lnTo>
                  <a:lnTo>
                    <a:pt x="1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14" y="32"/>
                  </a:lnTo>
                  <a:lnTo>
                    <a:pt x="10" y="32"/>
                  </a:lnTo>
                  <a:lnTo>
                    <a:pt x="10" y="29"/>
                  </a:lnTo>
                  <a:lnTo>
                    <a:pt x="10" y="26"/>
                  </a:lnTo>
                  <a:lnTo>
                    <a:pt x="10" y="22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2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3" y="19"/>
                  </a:lnTo>
                  <a:lnTo>
                    <a:pt x="0" y="16"/>
                  </a:lnTo>
                  <a:lnTo>
                    <a:pt x="3" y="13"/>
                  </a:lnTo>
                  <a:lnTo>
                    <a:pt x="10" y="9"/>
                  </a:lnTo>
                  <a:lnTo>
                    <a:pt x="14" y="9"/>
                  </a:lnTo>
                  <a:lnTo>
                    <a:pt x="20" y="9"/>
                  </a:lnTo>
                  <a:lnTo>
                    <a:pt x="24" y="9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31" y="0"/>
                  </a:lnTo>
                  <a:lnTo>
                    <a:pt x="34" y="3"/>
                  </a:lnTo>
                  <a:lnTo>
                    <a:pt x="41" y="6"/>
                  </a:lnTo>
                  <a:lnTo>
                    <a:pt x="45" y="3"/>
                  </a:lnTo>
                  <a:lnTo>
                    <a:pt x="48" y="3"/>
                  </a:lnTo>
                  <a:lnTo>
                    <a:pt x="51" y="6"/>
                  </a:lnTo>
                  <a:lnTo>
                    <a:pt x="55" y="3"/>
                  </a:lnTo>
                  <a:lnTo>
                    <a:pt x="62" y="3"/>
                  </a:lnTo>
                  <a:lnTo>
                    <a:pt x="65" y="3"/>
                  </a:lnTo>
                  <a:lnTo>
                    <a:pt x="69" y="6"/>
                  </a:lnTo>
                  <a:lnTo>
                    <a:pt x="82" y="9"/>
                  </a:lnTo>
                  <a:lnTo>
                    <a:pt x="89" y="9"/>
                  </a:lnTo>
                  <a:lnTo>
                    <a:pt x="100" y="6"/>
                  </a:lnTo>
                  <a:lnTo>
                    <a:pt x="106" y="6"/>
                  </a:lnTo>
                  <a:lnTo>
                    <a:pt x="106" y="9"/>
                  </a:lnTo>
                  <a:lnTo>
                    <a:pt x="113" y="9"/>
                  </a:lnTo>
                  <a:lnTo>
                    <a:pt x="117" y="6"/>
                  </a:lnTo>
                  <a:lnTo>
                    <a:pt x="120" y="6"/>
                  </a:lnTo>
                  <a:lnTo>
                    <a:pt x="131" y="13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7" y="9"/>
                  </a:lnTo>
                  <a:lnTo>
                    <a:pt x="137" y="9"/>
                  </a:lnTo>
                  <a:close/>
                  <a:moveTo>
                    <a:pt x="230" y="81"/>
                  </a:moveTo>
                  <a:lnTo>
                    <a:pt x="237" y="81"/>
                  </a:lnTo>
                  <a:lnTo>
                    <a:pt x="241" y="84"/>
                  </a:lnTo>
                  <a:lnTo>
                    <a:pt x="241" y="81"/>
                  </a:lnTo>
                  <a:lnTo>
                    <a:pt x="237" y="77"/>
                  </a:lnTo>
                  <a:lnTo>
                    <a:pt x="230" y="77"/>
                  </a:lnTo>
                  <a:lnTo>
                    <a:pt x="230" y="81"/>
                  </a:lnTo>
                  <a:lnTo>
                    <a:pt x="230" y="81"/>
                  </a:lnTo>
                  <a:close/>
                  <a:moveTo>
                    <a:pt x="220" y="90"/>
                  </a:moveTo>
                  <a:lnTo>
                    <a:pt x="220" y="87"/>
                  </a:lnTo>
                  <a:lnTo>
                    <a:pt x="227" y="84"/>
                  </a:lnTo>
                  <a:lnTo>
                    <a:pt x="220" y="84"/>
                  </a:lnTo>
                  <a:lnTo>
                    <a:pt x="217" y="84"/>
                  </a:lnTo>
                  <a:lnTo>
                    <a:pt x="213" y="84"/>
                  </a:lnTo>
                  <a:lnTo>
                    <a:pt x="213" y="87"/>
                  </a:lnTo>
                  <a:lnTo>
                    <a:pt x="217" y="90"/>
                  </a:lnTo>
                  <a:lnTo>
                    <a:pt x="220" y="90"/>
                  </a:lnTo>
                  <a:lnTo>
                    <a:pt x="220" y="90"/>
                  </a:lnTo>
                  <a:close/>
                  <a:moveTo>
                    <a:pt x="196" y="103"/>
                  </a:moveTo>
                  <a:lnTo>
                    <a:pt x="199" y="100"/>
                  </a:lnTo>
                  <a:lnTo>
                    <a:pt x="199" y="97"/>
                  </a:lnTo>
                  <a:lnTo>
                    <a:pt x="199" y="97"/>
                  </a:lnTo>
                  <a:lnTo>
                    <a:pt x="192" y="97"/>
                  </a:lnTo>
                  <a:lnTo>
                    <a:pt x="192" y="100"/>
                  </a:lnTo>
                  <a:lnTo>
                    <a:pt x="196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74" name="Freeform 75"/>
            <p:cNvSpPr>
              <a:spLocks/>
            </p:cNvSpPr>
            <p:nvPr/>
          </p:nvSpPr>
          <p:spPr bwMode="auto">
            <a:xfrm>
              <a:off x="5992813" y="3451880"/>
              <a:ext cx="93663" cy="158750"/>
            </a:xfrm>
            <a:custGeom>
              <a:avLst/>
              <a:gdLst>
                <a:gd name="T0" fmla="*/ 38 w 59"/>
                <a:gd name="T1" fmla="*/ 94 h 100"/>
                <a:gd name="T2" fmla="*/ 38 w 59"/>
                <a:gd name="T3" fmla="*/ 81 h 100"/>
                <a:gd name="T4" fmla="*/ 45 w 59"/>
                <a:gd name="T5" fmla="*/ 75 h 100"/>
                <a:gd name="T6" fmla="*/ 38 w 59"/>
                <a:gd name="T7" fmla="*/ 71 h 100"/>
                <a:gd name="T8" fmla="*/ 45 w 59"/>
                <a:gd name="T9" fmla="*/ 58 h 100"/>
                <a:gd name="T10" fmla="*/ 35 w 59"/>
                <a:gd name="T11" fmla="*/ 49 h 100"/>
                <a:gd name="T12" fmla="*/ 42 w 59"/>
                <a:gd name="T13" fmla="*/ 49 h 100"/>
                <a:gd name="T14" fmla="*/ 45 w 59"/>
                <a:gd name="T15" fmla="*/ 39 h 100"/>
                <a:gd name="T16" fmla="*/ 49 w 59"/>
                <a:gd name="T17" fmla="*/ 26 h 100"/>
                <a:gd name="T18" fmla="*/ 55 w 59"/>
                <a:gd name="T19" fmla="*/ 13 h 100"/>
                <a:gd name="T20" fmla="*/ 59 w 59"/>
                <a:gd name="T21" fmla="*/ 10 h 100"/>
                <a:gd name="T22" fmla="*/ 55 w 59"/>
                <a:gd name="T23" fmla="*/ 4 h 100"/>
                <a:gd name="T24" fmla="*/ 42 w 59"/>
                <a:gd name="T25" fmla="*/ 4 h 100"/>
                <a:gd name="T26" fmla="*/ 24 w 59"/>
                <a:gd name="T27" fmla="*/ 7 h 100"/>
                <a:gd name="T28" fmla="*/ 24 w 59"/>
                <a:gd name="T29" fmla="*/ 0 h 100"/>
                <a:gd name="T30" fmla="*/ 11 w 59"/>
                <a:gd name="T31" fmla="*/ 0 h 100"/>
                <a:gd name="T32" fmla="*/ 14 w 59"/>
                <a:gd name="T33" fmla="*/ 10 h 100"/>
                <a:gd name="T34" fmla="*/ 14 w 59"/>
                <a:gd name="T35" fmla="*/ 20 h 100"/>
                <a:gd name="T36" fmla="*/ 14 w 59"/>
                <a:gd name="T37" fmla="*/ 29 h 100"/>
                <a:gd name="T38" fmla="*/ 11 w 59"/>
                <a:gd name="T39" fmla="*/ 36 h 100"/>
                <a:gd name="T40" fmla="*/ 7 w 59"/>
                <a:gd name="T41" fmla="*/ 46 h 100"/>
                <a:gd name="T42" fmla="*/ 0 w 59"/>
                <a:gd name="T43" fmla="*/ 55 h 100"/>
                <a:gd name="T44" fmla="*/ 0 w 59"/>
                <a:gd name="T45" fmla="*/ 68 h 100"/>
                <a:gd name="T46" fmla="*/ 4 w 59"/>
                <a:gd name="T47" fmla="*/ 65 h 100"/>
                <a:gd name="T48" fmla="*/ 7 w 59"/>
                <a:gd name="T49" fmla="*/ 65 h 100"/>
                <a:gd name="T50" fmla="*/ 4 w 59"/>
                <a:gd name="T51" fmla="*/ 68 h 100"/>
                <a:gd name="T52" fmla="*/ 4 w 59"/>
                <a:gd name="T53" fmla="*/ 75 h 100"/>
                <a:gd name="T54" fmla="*/ 14 w 59"/>
                <a:gd name="T55" fmla="*/ 71 h 100"/>
                <a:gd name="T56" fmla="*/ 11 w 59"/>
                <a:gd name="T57" fmla="*/ 78 h 100"/>
                <a:gd name="T58" fmla="*/ 11 w 59"/>
                <a:gd name="T59" fmla="*/ 91 h 100"/>
                <a:gd name="T60" fmla="*/ 7 w 59"/>
                <a:gd name="T61" fmla="*/ 100 h 100"/>
                <a:gd name="T62" fmla="*/ 14 w 59"/>
                <a:gd name="T63" fmla="*/ 97 h 100"/>
                <a:gd name="T64" fmla="*/ 24 w 59"/>
                <a:gd name="T65" fmla="*/ 100 h 100"/>
                <a:gd name="T66" fmla="*/ 38 w 59"/>
                <a:gd name="T67" fmla="*/ 97 h 100"/>
                <a:gd name="T68" fmla="*/ 38 w 59"/>
                <a:gd name="T69" fmla="*/ 9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100">
                  <a:moveTo>
                    <a:pt x="38" y="97"/>
                  </a:moveTo>
                  <a:lnTo>
                    <a:pt x="38" y="94"/>
                  </a:lnTo>
                  <a:lnTo>
                    <a:pt x="35" y="88"/>
                  </a:lnTo>
                  <a:lnTo>
                    <a:pt x="38" y="81"/>
                  </a:lnTo>
                  <a:lnTo>
                    <a:pt x="45" y="78"/>
                  </a:lnTo>
                  <a:lnTo>
                    <a:pt x="45" y="75"/>
                  </a:lnTo>
                  <a:lnTo>
                    <a:pt x="42" y="75"/>
                  </a:lnTo>
                  <a:lnTo>
                    <a:pt x="38" y="71"/>
                  </a:lnTo>
                  <a:lnTo>
                    <a:pt x="45" y="65"/>
                  </a:lnTo>
                  <a:lnTo>
                    <a:pt x="45" y="58"/>
                  </a:lnTo>
                  <a:lnTo>
                    <a:pt x="38" y="55"/>
                  </a:lnTo>
                  <a:lnTo>
                    <a:pt x="35" y="49"/>
                  </a:lnTo>
                  <a:lnTo>
                    <a:pt x="38" y="49"/>
                  </a:lnTo>
                  <a:lnTo>
                    <a:pt x="42" y="49"/>
                  </a:lnTo>
                  <a:lnTo>
                    <a:pt x="49" y="42"/>
                  </a:lnTo>
                  <a:lnTo>
                    <a:pt x="45" y="39"/>
                  </a:lnTo>
                  <a:lnTo>
                    <a:pt x="49" y="36"/>
                  </a:lnTo>
                  <a:lnTo>
                    <a:pt x="49" y="26"/>
                  </a:lnTo>
                  <a:lnTo>
                    <a:pt x="49" y="20"/>
                  </a:lnTo>
                  <a:lnTo>
                    <a:pt x="55" y="13"/>
                  </a:lnTo>
                  <a:lnTo>
                    <a:pt x="59" y="13"/>
                  </a:lnTo>
                  <a:lnTo>
                    <a:pt x="59" y="10"/>
                  </a:lnTo>
                  <a:lnTo>
                    <a:pt x="55" y="7"/>
                  </a:lnTo>
                  <a:lnTo>
                    <a:pt x="55" y="4"/>
                  </a:lnTo>
                  <a:lnTo>
                    <a:pt x="45" y="0"/>
                  </a:lnTo>
                  <a:lnTo>
                    <a:pt x="42" y="4"/>
                  </a:lnTo>
                  <a:lnTo>
                    <a:pt x="31" y="4"/>
                  </a:lnTo>
                  <a:lnTo>
                    <a:pt x="24" y="7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11" y="0"/>
                  </a:lnTo>
                  <a:lnTo>
                    <a:pt x="11" y="4"/>
                  </a:lnTo>
                  <a:lnTo>
                    <a:pt x="14" y="1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6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1" y="36"/>
                  </a:lnTo>
                  <a:lnTo>
                    <a:pt x="11" y="39"/>
                  </a:lnTo>
                  <a:lnTo>
                    <a:pt x="7" y="46"/>
                  </a:lnTo>
                  <a:lnTo>
                    <a:pt x="7" y="49"/>
                  </a:lnTo>
                  <a:lnTo>
                    <a:pt x="0" y="55"/>
                  </a:lnTo>
                  <a:lnTo>
                    <a:pt x="0" y="65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5"/>
                  </a:lnTo>
                  <a:lnTo>
                    <a:pt x="7" y="62"/>
                  </a:lnTo>
                  <a:lnTo>
                    <a:pt x="7" y="65"/>
                  </a:lnTo>
                  <a:lnTo>
                    <a:pt x="11" y="65"/>
                  </a:lnTo>
                  <a:lnTo>
                    <a:pt x="4" y="68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14" y="71"/>
                  </a:lnTo>
                  <a:lnTo>
                    <a:pt x="11" y="75"/>
                  </a:lnTo>
                  <a:lnTo>
                    <a:pt x="11" y="78"/>
                  </a:lnTo>
                  <a:lnTo>
                    <a:pt x="11" y="81"/>
                  </a:lnTo>
                  <a:lnTo>
                    <a:pt x="11" y="91"/>
                  </a:lnTo>
                  <a:lnTo>
                    <a:pt x="7" y="97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14" y="97"/>
                  </a:lnTo>
                  <a:lnTo>
                    <a:pt x="21" y="100"/>
                  </a:lnTo>
                  <a:lnTo>
                    <a:pt x="24" y="100"/>
                  </a:lnTo>
                  <a:lnTo>
                    <a:pt x="31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75" name="Freeform 76"/>
            <p:cNvSpPr>
              <a:spLocks noEditPoints="1"/>
            </p:cNvSpPr>
            <p:nvPr/>
          </p:nvSpPr>
          <p:spPr bwMode="auto">
            <a:xfrm>
              <a:off x="6829426" y="3458230"/>
              <a:ext cx="266700" cy="214312"/>
            </a:xfrm>
            <a:custGeom>
              <a:avLst/>
              <a:gdLst>
                <a:gd name="T0" fmla="*/ 103 w 168"/>
                <a:gd name="T1" fmla="*/ 9 h 135"/>
                <a:gd name="T2" fmla="*/ 65 w 168"/>
                <a:gd name="T3" fmla="*/ 12 h 135"/>
                <a:gd name="T4" fmla="*/ 27 w 168"/>
                <a:gd name="T5" fmla="*/ 22 h 135"/>
                <a:gd name="T6" fmla="*/ 17 w 168"/>
                <a:gd name="T7" fmla="*/ 54 h 135"/>
                <a:gd name="T8" fmla="*/ 44 w 168"/>
                <a:gd name="T9" fmla="*/ 74 h 135"/>
                <a:gd name="T10" fmla="*/ 62 w 168"/>
                <a:gd name="T11" fmla="*/ 77 h 135"/>
                <a:gd name="T12" fmla="*/ 31 w 168"/>
                <a:gd name="T13" fmla="*/ 77 h 135"/>
                <a:gd name="T14" fmla="*/ 48 w 168"/>
                <a:gd name="T15" fmla="*/ 103 h 135"/>
                <a:gd name="T16" fmla="*/ 58 w 168"/>
                <a:gd name="T17" fmla="*/ 106 h 135"/>
                <a:gd name="T18" fmla="*/ 62 w 168"/>
                <a:gd name="T19" fmla="*/ 90 h 135"/>
                <a:gd name="T20" fmla="*/ 72 w 168"/>
                <a:gd name="T21" fmla="*/ 90 h 135"/>
                <a:gd name="T22" fmla="*/ 79 w 168"/>
                <a:gd name="T23" fmla="*/ 84 h 135"/>
                <a:gd name="T24" fmla="*/ 68 w 168"/>
                <a:gd name="T25" fmla="*/ 64 h 135"/>
                <a:gd name="T26" fmla="*/ 62 w 168"/>
                <a:gd name="T27" fmla="*/ 54 h 135"/>
                <a:gd name="T28" fmla="*/ 62 w 168"/>
                <a:gd name="T29" fmla="*/ 45 h 135"/>
                <a:gd name="T30" fmla="*/ 58 w 168"/>
                <a:gd name="T31" fmla="*/ 29 h 135"/>
                <a:gd name="T32" fmla="*/ 75 w 168"/>
                <a:gd name="T33" fmla="*/ 32 h 135"/>
                <a:gd name="T34" fmla="*/ 86 w 168"/>
                <a:gd name="T35" fmla="*/ 32 h 135"/>
                <a:gd name="T36" fmla="*/ 93 w 168"/>
                <a:gd name="T37" fmla="*/ 19 h 135"/>
                <a:gd name="T38" fmla="*/ 124 w 168"/>
                <a:gd name="T39" fmla="*/ 16 h 135"/>
                <a:gd name="T40" fmla="*/ 79 w 168"/>
                <a:gd name="T41" fmla="*/ 126 h 135"/>
                <a:gd name="T42" fmla="*/ 103 w 168"/>
                <a:gd name="T43" fmla="*/ 135 h 135"/>
                <a:gd name="T44" fmla="*/ 130 w 168"/>
                <a:gd name="T45" fmla="*/ 126 h 135"/>
                <a:gd name="T46" fmla="*/ 120 w 168"/>
                <a:gd name="T47" fmla="*/ 129 h 135"/>
                <a:gd name="T48" fmla="*/ 93 w 168"/>
                <a:gd name="T49" fmla="*/ 126 h 135"/>
                <a:gd name="T50" fmla="*/ 82 w 168"/>
                <a:gd name="T51" fmla="*/ 126 h 135"/>
                <a:gd name="T52" fmla="*/ 10 w 168"/>
                <a:gd name="T53" fmla="*/ 51 h 135"/>
                <a:gd name="T54" fmla="*/ 20 w 168"/>
                <a:gd name="T55" fmla="*/ 67 h 135"/>
                <a:gd name="T56" fmla="*/ 20 w 168"/>
                <a:gd name="T57" fmla="*/ 71 h 135"/>
                <a:gd name="T58" fmla="*/ 24 w 168"/>
                <a:gd name="T59" fmla="*/ 77 h 135"/>
                <a:gd name="T60" fmla="*/ 20 w 168"/>
                <a:gd name="T61" fmla="*/ 71 h 135"/>
                <a:gd name="T62" fmla="*/ 24 w 168"/>
                <a:gd name="T63" fmla="*/ 80 h 135"/>
                <a:gd name="T64" fmla="*/ 148 w 168"/>
                <a:gd name="T65" fmla="*/ 119 h 135"/>
                <a:gd name="T66" fmla="*/ 148 w 168"/>
                <a:gd name="T67" fmla="*/ 129 h 135"/>
                <a:gd name="T68" fmla="*/ 168 w 168"/>
                <a:gd name="T69" fmla="*/ 109 h 135"/>
                <a:gd name="T70" fmla="*/ 158 w 168"/>
                <a:gd name="T71" fmla="*/ 119 h 135"/>
                <a:gd name="T72" fmla="*/ 130 w 168"/>
                <a:gd name="T73" fmla="*/ 106 h 135"/>
                <a:gd name="T74" fmla="*/ 137 w 168"/>
                <a:gd name="T75" fmla="*/ 87 h 135"/>
                <a:gd name="T76" fmla="*/ 124 w 168"/>
                <a:gd name="T77" fmla="*/ 74 h 135"/>
                <a:gd name="T78" fmla="*/ 124 w 168"/>
                <a:gd name="T79" fmla="*/ 67 h 135"/>
                <a:gd name="T80" fmla="*/ 127 w 168"/>
                <a:gd name="T81" fmla="*/ 51 h 135"/>
                <a:gd name="T82" fmla="*/ 127 w 168"/>
                <a:gd name="T83" fmla="*/ 54 h 135"/>
                <a:gd name="T84" fmla="*/ 113 w 168"/>
                <a:gd name="T85" fmla="*/ 25 h 135"/>
                <a:gd name="T86" fmla="*/ 106 w 168"/>
                <a:gd name="T87" fmla="*/ 35 h 135"/>
                <a:gd name="T88" fmla="*/ 99 w 168"/>
                <a:gd name="T89" fmla="*/ 35 h 135"/>
                <a:gd name="T90" fmla="*/ 93 w 168"/>
                <a:gd name="T91" fmla="*/ 22 h 135"/>
                <a:gd name="T92" fmla="*/ 72 w 168"/>
                <a:gd name="T93" fmla="*/ 54 h 135"/>
                <a:gd name="T94" fmla="*/ 96 w 168"/>
                <a:gd name="T95" fmla="*/ 64 h 135"/>
                <a:gd name="T96" fmla="*/ 127 w 168"/>
                <a:gd name="T97" fmla="*/ 87 h 135"/>
                <a:gd name="T98" fmla="*/ 93 w 168"/>
                <a:gd name="T99" fmla="*/ 106 h 135"/>
                <a:gd name="T100" fmla="*/ 93 w 168"/>
                <a:gd name="T101" fmla="*/ 90 h 135"/>
                <a:gd name="T102" fmla="*/ 89 w 168"/>
                <a:gd name="T103" fmla="*/ 90 h 135"/>
                <a:gd name="T104" fmla="*/ 113 w 168"/>
                <a:gd name="T105" fmla="*/ 100 h 135"/>
                <a:gd name="T106" fmla="*/ 113 w 168"/>
                <a:gd name="T107" fmla="*/ 90 h 135"/>
                <a:gd name="T108" fmla="*/ 106 w 168"/>
                <a:gd name="T109" fmla="*/ 87 h 135"/>
                <a:gd name="T110" fmla="*/ 96 w 168"/>
                <a:gd name="T111" fmla="*/ 84 h 135"/>
                <a:gd name="T112" fmla="*/ 79 w 168"/>
                <a:gd name="T113" fmla="*/ 64 h 135"/>
                <a:gd name="T114" fmla="*/ 93 w 168"/>
                <a:gd name="T115" fmla="*/ 77 h 135"/>
                <a:gd name="T116" fmla="*/ 82 w 168"/>
                <a:gd name="T117" fmla="*/ 71 h 135"/>
                <a:gd name="T118" fmla="*/ 65 w 168"/>
                <a:gd name="T119" fmla="*/ 61 h 135"/>
                <a:gd name="T120" fmla="*/ 68 w 168"/>
                <a:gd name="T121" fmla="*/ 116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135">
                  <a:moveTo>
                    <a:pt x="124" y="0"/>
                  </a:moveTo>
                  <a:lnTo>
                    <a:pt x="124" y="0"/>
                  </a:lnTo>
                  <a:lnTo>
                    <a:pt x="117" y="3"/>
                  </a:lnTo>
                  <a:lnTo>
                    <a:pt x="117" y="6"/>
                  </a:lnTo>
                  <a:lnTo>
                    <a:pt x="120" y="9"/>
                  </a:lnTo>
                  <a:lnTo>
                    <a:pt x="117" y="9"/>
                  </a:lnTo>
                  <a:lnTo>
                    <a:pt x="110" y="9"/>
                  </a:lnTo>
                  <a:lnTo>
                    <a:pt x="106" y="12"/>
                  </a:lnTo>
                  <a:lnTo>
                    <a:pt x="103" y="9"/>
                  </a:lnTo>
                  <a:lnTo>
                    <a:pt x="99" y="9"/>
                  </a:lnTo>
                  <a:lnTo>
                    <a:pt x="96" y="12"/>
                  </a:lnTo>
                  <a:lnTo>
                    <a:pt x="93" y="12"/>
                  </a:lnTo>
                  <a:lnTo>
                    <a:pt x="93" y="9"/>
                  </a:lnTo>
                  <a:lnTo>
                    <a:pt x="86" y="9"/>
                  </a:lnTo>
                  <a:lnTo>
                    <a:pt x="82" y="9"/>
                  </a:lnTo>
                  <a:lnTo>
                    <a:pt x="79" y="9"/>
                  </a:lnTo>
                  <a:lnTo>
                    <a:pt x="72" y="12"/>
                  </a:lnTo>
                  <a:lnTo>
                    <a:pt x="65" y="12"/>
                  </a:lnTo>
                  <a:lnTo>
                    <a:pt x="65" y="9"/>
                  </a:lnTo>
                  <a:lnTo>
                    <a:pt x="62" y="12"/>
                  </a:lnTo>
                  <a:lnTo>
                    <a:pt x="58" y="12"/>
                  </a:lnTo>
                  <a:lnTo>
                    <a:pt x="55" y="16"/>
                  </a:lnTo>
                  <a:lnTo>
                    <a:pt x="44" y="16"/>
                  </a:lnTo>
                  <a:lnTo>
                    <a:pt x="41" y="16"/>
                  </a:lnTo>
                  <a:lnTo>
                    <a:pt x="41" y="19"/>
                  </a:lnTo>
                  <a:lnTo>
                    <a:pt x="34" y="19"/>
                  </a:lnTo>
                  <a:lnTo>
                    <a:pt x="27" y="22"/>
                  </a:lnTo>
                  <a:lnTo>
                    <a:pt x="27" y="29"/>
                  </a:lnTo>
                  <a:lnTo>
                    <a:pt x="24" y="32"/>
                  </a:lnTo>
                  <a:lnTo>
                    <a:pt x="17" y="35"/>
                  </a:lnTo>
                  <a:lnTo>
                    <a:pt x="17" y="38"/>
                  </a:lnTo>
                  <a:lnTo>
                    <a:pt x="13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51"/>
                  </a:lnTo>
                  <a:lnTo>
                    <a:pt x="17" y="54"/>
                  </a:lnTo>
                  <a:lnTo>
                    <a:pt x="20" y="61"/>
                  </a:lnTo>
                  <a:lnTo>
                    <a:pt x="24" y="61"/>
                  </a:lnTo>
                  <a:lnTo>
                    <a:pt x="24" y="61"/>
                  </a:lnTo>
                  <a:lnTo>
                    <a:pt x="27" y="67"/>
                  </a:lnTo>
                  <a:lnTo>
                    <a:pt x="31" y="71"/>
                  </a:lnTo>
                  <a:lnTo>
                    <a:pt x="34" y="74"/>
                  </a:lnTo>
                  <a:lnTo>
                    <a:pt x="34" y="71"/>
                  </a:lnTo>
                  <a:lnTo>
                    <a:pt x="38" y="74"/>
                  </a:lnTo>
                  <a:lnTo>
                    <a:pt x="44" y="74"/>
                  </a:lnTo>
                  <a:lnTo>
                    <a:pt x="44" y="71"/>
                  </a:lnTo>
                  <a:lnTo>
                    <a:pt x="48" y="71"/>
                  </a:lnTo>
                  <a:lnTo>
                    <a:pt x="55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62" y="77"/>
                  </a:lnTo>
                  <a:lnTo>
                    <a:pt x="65" y="77"/>
                  </a:lnTo>
                  <a:lnTo>
                    <a:pt x="62" y="77"/>
                  </a:lnTo>
                  <a:lnTo>
                    <a:pt x="62" y="80"/>
                  </a:lnTo>
                  <a:lnTo>
                    <a:pt x="58" y="77"/>
                  </a:lnTo>
                  <a:lnTo>
                    <a:pt x="55" y="77"/>
                  </a:lnTo>
                  <a:lnTo>
                    <a:pt x="48" y="74"/>
                  </a:lnTo>
                  <a:lnTo>
                    <a:pt x="44" y="74"/>
                  </a:lnTo>
                  <a:lnTo>
                    <a:pt x="41" y="77"/>
                  </a:lnTo>
                  <a:lnTo>
                    <a:pt x="38" y="74"/>
                  </a:lnTo>
                  <a:lnTo>
                    <a:pt x="34" y="77"/>
                  </a:lnTo>
                  <a:lnTo>
                    <a:pt x="31" y="77"/>
                  </a:lnTo>
                  <a:lnTo>
                    <a:pt x="31" y="80"/>
                  </a:lnTo>
                  <a:lnTo>
                    <a:pt x="34" y="84"/>
                  </a:lnTo>
                  <a:lnTo>
                    <a:pt x="38" y="87"/>
                  </a:lnTo>
                  <a:lnTo>
                    <a:pt x="44" y="90"/>
                  </a:lnTo>
                  <a:lnTo>
                    <a:pt x="44" y="93"/>
                  </a:lnTo>
                  <a:lnTo>
                    <a:pt x="41" y="93"/>
                  </a:lnTo>
                  <a:lnTo>
                    <a:pt x="41" y="96"/>
                  </a:lnTo>
                  <a:lnTo>
                    <a:pt x="44" y="100"/>
                  </a:lnTo>
                  <a:lnTo>
                    <a:pt x="48" y="103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51" y="100"/>
                  </a:lnTo>
                  <a:lnTo>
                    <a:pt x="55" y="103"/>
                  </a:lnTo>
                  <a:lnTo>
                    <a:pt x="58" y="103"/>
                  </a:lnTo>
                  <a:lnTo>
                    <a:pt x="55" y="106"/>
                  </a:lnTo>
                  <a:lnTo>
                    <a:pt x="58" y="109"/>
                  </a:lnTo>
                  <a:lnTo>
                    <a:pt x="58" y="106"/>
                  </a:lnTo>
                  <a:lnTo>
                    <a:pt x="62" y="100"/>
                  </a:lnTo>
                  <a:lnTo>
                    <a:pt x="65" y="100"/>
                  </a:lnTo>
                  <a:lnTo>
                    <a:pt x="65" y="103"/>
                  </a:lnTo>
                  <a:lnTo>
                    <a:pt x="72" y="106"/>
                  </a:lnTo>
                  <a:lnTo>
                    <a:pt x="68" y="103"/>
                  </a:lnTo>
                  <a:lnTo>
                    <a:pt x="68" y="103"/>
                  </a:lnTo>
                  <a:lnTo>
                    <a:pt x="68" y="100"/>
                  </a:lnTo>
                  <a:lnTo>
                    <a:pt x="65" y="93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5" y="90"/>
                  </a:lnTo>
                  <a:lnTo>
                    <a:pt x="68" y="90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72" y="90"/>
                  </a:lnTo>
                  <a:lnTo>
                    <a:pt x="75" y="93"/>
                  </a:lnTo>
                  <a:lnTo>
                    <a:pt x="75" y="90"/>
                  </a:lnTo>
                  <a:lnTo>
                    <a:pt x="72" y="90"/>
                  </a:lnTo>
                  <a:lnTo>
                    <a:pt x="72" y="87"/>
                  </a:lnTo>
                  <a:lnTo>
                    <a:pt x="72" y="87"/>
                  </a:lnTo>
                  <a:lnTo>
                    <a:pt x="68" y="87"/>
                  </a:lnTo>
                  <a:lnTo>
                    <a:pt x="68" y="84"/>
                  </a:lnTo>
                  <a:lnTo>
                    <a:pt x="65" y="84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5" y="80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82" y="84"/>
                  </a:lnTo>
                  <a:lnTo>
                    <a:pt x="86" y="84"/>
                  </a:lnTo>
                  <a:lnTo>
                    <a:pt x="82" y="77"/>
                  </a:lnTo>
                  <a:lnTo>
                    <a:pt x="82" y="74"/>
                  </a:lnTo>
                  <a:lnTo>
                    <a:pt x="82" y="74"/>
                  </a:lnTo>
                  <a:lnTo>
                    <a:pt x="72" y="67"/>
                  </a:lnTo>
                  <a:lnTo>
                    <a:pt x="68" y="67"/>
                  </a:lnTo>
                  <a:lnTo>
                    <a:pt x="68" y="64"/>
                  </a:lnTo>
                  <a:lnTo>
                    <a:pt x="65" y="64"/>
                  </a:lnTo>
                  <a:lnTo>
                    <a:pt x="65" y="64"/>
                  </a:lnTo>
                  <a:lnTo>
                    <a:pt x="62" y="64"/>
                  </a:lnTo>
                  <a:lnTo>
                    <a:pt x="55" y="61"/>
                  </a:lnTo>
                  <a:lnTo>
                    <a:pt x="62" y="61"/>
                  </a:lnTo>
                  <a:lnTo>
                    <a:pt x="62" y="58"/>
                  </a:lnTo>
                  <a:lnTo>
                    <a:pt x="62" y="54"/>
                  </a:lnTo>
                  <a:lnTo>
                    <a:pt x="58" y="54"/>
                  </a:lnTo>
                  <a:lnTo>
                    <a:pt x="62" y="54"/>
                  </a:lnTo>
                  <a:lnTo>
                    <a:pt x="62" y="51"/>
                  </a:lnTo>
                  <a:lnTo>
                    <a:pt x="65" y="51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8"/>
                  </a:lnTo>
                  <a:lnTo>
                    <a:pt x="68" y="58"/>
                  </a:lnTo>
                  <a:lnTo>
                    <a:pt x="68" y="54"/>
                  </a:lnTo>
                  <a:lnTo>
                    <a:pt x="65" y="51"/>
                  </a:lnTo>
                  <a:lnTo>
                    <a:pt x="62" y="45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1" y="38"/>
                  </a:lnTo>
                  <a:lnTo>
                    <a:pt x="55" y="35"/>
                  </a:lnTo>
                  <a:lnTo>
                    <a:pt x="55" y="29"/>
                  </a:lnTo>
                  <a:lnTo>
                    <a:pt x="55" y="25"/>
                  </a:lnTo>
                  <a:lnTo>
                    <a:pt x="62" y="25"/>
                  </a:lnTo>
                  <a:lnTo>
                    <a:pt x="62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65" y="32"/>
                  </a:lnTo>
                  <a:lnTo>
                    <a:pt x="65" y="35"/>
                  </a:lnTo>
                  <a:lnTo>
                    <a:pt x="68" y="38"/>
                  </a:lnTo>
                  <a:lnTo>
                    <a:pt x="75" y="38"/>
                  </a:lnTo>
                  <a:lnTo>
                    <a:pt x="72" y="38"/>
                  </a:lnTo>
                  <a:lnTo>
                    <a:pt x="68" y="35"/>
                  </a:lnTo>
                  <a:lnTo>
                    <a:pt x="68" y="32"/>
                  </a:lnTo>
                  <a:lnTo>
                    <a:pt x="75" y="32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82" y="35"/>
                  </a:lnTo>
                  <a:lnTo>
                    <a:pt x="79" y="35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82" y="32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2" y="29"/>
                  </a:lnTo>
                  <a:lnTo>
                    <a:pt x="79" y="29"/>
                  </a:lnTo>
                  <a:lnTo>
                    <a:pt x="75" y="25"/>
                  </a:lnTo>
                  <a:lnTo>
                    <a:pt x="75" y="22"/>
                  </a:lnTo>
                  <a:lnTo>
                    <a:pt x="82" y="25"/>
                  </a:lnTo>
                  <a:lnTo>
                    <a:pt x="82" y="22"/>
                  </a:lnTo>
                  <a:lnTo>
                    <a:pt x="86" y="19"/>
                  </a:lnTo>
                  <a:lnTo>
                    <a:pt x="89" y="16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9"/>
                  </a:lnTo>
                  <a:lnTo>
                    <a:pt x="110" y="19"/>
                  </a:lnTo>
                  <a:lnTo>
                    <a:pt x="117" y="19"/>
                  </a:lnTo>
                  <a:lnTo>
                    <a:pt x="120" y="19"/>
                  </a:lnTo>
                  <a:lnTo>
                    <a:pt x="124" y="16"/>
                  </a:lnTo>
                  <a:lnTo>
                    <a:pt x="124" y="12"/>
                  </a:lnTo>
                  <a:lnTo>
                    <a:pt x="127" y="9"/>
                  </a:lnTo>
                  <a:lnTo>
                    <a:pt x="127" y="6"/>
                  </a:lnTo>
                  <a:lnTo>
                    <a:pt x="124" y="3"/>
                  </a:lnTo>
                  <a:lnTo>
                    <a:pt x="124" y="0"/>
                  </a:lnTo>
                  <a:lnTo>
                    <a:pt x="124" y="0"/>
                  </a:lnTo>
                  <a:close/>
                  <a:moveTo>
                    <a:pt x="82" y="126"/>
                  </a:moveTo>
                  <a:lnTo>
                    <a:pt x="82" y="126"/>
                  </a:lnTo>
                  <a:lnTo>
                    <a:pt x="79" y="126"/>
                  </a:lnTo>
                  <a:lnTo>
                    <a:pt x="79" y="129"/>
                  </a:lnTo>
                  <a:lnTo>
                    <a:pt x="79" y="132"/>
                  </a:lnTo>
                  <a:lnTo>
                    <a:pt x="82" y="132"/>
                  </a:lnTo>
                  <a:lnTo>
                    <a:pt x="89" y="132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103" y="135"/>
                  </a:lnTo>
                  <a:lnTo>
                    <a:pt x="103" y="135"/>
                  </a:lnTo>
                  <a:lnTo>
                    <a:pt x="106" y="135"/>
                  </a:lnTo>
                  <a:lnTo>
                    <a:pt x="110" y="135"/>
                  </a:lnTo>
                  <a:lnTo>
                    <a:pt x="117" y="135"/>
                  </a:lnTo>
                  <a:lnTo>
                    <a:pt x="124" y="135"/>
                  </a:lnTo>
                  <a:lnTo>
                    <a:pt x="127" y="135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29"/>
                  </a:lnTo>
                  <a:lnTo>
                    <a:pt x="130" y="126"/>
                  </a:lnTo>
                  <a:lnTo>
                    <a:pt x="130" y="129"/>
                  </a:lnTo>
                  <a:lnTo>
                    <a:pt x="130" y="129"/>
                  </a:lnTo>
                  <a:lnTo>
                    <a:pt x="127" y="132"/>
                  </a:lnTo>
                  <a:lnTo>
                    <a:pt x="127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29"/>
                  </a:lnTo>
                  <a:lnTo>
                    <a:pt x="120" y="126"/>
                  </a:lnTo>
                  <a:lnTo>
                    <a:pt x="120" y="129"/>
                  </a:lnTo>
                  <a:lnTo>
                    <a:pt x="113" y="126"/>
                  </a:lnTo>
                  <a:lnTo>
                    <a:pt x="110" y="126"/>
                  </a:lnTo>
                  <a:lnTo>
                    <a:pt x="106" y="126"/>
                  </a:lnTo>
                  <a:lnTo>
                    <a:pt x="99" y="129"/>
                  </a:lnTo>
                  <a:lnTo>
                    <a:pt x="96" y="129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89" y="126"/>
                  </a:lnTo>
                  <a:lnTo>
                    <a:pt x="93" y="126"/>
                  </a:lnTo>
                  <a:lnTo>
                    <a:pt x="89" y="122"/>
                  </a:lnTo>
                  <a:lnTo>
                    <a:pt x="86" y="122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86" y="126"/>
                  </a:lnTo>
                  <a:lnTo>
                    <a:pt x="86" y="122"/>
                  </a:lnTo>
                  <a:lnTo>
                    <a:pt x="82" y="122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2" y="126"/>
                  </a:lnTo>
                  <a:close/>
                  <a:moveTo>
                    <a:pt x="3" y="45"/>
                  </a:moveTo>
                  <a:lnTo>
                    <a:pt x="3" y="48"/>
                  </a:lnTo>
                  <a:lnTo>
                    <a:pt x="7" y="48"/>
                  </a:lnTo>
                  <a:lnTo>
                    <a:pt x="10" y="48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7" y="51"/>
                  </a:lnTo>
                  <a:lnTo>
                    <a:pt x="3" y="48"/>
                  </a:lnTo>
                  <a:lnTo>
                    <a:pt x="3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3" y="42"/>
                  </a:lnTo>
                  <a:lnTo>
                    <a:pt x="3" y="45"/>
                  </a:lnTo>
                  <a:lnTo>
                    <a:pt x="3" y="45"/>
                  </a:lnTo>
                  <a:close/>
                  <a:moveTo>
                    <a:pt x="20" y="67"/>
                  </a:moveTo>
                  <a:lnTo>
                    <a:pt x="20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close/>
                  <a:moveTo>
                    <a:pt x="20" y="71"/>
                  </a:moveTo>
                  <a:lnTo>
                    <a:pt x="20" y="67"/>
                  </a:lnTo>
                  <a:lnTo>
                    <a:pt x="20" y="71"/>
                  </a:lnTo>
                  <a:lnTo>
                    <a:pt x="24" y="71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7"/>
                  </a:lnTo>
                  <a:lnTo>
                    <a:pt x="27" y="77"/>
                  </a:lnTo>
                  <a:lnTo>
                    <a:pt x="24" y="80"/>
                  </a:lnTo>
                  <a:lnTo>
                    <a:pt x="24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17" y="74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4"/>
                  </a:lnTo>
                  <a:lnTo>
                    <a:pt x="17" y="71"/>
                  </a:lnTo>
                  <a:lnTo>
                    <a:pt x="20" y="71"/>
                  </a:lnTo>
                  <a:lnTo>
                    <a:pt x="20" y="71"/>
                  </a:lnTo>
                  <a:close/>
                  <a:moveTo>
                    <a:pt x="27" y="84"/>
                  </a:moveTo>
                  <a:lnTo>
                    <a:pt x="27" y="87"/>
                  </a:lnTo>
                  <a:lnTo>
                    <a:pt x="27" y="84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7" y="84"/>
                  </a:lnTo>
                  <a:lnTo>
                    <a:pt x="27" y="84"/>
                  </a:lnTo>
                  <a:close/>
                  <a:moveTo>
                    <a:pt x="148" y="119"/>
                  </a:moveTo>
                  <a:lnTo>
                    <a:pt x="148" y="119"/>
                  </a:lnTo>
                  <a:lnTo>
                    <a:pt x="148" y="119"/>
                  </a:lnTo>
                  <a:lnTo>
                    <a:pt x="148" y="119"/>
                  </a:lnTo>
                  <a:lnTo>
                    <a:pt x="148" y="119"/>
                  </a:lnTo>
                  <a:lnTo>
                    <a:pt x="148" y="119"/>
                  </a:lnTo>
                  <a:close/>
                  <a:moveTo>
                    <a:pt x="148" y="129"/>
                  </a:moveTo>
                  <a:lnTo>
                    <a:pt x="144" y="126"/>
                  </a:lnTo>
                  <a:lnTo>
                    <a:pt x="144" y="122"/>
                  </a:lnTo>
                  <a:lnTo>
                    <a:pt x="148" y="119"/>
                  </a:lnTo>
                  <a:lnTo>
                    <a:pt x="148" y="122"/>
                  </a:lnTo>
                  <a:lnTo>
                    <a:pt x="148" y="126"/>
                  </a:lnTo>
                  <a:lnTo>
                    <a:pt x="148" y="129"/>
                  </a:lnTo>
                  <a:lnTo>
                    <a:pt x="148" y="129"/>
                  </a:lnTo>
                  <a:lnTo>
                    <a:pt x="148" y="129"/>
                  </a:lnTo>
                  <a:close/>
                  <a:moveTo>
                    <a:pt x="158" y="119"/>
                  </a:moveTo>
                  <a:lnTo>
                    <a:pt x="154" y="116"/>
                  </a:lnTo>
                  <a:lnTo>
                    <a:pt x="158" y="116"/>
                  </a:lnTo>
                  <a:lnTo>
                    <a:pt x="154" y="116"/>
                  </a:lnTo>
                  <a:lnTo>
                    <a:pt x="154" y="113"/>
                  </a:lnTo>
                  <a:lnTo>
                    <a:pt x="161" y="109"/>
                  </a:lnTo>
                  <a:lnTo>
                    <a:pt x="165" y="109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5" y="109"/>
                  </a:lnTo>
                  <a:lnTo>
                    <a:pt x="165" y="113"/>
                  </a:lnTo>
                  <a:lnTo>
                    <a:pt x="165" y="113"/>
                  </a:lnTo>
                  <a:lnTo>
                    <a:pt x="165" y="116"/>
                  </a:lnTo>
                  <a:lnTo>
                    <a:pt x="161" y="116"/>
                  </a:lnTo>
                  <a:lnTo>
                    <a:pt x="161" y="116"/>
                  </a:lnTo>
                  <a:lnTo>
                    <a:pt x="158" y="119"/>
                  </a:lnTo>
                  <a:lnTo>
                    <a:pt x="158" y="119"/>
                  </a:lnTo>
                  <a:lnTo>
                    <a:pt x="158" y="119"/>
                  </a:lnTo>
                  <a:close/>
                  <a:moveTo>
                    <a:pt x="130" y="106"/>
                  </a:moveTo>
                  <a:lnTo>
                    <a:pt x="130" y="106"/>
                  </a:lnTo>
                  <a:lnTo>
                    <a:pt x="130" y="106"/>
                  </a:lnTo>
                  <a:lnTo>
                    <a:pt x="134" y="103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0" y="106"/>
                  </a:lnTo>
                  <a:lnTo>
                    <a:pt x="130" y="106"/>
                  </a:lnTo>
                  <a:close/>
                  <a:moveTo>
                    <a:pt x="130" y="84"/>
                  </a:moveTo>
                  <a:lnTo>
                    <a:pt x="134" y="84"/>
                  </a:lnTo>
                  <a:lnTo>
                    <a:pt x="134" y="84"/>
                  </a:lnTo>
                  <a:lnTo>
                    <a:pt x="137" y="84"/>
                  </a:lnTo>
                  <a:lnTo>
                    <a:pt x="137" y="84"/>
                  </a:lnTo>
                  <a:lnTo>
                    <a:pt x="141" y="84"/>
                  </a:lnTo>
                  <a:lnTo>
                    <a:pt x="141" y="84"/>
                  </a:lnTo>
                  <a:lnTo>
                    <a:pt x="137" y="87"/>
                  </a:lnTo>
                  <a:lnTo>
                    <a:pt x="137" y="87"/>
                  </a:lnTo>
                  <a:lnTo>
                    <a:pt x="134" y="87"/>
                  </a:lnTo>
                  <a:lnTo>
                    <a:pt x="134" y="84"/>
                  </a:lnTo>
                  <a:lnTo>
                    <a:pt x="130" y="84"/>
                  </a:lnTo>
                  <a:lnTo>
                    <a:pt x="130" y="87"/>
                  </a:lnTo>
                  <a:lnTo>
                    <a:pt x="130" y="84"/>
                  </a:lnTo>
                  <a:lnTo>
                    <a:pt x="130" y="84"/>
                  </a:lnTo>
                  <a:close/>
                  <a:moveTo>
                    <a:pt x="124" y="67"/>
                  </a:moveTo>
                  <a:lnTo>
                    <a:pt x="124" y="71"/>
                  </a:lnTo>
                  <a:lnTo>
                    <a:pt x="124" y="74"/>
                  </a:lnTo>
                  <a:lnTo>
                    <a:pt x="120" y="74"/>
                  </a:lnTo>
                  <a:lnTo>
                    <a:pt x="120" y="74"/>
                  </a:lnTo>
                  <a:lnTo>
                    <a:pt x="120" y="71"/>
                  </a:lnTo>
                  <a:lnTo>
                    <a:pt x="120" y="71"/>
                  </a:lnTo>
                  <a:lnTo>
                    <a:pt x="120" y="71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20" y="64"/>
                  </a:lnTo>
                  <a:lnTo>
                    <a:pt x="124" y="67"/>
                  </a:lnTo>
                  <a:lnTo>
                    <a:pt x="124" y="67"/>
                  </a:lnTo>
                  <a:lnTo>
                    <a:pt x="124" y="67"/>
                  </a:lnTo>
                  <a:close/>
                  <a:moveTo>
                    <a:pt x="117" y="58"/>
                  </a:moveTo>
                  <a:lnTo>
                    <a:pt x="117" y="54"/>
                  </a:lnTo>
                  <a:lnTo>
                    <a:pt x="117" y="54"/>
                  </a:lnTo>
                  <a:lnTo>
                    <a:pt x="120" y="51"/>
                  </a:lnTo>
                  <a:lnTo>
                    <a:pt x="124" y="51"/>
                  </a:lnTo>
                  <a:lnTo>
                    <a:pt x="127" y="51"/>
                  </a:lnTo>
                  <a:lnTo>
                    <a:pt x="127" y="51"/>
                  </a:lnTo>
                  <a:lnTo>
                    <a:pt x="127" y="51"/>
                  </a:lnTo>
                  <a:lnTo>
                    <a:pt x="127" y="51"/>
                  </a:lnTo>
                  <a:lnTo>
                    <a:pt x="130" y="54"/>
                  </a:lnTo>
                  <a:lnTo>
                    <a:pt x="130" y="58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24" y="54"/>
                  </a:lnTo>
                  <a:lnTo>
                    <a:pt x="127" y="54"/>
                  </a:lnTo>
                  <a:lnTo>
                    <a:pt x="124" y="54"/>
                  </a:lnTo>
                  <a:lnTo>
                    <a:pt x="120" y="54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17" y="58"/>
                  </a:lnTo>
                  <a:lnTo>
                    <a:pt x="117" y="58"/>
                  </a:lnTo>
                  <a:close/>
                  <a:moveTo>
                    <a:pt x="110" y="29"/>
                  </a:moveTo>
                  <a:lnTo>
                    <a:pt x="110" y="25"/>
                  </a:lnTo>
                  <a:lnTo>
                    <a:pt x="113" y="25"/>
                  </a:lnTo>
                  <a:lnTo>
                    <a:pt x="113" y="25"/>
                  </a:lnTo>
                  <a:lnTo>
                    <a:pt x="113" y="29"/>
                  </a:lnTo>
                  <a:lnTo>
                    <a:pt x="113" y="29"/>
                  </a:lnTo>
                  <a:lnTo>
                    <a:pt x="110" y="29"/>
                  </a:lnTo>
                  <a:lnTo>
                    <a:pt x="110" y="29"/>
                  </a:lnTo>
                  <a:close/>
                  <a:moveTo>
                    <a:pt x="99" y="35"/>
                  </a:moveTo>
                  <a:lnTo>
                    <a:pt x="103" y="35"/>
                  </a:lnTo>
                  <a:lnTo>
                    <a:pt x="106" y="38"/>
                  </a:lnTo>
                  <a:lnTo>
                    <a:pt x="106" y="35"/>
                  </a:lnTo>
                  <a:lnTo>
                    <a:pt x="110" y="35"/>
                  </a:lnTo>
                  <a:lnTo>
                    <a:pt x="106" y="38"/>
                  </a:lnTo>
                  <a:lnTo>
                    <a:pt x="106" y="42"/>
                  </a:lnTo>
                  <a:lnTo>
                    <a:pt x="103" y="42"/>
                  </a:lnTo>
                  <a:lnTo>
                    <a:pt x="103" y="42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5"/>
                  </a:lnTo>
                  <a:lnTo>
                    <a:pt x="99" y="35"/>
                  </a:lnTo>
                  <a:close/>
                  <a:moveTo>
                    <a:pt x="93" y="22"/>
                  </a:moveTo>
                  <a:lnTo>
                    <a:pt x="93" y="22"/>
                  </a:lnTo>
                  <a:lnTo>
                    <a:pt x="96" y="22"/>
                  </a:lnTo>
                  <a:lnTo>
                    <a:pt x="96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89" y="25"/>
                  </a:lnTo>
                  <a:lnTo>
                    <a:pt x="93" y="22"/>
                  </a:lnTo>
                  <a:lnTo>
                    <a:pt x="93" y="22"/>
                  </a:lnTo>
                  <a:close/>
                  <a:moveTo>
                    <a:pt x="72" y="54"/>
                  </a:moveTo>
                  <a:lnTo>
                    <a:pt x="75" y="54"/>
                  </a:lnTo>
                  <a:lnTo>
                    <a:pt x="75" y="54"/>
                  </a:lnTo>
                  <a:lnTo>
                    <a:pt x="79" y="58"/>
                  </a:lnTo>
                  <a:lnTo>
                    <a:pt x="75" y="58"/>
                  </a:lnTo>
                  <a:lnTo>
                    <a:pt x="72" y="54"/>
                  </a:lnTo>
                  <a:lnTo>
                    <a:pt x="72" y="54"/>
                  </a:lnTo>
                  <a:close/>
                  <a:moveTo>
                    <a:pt x="68" y="54"/>
                  </a:moveTo>
                  <a:lnTo>
                    <a:pt x="72" y="54"/>
                  </a:lnTo>
                  <a:lnTo>
                    <a:pt x="72" y="54"/>
                  </a:lnTo>
                  <a:lnTo>
                    <a:pt x="72" y="58"/>
                  </a:lnTo>
                  <a:lnTo>
                    <a:pt x="68" y="54"/>
                  </a:lnTo>
                  <a:lnTo>
                    <a:pt x="68" y="54"/>
                  </a:lnTo>
                  <a:close/>
                  <a:moveTo>
                    <a:pt x="93" y="58"/>
                  </a:moveTo>
                  <a:lnTo>
                    <a:pt x="93" y="58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6" y="61"/>
                  </a:lnTo>
                  <a:lnTo>
                    <a:pt x="93" y="61"/>
                  </a:lnTo>
                  <a:lnTo>
                    <a:pt x="93" y="58"/>
                  </a:lnTo>
                  <a:lnTo>
                    <a:pt x="93" y="58"/>
                  </a:lnTo>
                  <a:close/>
                  <a:moveTo>
                    <a:pt x="124" y="90"/>
                  </a:moveTo>
                  <a:lnTo>
                    <a:pt x="124" y="90"/>
                  </a:lnTo>
                  <a:lnTo>
                    <a:pt x="124" y="87"/>
                  </a:lnTo>
                  <a:lnTo>
                    <a:pt x="127" y="87"/>
                  </a:lnTo>
                  <a:lnTo>
                    <a:pt x="127" y="87"/>
                  </a:lnTo>
                  <a:lnTo>
                    <a:pt x="124" y="90"/>
                  </a:lnTo>
                  <a:lnTo>
                    <a:pt x="124" y="90"/>
                  </a:lnTo>
                  <a:close/>
                  <a:moveTo>
                    <a:pt x="93" y="106"/>
                  </a:moveTo>
                  <a:lnTo>
                    <a:pt x="93" y="103"/>
                  </a:lnTo>
                  <a:lnTo>
                    <a:pt x="96" y="103"/>
                  </a:lnTo>
                  <a:lnTo>
                    <a:pt x="96" y="106"/>
                  </a:lnTo>
                  <a:lnTo>
                    <a:pt x="93" y="106"/>
                  </a:lnTo>
                  <a:lnTo>
                    <a:pt x="93" y="106"/>
                  </a:lnTo>
                  <a:lnTo>
                    <a:pt x="93" y="106"/>
                  </a:lnTo>
                  <a:close/>
                  <a:moveTo>
                    <a:pt x="93" y="96"/>
                  </a:moveTo>
                  <a:lnTo>
                    <a:pt x="96" y="96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3" y="96"/>
                  </a:lnTo>
                  <a:close/>
                  <a:moveTo>
                    <a:pt x="93" y="93"/>
                  </a:moveTo>
                  <a:lnTo>
                    <a:pt x="93" y="90"/>
                  </a:lnTo>
                  <a:lnTo>
                    <a:pt x="93" y="90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close/>
                  <a:moveTo>
                    <a:pt x="89" y="90"/>
                  </a:moveTo>
                  <a:lnTo>
                    <a:pt x="89" y="90"/>
                  </a:lnTo>
                  <a:lnTo>
                    <a:pt x="93" y="87"/>
                  </a:lnTo>
                  <a:lnTo>
                    <a:pt x="93" y="90"/>
                  </a:lnTo>
                  <a:lnTo>
                    <a:pt x="89" y="90"/>
                  </a:lnTo>
                  <a:lnTo>
                    <a:pt x="89" y="90"/>
                  </a:lnTo>
                  <a:close/>
                  <a:moveTo>
                    <a:pt x="106" y="100"/>
                  </a:moveTo>
                  <a:lnTo>
                    <a:pt x="106" y="100"/>
                  </a:lnTo>
                  <a:lnTo>
                    <a:pt x="106" y="96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06" y="100"/>
                  </a:lnTo>
                  <a:lnTo>
                    <a:pt x="106" y="100"/>
                  </a:lnTo>
                  <a:close/>
                  <a:moveTo>
                    <a:pt x="113" y="100"/>
                  </a:moveTo>
                  <a:lnTo>
                    <a:pt x="110" y="96"/>
                  </a:lnTo>
                  <a:lnTo>
                    <a:pt x="113" y="93"/>
                  </a:lnTo>
                  <a:lnTo>
                    <a:pt x="117" y="96"/>
                  </a:lnTo>
                  <a:lnTo>
                    <a:pt x="117" y="96"/>
                  </a:lnTo>
                  <a:lnTo>
                    <a:pt x="113" y="100"/>
                  </a:lnTo>
                  <a:lnTo>
                    <a:pt x="113" y="100"/>
                  </a:lnTo>
                  <a:lnTo>
                    <a:pt x="113" y="100"/>
                  </a:lnTo>
                  <a:close/>
                  <a:moveTo>
                    <a:pt x="113" y="90"/>
                  </a:moveTo>
                  <a:lnTo>
                    <a:pt x="113" y="90"/>
                  </a:lnTo>
                  <a:lnTo>
                    <a:pt x="113" y="90"/>
                  </a:lnTo>
                  <a:lnTo>
                    <a:pt x="113" y="90"/>
                  </a:lnTo>
                  <a:lnTo>
                    <a:pt x="113" y="90"/>
                  </a:lnTo>
                  <a:close/>
                  <a:moveTo>
                    <a:pt x="106" y="87"/>
                  </a:moveTo>
                  <a:lnTo>
                    <a:pt x="106" y="87"/>
                  </a:lnTo>
                  <a:lnTo>
                    <a:pt x="110" y="87"/>
                  </a:lnTo>
                  <a:lnTo>
                    <a:pt x="110" y="90"/>
                  </a:lnTo>
                  <a:lnTo>
                    <a:pt x="106" y="90"/>
                  </a:lnTo>
                  <a:lnTo>
                    <a:pt x="106" y="87"/>
                  </a:lnTo>
                  <a:lnTo>
                    <a:pt x="106" y="87"/>
                  </a:lnTo>
                  <a:close/>
                  <a:moveTo>
                    <a:pt x="96" y="80"/>
                  </a:moveTo>
                  <a:lnTo>
                    <a:pt x="99" y="80"/>
                  </a:lnTo>
                  <a:lnTo>
                    <a:pt x="99" y="84"/>
                  </a:lnTo>
                  <a:lnTo>
                    <a:pt x="103" y="87"/>
                  </a:lnTo>
                  <a:lnTo>
                    <a:pt x="103" y="87"/>
                  </a:lnTo>
                  <a:lnTo>
                    <a:pt x="103" y="87"/>
                  </a:lnTo>
                  <a:lnTo>
                    <a:pt x="99" y="84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80"/>
                  </a:lnTo>
                  <a:close/>
                  <a:moveTo>
                    <a:pt x="62" y="61"/>
                  </a:moveTo>
                  <a:lnTo>
                    <a:pt x="65" y="58"/>
                  </a:lnTo>
                  <a:lnTo>
                    <a:pt x="68" y="58"/>
                  </a:lnTo>
                  <a:lnTo>
                    <a:pt x="72" y="61"/>
                  </a:lnTo>
                  <a:lnTo>
                    <a:pt x="75" y="61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6" y="67"/>
                  </a:lnTo>
                  <a:lnTo>
                    <a:pt x="89" y="71"/>
                  </a:lnTo>
                  <a:lnTo>
                    <a:pt x="89" y="71"/>
                  </a:lnTo>
                  <a:lnTo>
                    <a:pt x="89" y="74"/>
                  </a:lnTo>
                  <a:lnTo>
                    <a:pt x="89" y="77"/>
                  </a:lnTo>
                  <a:lnTo>
                    <a:pt x="93" y="77"/>
                  </a:lnTo>
                  <a:lnTo>
                    <a:pt x="93" y="77"/>
                  </a:lnTo>
                  <a:lnTo>
                    <a:pt x="96" y="77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89" y="80"/>
                  </a:lnTo>
                  <a:lnTo>
                    <a:pt x="89" y="80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86" y="74"/>
                  </a:lnTo>
                  <a:lnTo>
                    <a:pt x="82" y="71"/>
                  </a:lnTo>
                  <a:lnTo>
                    <a:pt x="82" y="71"/>
                  </a:lnTo>
                  <a:lnTo>
                    <a:pt x="79" y="71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2" y="67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1"/>
                  </a:lnTo>
                  <a:lnTo>
                    <a:pt x="65" y="61"/>
                  </a:lnTo>
                  <a:lnTo>
                    <a:pt x="62" y="61"/>
                  </a:lnTo>
                  <a:lnTo>
                    <a:pt x="62" y="61"/>
                  </a:lnTo>
                  <a:lnTo>
                    <a:pt x="62" y="61"/>
                  </a:lnTo>
                  <a:close/>
                  <a:moveTo>
                    <a:pt x="68" y="109"/>
                  </a:moveTo>
                  <a:lnTo>
                    <a:pt x="68" y="109"/>
                  </a:lnTo>
                  <a:lnTo>
                    <a:pt x="68" y="113"/>
                  </a:lnTo>
                  <a:lnTo>
                    <a:pt x="68" y="113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68" y="113"/>
                  </a:lnTo>
                  <a:lnTo>
                    <a:pt x="65" y="113"/>
                  </a:lnTo>
                  <a:lnTo>
                    <a:pt x="68" y="109"/>
                  </a:lnTo>
                  <a:lnTo>
                    <a:pt x="68" y="109"/>
                  </a:lnTo>
                  <a:close/>
                  <a:moveTo>
                    <a:pt x="65" y="106"/>
                  </a:moveTo>
                  <a:lnTo>
                    <a:pt x="68" y="109"/>
                  </a:lnTo>
                  <a:lnTo>
                    <a:pt x="65" y="109"/>
                  </a:lnTo>
                  <a:lnTo>
                    <a:pt x="6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76" name="Freeform 77"/>
            <p:cNvSpPr>
              <a:spLocks noEditPoints="1"/>
            </p:cNvSpPr>
            <p:nvPr/>
          </p:nvSpPr>
          <p:spPr bwMode="auto">
            <a:xfrm>
              <a:off x="7561263" y="3442355"/>
              <a:ext cx="168275" cy="117475"/>
            </a:xfrm>
            <a:custGeom>
              <a:avLst/>
              <a:gdLst>
                <a:gd name="T0" fmla="*/ 3 w 106"/>
                <a:gd name="T1" fmla="*/ 13 h 74"/>
                <a:gd name="T2" fmla="*/ 20 w 106"/>
                <a:gd name="T3" fmla="*/ 16 h 74"/>
                <a:gd name="T4" fmla="*/ 34 w 106"/>
                <a:gd name="T5" fmla="*/ 19 h 74"/>
                <a:gd name="T6" fmla="*/ 34 w 106"/>
                <a:gd name="T7" fmla="*/ 10 h 74"/>
                <a:gd name="T8" fmla="*/ 31 w 106"/>
                <a:gd name="T9" fmla="*/ 0 h 74"/>
                <a:gd name="T10" fmla="*/ 44 w 106"/>
                <a:gd name="T11" fmla="*/ 10 h 74"/>
                <a:gd name="T12" fmla="*/ 55 w 106"/>
                <a:gd name="T13" fmla="*/ 13 h 74"/>
                <a:gd name="T14" fmla="*/ 62 w 106"/>
                <a:gd name="T15" fmla="*/ 6 h 74"/>
                <a:gd name="T16" fmla="*/ 75 w 106"/>
                <a:gd name="T17" fmla="*/ 3 h 74"/>
                <a:gd name="T18" fmla="*/ 79 w 106"/>
                <a:gd name="T19" fmla="*/ 13 h 74"/>
                <a:gd name="T20" fmla="*/ 89 w 106"/>
                <a:gd name="T21" fmla="*/ 22 h 74"/>
                <a:gd name="T22" fmla="*/ 93 w 106"/>
                <a:gd name="T23" fmla="*/ 26 h 74"/>
                <a:gd name="T24" fmla="*/ 103 w 106"/>
                <a:gd name="T25" fmla="*/ 29 h 74"/>
                <a:gd name="T26" fmla="*/ 103 w 106"/>
                <a:gd name="T27" fmla="*/ 32 h 74"/>
                <a:gd name="T28" fmla="*/ 96 w 106"/>
                <a:gd name="T29" fmla="*/ 32 h 74"/>
                <a:gd name="T30" fmla="*/ 93 w 106"/>
                <a:gd name="T31" fmla="*/ 42 h 74"/>
                <a:gd name="T32" fmla="*/ 89 w 106"/>
                <a:gd name="T33" fmla="*/ 48 h 74"/>
                <a:gd name="T34" fmla="*/ 89 w 106"/>
                <a:gd name="T35" fmla="*/ 52 h 74"/>
                <a:gd name="T36" fmla="*/ 89 w 106"/>
                <a:gd name="T37" fmla="*/ 55 h 74"/>
                <a:gd name="T38" fmla="*/ 89 w 106"/>
                <a:gd name="T39" fmla="*/ 64 h 74"/>
                <a:gd name="T40" fmla="*/ 89 w 106"/>
                <a:gd name="T41" fmla="*/ 58 h 74"/>
                <a:gd name="T42" fmla="*/ 82 w 106"/>
                <a:gd name="T43" fmla="*/ 58 h 74"/>
                <a:gd name="T44" fmla="*/ 82 w 106"/>
                <a:gd name="T45" fmla="*/ 64 h 74"/>
                <a:gd name="T46" fmla="*/ 86 w 106"/>
                <a:gd name="T47" fmla="*/ 68 h 74"/>
                <a:gd name="T48" fmla="*/ 82 w 106"/>
                <a:gd name="T49" fmla="*/ 74 h 74"/>
                <a:gd name="T50" fmla="*/ 79 w 106"/>
                <a:gd name="T51" fmla="*/ 71 h 74"/>
                <a:gd name="T52" fmla="*/ 68 w 106"/>
                <a:gd name="T53" fmla="*/ 64 h 74"/>
                <a:gd name="T54" fmla="*/ 72 w 106"/>
                <a:gd name="T55" fmla="*/ 58 h 74"/>
                <a:gd name="T56" fmla="*/ 72 w 106"/>
                <a:gd name="T57" fmla="*/ 55 h 74"/>
                <a:gd name="T58" fmla="*/ 68 w 106"/>
                <a:gd name="T59" fmla="*/ 52 h 74"/>
                <a:gd name="T60" fmla="*/ 65 w 106"/>
                <a:gd name="T61" fmla="*/ 48 h 74"/>
                <a:gd name="T62" fmla="*/ 58 w 106"/>
                <a:gd name="T63" fmla="*/ 52 h 74"/>
                <a:gd name="T64" fmla="*/ 55 w 106"/>
                <a:gd name="T65" fmla="*/ 55 h 74"/>
                <a:gd name="T66" fmla="*/ 48 w 106"/>
                <a:gd name="T67" fmla="*/ 61 h 74"/>
                <a:gd name="T68" fmla="*/ 44 w 106"/>
                <a:gd name="T69" fmla="*/ 61 h 74"/>
                <a:gd name="T70" fmla="*/ 41 w 106"/>
                <a:gd name="T71" fmla="*/ 64 h 74"/>
                <a:gd name="T72" fmla="*/ 37 w 106"/>
                <a:gd name="T73" fmla="*/ 64 h 74"/>
                <a:gd name="T74" fmla="*/ 41 w 106"/>
                <a:gd name="T75" fmla="*/ 58 h 74"/>
                <a:gd name="T76" fmla="*/ 41 w 106"/>
                <a:gd name="T77" fmla="*/ 55 h 74"/>
                <a:gd name="T78" fmla="*/ 31 w 106"/>
                <a:gd name="T79" fmla="*/ 52 h 74"/>
                <a:gd name="T80" fmla="*/ 20 w 106"/>
                <a:gd name="T81" fmla="*/ 42 h 74"/>
                <a:gd name="T82" fmla="*/ 24 w 106"/>
                <a:gd name="T83" fmla="*/ 35 h 74"/>
                <a:gd name="T84" fmla="*/ 13 w 106"/>
                <a:gd name="T85" fmla="*/ 26 h 74"/>
                <a:gd name="T86" fmla="*/ 13 w 106"/>
                <a:gd name="T87" fmla="*/ 19 h 74"/>
                <a:gd name="T88" fmla="*/ 3 w 106"/>
                <a:gd name="T89" fmla="*/ 16 h 74"/>
                <a:gd name="T90" fmla="*/ 34 w 106"/>
                <a:gd name="T91" fmla="*/ 64 h 74"/>
                <a:gd name="T92" fmla="*/ 20 w 106"/>
                <a:gd name="T93" fmla="*/ 52 h 74"/>
                <a:gd name="T94" fmla="*/ 13 w 106"/>
                <a:gd name="T95" fmla="*/ 48 h 74"/>
                <a:gd name="T96" fmla="*/ 7 w 106"/>
                <a:gd name="T97" fmla="*/ 45 h 74"/>
                <a:gd name="T98" fmla="*/ 0 w 106"/>
                <a:gd name="T99" fmla="*/ 45 h 74"/>
                <a:gd name="T100" fmla="*/ 3 w 106"/>
                <a:gd name="T101" fmla="*/ 48 h 74"/>
                <a:gd name="T102" fmla="*/ 7 w 106"/>
                <a:gd name="T103" fmla="*/ 52 h 74"/>
                <a:gd name="T104" fmla="*/ 10 w 106"/>
                <a:gd name="T105" fmla="*/ 55 h 74"/>
                <a:gd name="T106" fmla="*/ 17 w 106"/>
                <a:gd name="T107" fmla="*/ 61 h 74"/>
                <a:gd name="T108" fmla="*/ 27 w 106"/>
                <a:gd name="T109" fmla="*/ 64 h 74"/>
                <a:gd name="T110" fmla="*/ 34 w 106"/>
                <a:gd name="T111" fmla="*/ 6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6" h="74">
                  <a:moveTo>
                    <a:pt x="3" y="16"/>
                  </a:moveTo>
                  <a:lnTo>
                    <a:pt x="3" y="13"/>
                  </a:lnTo>
                  <a:lnTo>
                    <a:pt x="10" y="10"/>
                  </a:lnTo>
                  <a:lnTo>
                    <a:pt x="20" y="16"/>
                  </a:lnTo>
                  <a:lnTo>
                    <a:pt x="27" y="16"/>
                  </a:lnTo>
                  <a:lnTo>
                    <a:pt x="34" y="19"/>
                  </a:lnTo>
                  <a:lnTo>
                    <a:pt x="34" y="13"/>
                  </a:lnTo>
                  <a:lnTo>
                    <a:pt x="34" y="10"/>
                  </a:lnTo>
                  <a:lnTo>
                    <a:pt x="27" y="6"/>
                  </a:lnTo>
                  <a:lnTo>
                    <a:pt x="31" y="0"/>
                  </a:lnTo>
                  <a:lnTo>
                    <a:pt x="34" y="3"/>
                  </a:lnTo>
                  <a:lnTo>
                    <a:pt x="44" y="10"/>
                  </a:lnTo>
                  <a:lnTo>
                    <a:pt x="48" y="13"/>
                  </a:lnTo>
                  <a:lnTo>
                    <a:pt x="55" y="13"/>
                  </a:lnTo>
                  <a:lnTo>
                    <a:pt x="58" y="10"/>
                  </a:lnTo>
                  <a:lnTo>
                    <a:pt x="62" y="6"/>
                  </a:lnTo>
                  <a:lnTo>
                    <a:pt x="68" y="0"/>
                  </a:lnTo>
                  <a:lnTo>
                    <a:pt x="75" y="3"/>
                  </a:lnTo>
                  <a:lnTo>
                    <a:pt x="79" y="10"/>
                  </a:lnTo>
                  <a:lnTo>
                    <a:pt x="79" y="13"/>
                  </a:lnTo>
                  <a:lnTo>
                    <a:pt x="82" y="16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93" y="26"/>
                  </a:lnTo>
                  <a:lnTo>
                    <a:pt x="99" y="26"/>
                  </a:lnTo>
                  <a:lnTo>
                    <a:pt x="103" y="29"/>
                  </a:lnTo>
                  <a:lnTo>
                    <a:pt x="106" y="32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96" y="32"/>
                  </a:lnTo>
                  <a:lnTo>
                    <a:pt x="89" y="39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89" y="48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9" y="55"/>
                  </a:lnTo>
                  <a:lnTo>
                    <a:pt x="89" y="55"/>
                  </a:lnTo>
                  <a:lnTo>
                    <a:pt x="89" y="61"/>
                  </a:lnTo>
                  <a:lnTo>
                    <a:pt x="89" y="64"/>
                  </a:lnTo>
                  <a:lnTo>
                    <a:pt x="86" y="61"/>
                  </a:lnTo>
                  <a:lnTo>
                    <a:pt x="89" y="58"/>
                  </a:lnTo>
                  <a:lnTo>
                    <a:pt x="86" y="55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2" y="64"/>
                  </a:lnTo>
                  <a:lnTo>
                    <a:pt x="82" y="68"/>
                  </a:lnTo>
                  <a:lnTo>
                    <a:pt x="86" y="68"/>
                  </a:lnTo>
                  <a:lnTo>
                    <a:pt x="86" y="74"/>
                  </a:lnTo>
                  <a:lnTo>
                    <a:pt x="82" y="74"/>
                  </a:lnTo>
                  <a:lnTo>
                    <a:pt x="79" y="74"/>
                  </a:lnTo>
                  <a:lnTo>
                    <a:pt x="79" y="71"/>
                  </a:lnTo>
                  <a:lnTo>
                    <a:pt x="75" y="71"/>
                  </a:lnTo>
                  <a:lnTo>
                    <a:pt x="68" y="64"/>
                  </a:lnTo>
                  <a:lnTo>
                    <a:pt x="75" y="61"/>
                  </a:lnTo>
                  <a:lnTo>
                    <a:pt x="72" y="58"/>
                  </a:lnTo>
                  <a:lnTo>
                    <a:pt x="68" y="58"/>
                  </a:lnTo>
                  <a:lnTo>
                    <a:pt x="72" y="55"/>
                  </a:lnTo>
                  <a:lnTo>
                    <a:pt x="68" y="55"/>
                  </a:lnTo>
                  <a:lnTo>
                    <a:pt x="68" y="52"/>
                  </a:lnTo>
                  <a:lnTo>
                    <a:pt x="65" y="52"/>
                  </a:lnTo>
                  <a:lnTo>
                    <a:pt x="65" y="48"/>
                  </a:lnTo>
                  <a:lnTo>
                    <a:pt x="62" y="48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5" y="55"/>
                  </a:lnTo>
                  <a:lnTo>
                    <a:pt x="51" y="55"/>
                  </a:lnTo>
                  <a:lnTo>
                    <a:pt x="48" y="61"/>
                  </a:lnTo>
                  <a:lnTo>
                    <a:pt x="48" y="61"/>
                  </a:lnTo>
                  <a:lnTo>
                    <a:pt x="44" y="61"/>
                  </a:lnTo>
                  <a:lnTo>
                    <a:pt x="44" y="64"/>
                  </a:lnTo>
                  <a:lnTo>
                    <a:pt x="41" y="64"/>
                  </a:lnTo>
                  <a:lnTo>
                    <a:pt x="37" y="64"/>
                  </a:lnTo>
                  <a:lnTo>
                    <a:pt x="37" y="64"/>
                  </a:lnTo>
                  <a:lnTo>
                    <a:pt x="37" y="61"/>
                  </a:lnTo>
                  <a:lnTo>
                    <a:pt x="41" y="58"/>
                  </a:lnTo>
                  <a:lnTo>
                    <a:pt x="37" y="55"/>
                  </a:lnTo>
                  <a:lnTo>
                    <a:pt x="41" y="55"/>
                  </a:lnTo>
                  <a:lnTo>
                    <a:pt x="37" y="52"/>
                  </a:lnTo>
                  <a:lnTo>
                    <a:pt x="31" y="52"/>
                  </a:lnTo>
                  <a:lnTo>
                    <a:pt x="24" y="45"/>
                  </a:lnTo>
                  <a:lnTo>
                    <a:pt x="20" y="42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17" y="29"/>
                  </a:lnTo>
                  <a:lnTo>
                    <a:pt x="13" y="26"/>
                  </a:lnTo>
                  <a:lnTo>
                    <a:pt x="17" y="22"/>
                  </a:lnTo>
                  <a:lnTo>
                    <a:pt x="13" y="19"/>
                  </a:lnTo>
                  <a:lnTo>
                    <a:pt x="7" y="19"/>
                  </a:lnTo>
                  <a:lnTo>
                    <a:pt x="3" y="16"/>
                  </a:lnTo>
                  <a:lnTo>
                    <a:pt x="3" y="16"/>
                  </a:lnTo>
                  <a:close/>
                  <a:moveTo>
                    <a:pt x="34" y="64"/>
                  </a:moveTo>
                  <a:lnTo>
                    <a:pt x="27" y="55"/>
                  </a:lnTo>
                  <a:lnTo>
                    <a:pt x="20" y="52"/>
                  </a:lnTo>
                  <a:lnTo>
                    <a:pt x="17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7" y="45"/>
                  </a:lnTo>
                  <a:lnTo>
                    <a:pt x="3" y="45"/>
                  </a:lnTo>
                  <a:lnTo>
                    <a:pt x="0" y="45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10" y="52"/>
                  </a:lnTo>
                  <a:lnTo>
                    <a:pt x="10" y="55"/>
                  </a:lnTo>
                  <a:lnTo>
                    <a:pt x="17" y="58"/>
                  </a:lnTo>
                  <a:lnTo>
                    <a:pt x="17" y="61"/>
                  </a:lnTo>
                  <a:lnTo>
                    <a:pt x="24" y="64"/>
                  </a:lnTo>
                  <a:lnTo>
                    <a:pt x="27" y="64"/>
                  </a:lnTo>
                  <a:lnTo>
                    <a:pt x="34" y="68"/>
                  </a:lnTo>
                  <a:lnTo>
                    <a:pt x="3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77" name="Freeform 78"/>
            <p:cNvSpPr>
              <a:spLocks/>
            </p:cNvSpPr>
            <p:nvPr/>
          </p:nvSpPr>
          <p:spPr bwMode="auto">
            <a:xfrm>
              <a:off x="7550151" y="3518555"/>
              <a:ext cx="627063" cy="431800"/>
            </a:xfrm>
            <a:custGeom>
              <a:avLst/>
              <a:gdLst>
                <a:gd name="T0" fmla="*/ 17 w 395"/>
                <a:gd name="T1" fmla="*/ 4 h 272"/>
                <a:gd name="T2" fmla="*/ 34 w 395"/>
                <a:gd name="T3" fmla="*/ 16 h 272"/>
                <a:gd name="T4" fmla="*/ 48 w 395"/>
                <a:gd name="T5" fmla="*/ 16 h 272"/>
                <a:gd name="T6" fmla="*/ 58 w 395"/>
                <a:gd name="T7" fmla="*/ 7 h 272"/>
                <a:gd name="T8" fmla="*/ 72 w 395"/>
                <a:gd name="T9" fmla="*/ 0 h 272"/>
                <a:gd name="T10" fmla="*/ 75 w 395"/>
                <a:gd name="T11" fmla="*/ 10 h 272"/>
                <a:gd name="T12" fmla="*/ 86 w 395"/>
                <a:gd name="T13" fmla="*/ 23 h 272"/>
                <a:gd name="T14" fmla="*/ 93 w 395"/>
                <a:gd name="T15" fmla="*/ 29 h 272"/>
                <a:gd name="T16" fmla="*/ 103 w 395"/>
                <a:gd name="T17" fmla="*/ 42 h 272"/>
                <a:gd name="T18" fmla="*/ 120 w 395"/>
                <a:gd name="T19" fmla="*/ 46 h 272"/>
                <a:gd name="T20" fmla="*/ 151 w 395"/>
                <a:gd name="T21" fmla="*/ 58 h 272"/>
                <a:gd name="T22" fmla="*/ 196 w 395"/>
                <a:gd name="T23" fmla="*/ 55 h 272"/>
                <a:gd name="T24" fmla="*/ 206 w 395"/>
                <a:gd name="T25" fmla="*/ 42 h 272"/>
                <a:gd name="T26" fmla="*/ 230 w 395"/>
                <a:gd name="T27" fmla="*/ 26 h 272"/>
                <a:gd name="T28" fmla="*/ 251 w 395"/>
                <a:gd name="T29" fmla="*/ 26 h 272"/>
                <a:gd name="T30" fmla="*/ 278 w 395"/>
                <a:gd name="T31" fmla="*/ 36 h 272"/>
                <a:gd name="T32" fmla="*/ 299 w 395"/>
                <a:gd name="T33" fmla="*/ 42 h 272"/>
                <a:gd name="T34" fmla="*/ 330 w 395"/>
                <a:gd name="T35" fmla="*/ 62 h 272"/>
                <a:gd name="T36" fmla="*/ 333 w 395"/>
                <a:gd name="T37" fmla="*/ 78 h 272"/>
                <a:gd name="T38" fmla="*/ 333 w 395"/>
                <a:gd name="T39" fmla="*/ 88 h 272"/>
                <a:gd name="T40" fmla="*/ 323 w 395"/>
                <a:gd name="T41" fmla="*/ 100 h 272"/>
                <a:gd name="T42" fmla="*/ 333 w 395"/>
                <a:gd name="T43" fmla="*/ 113 h 272"/>
                <a:gd name="T44" fmla="*/ 333 w 395"/>
                <a:gd name="T45" fmla="*/ 142 h 272"/>
                <a:gd name="T46" fmla="*/ 358 w 395"/>
                <a:gd name="T47" fmla="*/ 162 h 272"/>
                <a:gd name="T48" fmla="*/ 354 w 395"/>
                <a:gd name="T49" fmla="*/ 201 h 272"/>
                <a:gd name="T50" fmla="*/ 378 w 395"/>
                <a:gd name="T51" fmla="*/ 210 h 272"/>
                <a:gd name="T52" fmla="*/ 385 w 395"/>
                <a:gd name="T53" fmla="*/ 226 h 272"/>
                <a:gd name="T54" fmla="*/ 392 w 395"/>
                <a:gd name="T55" fmla="*/ 243 h 272"/>
                <a:gd name="T56" fmla="*/ 368 w 395"/>
                <a:gd name="T57" fmla="*/ 249 h 272"/>
                <a:gd name="T58" fmla="*/ 368 w 395"/>
                <a:gd name="T59" fmla="*/ 268 h 272"/>
                <a:gd name="T60" fmla="*/ 351 w 395"/>
                <a:gd name="T61" fmla="*/ 268 h 272"/>
                <a:gd name="T62" fmla="*/ 344 w 395"/>
                <a:gd name="T63" fmla="*/ 265 h 272"/>
                <a:gd name="T64" fmla="*/ 313 w 395"/>
                <a:gd name="T65" fmla="*/ 262 h 272"/>
                <a:gd name="T66" fmla="*/ 292 w 395"/>
                <a:gd name="T67" fmla="*/ 259 h 272"/>
                <a:gd name="T68" fmla="*/ 275 w 395"/>
                <a:gd name="T69" fmla="*/ 246 h 272"/>
                <a:gd name="T70" fmla="*/ 268 w 395"/>
                <a:gd name="T71" fmla="*/ 233 h 272"/>
                <a:gd name="T72" fmla="*/ 247 w 395"/>
                <a:gd name="T73" fmla="*/ 236 h 272"/>
                <a:gd name="T74" fmla="*/ 220 w 395"/>
                <a:gd name="T75" fmla="*/ 239 h 272"/>
                <a:gd name="T76" fmla="*/ 199 w 395"/>
                <a:gd name="T77" fmla="*/ 236 h 272"/>
                <a:gd name="T78" fmla="*/ 186 w 395"/>
                <a:gd name="T79" fmla="*/ 226 h 272"/>
                <a:gd name="T80" fmla="*/ 165 w 395"/>
                <a:gd name="T81" fmla="*/ 220 h 272"/>
                <a:gd name="T82" fmla="*/ 151 w 395"/>
                <a:gd name="T83" fmla="*/ 204 h 272"/>
                <a:gd name="T84" fmla="*/ 148 w 395"/>
                <a:gd name="T85" fmla="*/ 201 h 272"/>
                <a:gd name="T86" fmla="*/ 134 w 395"/>
                <a:gd name="T87" fmla="*/ 181 h 272"/>
                <a:gd name="T88" fmla="*/ 120 w 395"/>
                <a:gd name="T89" fmla="*/ 181 h 272"/>
                <a:gd name="T90" fmla="*/ 113 w 395"/>
                <a:gd name="T91" fmla="*/ 178 h 272"/>
                <a:gd name="T92" fmla="*/ 110 w 395"/>
                <a:gd name="T93" fmla="*/ 184 h 272"/>
                <a:gd name="T94" fmla="*/ 100 w 395"/>
                <a:gd name="T95" fmla="*/ 178 h 272"/>
                <a:gd name="T96" fmla="*/ 89 w 395"/>
                <a:gd name="T97" fmla="*/ 155 h 272"/>
                <a:gd name="T98" fmla="*/ 79 w 395"/>
                <a:gd name="T99" fmla="*/ 136 h 272"/>
                <a:gd name="T100" fmla="*/ 51 w 395"/>
                <a:gd name="T101" fmla="*/ 126 h 272"/>
                <a:gd name="T102" fmla="*/ 48 w 395"/>
                <a:gd name="T103" fmla="*/ 117 h 272"/>
                <a:gd name="T104" fmla="*/ 41 w 395"/>
                <a:gd name="T105" fmla="*/ 107 h 272"/>
                <a:gd name="T106" fmla="*/ 44 w 395"/>
                <a:gd name="T107" fmla="*/ 91 h 272"/>
                <a:gd name="T108" fmla="*/ 48 w 395"/>
                <a:gd name="T109" fmla="*/ 81 h 272"/>
                <a:gd name="T110" fmla="*/ 51 w 395"/>
                <a:gd name="T111" fmla="*/ 75 h 272"/>
                <a:gd name="T112" fmla="*/ 31 w 395"/>
                <a:gd name="T113" fmla="*/ 71 h 272"/>
                <a:gd name="T114" fmla="*/ 20 w 395"/>
                <a:gd name="T115" fmla="*/ 58 h 272"/>
                <a:gd name="T116" fmla="*/ 14 w 395"/>
                <a:gd name="T117" fmla="*/ 46 h 272"/>
                <a:gd name="T118" fmla="*/ 10 w 395"/>
                <a:gd name="T119" fmla="*/ 26 h 272"/>
                <a:gd name="T120" fmla="*/ 0 w 395"/>
                <a:gd name="T121" fmla="*/ 10 h 272"/>
                <a:gd name="T122" fmla="*/ 10 w 395"/>
                <a:gd name="T123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5" h="272">
                  <a:moveTo>
                    <a:pt x="10" y="0"/>
                  </a:moveTo>
                  <a:lnTo>
                    <a:pt x="10" y="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7" y="4"/>
                  </a:lnTo>
                  <a:lnTo>
                    <a:pt x="17" y="7"/>
                  </a:lnTo>
                  <a:lnTo>
                    <a:pt x="24" y="10"/>
                  </a:lnTo>
                  <a:lnTo>
                    <a:pt x="24" y="13"/>
                  </a:lnTo>
                  <a:lnTo>
                    <a:pt x="31" y="16"/>
                  </a:lnTo>
                  <a:lnTo>
                    <a:pt x="34" y="16"/>
                  </a:lnTo>
                  <a:lnTo>
                    <a:pt x="41" y="20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1" y="16"/>
                  </a:lnTo>
                  <a:lnTo>
                    <a:pt x="51" y="13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8" y="7"/>
                  </a:lnTo>
                  <a:lnTo>
                    <a:pt x="62" y="7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9" y="0"/>
                  </a:lnTo>
                  <a:lnTo>
                    <a:pt x="72" y="0"/>
                  </a:lnTo>
                  <a:lnTo>
                    <a:pt x="72" y="4"/>
                  </a:lnTo>
                  <a:lnTo>
                    <a:pt x="75" y="4"/>
                  </a:lnTo>
                  <a:lnTo>
                    <a:pt x="75" y="7"/>
                  </a:lnTo>
                  <a:lnTo>
                    <a:pt x="79" y="7"/>
                  </a:lnTo>
                  <a:lnTo>
                    <a:pt x="75" y="10"/>
                  </a:lnTo>
                  <a:lnTo>
                    <a:pt x="79" y="10"/>
                  </a:lnTo>
                  <a:lnTo>
                    <a:pt x="82" y="13"/>
                  </a:lnTo>
                  <a:lnTo>
                    <a:pt x="75" y="16"/>
                  </a:lnTo>
                  <a:lnTo>
                    <a:pt x="82" y="23"/>
                  </a:lnTo>
                  <a:lnTo>
                    <a:pt x="86" y="23"/>
                  </a:lnTo>
                  <a:lnTo>
                    <a:pt x="86" y="26"/>
                  </a:lnTo>
                  <a:lnTo>
                    <a:pt x="89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9"/>
                  </a:lnTo>
                  <a:lnTo>
                    <a:pt x="96" y="33"/>
                  </a:lnTo>
                  <a:lnTo>
                    <a:pt x="93" y="39"/>
                  </a:lnTo>
                  <a:lnTo>
                    <a:pt x="96" y="39"/>
                  </a:lnTo>
                  <a:lnTo>
                    <a:pt x="100" y="39"/>
                  </a:lnTo>
                  <a:lnTo>
                    <a:pt x="103" y="42"/>
                  </a:lnTo>
                  <a:lnTo>
                    <a:pt x="106" y="42"/>
                  </a:lnTo>
                  <a:lnTo>
                    <a:pt x="110" y="46"/>
                  </a:lnTo>
                  <a:lnTo>
                    <a:pt x="113" y="42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4" y="49"/>
                  </a:lnTo>
                  <a:lnTo>
                    <a:pt x="127" y="52"/>
                  </a:lnTo>
                  <a:lnTo>
                    <a:pt x="134" y="55"/>
                  </a:lnTo>
                  <a:lnTo>
                    <a:pt x="141" y="55"/>
                  </a:lnTo>
                  <a:lnTo>
                    <a:pt x="151" y="58"/>
                  </a:lnTo>
                  <a:lnTo>
                    <a:pt x="158" y="58"/>
                  </a:lnTo>
                  <a:lnTo>
                    <a:pt x="168" y="55"/>
                  </a:lnTo>
                  <a:lnTo>
                    <a:pt x="179" y="55"/>
                  </a:lnTo>
                  <a:lnTo>
                    <a:pt x="189" y="55"/>
                  </a:lnTo>
                  <a:lnTo>
                    <a:pt x="196" y="55"/>
                  </a:lnTo>
                  <a:lnTo>
                    <a:pt x="196" y="52"/>
                  </a:lnTo>
                  <a:lnTo>
                    <a:pt x="192" y="49"/>
                  </a:lnTo>
                  <a:lnTo>
                    <a:pt x="192" y="42"/>
                  </a:lnTo>
                  <a:lnTo>
                    <a:pt x="196" y="42"/>
                  </a:lnTo>
                  <a:lnTo>
                    <a:pt x="206" y="42"/>
                  </a:lnTo>
                  <a:lnTo>
                    <a:pt x="206" y="36"/>
                  </a:lnTo>
                  <a:lnTo>
                    <a:pt x="210" y="33"/>
                  </a:lnTo>
                  <a:lnTo>
                    <a:pt x="213" y="33"/>
                  </a:lnTo>
                  <a:lnTo>
                    <a:pt x="220" y="29"/>
                  </a:lnTo>
                  <a:lnTo>
                    <a:pt x="230" y="26"/>
                  </a:lnTo>
                  <a:lnTo>
                    <a:pt x="237" y="29"/>
                  </a:lnTo>
                  <a:lnTo>
                    <a:pt x="237" y="23"/>
                  </a:lnTo>
                  <a:lnTo>
                    <a:pt x="241" y="23"/>
                  </a:lnTo>
                  <a:lnTo>
                    <a:pt x="244" y="26"/>
                  </a:lnTo>
                  <a:lnTo>
                    <a:pt x="251" y="26"/>
                  </a:lnTo>
                  <a:lnTo>
                    <a:pt x="258" y="29"/>
                  </a:lnTo>
                  <a:lnTo>
                    <a:pt x="261" y="29"/>
                  </a:lnTo>
                  <a:lnTo>
                    <a:pt x="275" y="36"/>
                  </a:lnTo>
                  <a:lnTo>
                    <a:pt x="278" y="36"/>
                  </a:lnTo>
                  <a:lnTo>
                    <a:pt x="278" y="36"/>
                  </a:lnTo>
                  <a:lnTo>
                    <a:pt x="289" y="39"/>
                  </a:lnTo>
                  <a:lnTo>
                    <a:pt x="292" y="39"/>
                  </a:lnTo>
                  <a:lnTo>
                    <a:pt x="292" y="42"/>
                  </a:lnTo>
                  <a:lnTo>
                    <a:pt x="296" y="46"/>
                  </a:lnTo>
                  <a:lnTo>
                    <a:pt x="299" y="42"/>
                  </a:lnTo>
                  <a:lnTo>
                    <a:pt x="306" y="46"/>
                  </a:lnTo>
                  <a:lnTo>
                    <a:pt x="313" y="55"/>
                  </a:lnTo>
                  <a:lnTo>
                    <a:pt x="323" y="55"/>
                  </a:lnTo>
                  <a:lnTo>
                    <a:pt x="327" y="55"/>
                  </a:lnTo>
                  <a:lnTo>
                    <a:pt x="330" y="62"/>
                  </a:lnTo>
                  <a:lnTo>
                    <a:pt x="330" y="65"/>
                  </a:lnTo>
                  <a:lnTo>
                    <a:pt x="330" y="68"/>
                  </a:lnTo>
                  <a:lnTo>
                    <a:pt x="330" y="71"/>
                  </a:lnTo>
                  <a:lnTo>
                    <a:pt x="333" y="75"/>
                  </a:lnTo>
                  <a:lnTo>
                    <a:pt x="333" y="78"/>
                  </a:lnTo>
                  <a:lnTo>
                    <a:pt x="333" y="81"/>
                  </a:lnTo>
                  <a:lnTo>
                    <a:pt x="330" y="81"/>
                  </a:lnTo>
                  <a:lnTo>
                    <a:pt x="333" y="84"/>
                  </a:lnTo>
                  <a:lnTo>
                    <a:pt x="333" y="88"/>
                  </a:lnTo>
                  <a:lnTo>
                    <a:pt x="333" y="88"/>
                  </a:lnTo>
                  <a:lnTo>
                    <a:pt x="327" y="91"/>
                  </a:lnTo>
                  <a:lnTo>
                    <a:pt x="323" y="91"/>
                  </a:lnTo>
                  <a:lnTo>
                    <a:pt x="327" y="94"/>
                  </a:lnTo>
                  <a:lnTo>
                    <a:pt x="330" y="97"/>
                  </a:lnTo>
                  <a:lnTo>
                    <a:pt x="323" y="100"/>
                  </a:lnTo>
                  <a:lnTo>
                    <a:pt x="327" y="100"/>
                  </a:lnTo>
                  <a:lnTo>
                    <a:pt x="327" y="107"/>
                  </a:lnTo>
                  <a:lnTo>
                    <a:pt x="327" y="110"/>
                  </a:lnTo>
                  <a:lnTo>
                    <a:pt x="333" y="113"/>
                  </a:lnTo>
                  <a:lnTo>
                    <a:pt x="333" y="113"/>
                  </a:lnTo>
                  <a:lnTo>
                    <a:pt x="330" y="117"/>
                  </a:lnTo>
                  <a:lnTo>
                    <a:pt x="327" y="123"/>
                  </a:lnTo>
                  <a:lnTo>
                    <a:pt x="333" y="130"/>
                  </a:lnTo>
                  <a:lnTo>
                    <a:pt x="337" y="139"/>
                  </a:lnTo>
                  <a:lnTo>
                    <a:pt x="333" y="142"/>
                  </a:lnTo>
                  <a:lnTo>
                    <a:pt x="337" y="142"/>
                  </a:lnTo>
                  <a:lnTo>
                    <a:pt x="337" y="149"/>
                  </a:lnTo>
                  <a:lnTo>
                    <a:pt x="354" y="149"/>
                  </a:lnTo>
                  <a:lnTo>
                    <a:pt x="358" y="155"/>
                  </a:lnTo>
                  <a:lnTo>
                    <a:pt x="358" y="162"/>
                  </a:lnTo>
                  <a:lnTo>
                    <a:pt x="358" y="168"/>
                  </a:lnTo>
                  <a:lnTo>
                    <a:pt x="358" y="168"/>
                  </a:lnTo>
                  <a:lnTo>
                    <a:pt x="344" y="184"/>
                  </a:lnTo>
                  <a:lnTo>
                    <a:pt x="354" y="197"/>
                  </a:lnTo>
                  <a:lnTo>
                    <a:pt x="354" y="201"/>
                  </a:lnTo>
                  <a:lnTo>
                    <a:pt x="361" y="204"/>
                  </a:lnTo>
                  <a:lnTo>
                    <a:pt x="364" y="207"/>
                  </a:lnTo>
                  <a:lnTo>
                    <a:pt x="368" y="210"/>
                  </a:lnTo>
                  <a:lnTo>
                    <a:pt x="371" y="210"/>
                  </a:lnTo>
                  <a:lnTo>
                    <a:pt x="378" y="210"/>
                  </a:lnTo>
                  <a:lnTo>
                    <a:pt x="378" y="213"/>
                  </a:lnTo>
                  <a:lnTo>
                    <a:pt x="382" y="213"/>
                  </a:lnTo>
                  <a:lnTo>
                    <a:pt x="382" y="220"/>
                  </a:lnTo>
                  <a:lnTo>
                    <a:pt x="385" y="223"/>
                  </a:lnTo>
                  <a:lnTo>
                    <a:pt x="385" y="226"/>
                  </a:lnTo>
                  <a:lnTo>
                    <a:pt x="385" y="230"/>
                  </a:lnTo>
                  <a:lnTo>
                    <a:pt x="388" y="230"/>
                  </a:lnTo>
                  <a:lnTo>
                    <a:pt x="395" y="233"/>
                  </a:lnTo>
                  <a:lnTo>
                    <a:pt x="395" y="239"/>
                  </a:lnTo>
                  <a:lnTo>
                    <a:pt x="392" y="243"/>
                  </a:lnTo>
                  <a:lnTo>
                    <a:pt x="388" y="239"/>
                  </a:lnTo>
                  <a:lnTo>
                    <a:pt x="378" y="243"/>
                  </a:lnTo>
                  <a:lnTo>
                    <a:pt x="375" y="243"/>
                  </a:lnTo>
                  <a:lnTo>
                    <a:pt x="371" y="246"/>
                  </a:lnTo>
                  <a:lnTo>
                    <a:pt x="368" y="249"/>
                  </a:lnTo>
                  <a:lnTo>
                    <a:pt x="371" y="252"/>
                  </a:lnTo>
                  <a:lnTo>
                    <a:pt x="368" y="255"/>
                  </a:lnTo>
                  <a:lnTo>
                    <a:pt x="368" y="259"/>
                  </a:lnTo>
                  <a:lnTo>
                    <a:pt x="368" y="265"/>
                  </a:lnTo>
                  <a:lnTo>
                    <a:pt x="368" y="268"/>
                  </a:lnTo>
                  <a:lnTo>
                    <a:pt x="368" y="268"/>
                  </a:lnTo>
                  <a:lnTo>
                    <a:pt x="364" y="268"/>
                  </a:lnTo>
                  <a:lnTo>
                    <a:pt x="364" y="272"/>
                  </a:lnTo>
                  <a:lnTo>
                    <a:pt x="358" y="268"/>
                  </a:lnTo>
                  <a:lnTo>
                    <a:pt x="351" y="268"/>
                  </a:lnTo>
                  <a:lnTo>
                    <a:pt x="351" y="265"/>
                  </a:lnTo>
                  <a:lnTo>
                    <a:pt x="347" y="265"/>
                  </a:lnTo>
                  <a:lnTo>
                    <a:pt x="347" y="268"/>
                  </a:lnTo>
                  <a:lnTo>
                    <a:pt x="344" y="268"/>
                  </a:lnTo>
                  <a:lnTo>
                    <a:pt x="344" y="265"/>
                  </a:lnTo>
                  <a:lnTo>
                    <a:pt x="340" y="265"/>
                  </a:lnTo>
                  <a:lnTo>
                    <a:pt x="337" y="265"/>
                  </a:lnTo>
                  <a:lnTo>
                    <a:pt x="330" y="265"/>
                  </a:lnTo>
                  <a:lnTo>
                    <a:pt x="323" y="262"/>
                  </a:lnTo>
                  <a:lnTo>
                    <a:pt x="313" y="262"/>
                  </a:lnTo>
                  <a:lnTo>
                    <a:pt x="306" y="259"/>
                  </a:lnTo>
                  <a:lnTo>
                    <a:pt x="306" y="259"/>
                  </a:lnTo>
                  <a:lnTo>
                    <a:pt x="299" y="262"/>
                  </a:lnTo>
                  <a:lnTo>
                    <a:pt x="296" y="259"/>
                  </a:lnTo>
                  <a:lnTo>
                    <a:pt x="292" y="259"/>
                  </a:lnTo>
                  <a:lnTo>
                    <a:pt x="282" y="259"/>
                  </a:lnTo>
                  <a:lnTo>
                    <a:pt x="282" y="259"/>
                  </a:lnTo>
                  <a:lnTo>
                    <a:pt x="278" y="255"/>
                  </a:lnTo>
                  <a:lnTo>
                    <a:pt x="278" y="252"/>
                  </a:lnTo>
                  <a:lnTo>
                    <a:pt x="275" y="246"/>
                  </a:lnTo>
                  <a:lnTo>
                    <a:pt x="275" y="239"/>
                  </a:lnTo>
                  <a:lnTo>
                    <a:pt x="272" y="236"/>
                  </a:lnTo>
                  <a:lnTo>
                    <a:pt x="268" y="233"/>
                  </a:lnTo>
                  <a:lnTo>
                    <a:pt x="268" y="236"/>
                  </a:lnTo>
                  <a:lnTo>
                    <a:pt x="268" y="233"/>
                  </a:lnTo>
                  <a:lnTo>
                    <a:pt x="261" y="233"/>
                  </a:lnTo>
                  <a:lnTo>
                    <a:pt x="258" y="233"/>
                  </a:lnTo>
                  <a:lnTo>
                    <a:pt x="251" y="236"/>
                  </a:lnTo>
                  <a:lnTo>
                    <a:pt x="247" y="236"/>
                  </a:lnTo>
                  <a:lnTo>
                    <a:pt x="247" y="236"/>
                  </a:lnTo>
                  <a:lnTo>
                    <a:pt x="247" y="236"/>
                  </a:lnTo>
                  <a:lnTo>
                    <a:pt x="241" y="243"/>
                  </a:lnTo>
                  <a:lnTo>
                    <a:pt x="234" y="246"/>
                  </a:lnTo>
                  <a:lnTo>
                    <a:pt x="227" y="243"/>
                  </a:lnTo>
                  <a:lnTo>
                    <a:pt x="220" y="239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06" y="236"/>
                  </a:lnTo>
                  <a:lnTo>
                    <a:pt x="203" y="236"/>
                  </a:lnTo>
                  <a:lnTo>
                    <a:pt x="199" y="236"/>
                  </a:lnTo>
                  <a:lnTo>
                    <a:pt x="196" y="233"/>
                  </a:lnTo>
                  <a:lnTo>
                    <a:pt x="189" y="230"/>
                  </a:lnTo>
                  <a:lnTo>
                    <a:pt x="192" y="226"/>
                  </a:lnTo>
                  <a:lnTo>
                    <a:pt x="189" y="226"/>
                  </a:lnTo>
                  <a:lnTo>
                    <a:pt x="186" y="226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9" y="223"/>
                  </a:lnTo>
                  <a:lnTo>
                    <a:pt x="172" y="220"/>
                  </a:lnTo>
                  <a:lnTo>
                    <a:pt x="165" y="220"/>
                  </a:lnTo>
                  <a:lnTo>
                    <a:pt x="161" y="220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1" y="204"/>
                  </a:lnTo>
                  <a:lnTo>
                    <a:pt x="151" y="204"/>
                  </a:lnTo>
                  <a:lnTo>
                    <a:pt x="151" y="204"/>
                  </a:lnTo>
                  <a:lnTo>
                    <a:pt x="155" y="204"/>
                  </a:lnTo>
                  <a:lnTo>
                    <a:pt x="151" y="201"/>
                  </a:lnTo>
                  <a:lnTo>
                    <a:pt x="148" y="201"/>
                  </a:lnTo>
                  <a:lnTo>
                    <a:pt x="148" y="201"/>
                  </a:lnTo>
                  <a:lnTo>
                    <a:pt x="148" y="194"/>
                  </a:lnTo>
                  <a:lnTo>
                    <a:pt x="141" y="188"/>
                  </a:lnTo>
                  <a:lnTo>
                    <a:pt x="137" y="184"/>
                  </a:lnTo>
                  <a:lnTo>
                    <a:pt x="134" y="181"/>
                  </a:lnTo>
                  <a:lnTo>
                    <a:pt x="134" y="178"/>
                  </a:lnTo>
                  <a:lnTo>
                    <a:pt x="127" y="184"/>
                  </a:lnTo>
                  <a:lnTo>
                    <a:pt x="124" y="184"/>
                  </a:lnTo>
                  <a:lnTo>
                    <a:pt x="124" y="181"/>
                  </a:lnTo>
                  <a:lnTo>
                    <a:pt x="120" y="181"/>
                  </a:lnTo>
                  <a:lnTo>
                    <a:pt x="117" y="178"/>
                  </a:lnTo>
                  <a:lnTo>
                    <a:pt x="117" y="178"/>
                  </a:lnTo>
                  <a:lnTo>
                    <a:pt x="117" y="175"/>
                  </a:lnTo>
                  <a:lnTo>
                    <a:pt x="117" y="178"/>
                  </a:lnTo>
                  <a:lnTo>
                    <a:pt x="113" y="178"/>
                  </a:lnTo>
                  <a:lnTo>
                    <a:pt x="113" y="175"/>
                  </a:lnTo>
                  <a:lnTo>
                    <a:pt x="113" y="178"/>
                  </a:lnTo>
                  <a:lnTo>
                    <a:pt x="113" y="181"/>
                  </a:lnTo>
                  <a:lnTo>
                    <a:pt x="113" y="184"/>
                  </a:lnTo>
                  <a:lnTo>
                    <a:pt x="110" y="184"/>
                  </a:lnTo>
                  <a:lnTo>
                    <a:pt x="106" y="181"/>
                  </a:lnTo>
                  <a:lnTo>
                    <a:pt x="106" y="178"/>
                  </a:lnTo>
                  <a:lnTo>
                    <a:pt x="106" y="178"/>
                  </a:lnTo>
                  <a:lnTo>
                    <a:pt x="103" y="178"/>
                  </a:lnTo>
                  <a:lnTo>
                    <a:pt x="100" y="178"/>
                  </a:lnTo>
                  <a:lnTo>
                    <a:pt x="96" y="175"/>
                  </a:lnTo>
                  <a:lnTo>
                    <a:pt x="96" y="165"/>
                  </a:lnTo>
                  <a:lnTo>
                    <a:pt x="89" y="165"/>
                  </a:lnTo>
                  <a:lnTo>
                    <a:pt x="89" y="162"/>
                  </a:lnTo>
                  <a:lnTo>
                    <a:pt x="89" y="155"/>
                  </a:lnTo>
                  <a:lnTo>
                    <a:pt x="93" y="152"/>
                  </a:lnTo>
                  <a:lnTo>
                    <a:pt x="89" y="146"/>
                  </a:lnTo>
                  <a:lnTo>
                    <a:pt x="86" y="142"/>
                  </a:lnTo>
                  <a:lnTo>
                    <a:pt x="82" y="139"/>
                  </a:lnTo>
                  <a:lnTo>
                    <a:pt x="79" y="136"/>
                  </a:lnTo>
                  <a:lnTo>
                    <a:pt x="75" y="136"/>
                  </a:lnTo>
                  <a:lnTo>
                    <a:pt x="62" y="130"/>
                  </a:lnTo>
                  <a:lnTo>
                    <a:pt x="58" y="130"/>
                  </a:lnTo>
                  <a:lnTo>
                    <a:pt x="58" y="130"/>
                  </a:lnTo>
                  <a:lnTo>
                    <a:pt x="51" y="126"/>
                  </a:lnTo>
                  <a:lnTo>
                    <a:pt x="55" y="126"/>
                  </a:lnTo>
                  <a:lnTo>
                    <a:pt x="51" y="123"/>
                  </a:lnTo>
                  <a:lnTo>
                    <a:pt x="55" y="120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4" y="117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0"/>
                  </a:lnTo>
                  <a:lnTo>
                    <a:pt x="41" y="107"/>
                  </a:lnTo>
                  <a:lnTo>
                    <a:pt x="41" y="107"/>
                  </a:lnTo>
                  <a:lnTo>
                    <a:pt x="41" y="104"/>
                  </a:lnTo>
                  <a:lnTo>
                    <a:pt x="41" y="97"/>
                  </a:lnTo>
                  <a:lnTo>
                    <a:pt x="44" y="97"/>
                  </a:lnTo>
                  <a:lnTo>
                    <a:pt x="44" y="91"/>
                  </a:lnTo>
                  <a:lnTo>
                    <a:pt x="48" y="94"/>
                  </a:lnTo>
                  <a:lnTo>
                    <a:pt x="48" y="91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1"/>
                  </a:lnTo>
                  <a:lnTo>
                    <a:pt x="48" y="81"/>
                  </a:lnTo>
                  <a:lnTo>
                    <a:pt x="55" y="78"/>
                  </a:lnTo>
                  <a:lnTo>
                    <a:pt x="55" y="78"/>
                  </a:lnTo>
                  <a:lnTo>
                    <a:pt x="51" y="78"/>
                  </a:lnTo>
                  <a:lnTo>
                    <a:pt x="51" y="75"/>
                  </a:lnTo>
                  <a:lnTo>
                    <a:pt x="44" y="78"/>
                  </a:lnTo>
                  <a:lnTo>
                    <a:pt x="44" y="75"/>
                  </a:lnTo>
                  <a:lnTo>
                    <a:pt x="38" y="71"/>
                  </a:lnTo>
                  <a:lnTo>
                    <a:pt x="34" y="71"/>
                  </a:lnTo>
                  <a:lnTo>
                    <a:pt x="31" y="71"/>
                  </a:lnTo>
                  <a:lnTo>
                    <a:pt x="27" y="68"/>
                  </a:lnTo>
                  <a:lnTo>
                    <a:pt x="27" y="65"/>
                  </a:lnTo>
                  <a:lnTo>
                    <a:pt x="24" y="65"/>
                  </a:lnTo>
                  <a:lnTo>
                    <a:pt x="20" y="62"/>
                  </a:lnTo>
                  <a:lnTo>
                    <a:pt x="20" y="58"/>
                  </a:lnTo>
                  <a:lnTo>
                    <a:pt x="20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49"/>
                  </a:lnTo>
                  <a:lnTo>
                    <a:pt x="14" y="46"/>
                  </a:lnTo>
                  <a:lnTo>
                    <a:pt x="10" y="39"/>
                  </a:lnTo>
                  <a:lnTo>
                    <a:pt x="7" y="39"/>
                  </a:lnTo>
                  <a:lnTo>
                    <a:pt x="7" y="36"/>
                  </a:lnTo>
                  <a:lnTo>
                    <a:pt x="7" y="33"/>
                  </a:lnTo>
                  <a:lnTo>
                    <a:pt x="10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3" y="20"/>
                  </a:lnTo>
                  <a:lnTo>
                    <a:pt x="3" y="16"/>
                  </a:lnTo>
                  <a:lnTo>
                    <a:pt x="0" y="10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7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78" name="Freeform 79"/>
            <p:cNvSpPr>
              <a:spLocks/>
            </p:cNvSpPr>
            <p:nvPr/>
          </p:nvSpPr>
          <p:spPr bwMode="auto">
            <a:xfrm>
              <a:off x="7516813" y="3467755"/>
              <a:ext cx="109538" cy="76200"/>
            </a:xfrm>
            <a:custGeom>
              <a:avLst/>
              <a:gdLst>
                <a:gd name="T0" fmla="*/ 0 w 69"/>
                <a:gd name="T1" fmla="*/ 3 h 48"/>
                <a:gd name="T2" fmla="*/ 7 w 69"/>
                <a:gd name="T3" fmla="*/ 0 h 48"/>
                <a:gd name="T4" fmla="*/ 14 w 69"/>
                <a:gd name="T5" fmla="*/ 0 h 48"/>
                <a:gd name="T6" fmla="*/ 17 w 69"/>
                <a:gd name="T7" fmla="*/ 0 h 48"/>
                <a:gd name="T8" fmla="*/ 28 w 69"/>
                <a:gd name="T9" fmla="*/ 0 h 48"/>
                <a:gd name="T10" fmla="*/ 35 w 69"/>
                <a:gd name="T11" fmla="*/ 3 h 48"/>
                <a:gd name="T12" fmla="*/ 41 w 69"/>
                <a:gd name="T13" fmla="*/ 3 h 48"/>
                <a:gd name="T14" fmla="*/ 45 w 69"/>
                <a:gd name="T15" fmla="*/ 6 h 48"/>
                <a:gd name="T16" fmla="*/ 41 w 69"/>
                <a:gd name="T17" fmla="*/ 10 h 48"/>
                <a:gd name="T18" fmla="*/ 45 w 69"/>
                <a:gd name="T19" fmla="*/ 13 h 48"/>
                <a:gd name="T20" fmla="*/ 52 w 69"/>
                <a:gd name="T21" fmla="*/ 19 h 48"/>
                <a:gd name="T22" fmla="*/ 52 w 69"/>
                <a:gd name="T23" fmla="*/ 23 h 48"/>
                <a:gd name="T24" fmla="*/ 48 w 69"/>
                <a:gd name="T25" fmla="*/ 26 h 48"/>
                <a:gd name="T26" fmla="*/ 52 w 69"/>
                <a:gd name="T27" fmla="*/ 29 h 48"/>
                <a:gd name="T28" fmla="*/ 59 w 69"/>
                <a:gd name="T29" fmla="*/ 36 h 48"/>
                <a:gd name="T30" fmla="*/ 65 w 69"/>
                <a:gd name="T31" fmla="*/ 36 h 48"/>
                <a:gd name="T32" fmla="*/ 69 w 69"/>
                <a:gd name="T33" fmla="*/ 39 h 48"/>
                <a:gd name="T34" fmla="*/ 65 w 69"/>
                <a:gd name="T35" fmla="*/ 39 h 48"/>
                <a:gd name="T36" fmla="*/ 69 w 69"/>
                <a:gd name="T37" fmla="*/ 42 h 48"/>
                <a:gd name="T38" fmla="*/ 65 w 69"/>
                <a:gd name="T39" fmla="*/ 45 h 48"/>
                <a:gd name="T40" fmla="*/ 65 w 69"/>
                <a:gd name="T41" fmla="*/ 48 h 48"/>
                <a:gd name="T42" fmla="*/ 62 w 69"/>
                <a:gd name="T43" fmla="*/ 48 h 48"/>
                <a:gd name="T44" fmla="*/ 55 w 69"/>
                <a:gd name="T45" fmla="*/ 39 h 48"/>
                <a:gd name="T46" fmla="*/ 48 w 69"/>
                <a:gd name="T47" fmla="*/ 36 h 48"/>
                <a:gd name="T48" fmla="*/ 45 w 69"/>
                <a:gd name="T49" fmla="*/ 32 h 48"/>
                <a:gd name="T50" fmla="*/ 41 w 69"/>
                <a:gd name="T51" fmla="*/ 32 h 48"/>
                <a:gd name="T52" fmla="*/ 41 w 69"/>
                <a:gd name="T53" fmla="*/ 32 h 48"/>
                <a:gd name="T54" fmla="*/ 35 w 69"/>
                <a:gd name="T55" fmla="*/ 29 h 48"/>
                <a:gd name="T56" fmla="*/ 31 w 69"/>
                <a:gd name="T57" fmla="*/ 29 h 48"/>
                <a:gd name="T58" fmla="*/ 28 w 69"/>
                <a:gd name="T59" fmla="*/ 29 h 48"/>
                <a:gd name="T60" fmla="*/ 28 w 69"/>
                <a:gd name="T61" fmla="*/ 29 h 48"/>
                <a:gd name="T62" fmla="*/ 24 w 69"/>
                <a:gd name="T63" fmla="*/ 26 h 48"/>
                <a:gd name="T64" fmla="*/ 21 w 69"/>
                <a:gd name="T65" fmla="*/ 26 h 48"/>
                <a:gd name="T66" fmla="*/ 14 w 69"/>
                <a:gd name="T67" fmla="*/ 26 h 48"/>
                <a:gd name="T68" fmla="*/ 7 w 69"/>
                <a:gd name="T69" fmla="*/ 23 h 48"/>
                <a:gd name="T70" fmla="*/ 7 w 69"/>
                <a:gd name="T71" fmla="*/ 16 h 48"/>
                <a:gd name="T72" fmla="*/ 10 w 69"/>
                <a:gd name="T73" fmla="*/ 10 h 48"/>
                <a:gd name="T74" fmla="*/ 7 w 69"/>
                <a:gd name="T75" fmla="*/ 6 h 48"/>
                <a:gd name="T76" fmla="*/ 4 w 69"/>
                <a:gd name="T77" fmla="*/ 6 h 48"/>
                <a:gd name="T78" fmla="*/ 4 w 69"/>
                <a:gd name="T79" fmla="*/ 3 h 48"/>
                <a:gd name="T80" fmla="*/ 0 w 69"/>
                <a:gd name="T81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9" h="48">
                  <a:moveTo>
                    <a:pt x="0" y="3"/>
                  </a:moveTo>
                  <a:lnTo>
                    <a:pt x="7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8" y="0"/>
                  </a:lnTo>
                  <a:lnTo>
                    <a:pt x="35" y="3"/>
                  </a:lnTo>
                  <a:lnTo>
                    <a:pt x="41" y="3"/>
                  </a:lnTo>
                  <a:lnTo>
                    <a:pt x="45" y="6"/>
                  </a:lnTo>
                  <a:lnTo>
                    <a:pt x="41" y="10"/>
                  </a:lnTo>
                  <a:lnTo>
                    <a:pt x="45" y="13"/>
                  </a:lnTo>
                  <a:lnTo>
                    <a:pt x="52" y="19"/>
                  </a:lnTo>
                  <a:lnTo>
                    <a:pt x="52" y="23"/>
                  </a:lnTo>
                  <a:lnTo>
                    <a:pt x="48" y="26"/>
                  </a:lnTo>
                  <a:lnTo>
                    <a:pt x="52" y="29"/>
                  </a:lnTo>
                  <a:lnTo>
                    <a:pt x="59" y="36"/>
                  </a:lnTo>
                  <a:lnTo>
                    <a:pt x="65" y="36"/>
                  </a:lnTo>
                  <a:lnTo>
                    <a:pt x="69" y="39"/>
                  </a:lnTo>
                  <a:lnTo>
                    <a:pt x="65" y="39"/>
                  </a:lnTo>
                  <a:lnTo>
                    <a:pt x="69" y="42"/>
                  </a:lnTo>
                  <a:lnTo>
                    <a:pt x="65" y="45"/>
                  </a:lnTo>
                  <a:lnTo>
                    <a:pt x="65" y="48"/>
                  </a:lnTo>
                  <a:lnTo>
                    <a:pt x="62" y="48"/>
                  </a:lnTo>
                  <a:lnTo>
                    <a:pt x="55" y="39"/>
                  </a:lnTo>
                  <a:lnTo>
                    <a:pt x="48" y="36"/>
                  </a:lnTo>
                  <a:lnTo>
                    <a:pt x="45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35" y="29"/>
                  </a:lnTo>
                  <a:lnTo>
                    <a:pt x="31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4" y="26"/>
                  </a:lnTo>
                  <a:lnTo>
                    <a:pt x="21" y="26"/>
                  </a:lnTo>
                  <a:lnTo>
                    <a:pt x="14" y="26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10" y="10"/>
                  </a:lnTo>
                  <a:lnTo>
                    <a:pt x="7" y="6"/>
                  </a:lnTo>
                  <a:lnTo>
                    <a:pt x="4" y="6"/>
                  </a:lnTo>
                  <a:lnTo>
                    <a:pt x="4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79" name="Freeform 80"/>
            <p:cNvSpPr>
              <a:spLocks noEditPoints="1"/>
            </p:cNvSpPr>
            <p:nvPr/>
          </p:nvSpPr>
          <p:spPr bwMode="auto">
            <a:xfrm>
              <a:off x="7008813" y="3447117"/>
              <a:ext cx="568325" cy="195262"/>
            </a:xfrm>
            <a:custGeom>
              <a:avLst/>
              <a:gdLst>
                <a:gd name="T0" fmla="*/ 14 w 358"/>
                <a:gd name="T1" fmla="*/ 13 h 123"/>
                <a:gd name="T2" fmla="*/ 28 w 358"/>
                <a:gd name="T3" fmla="*/ 0 h 123"/>
                <a:gd name="T4" fmla="*/ 48 w 358"/>
                <a:gd name="T5" fmla="*/ 13 h 123"/>
                <a:gd name="T6" fmla="*/ 48 w 358"/>
                <a:gd name="T7" fmla="*/ 23 h 123"/>
                <a:gd name="T8" fmla="*/ 17 w 358"/>
                <a:gd name="T9" fmla="*/ 36 h 123"/>
                <a:gd name="T10" fmla="*/ 14 w 358"/>
                <a:gd name="T11" fmla="*/ 32 h 123"/>
                <a:gd name="T12" fmla="*/ 4 w 358"/>
                <a:gd name="T13" fmla="*/ 26 h 123"/>
                <a:gd name="T14" fmla="*/ 272 w 358"/>
                <a:gd name="T15" fmla="*/ 19 h 123"/>
                <a:gd name="T16" fmla="*/ 251 w 358"/>
                <a:gd name="T17" fmla="*/ 19 h 123"/>
                <a:gd name="T18" fmla="*/ 217 w 358"/>
                <a:gd name="T19" fmla="*/ 19 h 123"/>
                <a:gd name="T20" fmla="*/ 193 w 358"/>
                <a:gd name="T21" fmla="*/ 13 h 123"/>
                <a:gd name="T22" fmla="*/ 176 w 358"/>
                <a:gd name="T23" fmla="*/ 7 h 123"/>
                <a:gd name="T24" fmla="*/ 155 w 358"/>
                <a:gd name="T25" fmla="*/ 0 h 123"/>
                <a:gd name="T26" fmla="*/ 121 w 358"/>
                <a:gd name="T27" fmla="*/ 7 h 123"/>
                <a:gd name="T28" fmla="*/ 103 w 358"/>
                <a:gd name="T29" fmla="*/ 16 h 123"/>
                <a:gd name="T30" fmla="*/ 79 w 358"/>
                <a:gd name="T31" fmla="*/ 19 h 123"/>
                <a:gd name="T32" fmla="*/ 62 w 358"/>
                <a:gd name="T33" fmla="*/ 26 h 123"/>
                <a:gd name="T34" fmla="*/ 55 w 358"/>
                <a:gd name="T35" fmla="*/ 36 h 123"/>
                <a:gd name="T36" fmla="*/ 45 w 358"/>
                <a:gd name="T37" fmla="*/ 36 h 123"/>
                <a:gd name="T38" fmla="*/ 24 w 358"/>
                <a:gd name="T39" fmla="*/ 36 h 123"/>
                <a:gd name="T40" fmla="*/ 11 w 358"/>
                <a:gd name="T41" fmla="*/ 52 h 123"/>
                <a:gd name="T42" fmla="*/ 24 w 358"/>
                <a:gd name="T43" fmla="*/ 55 h 123"/>
                <a:gd name="T44" fmla="*/ 24 w 358"/>
                <a:gd name="T45" fmla="*/ 68 h 123"/>
                <a:gd name="T46" fmla="*/ 24 w 358"/>
                <a:gd name="T47" fmla="*/ 71 h 123"/>
                <a:gd name="T48" fmla="*/ 14 w 358"/>
                <a:gd name="T49" fmla="*/ 74 h 123"/>
                <a:gd name="T50" fmla="*/ 21 w 358"/>
                <a:gd name="T51" fmla="*/ 84 h 123"/>
                <a:gd name="T52" fmla="*/ 31 w 358"/>
                <a:gd name="T53" fmla="*/ 97 h 123"/>
                <a:gd name="T54" fmla="*/ 35 w 358"/>
                <a:gd name="T55" fmla="*/ 107 h 123"/>
                <a:gd name="T56" fmla="*/ 35 w 358"/>
                <a:gd name="T57" fmla="*/ 110 h 123"/>
                <a:gd name="T58" fmla="*/ 45 w 358"/>
                <a:gd name="T59" fmla="*/ 110 h 123"/>
                <a:gd name="T60" fmla="*/ 59 w 358"/>
                <a:gd name="T61" fmla="*/ 110 h 123"/>
                <a:gd name="T62" fmla="*/ 69 w 358"/>
                <a:gd name="T63" fmla="*/ 113 h 123"/>
                <a:gd name="T64" fmla="*/ 86 w 358"/>
                <a:gd name="T65" fmla="*/ 116 h 123"/>
                <a:gd name="T66" fmla="*/ 97 w 358"/>
                <a:gd name="T67" fmla="*/ 110 h 123"/>
                <a:gd name="T68" fmla="*/ 131 w 358"/>
                <a:gd name="T69" fmla="*/ 116 h 123"/>
                <a:gd name="T70" fmla="*/ 162 w 358"/>
                <a:gd name="T71" fmla="*/ 116 h 123"/>
                <a:gd name="T72" fmla="*/ 193 w 358"/>
                <a:gd name="T73" fmla="*/ 110 h 123"/>
                <a:gd name="T74" fmla="*/ 196 w 358"/>
                <a:gd name="T75" fmla="*/ 113 h 123"/>
                <a:gd name="T76" fmla="*/ 210 w 358"/>
                <a:gd name="T77" fmla="*/ 120 h 123"/>
                <a:gd name="T78" fmla="*/ 220 w 358"/>
                <a:gd name="T79" fmla="*/ 110 h 123"/>
                <a:gd name="T80" fmla="*/ 251 w 358"/>
                <a:gd name="T81" fmla="*/ 107 h 123"/>
                <a:gd name="T82" fmla="*/ 282 w 358"/>
                <a:gd name="T83" fmla="*/ 100 h 123"/>
                <a:gd name="T84" fmla="*/ 317 w 358"/>
                <a:gd name="T85" fmla="*/ 97 h 123"/>
                <a:gd name="T86" fmla="*/ 348 w 358"/>
                <a:gd name="T87" fmla="*/ 94 h 123"/>
                <a:gd name="T88" fmla="*/ 355 w 358"/>
                <a:gd name="T89" fmla="*/ 91 h 123"/>
                <a:gd name="T90" fmla="*/ 348 w 358"/>
                <a:gd name="T91" fmla="*/ 71 h 123"/>
                <a:gd name="T92" fmla="*/ 341 w 358"/>
                <a:gd name="T93" fmla="*/ 52 h 123"/>
                <a:gd name="T94" fmla="*/ 341 w 358"/>
                <a:gd name="T95" fmla="*/ 39 h 123"/>
                <a:gd name="T96" fmla="*/ 324 w 358"/>
                <a:gd name="T97" fmla="*/ 19 h 123"/>
                <a:gd name="T98" fmla="*/ 303 w 358"/>
                <a:gd name="T99" fmla="*/ 10 h 123"/>
                <a:gd name="T100" fmla="*/ 289 w 358"/>
                <a:gd name="T101" fmla="*/ 7 h 123"/>
                <a:gd name="T102" fmla="*/ 41 w 358"/>
                <a:gd name="T103" fmla="*/ 113 h 123"/>
                <a:gd name="T104" fmla="*/ 7 w 358"/>
                <a:gd name="T105" fmla="*/ 3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8" h="123">
                  <a:moveTo>
                    <a:pt x="4" y="26"/>
                  </a:moveTo>
                  <a:lnTo>
                    <a:pt x="7" y="26"/>
                  </a:lnTo>
                  <a:lnTo>
                    <a:pt x="11" y="23"/>
                  </a:lnTo>
                  <a:lnTo>
                    <a:pt x="11" y="19"/>
                  </a:lnTo>
                  <a:lnTo>
                    <a:pt x="14" y="16"/>
                  </a:lnTo>
                  <a:lnTo>
                    <a:pt x="14" y="13"/>
                  </a:lnTo>
                  <a:lnTo>
                    <a:pt x="11" y="10"/>
                  </a:lnTo>
                  <a:lnTo>
                    <a:pt x="11" y="7"/>
                  </a:lnTo>
                  <a:lnTo>
                    <a:pt x="14" y="3"/>
                  </a:lnTo>
                  <a:lnTo>
                    <a:pt x="17" y="3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31" y="3"/>
                  </a:lnTo>
                  <a:lnTo>
                    <a:pt x="35" y="3"/>
                  </a:lnTo>
                  <a:lnTo>
                    <a:pt x="38" y="3"/>
                  </a:lnTo>
                  <a:lnTo>
                    <a:pt x="38" y="10"/>
                  </a:lnTo>
                  <a:lnTo>
                    <a:pt x="45" y="13"/>
                  </a:lnTo>
                  <a:lnTo>
                    <a:pt x="48" y="13"/>
                  </a:lnTo>
                  <a:lnTo>
                    <a:pt x="55" y="16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55" y="26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35" y="23"/>
                  </a:lnTo>
                  <a:lnTo>
                    <a:pt x="31" y="26"/>
                  </a:lnTo>
                  <a:lnTo>
                    <a:pt x="28" y="29"/>
                  </a:lnTo>
                  <a:lnTo>
                    <a:pt x="17" y="36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2"/>
                  </a:lnTo>
                  <a:lnTo>
                    <a:pt x="14" y="32"/>
                  </a:lnTo>
                  <a:lnTo>
                    <a:pt x="17" y="32"/>
                  </a:lnTo>
                  <a:lnTo>
                    <a:pt x="14" y="32"/>
                  </a:lnTo>
                  <a:lnTo>
                    <a:pt x="11" y="29"/>
                  </a:lnTo>
                  <a:lnTo>
                    <a:pt x="11" y="32"/>
                  </a:lnTo>
                  <a:lnTo>
                    <a:pt x="7" y="29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close/>
                  <a:moveTo>
                    <a:pt x="289" y="7"/>
                  </a:moveTo>
                  <a:lnTo>
                    <a:pt x="286" y="7"/>
                  </a:lnTo>
                  <a:lnTo>
                    <a:pt x="286" y="13"/>
                  </a:lnTo>
                  <a:lnTo>
                    <a:pt x="279" y="13"/>
                  </a:lnTo>
                  <a:lnTo>
                    <a:pt x="272" y="16"/>
                  </a:lnTo>
                  <a:lnTo>
                    <a:pt x="272" y="19"/>
                  </a:lnTo>
                  <a:lnTo>
                    <a:pt x="265" y="19"/>
                  </a:lnTo>
                  <a:lnTo>
                    <a:pt x="265" y="23"/>
                  </a:lnTo>
                  <a:lnTo>
                    <a:pt x="255" y="19"/>
                  </a:lnTo>
                  <a:lnTo>
                    <a:pt x="255" y="19"/>
                  </a:lnTo>
                  <a:lnTo>
                    <a:pt x="251" y="19"/>
                  </a:lnTo>
                  <a:lnTo>
                    <a:pt x="251" y="19"/>
                  </a:lnTo>
                  <a:lnTo>
                    <a:pt x="244" y="19"/>
                  </a:lnTo>
                  <a:lnTo>
                    <a:pt x="238" y="19"/>
                  </a:lnTo>
                  <a:lnTo>
                    <a:pt x="231" y="23"/>
                  </a:lnTo>
                  <a:lnTo>
                    <a:pt x="224" y="23"/>
                  </a:lnTo>
                  <a:lnTo>
                    <a:pt x="220" y="19"/>
                  </a:lnTo>
                  <a:lnTo>
                    <a:pt x="217" y="19"/>
                  </a:lnTo>
                  <a:lnTo>
                    <a:pt x="210" y="16"/>
                  </a:lnTo>
                  <a:lnTo>
                    <a:pt x="207" y="16"/>
                  </a:lnTo>
                  <a:lnTo>
                    <a:pt x="200" y="13"/>
                  </a:lnTo>
                  <a:lnTo>
                    <a:pt x="196" y="13"/>
                  </a:lnTo>
                  <a:lnTo>
                    <a:pt x="196" y="13"/>
                  </a:lnTo>
                  <a:lnTo>
                    <a:pt x="193" y="13"/>
                  </a:lnTo>
                  <a:lnTo>
                    <a:pt x="189" y="10"/>
                  </a:lnTo>
                  <a:lnTo>
                    <a:pt x="189" y="7"/>
                  </a:lnTo>
                  <a:lnTo>
                    <a:pt x="186" y="3"/>
                  </a:lnTo>
                  <a:lnTo>
                    <a:pt x="183" y="3"/>
                  </a:lnTo>
                  <a:lnTo>
                    <a:pt x="179" y="10"/>
                  </a:lnTo>
                  <a:lnTo>
                    <a:pt x="176" y="7"/>
                  </a:lnTo>
                  <a:lnTo>
                    <a:pt x="176" y="10"/>
                  </a:lnTo>
                  <a:lnTo>
                    <a:pt x="169" y="3"/>
                  </a:lnTo>
                  <a:lnTo>
                    <a:pt x="169" y="0"/>
                  </a:lnTo>
                  <a:lnTo>
                    <a:pt x="165" y="0"/>
                  </a:lnTo>
                  <a:lnTo>
                    <a:pt x="162" y="0"/>
                  </a:lnTo>
                  <a:lnTo>
                    <a:pt x="155" y="0"/>
                  </a:lnTo>
                  <a:lnTo>
                    <a:pt x="152" y="0"/>
                  </a:lnTo>
                  <a:lnTo>
                    <a:pt x="148" y="0"/>
                  </a:lnTo>
                  <a:lnTo>
                    <a:pt x="138" y="0"/>
                  </a:lnTo>
                  <a:lnTo>
                    <a:pt x="134" y="3"/>
                  </a:lnTo>
                  <a:lnTo>
                    <a:pt x="124" y="7"/>
                  </a:lnTo>
                  <a:lnTo>
                    <a:pt x="121" y="7"/>
                  </a:lnTo>
                  <a:lnTo>
                    <a:pt x="114" y="7"/>
                  </a:lnTo>
                  <a:lnTo>
                    <a:pt x="114" y="10"/>
                  </a:lnTo>
                  <a:lnTo>
                    <a:pt x="110" y="10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103" y="16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93" y="19"/>
                  </a:lnTo>
                  <a:lnTo>
                    <a:pt x="83" y="16"/>
                  </a:lnTo>
                  <a:lnTo>
                    <a:pt x="79" y="16"/>
                  </a:lnTo>
                  <a:lnTo>
                    <a:pt x="79" y="19"/>
                  </a:lnTo>
                  <a:lnTo>
                    <a:pt x="72" y="19"/>
                  </a:lnTo>
                  <a:lnTo>
                    <a:pt x="69" y="19"/>
                  </a:lnTo>
                  <a:lnTo>
                    <a:pt x="66" y="19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2" y="26"/>
                  </a:lnTo>
                  <a:lnTo>
                    <a:pt x="69" y="26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62" y="29"/>
                  </a:lnTo>
                  <a:lnTo>
                    <a:pt x="55" y="32"/>
                  </a:lnTo>
                  <a:lnTo>
                    <a:pt x="55" y="36"/>
                  </a:lnTo>
                  <a:lnTo>
                    <a:pt x="55" y="36"/>
                  </a:lnTo>
                  <a:lnTo>
                    <a:pt x="59" y="36"/>
                  </a:lnTo>
                  <a:lnTo>
                    <a:pt x="62" y="36"/>
                  </a:lnTo>
                  <a:lnTo>
                    <a:pt x="59" y="39"/>
                  </a:lnTo>
                  <a:lnTo>
                    <a:pt x="48" y="39"/>
                  </a:lnTo>
                  <a:lnTo>
                    <a:pt x="45" y="36"/>
                  </a:lnTo>
                  <a:lnTo>
                    <a:pt x="41" y="39"/>
                  </a:lnTo>
                  <a:lnTo>
                    <a:pt x="38" y="36"/>
                  </a:lnTo>
                  <a:lnTo>
                    <a:pt x="35" y="36"/>
                  </a:lnTo>
                  <a:lnTo>
                    <a:pt x="31" y="39"/>
                  </a:lnTo>
                  <a:lnTo>
                    <a:pt x="28" y="39"/>
                  </a:lnTo>
                  <a:lnTo>
                    <a:pt x="24" y="36"/>
                  </a:lnTo>
                  <a:lnTo>
                    <a:pt x="21" y="36"/>
                  </a:lnTo>
                  <a:lnTo>
                    <a:pt x="11" y="42"/>
                  </a:lnTo>
                  <a:lnTo>
                    <a:pt x="11" y="45"/>
                  </a:lnTo>
                  <a:lnTo>
                    <a:pt x="7" y="45"/>
                  </a:lnTo>
                  <a:lnTo>
                    <a:pt x="11" y="49"/>
                  </a:lnTo>
                  <a:lnTo>
                    <a:pt x="11" y="52"/>
                  </a:lnTo>
                  <a:lnTo>
                    <a:pt x="7" y="55"/>
                  </a:lnTo>
                  <a:lnTo>
                    <a:pt x="11" y="55"/>
                  </a:lnTo>
                  <a:lnTo>
                    <a:pt x="14" y="55"/>
                  </a:lnTo>
                  <a:lnTo>
                    <a:pt x="17" y="55"/>
                  </a:lnTo>
                  <a:lnTo>
                    <a:pt x="21" y="55"/>
                  </a:lnTo>
                  <a:lnTo>
                    <a:pt x="24" y="55"/>
                  </a:lnTo>
                  <a:lnTo>
                    <a:pt x="21" y="58"/>
                  </a:lnTo>
                  <a:lnTo>
                    <a:pt x="21" y="61"/>
                  </a:lnTo>
                  <a:lnTo>
                    <a:pt x="24" y="61"/>
                  </a:lnTo>
                  <a:lnTo>
                    <a:pt x="24" y="65"/>
                  </a:lnTo>
                  <a:lnTo>
                    <a:pt x="21" y="65"/>
                  </a:lnTo>
                  <a:lnTo>
                    <a:pt x="24" y="68"/>
                  </a:lnTo>
                  <a:lnTo>
                    <a:pt x="28" y="65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1" y="71"/>
                  </a:lnTo>
                  <a:lnTo>
                    <a:pt x="21" y="71"/>
                  </a:lnTo>
                  <a:lnTo>
                    <a:pt x="24" y="71"/>
                  </a:lnTo>
                  <a:lnTo>
                    <a:pt x="21" y="74"/>
                  </a:lnTo>
                  <a:lnTo>
                    <a:pt x="21" y="78"/>
                  </a:lnTo>
                  <a:lnTo>
                    <a:pt x="17" y="78"/>
                  </a:lnTo>
                  <a:lnTo>
                    <a:pt x="17" y="71"/>
                  </a:lnTo>
                  <a:lnTo>
                    <a:pt x="14" y="71"/>
                  </a:lnTo>
                  <a:lnTo>
                    <a:pt x="14" y="74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81"/>
                  </a:lnTo>
                  <a:lnTo>
                    <a:pt x="17" y="84"/>
                  </a:lnTo>
                  <a:lnTo>
                    <a:pt x="17" y="81"/>
                  </a:lnTo>
                  <a:lnTo>
                    <a:pt x="21" y="84"/>
                  </a:lnTo>
                  <a:lnTo>
                    <a:pt x="24" y="84"/>
                  </a:lnTo>
                  <a:lnTo>
                    <a:pt x="28" y="87"/>
                  </a:lnTo>
                  <a:lnTo>
                    <a:pt x="31" y="91"/>
                  </a:lnTo>
                  <a:lnTo>
                    <a:pt x="28" y="94"/>
                  </a:lnTo>
                  <a:lnTo>
                    <a:pt x="31" y="94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8" y="100"/>
                  </a:lnTo>
                  <a:lnTo>
                    <a:pt x="35" y="103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35" y="107"/>
                  </a:lnTo>
                  <a:lnTo>
                    <a:pt x="41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5" y="107"/>
                  </a:lnTo>
                  <a:lnTo>
                    <a:pt x="41" y="110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8" y="110"/>
                  </a:lnTo>
                  <a:lnTo>
                    <a:pt x="38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8" y="113"/>
                  </a:lnTo>
                  <a:lnTo>
                    <a:pt x="48" y="110"/>
                  </a:lnTo>
                  <a:lnTo>
                    <a:pt x="52" y="107"/>
                  </a:lnTo>
                  <a:lnTo>
                    <a:pt x="55" y="107"/>
                  </a:lnTo>
                  <a:lnTo>
                    <a:pt x="55" y="110"/>
                  </a:lnTo>
                  <a:lnTo>
                    <a:pt x="59" y="110"/>
                  </a:lnTo>
                  <a:lnTo>
                    <a:pt x="62" y="110"/>
                  </a:lnTo>
                  <a:lnTo>
                    <a:pt x="66" y="110"/>
                  </a:lnTo>
                  <a:lnTo>
                    <a:pt x="69" y="110"/>
                  </a:lnTo>
                  <a:lnTo>
                    <a:pt x="66" y="110"/>
                  </a:lnTo>
                  <a:lnTo>
                    <a:pt x="66" y="113"/>
                  </a:lnTo>
                  <a:lnTo>
                    <a:pt x="69" y="113"/>
                  </a:lnTo>
                  <a:lnTo>
                    <a:pt x="69" y="116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9" y="120"/>
                  </a:lnTo>
                  <a:lnTo>
                    <a:pt x="83" y="120"/>
                  </a:lnTo>
                  <a:lnTo>
                    <a:pt x="86" y="116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3" y="116"/>
                  </a:lnTo>
                  <a:lnTo>
                    <a:pt x="97" y="116"/>
                  </a:lnTo>
                  <a:lnTo>
                    <a:pt x="97" y="113"/>
                  </a:lnTo>
                  <a:lnTo>
                    <a:pt x="97" y="110"/>
                  </a:lnTo>
                  <a:lnTo>
                    <a:pt x="97" y="107"/>
                  </a:lnTo>
                  <a:lnTo>
                    <a:pt x="103" y="107"/>
                  </a:lnTo>
                  <a:lnTo>
                    <a:pt x="110" y="107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31" y="116"/>
                  </a:lnTo>
                  <a:lnTo>
                    <a:pt x="134" y="120"/>
                  </a:lnTo>
                  <a:lnTo>
                    <a:pt x="152" y="120"/>
                  </a:lnTo>
                  <a:lnTo>
                    <a:pt x="158" y="116"/>
                  </a:lnTo>
                  <a:lnTo>
                    <a:pt x="158" y="116"/>
                  </a:lnTo>
                  <a:lnTo>
                    <a:pt x="162" y="116"/>
                  </a:lnTo>
                  <a:lnTo>
                    <a:pt x="162" y="116"/>
                  </a:lnTo>
                  <a:lnTo>
                    <a:pt x="165" y="113"/>
                  </a:lnTo>
                  <a:lnTo>
                    <a:pt x="172" y="107"/>
                  </a:lnTo>
                  <a:lnTo>
                    <a:pt x="176" y="107"/>
                  </a:lnTo>
                  <a:lnTo>
                    <a:pt x="183" y="107"/>
                  </a:lnTo>
                  <a:lnTo>
                    <a:pt x="186" y="110"/>
                  </a:lnTo>
                  <a:lnTo>
                    <a:pt x="193" y="110"/>
                  </a:lnTo>
                  <a:lnTo>
                    <a:pt x="193" y="107"/>
                  </a:lnTo>
                  <a:lnTo>
                    <a:pt x="196" y="103"/>
                  </a:lnTo>
                  <a:lnTo>
                    <a:pt x="200" y="107"/>
                  </a:lnTo>
                  <a:lnTo>
                    <a:pt x="203" y="107"/>
                  </a:lnTo>
                  <a:lnTo>
                    <a:pt x="200" y="110"/>
                  </a:lnTo>
                  <a:lnTo>
                    <a:pt x="196" y="113"/>
                  </a:lnTo>
                  <a:lnTo>
                    <a:pt x="196" y="116"/>
                  </a:lnTo>
                  <a:lnTo>
                    <a:pt x="200" y="120"/>
                  </a:lnTo>
                  <a:lnTo>
                    <a:pt x="196" y="123"/>
                  </a:lnTo>
                  <a:lnTo>
                    <a:pt x="203" y="123"/>
                  </a:lnTo>
                  <a:lnTo>
                    <a:pt x="207" y="123"/>
                  </a:lnTo>
                  <a:lnTo>
                    <a:pt x="210" y="120"/>
                  </a:lnTo>
                  <a:lnTo>
                    <a:pt x="210" y="116"/>
                  </a:lnTo>
                  <a:lnTo>
                    <a:pt x="210" y="116"/>
                  </a:lnTo>
                  <a:lnTo>
                    <a:pt x="210" y="110"/>
                  </a:lnTo>
                  <a:lnTo>
                    <a:pt x="213" y="107"/>
                  </a:lnTo>
                  <a:lnTo>
                    <a:pt x="217" y="107"/>
                  </a:lnTo>
                  <a:lnTo>
                    <a:pt x="220" y="110"/>
                  </a:lnTo>
                  <a:lnTo>
                    <a:pt x="231" y="107"/>
                  </a:lnTo>
                  <a:lnTo>
                    <a:pt x="234" y="107"/>
                  </a:lnTo>
                  <a:lnTo>
                    <a:pt x="238" y="103"/>
                  </a:lnTo>
                  <a:lnTo>
                    <a:pt x="244" y="103"/>
                  </a:lnTo>
                  <a:lnTo>
                    <a:pt x="251" y="103"/>
                  </a:lnTo>
                  <a:lnTo>
                    <a:pt x="251" y="107"/>
                  </a:lnTo>
                  <a:lnTo>
                    <a:pt x="258" y="107"/>
                  </a:lnTo>
                  <a:lnTo>
                    <a:pt x="265" y="107"/>
                  </a:lnTo>
                  <a:lnTo>
                    <a:pt x="269" y="107"/>
                  </a:lnTo>
                  <a:lnTo>
                    <a:pt x="272" y="103"/>
                  </a:lnTo>
                  <a:lnTo>
                    <a:pt x="275" y="100"/>
                  </a:lnTo>
                  <a:lnTo>
                    <a:pt x="282" y="100"/>
                  </a:lnTo>
                  <a:lnTo>
                    <a:pt x="286" y="100"/>
                  </a:lnTo>
                  <a:lnTo>
                    <a:pt x="293" y="100"/>
                  </a:lnTo>
                  <a:lnTo>
                    <a:pt x="299" y="100"/>
                  </a:lnTo>
                  <a:lnTo>
                    <a:pt x="310" y="97"/>
                  </a:lnTo>
                  <a:lnTo>
                    <a:pt x="313" y="97"/>
                  </a:lnTo>
                  <a:lnTo>
                    <a:pt x="317" y="97"/>
                  </a:lnTo>
                  <a:lnTo>
                    <a:pt x="320" y="94"/>
                  </a:lnTo>
                  <a:lnTo>
                    <a:pt x="324" y="94"/>
                  </a:lnTo>
                  <a:lnTo>
                    <a:pt x="327" y="94"/>
                  </a:lnTo>
                  <a:lnTo>
                    <a:pt x="334" y="94"/>
                  </a:lnTo>
                  <a:lnTo>
                    <a:pt x="341" y="94"/>
                  </a:lnTo>
                  <a:lnTo>
                    <a:pt x="348" y="94"/>
                  </a:lnTo>
                  <a:lnTo>
                    <a:pt x="351" y="94"/>
                  </a:lnTo>
                  <a:lnTo>
                    <a:pt x="351" y="97"/>
                  </a:lnTo>
                  <a:lnTo>
                    <a:pt x="351" y="100"/>
                  </a:lnTo>
                  <a:lnTo>
                    <a:pt x="358" y="97"/>
                  </a:lnTo>
                  <a:lnTo>
                    <a:pt x="358" y="94"/>
                  </a:lnTo>
                  <a:lnTo>
                    <a:pt x="355" y="91"/>
                  </a:lnTo>
                  <a:lnTo>
                    <a:pt x="351" y="84"/>
                  </a:lnTo>
                  <a:lnTo>
                    <a:pt x="348" y="84"/>
                  </a:lnTo>
                  <a:lnTo>
                    <a:pt x="348" y="81"/>
                  </a:lnTo>
                  <a:lnTo>
                    <a:pt x="348" y="78"/>
                  </a:lnTo>
                  <a:lnTo>
                    <a:pt x="351" y="71"/>
                  </a:lnTo>
                  <a:lnTo>
                    <a:pt x="348" y="71"/>
                  </a:lnTo>
                  <a:lnTo>
                    <a:pt x="344" y="68"/>
                  </a:lnTo>
                  <a:lnTo>
                    <a:pt x="344" y="65"/>
                  </a:lnTo>
                  <a:lnTo>
                    <a:pt x="344" y="61"/>
                  </a:lnTo>
                  <a:lnTo>
                    <a:pt x="341" y="55"/>
                  </a:lnTo>
                  <a:lnTo>
                    <a:pt x="341" y="52"/>
                  </a:lnTo>
                  <a:lnTo>
                    <a:pt x="341" y="52"/>
                  </a:lnTo>
                  <a:lnTo>
                    <a:pt x="344" y="52"/>
                  </a:lnTo>
                  <a:lnTo>
                    <a:pt x="348" y="45"/>
                  </a:lnTo>
                  <a:lnTo>
                    <a:pt x="351" y="45"/>
                  </a:lnTo>
                  <a:lnTo>
                    <a:pt x="348" y="42"/>
                  </a:lnTo>
                  <a:lnTo>
                    <a:pt x="344" y="39"/>
                  </a:lnTo>
                  <a:lnTo>
                    <a:pt x="341" y="39"/>
                  </a:lnTo>
                  <a:lnTo>
                    <a:pt x="334" y="39"/>
                  </a:lnTo>
                  <a:lnTo>
                    <a:pt x="327" y="36"/>
                  </a:lnTo>
                  <a:lnTo>
                    <a:pt x="327" y="29"/>
                  </a:lnTo>
                  <a:lnTo>
                    <a:pt x="330" y="23"/>
                  </a:lnTo>
                  <a:lnTo>
                    <a:pt x="327" y="19"/>
                  </a:lnTo>
                  <a:lnTo>
                    <a:pt x="324" y="19"/>
                  </a:lnTo>
                  <a:lnTo>
                    <a:pt x="324" y="16"/>
                  </a:lnTo>
                  <a:lnTo>
                    <a:pt x="320" y="16"/>
                  </a:lnTo>
                  <a:lnTo>
                    <a:pt x="317" y="13"/>
                  </a:lnTo>
                  <a:lnTo>
                    <a:pt x="310" y="10"/>
                  </a:lnTo>
                  <a:lnTo>
                    <a:pt x="306" y="7"/>
                  </a:lnTo>
                  <a:lnTo>
                    <a:pt x="303" y="10"/>
                  </a:lnTo>
                  <a:lnTo>
                    <a:pt x="299" y="10"/>
                  </a:lnTo>
                  <a:lnTo>
                    <a:pt x="296" y="10"/>
                  </a:lnTo>
                  <a:lnTo>
                    <a:pt x="293" y="10"/>
                  </a:lnTo>
                  <a:lnTo>
                    <a:pt x="293" y="10"/>
                  </a:lnTo>
                  <a:lnTo>
                    <a:pt x="289" y="7"/>
                  </a:lnTo>
                  <a:lnTo>
                    <a:pt x="289" y="7"/>
                  </a:lnTo>
                  <a:lnTo>
                    <a:pt x="289" y="7"/>
                  </a:lnTo>
                  <a:close/>
                  <a:moveTo>
                    <a:pt x="41" y="113"/>
                  </a:moveTo>
                  <a:lnTo>
                    <a:pt x="41" y="113"/>
                  </a:lnTo>
                  <a:lnTo>
                    <a:pt x="45" y="113"/>
                  </a:lnTo>
                  <a:lnTo>
                    <a:pt x="45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close/>
                  <a:moveTo>
                    <a:pt x="0" y="39"/>
                  </a:moveTo>
                  <a:lnTo>
                    <a:pt x="0" y="42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4" y="36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80" name="Freeform 81"/>
            <p:cNvSpPr>
              <a:spLocks/>
            </p:cNvSpPr>
            <p:nvPr/>
          </p:nvSpPr>
          <p:spPr bwMode="auto">
            <a:xfrm>
              <a:off x="7418388" y="3596342"/>
              <a:ext cx="300038" cy="241300"/>
            </a:xfrm>
            <a:custGeom>
              <a:avLst/>
              <a:gdLst>
                <a:gd name="T0" fmla="*/ 186 w 189"/>
                <a:gd name="T1" fmla="*/ 129 h 152"/>
                <a:gd name="T2" fmla="*/ 179 w 189"/>
                <a:gd name="T3" fmla="*/ 126 h 152"/>
                <a:gd name="T4" fmla="*/ 172 w 189"/>
                <a:gd name="T5" fmla="*/ 116 h 152"/>
                <a:gd name="T6" fmla="*/ 172 w 189"/>
                <a:gd name="T7" fmla="*/ 106 h 152"/>
                <a:gd name="T8" fmla="*/ 172 w 189"/>
                <a:gd name="T9" fmla="*/ 97 h 152"/>
                <a:gd name="T10" fmla="*/ 165 w 189"/>
                <a:gd name="T11" fmla="*/ 90 h 152"/>
                <a:gd name="T12" fmla="*/ 158 w 189"/>
                <a:gd name="T13" fmla="*/ 87 h 152"/>
                <a:gd name="T14" fmla="*/ 141 w 189"/>
                <a:gd name="T15" fmla="*/ 81 h 152"/>
                <a:gd name="T16" fmla="*/ 134 w 189"/>
                <a:gd name="T17" fmla="*/ 77 h 152"/>
                <a:gd name="T18" fmla="*/ 134 w 189"/>
                <a:gd name="T19" fmla="*/ 74 h 152"/>
                <a:gd name="T20" fmla="*/ 131 w 189"/>
                <a:gd name="T21" fmla="*/ 68 h 152"/>
                <a:gd name="T22" fmla="*/ 127 w 189"/>
                <a:gd name="T23" fmla="*/ 68 h 152"/>
                <a:gd name="T24" fmla="*/ 124 w 189"/>
                <a:gd name="T25" fmla="*/ 64 h 152"/>
                <a:gd name="T26" fmla="*/ 124 w 189"/>
                <a:gd name="T27" fmla="*/ 58 h 152"/>
                <a:gd name="T28" fmla="*/ 124 w 189"/>
                <a:gd name="T29" fmla="*/ 55 h 152"/>
                <a:gd name="T30" fmla="*/ 127 w 189"/>
                <a:gd name="T31" fmla="*/ 48 h 152"/>
                <a:gd name="T32" fmla="*/ 131 w 189"/>
                <a:gd name="T33" fmla="*/ 45 h 152"/>
                <a:gd name="T34" fmla="*/ 131 w 189"/>
                <a:gd name="T35" fmla="*/ 35 h 152"/>
                <a:gd name="T36" fmla="*/ 131 w 189"/>
                <a:gd name="T37" fmla="*/ 32 h 152"/>
                <a:gd name="T38" fmla="*/ 138 w 189"/>
                <a:gd name="T39" fmla="*/ 29 h 152"/>
                <a:gd name="T40" fmla="*/ 134 w 189"/>
                <a:gd name="T41" fmla="*/ 29 h 152"/>
                <a:gd name="T42" fmla="*/ 127 w 189"/>
                <a:gd name="T43" fmla="*/ 29 h 152"/>
                <a:gd name="T44" fmla="*/ 121 w 189"/>
                <a:gd name="T45" fmla="*/ 22 h 152"/>
                <a:gd name="T46" fmla="*/ 114 w 189"/>
                <a:gd name="T47" fmla="*/ 22 h 152"/>
                <a:gd name="T48" fmla="*/ 110 w 189"/>
                <a:gd name="T49" fmla="*/ 16 h 152"/>
                <a:gd name="T50" fmla="*/ 103 w 189"/>
                <a:gd name="T51" fmla="*/ 13 h 152"/>
                <a:gd name="T52" fmla="*/ 103 w 189"/>
                <a:gd name="T53" fmla="*/ 3 h 152"/>
                <a:gd name="T54" fmla="*/ 93 w 189"/>
                <a:gd name="T55" fmla="*/ 6 h 152"/>
                <a:gd name="T56" fmla="*/ 93 w 189"/>
                <a:gd name="T57" fmla="*/ 0 h 152"/>
                <a:gd name="T58" fmla="*/ 83 w 189"/>
                <a:gd name="T59" fmla="*/ 0 h 152"/>
                <a:gd name="T60" fmla="*/ 69 w 189"/>
                <a:gd name="T61" fmla="*/ 0 h 152"/>
                <a:gd name="T62" fmla="*/ 62 w 189"/>
                <a:gd name="T63" fmla="*/ 0 h 152"/>
                <a:gd name="T64" fmla="*/ 59 w 189"/>
                <a:gd name="T65" fmla="*/ 3 h 152"/>
                <a:gd name="T66" fmla="*/ 55 w 189"/>
                <a:gd name="T67" fmla="*/ 9 h 152"/>
                <a:gd name="T68" fmla="*/ 41 w 189"/>
                <a:gd name="T69" fmla="*/ 13 h 152"/>
                <a:gd name="T70" fmla="*/ 38 w 189"/>
                <a:gd name="T71" fmla="*/ 22 h 152"/>
                <a:gd name="T72" fmla="*/ 41 w 189"/>
                <a:gd name="T73" fmla="*/ 35 h 152"/>
                <a:gd name="T74" fmla="*/ 38 w 189"/>
                <a:gd name="T75" fmla="*/ 42 h 152"/>
                <a:gd name="T76" fmla="*/ 38 w 189"/>
                <a:gd name="T77" fmla="*/ 51 h 152"/>
                <a:gd name="T78" fmla="*/ 0 w 189"/>
                <a:gd name="T79" fmla="*/ 74 h 152"/>
                <a:gd name="T80" fmla="*/ 0 w 189"/>
                <a:gd name="T81" fmla="*/ 74 h 152"/>
                <a:gd name="T82" fmla="*/ 28 w 189"/>
                <a:gd name="T83" fmla="*/ 97 h 152"/>
                <a:gd name="T84" fmla="*/ 155 w 189"/>
                <a:gd name="T85" fmla="*/ 152 h 152"/>
                <a:gd name="T86" fmla="*/ 162 w 189"/>
                <a:gd name="T87" fmla="*/ 135 h 152"/>
                <a:gd name="T88" fmla="*/ 179 w 189"/>
                <a:gd name="T89" fmla="*/ 135 h 152"/>
                <a:gd name="T90" fmla="*/ 186 w 189"/>
                <a:gd name="T91" fmla="*/ 135 h 152"/>
                <a:gd name="T92" fmla="*/ 189 w 189"/>
                <a:gd name="T93" fmla="*/ 12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9" h="152">
                  <a:moveTo>
                    <a:pt x="189" y="129"/>
                  </a:moveTo>
                  <a:lnTo>
                    <a:pt x="186" y="129"/>
                  </a:lnTo>
                  <a:lnTo>
                    <a:pt x="183" y="129"/>
                  </a:lnTo>
                  <a:lnTo>
                    <a:pt x="179" y="126"/>
                  </a:lnTo>
                  <a:lnTo>
                    <a:pt x="179" y="116"/>
                  </a:lnTo>
                  <a:lnTo>
                    <a:pt x="172" y="116"/>
                  </a:lnTo>
                  <a:lnTo>
                    <a:pt x="172" y="113"/>
                  </a:lnTo>
                  <a:lnTo>
                    <a:pt x="172" y="106"/>
                  </a:lnTo>
                  <a:lnTo>
                    <a:pt x="176" y="103"/>
                  </a:lnTo>
                  <a:lnTo>
                    <a:pt x="172" y="97"/>
                  </a:lnTo>
                  <a:lnTo>
                    <a:pt x="169" y="93"/>
                  </a:lnTo>
                  <a:lnTo>
                    <a:pt x="165" y="90"/>
                  </a:lnTo>
                  <a:lnTo>
                    <a:pt x="162" y="87"/>
                  </a:lnTo>
                  <a:lnTo>
                    <a:pt x="158" y="87"/>
                  </a:lnTo>
                  <a:lnTo>
                    <a:pt x="145" y="81"/>
                  </a:lnTo>
                  <a:lnTo>
                    <a:pt x="141" y="81"/>
                  </a:lnTo>
                  <a:lnTo>
                    <a:pt x="141" y="81"/>
                  </a:lnTo>
                  <a:lnTo>
                    <a:pt x="134" y="77"/>
                  </a:lnTo>
                  <a:lnTo>
                    <a:pt x="138" y="77"/>
                  </a:lnTo>
                  <a:lnTo>
                    <a:pt x="134" y="74"/>
                  </a:lnTo>
                  <a:lnTo>
                    <a:pt x="138" y="71"/>
                  </a:lnTo>
                  <a:lnTo>
                    <a:pt x="131" y="68"/>
                  </a:lnTo>
                  <a:lnTo>
                    <a:pt x="131" y="68"/>
                  </a:lnTo>
                  <a:lnTo>
                    <a:pt x="127" y="68"/>
                  </a:lnTo>
                  <a:lnTo>
                    <a:pt x="124" y="64"/>
                  </a:lnTo>
                  <a:lnTo>
                    <a:pt x="124" y="64"/>
                  </a:lnTo>
                  <a:lnTo>
                    <a:pt x="124" y="61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24" y="55"/>
                  </a:lnTo>
                  <a:lnTo>
                    <a:pt x="124" y="48"/>
                  </a:lnTo>
                  <a:lnTo>
                    <a:pt x="127" y="48"/>
                  </a:lnTo>
                  <a:lnTo>
                    <a:pt x="127" y="42"/>
                  </a:lnTo>
                  <a:lnTo>
                    <a:pt x="131" y="45"/>
                  </a:lnTo>
                  <a:lnTo>
                    <a:pt x="131" y="42"/>
                  </a:lnTo>
                  <a:lnTo>
                    <a:pt x="131" y="35"/>
                  </a:lnTo>
                  <a:lnTo>
                    <a:pt x="131" y="35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8" y="29"/>
                  </a:lnTo>
                  <a:lnTo>
                    <a:pt x="138" y="29"/>
                  </a:lnTo>
                  <a:lnTo>
                    <a:pt x="134" y="29"/>
                  </a:lnTo>
                  <a:lnTo>
                    <a:pt x="134" y="26"/>
                  </a:lnTo>
                  <a:lnTo>
                    <a:pt x="127" y="29"/>
                  </a:lnTo>
                  <a:lnTo>
                    <a:pt x="127" y="26"/>
                  </a:lnTo>
                  <a:lnTo>
                    <a:pt x="121" y="22"/>
                  </a:lnTo>
                  <a:lnTo>
                    <a:pt x="117" y="22"/>
                  </a:lnTo>
                  <a:lnTo>
                    <a:pt x="114" y="22"/>
                  </a:lnTo>
                  <a:lnTo>
                    <a:pt x="110" y="19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3" y="13"/>
                  </a:lnTo>
                  <a:lnTo>
                    <a:pt x="103" y="9"/>
                  </a:lnTo>
                  <a:lnTo>
                    <a:pt x="103" y="3"/>
                  </a:lnTo>
                  <a:lnTo>
                    <a:pt x="100" y="3"/>
                  </a:lnTo>
                  <a:lnTo>
                    <a:pt x="93" y="6"/>
                  </a:lnTo>
                  <a:lnTo>
                    <a:pt x="93" y="3"/>
                  </a:lnTo>
                  <a:lnTo>
                    <a:pt x="93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6" y="0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48" y="9"/>
                  </a:lnTo>
                  <a:lnTo>
                    <a:pt x="41" y="13"/>
                  </a:lnTo>
                  <a:lnTo>
                    <a:pt x="38" y="19"/>
                  </a:lnTo>
                  <a:lnTo>
                    <a:pt x="38" y="22"/>
                  </a:lnTo>
                  <a:lnTo>
                    <a:pt x="41" y="29"/>
                  </a:lnTo>
                  <a:lnTo>
                    <a:pt x="41" y="35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8"/>
                  </a:lnTo>
                  <a:lnTo>
                    <a:pt x="38" y="51"/>
                  </a:lnTo>
                  <a:lnTo>
                    <a:pt x="35" y="55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11" y="97"/>
                  </a:lnTo>
                  <a:lnTo>
                    <a:pt x="28" y="97"/>
                  </a:lnTo>
                  <a:lnTo>
                    <a:pt x="117" y="152"/>
                  </a:lnTo>
                  <a:lnTo>
                    <a:pt x="155" y="152"/>
                  </a:lnTo>
                  <a:lnTo>
                    <a:pt x="158" y="145"/>
                  </a:lnTo>
                  <a:lnTo>
                    <a:pt x="162" y="135"/>
                  </a:lnTo>
                  <a:lnTo>
                    <a:pt x="172" y="132"/>
                  </a:lnTo>
                  <a:lnTo>
                    <a:pt x="179" y="135"/>
                  </a:lnTo>
                  <a:lnTo>
                    <a:pt x="183" y="135"/>
                  </a:lnTo>
                  <a:lnTo>
                    <a:pt x="186" y="135"/>
                  </a:lnTo>
                  <a:lnTo>
                    <a:pt x="186" y="132"/>
                  </a:lnTo>
                  <a:lnTo>
                    <a:pt x="189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81" name="Freeform 82"/>
            <p:cNvSpPr>
              <a:spLocks/>
            </p:cNvSpPr>
            <p:nvPr/>
          </p:nvSpPr>
          <p:spPr bwMode="auto">
            <a:xfrm>
              <a:off x="7664451" y="3805892"/>
              <a:ext cx="49213" cy="46037"/>
            </a:xfrm>
            <a:custGeom>
              <a:avLst/>
              <a:gdLst>
                <a:gd name="T0" fmla="*/ 0 w 31"/>
                <a:gd name="T1" fmla="*/ 20 h 29"/>
                <a:gd name="T2" fmla="*/ 3 w 31"/>
                <a:gd name="T3" fmla="*/ 13 h 29"/>
                <a:gd name="T4" fmla="*/ 7 w 31"/>
                <a:gd name="T5" fmla="*/ 3 h 29"/>
                <a:gd name="T6" fmla="*/ 17 w 31"/>
                <a:gd name="T7" fmla="*/ 0 h 29"/>
                <a:gd name="T8" fmla="*/ 24 w 31"/>
                <a:gd name="T9" fmla="*/ 3 h 29"/>
                <a:gd name="T10" fmla="*/ 28 w 31"/>
                <a:gd name="T11" fmla="*/ 3 h 29"/>
                <a:gd name="T12" fmla="*/ 31 w 31"/>
                <a:gd name="T13" fmla="*/ 3 h 29"/>
                <a:gd name="T14" fmla="*/ 28 w 31"/>
                <a:gd name="T15" fmla="*/ 3 h 29"/>
                <a:gd name="T16" fmla="*/ 31 w 31"/>
                <a:gd name="T17" fmla="*/ 10 h 29"/>
                <a:gd name="T18" fmla="*/ 21 w 31"/>
                <a:gd name="T19" fmla="*/ 13 h 29"/>
                <a:gd name="T20" fmla="*/ 28 w 31"/>
                <a:gd name="T21" fmla="*/ 16 h 29"/>
                <a:gd name="T22" fmla="*/ 28 w 31"/>
                <a:gd name="T23" fmla="*/ 16 h 29"/>
                <a:gd name="T24" fmla="*/ 31 w 31"/>
                <a:gd name="T25" fmla="*/ 20 h 29"/>
                <a:gd name="T26" fmla="*/ 31 w 31"/>
                <a:gd name="T27" fmla="*/ 20 h 29"/>
                <a:gd name="T28" fmla="*/ 31 w 31"/>
                <a:gd name="T29" fmla="*/ 23 h 29"/>
                <a:gd name="T30" fmla="*/ 31 w 31"/>
                <a:gd name="T31" fmla="*/ 23 h 29"/>
                <a:gd name="T32" fmla="*/ 31 w 31"/>
                <a:gd name="T33" fmla="*/ 23 h 29"/>
                <a:gd name="T34" fmla="*/ 31 w 31"/>
                <a:gd name="T35" fmla="*/ 26 h 29"/>
                <a:gd name="T36" fmla="*/ 21 w 31"/>
                <a:gd name="T37" fmla="*/ 29 h 29"/>
                <a:gd name="T38" fmla="*/ 21 w 31"/>
                <a:gd name="T39" fmla="*/ 23 h 29"/>
                <a:gd name="T40" fmla="*/ 3 w 31"/>
                <a:gd name="T41" fmla="*/ 20 h 29"/>
                <a:gd name="T42" fmla="*/ 0 w 31"/>
                <a:gd name="T43" fmla="*/ 2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" h="29">
                  <a:moveTo>
                    <a:pt x="0" y="20"/>
                  </a:moveTo>
                  <a:lnTo>
                    <a:pt x="3" y="13"/>
                  </a:lnTo>
                  <a:lnTo>
                    <a:pt x="7" y="3"/>
                  </a:lnTo>
                  <a:lnTo>
                    <a:pt x="17" y="0"/>
                  </a:lnTo>
                  <a:lnTo>
                    <a:pt x="24" y="3"/>
                  </a:lnTo>
                  <a:lnTo>
                    <a:pt x="28" y="3"/>
                  </a:lnTo>
                  <a:lnTo>
                    <a:pt x="31" y="3"/>
                  </a:lnTo>
                  <a:lnTo>
                    <a:pt x="28" y="3"/>
                  </a:lnTo>
                  <a:lnTo>
                    <a:pt x="31" y="10"/>
                  </a:lnTo>
                  <a:lnTo>
                    <a:pt x="21" y="13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6"/>
                  </a:lnTo>
                  <a:lnTo>
                    <a:pt x="21" y="29"/>
                  </a:lnTo>
                  <a:lnTo>
                    <a:pt x="21" y="23"/>
                  </a:lnTo>
                  <a:lnTo>
                    <a:pt x="3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82" name="Freeform 83"/>
            <p:cNvSpPr>
              <a:spLocks/>
            </p:cNvSpPr>
            <p:nvPr/>
          </p:nvSpPr>
          <p:spPr bwMode="auto">
            <a:xfrm>
              <a:off x="7216776" y="3651905"/>
              <a:ext cx="71438" cy="31750"/>
            </a:xfrm>
            <a:custGeom>
              <a:avLst/>
              <a:gdLst>
                <a:gd name="T0" fmla="*/ 7 w 45"/>
                <a:gd name="T1" fmla="*/ 20 h 20"/>
                <a:gd name="T2" fmla="*/ 3 w 45"/>
                <a:gd name="T3" fmla="*/ 16 h 20"/>
                <a:gd name="T4" fmla="*/ 0 w 45"/>
                <a:gd name="T5" fmla="*/ 13 h 20"/>
                <a:gd name="T6" fmla="*/ 0 w 45"/>
                <a:gd name="T7" fmla="*/ 10 h 20"/>
                <a:gd name="T8" fmla="*/ 3 w 45"/>
                <a:gd name="T9" fmla="*/ 10 h 20"/>
                <a:gd name="T10" fmla="*/ 3 w 45"/>
                <a:gd name="T11" fmla="*/ 7 h 20"/>
                <a:gd name="T12" fmla="*/ 10 w 45"/>
                <a:gd name="T13" fmla="*/ 10 h 20"/>
                <a:gd name="T14" fmla="*/ 10 w 45"/>
                <a:gd name="T15" fmla="*/ 7 h 20"/>
                <a:gd name="T16" fmla="*/ 14 w 45"/>
                <a:gd name="T17" fmla="*/ 7 h 20"/>
                <a:gd name="T18" fmla="*/ 14 w 45"/>
                <a:gd name="T19" fmla="*/ 4 h 20"/>
                <a:gd name="T20" fmla="*/ 17 w 45"/>
                <a:gd name="T21" fmla="*/ 4 h 20"/>
                <a:gd name="T22" fmla="*/ 21 w 45"/>
                <a:gd name="T23" fmla="*/ 7 h 20"/>
                <a:gd name="T24" fmla="*/ 24 w 45"/>
                <a:gd name="T25" fmla="*/ 4 h 20"/>
                <a:gd name="T26" fmla="*/ 34 w 45"/>
                <a:gd name="T27" fmla="*/ 4 h 20"/>
                <a:gd name="T28" fmla="*/ 41 w 45"/>
                <a:gd name="T29" fmla="*/ 0 h 20"/>
                <a:gd name="T30" fmla="*/ 41 w 45"/>
                <a:gd name="T31" fmla="*/ 0 h 20"/>
                <a:gd name="T32" fmla="*/ 45 w 45"/>
                <a:gd name="T33" fmla="*/ 0 h 20"/>
                <a:gd name="T34" fmla="*/ 41 w 45"/>
                <a:gd name="T35" fmla="*/ 0 h 20"/>
                <a:gd name="T36" fmla="*/ 38 w 45"/>
                <a:gd name="T37" fmla="*/ 4 h 20"/>
                <a:gd name="T38" fmla="*/ 31 w 45"/>
                <a:gd name="T39" fmla="*/ 7 h 20"/>
                <a:gd name="T40" fmla="*/ 34 w 45"/>
                <a:gd name="T41" fmla="*/ 10 h 20"/>
                <a:gd name="T42" fmla="*/ 34 w 45"/>
                <a:gd name="T43" fmla="*/ 13 h 20"/>
                <a:gd name="T44" fmla="*/ 27 w 45"/>
                <a:gd name="T45" fmla="*/ 13 h 20"/>
                <a:gd name="T46" fmla="*/ 24 w 45"/>
                <a:gd name="T47" fmla="*/ 13 h 20"/>
                <a:gd name="T48" fmla="*/ 21 w 45"/>
                <a:gd name="T49" fmla="*/ 16 h 20"/>
                <a:gd name="T50" fmla="*/ 17 w 45"/>
                <a:gd name="T51" fmla="*/ 20 h 20"/>
                <a:gd name="T52" fmla="*/ 14 w 45"/>
                <a:gd name="T53" fmla="*/ 20 h 20"/>
                <a:gd name="T54" fmla="*/ 14 w 45"/>
                <a:gd name="T55" fmla="*/ 20 h 20"/>
                <a:gd name="T56" fmla="*/ 7 w 45"/>
                <a:gd name="T5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" h="20">
                  <a:moveTo>
                    <a:pt x="7" y="20"/>
                  </a:moveTo>
                  <a:lnTo>
                    <a:pt x="3" y="16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7"/>
                  </a:lnTo>
                  <a:lnTo>
                    <a:pt x="10" y="10"/>
                  </a:lnTo>
                  <a:lnTo>
                    <a:pt x="10" y="7"/>
                  </a:lnTo>
                  <a:lnTo>
                    <a:pt x="14" y="7"/>
                  </a:lnTo>
                  <a:lnTo>
                    <a:pt x="14" y="4"/>
                  </a:lnTo>
                  <a:lnTo>
                    <a:pt x="17" y="4"/>
                  </a:lnTo>
                  <a:lnTo>
                    <a:pt x="21" y="7"/>
                  </a:lnTo>
                  <a:lnTo>
                    <a:pt x="24" y="4"/>
                  </a:lnTo>
                  <a:lnTo>
                    <a:pt x="34" y="4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38" y="4"/>
                  </a:lnTo>
                  <a:lnTo>
                    <a:pt x="31" y="7"/>
                  </a:lnTo>
                  <a:lnTo>
                    <a:pt x="34" y="10"/>
                  </a:lnTo>
                  <a:lnTo>
                    <a:pt x="34" y="13"/>
                  </a:lnTo>
                  <a:lnTo>
                    <a:pt x="27" y="13"/>
                  </a:lnTo>
                  <a:lnTo>
                    <a:pt x="24" y="13"/>
                  </a:lnTo>
                  <a:lnTo>
                    <a:pt x="21" y="16"/>
                  </a:lnTo>
                  <a:lnTo>
                    <a:pt x="17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83" name="Freeform 84"/>
            <p:cNvSpPr>
              <a:spLocks/>
            </p:cNvSpPr>
            <p:nvPr/>
          </p:nvSpPr>
          <p:spPr bwMode="auto">
            <a:xfrm>
              <a:off x="7319963" y="3601105"/>
              <a:ext cx="192088" cy="142875"/>
            </a:xfrm>
            <a:custGeom>
              <a:avLst/>
              <a:gdLst>
                <a:gd name="T0" fmla="*/ 97 w 121"/>
                <a:gd name="T1" fmla="*/ 52 h 90"/>
                <a:gd name="T2" fmla="*/ 100 w 121"/>
                <a:gd name="T3" fmla="*/ 45 h 90"/>
                <a:gd name="T4" fmla="*/ 100 w 121"/>
                <a:gd name="T5" fmla="*/ 39 h 90"/>
                <a:gd name="T6" fmla="*/ 103 w 121"/>
                <a:gd name="T7" fmla="*/ 26 h 90"/>
                <a:gd name="T8" fmla="*/ 100 w 121"/>
                <a:gd name="T9" fmla="*/ 16 h 90"/>
                <a:gd name="T10" fmla="*/ 110 w 121"/>
                <a:gd name="T11" fmla="*/ 6 h 90"/>
                <a:gd name="T12" fmla="*/ 117 w 121"/>
                <a:gd name="T13" fmla="*/ 6 h 90"/>
                <a:gd name="T14" fmla="*/ 117 w 121"/>
                <a:gd name="T15" fmla="*/ 0 h 90"/>
                <a:gd name="T16" fmla="*/ 103 w 121"/>
                <a:gd name="T17" fmla="*/ 3 h 90"/>
                <a:gd name="T18" fmla="*/ 90 w 121"/>
                <a:gd name="T19" fmla="*/ 3 h 90"/>
                <a:gd name="T20" fmla="*/ 79 w 121"/>
                <a:gd name="T21" fmla="*/ 3 h 90"/>
                <a:gd name="T22" fmla="*/ 73 w 121"/>
                <a:gd name="T23" fmla="*/ 10 h 90"/>
                <a:gd name="T24" fmla="*/ 62 w 121"/>
                <a:gd name="T25" fmla="*/ 10 h 90"/>
                <a:gd name="T26" fmla="*/ 55 w 121"/>
                <a:gd name="T27" fmla="*/ 6 h 90"/>
                <a:gd name="T28" fmla="*/ 42 w 121"/>
                <a:gd name="T29" fmla="*/ 6 h 90"/>
                <a:gd name="T30" fmla="*/ 35 w 121"/>
                <a:gd name="T31" fmla="*/ 10 h 90"/>
                <a:gd name="T32" fmla="*/ 21 w 121"/>
                <a:gd name="T33" fmla="*/ 10 h 90"/>
                <a:gd name="T34" fmla="*/ 14 w 121"/>
                <a:gd name="T35" fmla="*/ 13 h 90"/>
                <a:gd name="T36" fmla="*/ 14 w 121"/>
                <a:gd name="T37" fmla="*/ 19 h 90"/>
                <a:gd name="T38" fmla="*/ 11 w 121"/>
                <a:gd name="T39" fmla="*/ 26 h 90"/>
                <a:gd name="T40" fmla="*/ 0 w 121"/>
                <a:gd name="T41" fmla="*/ 26 h 90"/>
                <a:gd name="T42" fmla="*/ 0 w 121"/>
                <a:gd name="T43" fmla="*/ 26 h 90"/>
                <a:gd name="T44" fmla="*/ 4 w 121"/>
                <a:gd name="T45" fmla="*/ 36 h 90"/>
                <a:gd name="T46" fmla="*/ 4 w 121"/>
                <a:gd name="T47" fmla="*/ 45 h 90"/>
                <a:gd name="T48" fmla="*/ 11 w 121"/>
                <a:gd name="T49" fmla="*/ 52 h 90"/>
                <a:gd name="T50" fmla="*/ 17 w 121"/>
                <a:gd name="T51" fmla="*/ 55 h 90"/>
                <a:gd name="T52" fmla="*/ 17 w 121"/>
                <a:gd name="T53" fmla="*/ 61 h 90"/>
                <a:gd name="T54" fmla="*/ 14 w 121"/>
                <a:gd name="T55" fmla="*/ 65 h 90"/>
                <a:gd name="T56" fmla="*/ 7 w 121"/>
                <a:gd name="T57" fmla="*/ 71 h 90"/>
                <a:gd name="T58" fmla="*/ 4 w 121"/>
                <a:gd name="T59" fmla="*/ 74 h 90"/>
                <a:gd name="T60" fmla="*/ 7 w 121"/>
                <a:gd name="T61" fmla="*/ 78 h 90"/>
                <a:gd name="T62" fmla="*/ 7 w 121"/>
                <a:gd name="T63" fmla="*/ 84 h 90"/>
                <a:gd name="T64" fmla="*/ 17 w 121"/>
                <a:gd name="T65" fmla="*/ 87 h 90"/>
                <a:gd name="T66" fmla="*/ 21 w 121"/>
                <a:gd name="T67" fmla="*/ 90 h 90"/>
                <a:gd name="T68" fmla="*/ 62 w 121"/>
                <a:gd name="T69" fmla="*/ 7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1" h="90">
                  <a:moveTo>
                    <a:pt x="62" y="71"/>
                  </a:moveTo>
                  <a:lnTo>
                    <a:pt x="97" y="52"/>
                  </a:lnTo>
                  <a:lnTo>
                    <a:pt x="100" y="48"/>
                  </a:lnTo>
                  <a:lnTo>
                    <a:pt x="100" y="45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3" y="32"/>
                  </a:lnTo>
                  <a:lnTo>
                    <a:pt x="103" y="26"/>
                  </a:lnTo>
                  <a:lnTo>
                    <a:pt x="100" y="19"/>
                  </a:lnTo>
                  <a:lnTo>
                    <a:pt x="100" y="16"/>
                  </a:lnTo>
                  <a:lnTo>
                    <a:pt x="103" y="10"/>
                  </a:lnTo>
                  <a:lnTo>
                    <a:pt x="110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21" y="0"/>
                  </a:lnTo>
                  <a:lnTo>
                    <a:pt x="117" y="0"/>
                  </a:lnTo>
                  <a:lnTo>
                    <a:pt x="114" y="0"/>
                  </a:lnTo>
                  <a:lnTo>
                    <a:pt x="103" y="3"/>
                  </a:lnTo>
                  <a:lnTo>
                    <a:pt x="97" y="3"/>
                  </a:lnTo>
                  <a:lnTo>
                    <a:pt x="90" y="3"/>
                  </a:lnTo>
                  <a:lnTo>
                    <a:pt x="86" y="3"/>
                  </a:lnTo>
                  <a:lnTo>
                    <a:pt x="79" y="3"/>
                  </a:lnTo>
                  <a:lnTo>
                    <a:pt x="76" y="6"/>
                  </a:lnTo>
                  <a:lnTo>
                    <a:pt x="73" y="10"/>
                  </a:lnTo>
                  <a:lnTo>
                    <a:pt x="69" y="10"/>
                  </a:lnTo>
                  <a:lnTo>
                    <a:pt x="62" y="10"/>
                  </a:lnTo>
                  <a:lnTo>
                    <a:pt x="55" y="10"/>
                  </a:lnTo>
                  <a:lnTo>
                    <a:pt x="55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8" y="10"/>
                  </a:lnTo>
                  <a:lnTo>
                    <a:pt x="35" y="10"/>
                  </a:lnTo>
                  <a:lnTo>
                    <a:pt x="24" y="13"/>
                  </a:lnTo>
                  <a:lnTo>
                    <a:pt x="21" y="10"/>
                  </a:lnTo>
                  <a:lnTo>
                    <a:pt x="17" y="10"/>
                  </a:lnTo>
                  <a:lnTo>
                    <a:pt x="14" y="13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23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4" y="36"/>
                  </a:lnTo>
                  <a:lnTo>
                    <a:pt x="4" y="39"/>
                  </a:lnTo>
                  <a:lnTo>
                    <a:pt x="4" y="45"/>
                  </a:lnTo>
                  <a:lnTo>
                    <a:pt x="4" y="52"/>
                  </a:lnTo>
                  <a:lnTo>
                    <a:pt x="11" y="52"/>
                  </a:lnTo>
                  <a:lnTo>
                    <a:pt x="14" y="55"/>
                  </a:lnTo>
                  <a:lnTo>
                    <a:pt x="17" y="55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1" y="65"/>
                  </a:lnTo>
                  <a:lnTo>
                    <a:pt x="7" y="71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7" y="74"/>
                  </a:lnTo>
                  <a:lnTo>
                    <a:pt x="7" y="78"/>
                  </a:lnTo>
                  <a:lnTo>
                    <a:pt x="11" y="84"/>
                  </a:lnTo>
                  <a:lnTo>
                    <a:pt x="7" y="84"/>
                  </a:lnTo>
                  <a:lnTo>
                    <a:pt x="11" y="84"/>
                  </a:lnTo>
                  <a:lnTo>
                    <a:pt x="17" y="87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4" y="90"/>
                  </a:lnTo>
                  <a:lnTo>
                    <a:pt x="62" y="71"/>
                  </a:lnTo>
                  <a:lnTo>
                    <a:pt x="62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84" name="Freeform 85"/>
            <p:cNvSpPr>
              <a:spLocks/>
            </p:cNvSpPr>
            <p:nvPr/>
          </p:nvSpPr>
          <p:spPr bwMode="auto">
            <a:xfrm>
              <a:off x="7281863" y="3718580"/>
              <a:ext cx="44450" cy="112712"/>
            </a:xfrm>
            <a:custGeom>
              <a:avLst/>
              <a:gdLst>
                <a:gd name="T0" fmla="*/ 17 w 28"/>
                <a:gd name="T1" fmla="*/ 71 h 71"/>
                <a:gd name="T2" fmla="*/ 21 w 28"/>
                <a:gd name="T3" fmla="*/ 68 h 71"/>
                <a:gd name="T4" fmla="*/ 21 w 28"/>
                <a:gd name="T5" fmla="*/ 68 h 71"/>
                <a:gd name="T6" fmla="*/ 21 w 28"/>
                <a:gd name="T7" fmla="*/ 65 h 71"/>
                <a:gd name="T8" fmla="*/ 21 w 28"/>
                <a:gd name="T9" fmla="*/ 65 h 71"/>
                <a:gd name="T10" fmla="*/ 21 w 28"/>
                <a:gd name="T11" fmla="*/ 62 h 71"/>
                <a:gd name="T12" fmla="*/ 24 w 28"/>
                <a:gd name="T13" fmla="*/ 55 h 71"/>
                <a:gd name="T14" fmla="*/ 24 w 28"/>
                <a:gd name="T15" fmla="*/ 52 h 71"/>
                <a:gd name="T16" fmla="*/ 24 w 28"/>
                <a:gd name="T17" fmla="*/ 52 h 71"/>
                <a:gd name="T18" fmla="*/ 24 w 28"/>
                <a:gd name="T19" fmla="*/ 49 h 71"/>
                <a:gd name="T20" fmla="*/ 24 w 28"/>
                <a:gd name="T21" fmla="*/ 42 h 71"/>
                <a:gd name="T22" fmla="*/ 24 w 28"/>
                <a:gd name="T23" fmla="*/ 42 h 71"/>
                <a:gd name="T24" fmla="*/ 24 w 28"/>
                <a:gd name="T25" fmla="*/ 36 h 71"/>
                <a:gd name="T26" fmla="*/ 24 w 28"/>
                <a:gd name="T27" fmla="*/ 36 h 71"/>
                <a:gd name="T28" fmla="*/ 21 w 28"/>
                <a:gd name="T29" fmla="*/ 36 h 71"/>
                <a:gd name="T30" fmla="*/ 17 w 28"/>
                <a:gd name="T31" fmla="*/ 36 h 71"/>
                <a:gd name="T32" fmla="*/ 17 w 28"/>
                <a:gd name="T33" fmla="*/ 36 h 71"/>
                <a:gd name="T34" fmla="*/ 17 w 28"/>
                <a:gd name="T35" fmla="*/ 29 h 71"/>
                <a:gd name="T36" fmla="*/ 17 w 28"/>
                <a:gd name="T37" fmla="*/ 23 h 71"/>
                <a:gd name="T38" fmla="*/ 17 w 28"/>
                <a:gd name="T39" fmla="*/ 20 h 71"/>
                <a:gd name="T40" fmla="*/ 17 w 28"/>
                <a:gd name="T41" fmla="*/ 16 h 71"/>
                <a:gd name="T42" fmla="*/ 21 w 28"/>
                <a:gd name="T43" fmla="*/ 16 h 71"/>
                <a:gd name="T44" fmla="*/ 21 w 28"/>
                <a:gd name="T45" fmla="*/ 20 h 71"/>
                <a:gd name="T46" fmla="*/ 24 w 28"/>
                <a:gd name="T47" fmla="*/ 20 h 71"/>
                <a:gd name="T48" fmla="*/ 28 w 28"/>
                <a:gd name="T49" fmla="*/ 16 h 71"/>
                <a:gd name="T50" fmla="*/ 28 w 28"/>
                <a:gd name="T51" fmla="*/ 13 h 71"/>
                <a:gd name="T52" fmla="*/ 28 w 28"/>
                <a:gd name="T53" fmla="*/ 13 h 71"/>
                <a:gd name="T54" fmla="*/ 28 w 28"/>
                <a:gd name="T55" fmla="*/ 13 h 71"/>
                <a:gd name="T56" fmla="*/ 24 w 28"/>
                <a:gd name="T57" fmla="*/ 10 h 71"/>
                <a:gd name="T58" fmla="*/ 28 w 28"/>
                <a:gd name="T59" fmla="*/ 7 h 71"/>
                <a:gd name="T60" fmla="*/ 28 w 28"/>
                <a:gd name="T61" fmla="*/ 0 h 71"/>
                <a:gd name="T62" fmla="*/ 28 w 28"/>
                <a:gd name="T63" fmla="*/ 0 h 71"/>
                <a:gd name="T64" fmla="*/ 28 w 28"/>
                <a:gd name="T65" fmla="*/ 0 h 71"/>
                <a:gd name="T66" fmla="*/ 24 w 28"/>
                <a:gd name="T67" fmla="*/ 4 h 71"/>
                <a:gd name="T68" fmla="*/ 17 w 28"/>
                <a:gd name="T69" fmla="*/ 4 h 71"/>
                <a:gd name="T70" fmla="*/ 17 w 28"/>
                <a:gd name="T71" fmla="*/ 4 h 71"/>
                <a:gd name="T72" fmla="*/ 11 w 28"/>
                <a:gd name="T73" fmla="*/ 7 h 71"/>
                <a:gd name="T74" fmla="*/ 11 w 28"/>
                <a:gd name="T75" fmla="*/ 20 h 71"/>
                <a:gd name="T76" fmla="*/ 4 w 28"/>
                <a:gd name="T77" fmla="*/ 29 h 71"/>
                <a:gd name="T78" fmla="*/ 0 w 28"/>
                <a:gd name="T79" fmla="*/ 36 h 71"/>
                <a:gd name="T80" fmla="*/ 0 w 28"/>
                <a:gd name="T81" fmla="*/ 36 h 71"/>
                <a:gd name="T82" fmla="*/ 4 w 28"/>
                <a:gd name="T83" fmla="*/ 39 h 71"/>
                <a:gd name="T84" fmla="*/ 7 w 28"/>
                <a:gd name="T85" fmla="*/ 46 h 71"/>
                <a:gd name="T86" fmla="*/ 14 w 28"/>
                <a:gd name="T87" fmla="*/ 55 h 71"/>
                <a:gd name="T88" fmla="*/ 17 w 28"/>
                <a:gd name="T89" fmla="*/ 62 h 71"/>
                <a:gd name="T90" fmla="*/ 14 w 28"/>
                <a:gd name="T91" fmla="*/ 65 h 71"/>
                <a:gd name="T92" fmla="*/ 17 w 28"/>
                <a:gd name="T9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" h="71">
                  <a:moveTo>
                    <a:pt x="17" y="71"/>
                  </a:moveTo>
                  <a:lnTo>
                    <a:pt x="21" y="68"/>
                  </a:lnTo>
                  <a:lnTo>
                    <a:pt x="21" y="68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2"/>
                  </a:lnTo>
                  <a:lnTo>
                    <a:pt x="24" y="55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49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1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29"/>
                  </a:lnTo>
                  <a:lnTo>
                    <a:pt x="17" y="23"/>
                  </a:lnTo>
                  <a:lnTo>
                    <a:pt x="17" y="20"/>
                  </a:lnTo>
                  <a:lnTo>
                    <a:pt x="17" y="16"/>
                  </a:lnTo>
                  <a:lnTo>
                    <a:pt x="21" y="16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8" y="16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4" y="10"/>
                  </a:lnTo>
                  <a:lnTo>
                    <a:pt x="28" y="7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4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1" y="7"/>
                  </a:lnTo>
                  <a:lnTo>
                    <a:pt x="11" y="20"/>
                  </a:lnTo>
                  <a:lnTo>
                    <a:pt x="4" y="29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9"/>
                  </a:lnTo>
                  <a:lnTo>
                    <a:pt x="7" y="46"/>
                  </a:lnTo>
                  <a:lnTo>
                    <a:pt x="14" y="55"/>
                  </a:lnTo>
                  <a:lnTo>
                    <a:pt x="17" y="62"/>
                  </a:lnTo>
                  <a:lnTo>
                    <a:pt x="14" y="65"/>
                  </a:lnTo>
                  <a:lnTo>
                    <a:pt x="1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85" name="Freeform 86"/>
            <p:cNvSpPr>
              <a:spLocks/>
            </p:cNvSpPr>
            <p:nvPr/>
          </p:nvSpPr>
          <p:spPr bwMode="auto">
            <a:xfrm>
              <a:off x="7319963" y="3718580"/>
              <a:ext cx="17463" cy="25400"/>
            </a:xfrm>
            <a:custGeom>
              <a:avLst/>
              <a:gdLst>
                <a:gd name="T0" fmla="*/ 4 w 11"/>
                <a:gd name="T1" fmla="*/ 13 h 16"/>
                <a:gd name="T2" fmla="*/ 4 w 11"/>
                <a:gd name="T3" fmla="*/ 13 h 16"/>
                <a:gd name="T4" fmla="*/ 0 w 11"/>
                <a:gd name="T5" fmla="*/ 10 h 16"/>
                <a:gd name="T6" fmla="*/ 4 w 11"/>
                <a:gd name="T7" fmla="*/ 7 h 16"/>
                <a:gd name="T8" fmla="*/ 4 w 11"/>
                <a:gd name="T9" fmla="*/ 0 h 16"/>
                <a:gd name="T10" fmla="*/ 4 w 11"/>
                <a:gd name="T11" fmla="*/ 0 h 16"/>
                <a:gd name="T12" fmla="*/ 4 w 11"/>
                <a:gd name="T13" fmla="*/ 0 h 16"/>
                <a:gd name="T14" fmla="*/ 7 w 11"/>
                <a:gd name="T15" fmla="*/ 0 h 16"/>
                <a:gd name="T16" fmla="*/ 7 w 11"/>
                <a:gd name="T17" fmla="*/ 4 h 16"/>
                <a:gd name="T18" fmla="*/ 11 w 11"/>
                <a:gd name="T19" fmla="*/ 10 h 16"/>
                <a:gd name="T20" fmla="*/ 7 w 11"/>
                <a:gd name="T21" fmla="*/ 10 h 16"/>
                <a:gd name="T22" fmla="*/ 7 w 11"/>
                <a:gd name="T23" fmla="*/ 10 h 16"/>
                <a:gd name="T24" fmla="*/ 4 w 11"/>
                <a:gd name="T25" fmla="*/ 13 h 16"/>
                <a:gd name="T26" fmla="*/ 4 w 11"/>
                <a:gd name="T27" fmla="*/ 16 h 16"/>
                <a:gd name="T28" fmla="*/ 4 w 11"/>
                <a:gd name="T2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4" y="13"/>
                  </a:moveTo>
                  <a:lnTo>
                    <a:pt x="4" y="13"/>
                  </a:lnTo>
                  <a:lnTo>
                    <a:pt x="0" y="10"/>
                  </a:lnTo>
                  <a:lnTo>
                    <a:pt x="4" y="7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7" y="0"/>
                  </a:lnTo>
                  <a:lnTo>
                    <a:pt x="7" y="4"/>
                  </a:lnTo>
                  <a:lnTo>
                    <a:pt x="11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4" y="13"/>
                  </a:lnTo>
                  <a:lnTo>
                    <a:pt x="4" y="16"/>
                  </a:lnTo>
                  <a:lnTo>
                    <a:pt x="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86" name="Freeform 87"/>
            <p:cNvSpPr>
              <a:spLocks/>
            </p:cNvSpPr>
            <p:nvPr/>
          </p:nvSpPr>
          <p:spPr bwMode="auto">
            <a:xfrm>
              <a:off x="7308851" y="3743980"/>
              <a:ext cx="17463" cy="31750"/>
            </a:xfrm>
            <a:custGeom>
              <a:avLst/>
              <a:gdLst>
                <a:gd name="T0" fmla="*/ 7 w 11"/>
                <a:gd name="T1" fmla="*/ 20 h 20"/>
                <a:gd name="T2" fmla="*/ 4 w 11"/>
                <a:gd name="T3" fmla="*/ 20 h 20"/>
                <a:gd name="T4" fmla="*/ 0 w 11"/>
                <a:gd name="T5" fmla="*/ 20 h 20"/>
                <a:gd name="T6" fmla="*/ 0 w 11"/>
                <a:gd name="T7" fmla="*/ 20 h 20"/>
                <a:gd name="T8" fmla="*/ 0 w 11"/>
                <a:gd name="T9" fmla="*/ 13 h 20"/>
                <a:gd name="T10" fmla="*/ 0 w 11"/>
                <a:gd name="T11" fmla="*/ 7 h 20"/>
                <a:gd name="T12" fmla="*/ 0 w 11"/>
                <a:gd name="T13" fmla="*/ 4 h 20"/>
                <a:gd name="T14" fmla="*/ 0 w 11"/>
                <a:gd name="T15" fmla="*/ 0 h 20"/>
                <a:gd name="T16" fmla="*/ 4 w 11"/>
                <a:gd name="T17" fmla="*/ 0 h 20"/>
                <a:gd name="T18" fmla="*/ 4 w 11"/>
                <a:gd name="T19" fmla="*/ 4 h 20"/>
                <a:gd name="T20" fmla="*/ 7 w 11"/>
                <a:gd name="T21" fmla="*/ 4 h 20"/>
                <a:gd name="T22" fmla="*/ 11 w 11"/>
                <a:gd name="T23" fmla="*/ 0 h 20"/>
                <a:gd name="T24" fmla="*/ 11 w 11"/>
                <a:gd name="T25" fmla="*/ 0 h 20"/>
                <a:gd name="T26" fmla="*/ 11 w 11"/>
                <a:gd name="T27" fmla="*/ 4 h 20"/>
                <a:gd name="T28" fmla="*/ 11 w 11"/>
                <a:gd name="T29" fmla="*/ 4 h 20"/>
                <a:gd name="T30" fmla="*/ 11 w 11"/>
                <a:gd name="T31" fmla="*/ 10 h 20"/>
                <a:gd name="T32" fmla="*/ 11 w 11"/>
                <a:gd name="T33" fmla="*/ 13 h 20"/>
                <a:gd name="T34" fmla="*/ 7 w 11"/>
                <a:gd name="T35" fmla="*/ 20 h 20"/>
                <a:gd name="T36" fmla="*/ 7 w 11"/>
                <a:gd name="T3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" h="20">
                  <a:moveTo>
                    <a:pt x="7" y="20"/>
                  </a:move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7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7" y="4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10"/>
                  </a:lnTo>
                  <a:lnTo>
                    <a:pt x="11" y="13"/>
                  </a:lnTo>
                  <a:lnTo>
                    <a:pt x="7" y="20"/>
                  </a:lnTo>
                  <a:lnTo>
                    <a:pt x="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87" name="Freeform 88"/>
            <p:cNvSpPr>
              <a:spLocks/>
            </p:cNvSpPr>
            <p:nvPr/>
          </p:nvSpPr>
          <p:spPr bwMode="auto">
            <a:xfrm>
              <a:off x="7308851" y="3683655"/>
              <a:ext cx="38100" cy="41275"/>
            </a:xfrm>
            <a:custGeom>
              <a:avLst/>
              <a:gdLst>
                <a:gd name="T0" fmla="*/ 0 w 24"/>
                <a:gd name="T1" fmla="*/ 26 h 26"/>
                <a:gd name="T2" fmla="*/ 0 w 24"/>
                <a:gd name="T3" fmla="*/ 26 h 26"/>
                <a:gd name="T4" fmla="*/ 7 w 24"/>
                <a:gd name="T5" fmla="*/ 26 h 26"/>
                <a:gd name="T6" fmla="*/ 11 w 24"/>
                <a:gd name="T7" fmla="*/ 22 h 26"/>
                <a:gd name="T8" fmla="*/ 11 w 24"/>
                <a:gd name="T9" fmla="*/ 22 h 26"/>
                <a:gd name="T10" fmla="*/ 14 w 24"/>
                <a:gd name="T11" fmla="*/ 19 h 26"/>
                <a:gd name="T12" fmla="*/ 18 w 24"/>
                <a:gd name="T13" fmla="*/ 13 h 26"/>
                <a:gd name="T14" fmla="*/ 21 w 24"/>
                <a:gd name="T15" fmla="*/ 13 h 26"/>
                <a:gd name="T16" fmla="*/ 21 w 24"/>
                <a:gd name="T17" fmla="*/ 13 h 26"/>
                <a:gd name="T18" fmla="*/ 24 w 24"/>
                <a:gd name="T19" fmla="*/ 9 h 26"/>
                <a:gd name="T20" fmla="*/ 24 w 24"/>
                <a:gd name="T21" fmla="*/ 9 h 26"/>
                <a:gd name="T22" fmla="*/ 24 w 24"/>
                <a:gd name="T23" fmla="*/ 3 h 26"/>
                <a:gd name="T24" fmla="*/ 21 w 24"/>
                <a:gd name="T25" fmla="*/ 3 h 26"/>
                <a:gd name="T26" fmla="*/ 18 w 24"/>
                <a:gd name="T27" fmla="*/ 0 h 26"/>
                <a:gd name="T28" fmla="*/ 11 w 24"/>
                <a:gd name="T29" fmla="*/ 0 h 26"/>
                <a:gd name="T30" fmla="*/ 11 w 24"/>
                <a:gd name="T31" fmla="*/ 0 h 26"/>
                <a:gd name="T32" fmla="*/ 7 w 24"/>
                <a:gd name="T33" fmla="*/ 0 h 26"/>
                <a:gd name="T34" fmla="*/ 7 w 24"/>
                <a:gd name="T35" fmla="*/ 13 h 26"/>
                <a:gd name="T36" fmla="*/ 4 w 24"/>
                <a:gd name="T37" fmla="*/ 16 h 26"/>
                <a:gd name="T38" fmla="*/ 0 w 24"/>
                <a:gd name="T39" fmla="*/ 19 h 26"/>
                <a:gd name="T40" fmla="*/ 0 w 24"/>
                <a:gd name="T41" fmla="*/ 26 h 26"/>
                <a:gd name="T42" fmla="*/ 0 w 24"/>
                <a:gd name="T4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6">
                  <a:moveTo>
                    <a:pt x="0" y="26"/>
                  </a:moveTo>
                  <a:lnTo>
                    <a:pt x="0" y="26"/>
                  </a:lnTo>
                  <a:lnTo>
                    <a:pt x="7" y="26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4" y="19"/>
                  </a:lnTo>
                  <a:lnTo>
                    <a:pt x="18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7" y="13"/>
                  </a:lnTo>
                  <a:lnTo>
                    <a:pt x="4" y="16"/>
                  </a:lnTo>
                  <a:lnTo>
                    <a:pt x="0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88" name="Freeform 89"/>
            <p:cNvSpPr>
              <a:spLocks/>
            </p:cNvSpPr>
            <p:nvPr/>
          </p:nvSpPr>
          <p:spPr bwMode="auto">
            <a:xfrm>
              <a:off x="7308851" y="3713817"/>
              <a:ext cx="127000" cy="133350"/>
            </a:xfrm>
            <a:custGeom>
              <a:avLst/>
              <a:gdLst>
                <a:gd name="T0" fmla="*/ 4 w 80"/>
                <a:gd name="T1" fmla="*/ 71 h 84"/>
                <a:gd name="T2" fmla="*/ 4 w 80"/>
                <a:gd name="T3" fmla="*/ 71 h 84"/>
                <a:gd name="T4" fmla="*/ 4 w 80"/>
                <a:gd name="T5" fmla="*/ 68 h 84"/>
                <a:gd name="T6" fmla="*/ 4 w 80"/>
                <a:gd name="T7" fmla="*/ 68 h 84"/>
                <a:gd name="T8" fmla="*/ 4 w 80"/>
                <a:gd name="T9" fmla="*/ 65 h 84"/>
                <a:gd name="T10" fmla="*/ 7 w 80"/>
                <a:gd name="T11" fmla="*/ 58 h 84"/>
                <a:gd name="T12" fmla="*/ 7 w 80"/>
                <a:gd name="T13" fmla="*/ 55 h 84"/>
                <a:gd name="T14" fmla="*/ 7 w 80"/>
                <a:gd name="T15" fmla="*/ 55 h 84"/>
                <a:gd name="T16" fmla="*/ 7 w 80"/>
                <a:gd name="T17" fmla="*/ 52 h 84"/>
                <a:gd name="T18" fmla="*/ 7 w 80"/>
                <a:gd name="T19" fmla="*/ 45 h 84"/>
                <a:gd name="T20" fmla="*/ 7 w 80"/>
                <a:gd name="T21" fmla="*/ 45 h 84"/>
                <a:gd name="T22" fmla="*/ 11 w 80"/>
                <a:gd name="T23" fmla="*/ 32 h 84"/>
                <a:gd name="T24" fmla="*/ 11 w 80"/>
                <a:gd name="T25" fmla="*/ 29 h 84"/>
                <a:gd name="T26" fmla="*/ 11 w 80"/>
                <a:gd name="T27" fmla="*/ 23 h 84"/>
                <a:gd name="T28" fmla="*/ 11 w 80"/>
                <a:gd name="T29" fmla="*/ 23 h 84"/>
                <a:gd name="T30" fmla="*/ 11 w 80"/>
                <a:gd name="T31" fmla="*/ 19 h 84"/>
                <a:gd name="T32" fmla="*/ 11 w 80"/>
                <a:gd name="T33" fmla="*/ 16 h 84"/>
                <a:gd name="T34" fmla="*/ 11 w 80"/>
                <a:gd name="T35" fmla="*/ 19 h 84"/>
                <a:gd name="T36" fmla="*/ 11 w 80"/>
                <a:gd name="T37" fmla="*/ 16 h 84"/>
                <a:gd name="T38" fmla="*/ 14 w 80"/>
                <a:gd name="T39" fmla="*/ 13 h 84"/>
                <a:gd name="T40" fmla="*/ 18 w 80"/>
                <a:gd name="T41" fmla="*/ 13 h 84"/>
                <a:gd name="T42" fmla="*/ 24 w 80"/>
                <a:gd name="T43" fmla="*/ 16 h 84"/>
                <a:gd name="T44" fmla="*/ 28 w 80"/>
                <a:gd name="T45" fmla="*/ 19 h 84"/>
                <a:gd name="T46" fmla="*/ 28 w 80"/>
                <a:gd name="T47" fmla="*/ 19 h 84"/>
                <a:gd name="T48" fmla="*/ 31 w 80"/>
                <a:gd name="T49" fmla="*/ 19 h 84"/>
                <a:gd name="T50" fmla="*/ 69 w 80"/>
                <a:gd name="T51" fmla="*/ 0 h 84"/>
                <a:gd name="T52" fmla="*/ 80 w 80"/>
                <a:gd name="T53" fmla="*/ 23 h 84"/>
                <a:gd name="T54" fmla="*/ 80 w 80"/>
                <a:gd name="T55" fmla="*/ 23 h 84"/>
                <a:gd name="T56" fmla="*/ 73 w 80"/>
                <a:gd name="T57" fmla="*/ 29 h 84"/>
                <a:gd name="T58" fmla="*/ 42 w 80"/>
                <a:gd name="T59" fmla="*/ 36 h 84"/>
                <a:gd name="T60" fmla="*/ 66 w 80"/>
                <a:gd name="T61" fmla="*/ 55 h 84"/>
                <a:gd name="T62" fmla="*/ 55 w 80"/>
                <a:gd name="T63" fmla="*/ 65 h 84"/>
                <a:gd name="T64" fmla="*/ 55 w 80"/>
                <a:gd name="T65" fmla="*/ 68 h 84"/>
                <a:gd name="T66" fmla="*/ 42 w 80"/>
                <a:gd name="T67" fmla="*/ 71 h 84"/>
                <a:gd name="T68" fmla="*/ 28 w 80"/>
                <a:gd name="T69" fmla="*/ 84 h 84"/>
                <a:gd name="T70" fmla="*/ 7 w 80"/>
                <a:gd name="T71" fmla="*/ 78 h 84"/>
                <a:gd name="T72" fmla="*/ 0 w 80"/>
                <a:gd name="T73" fmla="*/ 78 h 84"/>
                <a:gd name="T74" fmla="*/ 0 w 80"/>
                <a:gd name="T75" fmla="*/ 78 h 84"/>
                <a:gd name="T76" fmla="*/ 4 w 80"/>
                <a:gd name="T77" fmla="*/ 74 h 84"/>
                <a:gd name="T78" fmla="*/ 4 w 80"/>
                <a:gd name="T79" fmla="*/ 71 h 84"/>
                <a:gd name="T80" fmla="*/ 4 w 80"/>
                <a:gd name="T81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0" h="84">
                  <a:moveTo>
                    <a:pt x="4" y="71"/>
                  </a:moveTo>
                  <a:lnTo>
                    <a:pt x="4" y="71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5"/>
                  </a:lnTo>
                  <a:lnTo>
                    <a:pt x="7" y="58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2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11" y="32"/>
                  </a:lnTo>
                  <a:lnTo>
                    <a:pt x="11" y="29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19"/>
                  </a:lnTo>
                  <a:lnTo>
                    <a:pt x="11" y="16"/>
                  </a:lnTo>
                  <a:lnTo>
                    <a:pt x="11" y="19"/>
                  </a:lnTo>
                  <a:lnTo>
                    <a:pt x="11" y="16"/>
                  </a:lnTo>
                  <a:lnTo>
                    <a:pt x="14" y="13"/>
                  </a:lnTo>
                  <a:lnTo>
                    <a:pt x="18" y="13"/>
                  </a:lnTo>
                  <a:lnTo>
                    <a:pt x="24" y="16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1" y="19"/>
                  </a:lnTo>
                  <a:lnTo>
                    <a:pt x="69" y="0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73" y="29"/>
                  </a:lnTo>
                  <a:lnTo>
                    <a:pt x="42" y="36"/>
                  </a:lnTo>
                  <a:lnTo>
                    <a:pt x="66" y="55"/>
                  </a:lnTo>
                  <a:lnTo>
                    <a:pt x="55" y="65"/>
                  </a:lnTo>
                  <a:lnTo>
                    <a:pt x="55" y="68"/>
                  </a:lnTo>
                  <a:lnTo>
                    <a:pt x="42" y="71"/>
                  </a:lnTo>
                  <a:lnTo>
                    <a:pt x="28" y="84"/>
                  </a:lnTo>
                  <a:lnTo>
                    <a:pt x="7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4"/>
                  </a:lnTo>
                  <a:lnTo>
                    <a:pt x="4" y="71"/>
                  </a:lnTo>
                  <a:lnTo>
                    <a:pt x="4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89" name="Freeform 90"/>
            <p:cNvSpPr>
              <a:spLocks/>
            </p:cNvSpPr>
            <p:nvPr/>
          </p:nvSpPr>
          <p:spPr bwMode="auto">
            <a:xfrm>
              <a:off x="7308851" y="3750330"/>
              <a:ext cx="639763" cy="455612"/>
            </a:xfrm>
            <a:custGeom>
              <a:avLst/>
              <a:gdLst>
                <a:gd name="T0" fmla="*/ 245 w 403"/>
                <a:gd name="T1" fmla="*/ 58 h 287"/>
                <a:gd name="T2" fmla="*/ 97 w 403"/>
                <a:gd name="T3" fmla="*/ 0 h 287"/>
                <a:gd name="T4" fmla="*/ 42 w 403"/>
                <a:gd name="T5" fmla="*/ 13 h 287"/>
                <a:gd name="T6" fmla="*/ 55 w 403"/>
                <a:gd name="T7" fmla="*/ 45 h 287"/>
                <a:gd name="T8" fmla="*/ 7 w 403"/>
                <a:gd name="T9" fmla="*/ 55 h 287"/>
                <a:gd name="T10" fmla="*/ 0 w 403"/>
                <a:gd name="T11" fmla="*/ 67 h 287"/>
                <a:gd name="T12" fmla="*/ 4 w 403"/>
                <a:gd name="T13" fmla="*/ 74 h 287"/>
                <a:gd name="T14" fmla="*/ 11 w 403"/>
                <a:gd name="T15" fmla="*/ 74 h 287"/>
                <a:gd name="T16" fmla="*/ 18 w 403"/>
                <a:gd name="T17" fmla="*/ 87 h 287"/>
                <a:gd name="T18" fmla="*/ 24 w 403"/>
                <a:gd name="T19" fmla="*/ 93 h 287"/>
                <a:gd name="T20" fmla="*/ 31 w 403"/>
                <a:gd name="T21" fmla="*/ 106 h 287"/>
                <a:gd name="T22" fmla="*/ 38 w 403"/>
                <a:gd name="T23" fmla="*/ 113 h 287"/>
                <a:gd name="T24" fmla="*/ 49 w 403"/>
                <a:gd name="T25" fmla="*/ 126 h 287"/>
                <a:gd name="T26" fmla="*/ 52 w 403"/>
                <a:gd name="T27" fmla="*/ 132 h 287"/>
                <a:gd name="T28" fmla="*/ 55 w 403"/>
                <a:gd name="T29" fmla="*/ 142 h 287"/>
                <a:gd name="T30" fmla="*/ 66 w 403"/>
                <a:gd name="T31" fmla="*/ 142 h 287"/>
                <a:gd name="T32" fmla="*/ 76 w 403"/>
                <a:gd name="T33" fmla="*/ 151 h 287"/>
                <a:gd name="T34" fmla="*/ 80 w 403"/>
                <a:gd name="T35" fmla="*/ 158 h 287"/>
                <a:gd name="T36" fmla="*/ 86 w 403"/>
                <a:gd name="T37" fmla="*/ 174 h 287"/>
                <a:gd name="T38" fmla="*/ 86 w 403"/>
                <a:gd name="T39" fmla="*/ 181 h 287"/>
                <a:gd name="T40" fmla="*/ 90 w 403"/>
                <a:gd name="T41" fmla="*/ 197 h 287"/>
                <a:gd name="T42" fmla="*/ 104 w 403"/>
                <a:gd name="T43" fmla="*/ 210 h 287"/>
                <a:gd name="T44" fmla="*/ 114 w 403"/>
                <a:gd name="T45" fmla="*/ 216 h 287"/>
                <a:gd name="T46" fmla="*/ 121 w 403"/>
                <a:gd name="T47" fmla="*/ 223 h 287"/>
                <a:gd name="T48" fmla="*/ 128 w 403"/>
                <a:gd name="T49" fmla="*/ 226 h 287"/>
                <a:gd name="T50" fmla="*/ 138 w 403"/>
                <a:gd name="T51" fmla="*/ 245 h 287"/>
                <a:gd name="T52" fmla="*/ 155 w 403"/>
                <a:gd name="T53" fmla="*/ 265 h 287"/>
                <a:gd name="T54" fmla="*/ 169 w 403"/>
                <a:gd name="T55" fmla="*/ 274 h 287"/>
                <a:gd name="T56" fmla="*/ 179 w 403"/>
                <a:gd name="T57" fmla="*/ 271 h 287"/>
                <a:gd name="T58" fmla="*/ 183 w 403"/>
                <a:gd name="T59" fmla="*/ 255 h 287"/>
                <a:gd name="T60" fmla="*/ 217 w 403"/>
                <a:gd name="T61" fmla="*/ 265 h 287"/>
                <a:gd name="T62" fmla="*/ 272 w 403"/>
                <a:gd name="T63" fmla="*/ 248 h 287"/>
                <a:gd name="T64" fmla="*/ 396 w 403"/>
                <a:gd name="T65" fmla="*/ 164 h 287"/>
                <a:gd name="T66" fmla="*/ 334 w 403"/>
                <a:gd name="T67" fmla="*/ 164 h 287"/>
                <a:gd name="T68" fmla="*/ 324 w 403"/>
                <a:gd name="T69" fmla="*/ 139 h 287"/>
                <a:gd name="T70" fmla="*/ 324 w 403"/>
                <a:gd name="T71" fmla="*/ 139 h 287"/>
                <a:gd name="T72" fmla="*/ 320 w 403"/>
                <a:gd name="T73" fmla="*/ 135 h 287"/>
                <a:gd name="T74" fmla="*/ 310 w 403"/>
                <a:gd name="T75" fmla="*/ 132 h 287"/>
                <a:gd name="T76" fmla="*/ 307 w 403"/>
                <a:gd name="T77" fmla="*/ 126 h 287"/>
                <a:gd name="T78" fmla="*/ 293 w 403"/>
                <a:gd name="T79" fmla="*/ 106 h 287"/>
                <a:gd name="T80" fmla="*/ 293 w 403"/>
                <a:gd name="T81" fmla="*/ 97 h 287"/>
                <a:gd name="T82" fmla="*/ 286 w 403"/>
                <a:gd name="T83" fmla="*/ 93 h 287"/>
                <a:gd name="T84" fmla="*/ 276 w 403"/>
                <a:gd name="T85" fmla="*/ 84 h 287"/>
                <a:gd name="T86" fmla="*/ 279 w 403"/>
                <a:gd name="T87" fmla="*/ 80 h 287"/>
                <a:gd name="T88" fmla="*/ 269 w 403"/>
                <a:gd name="T89" fmla="*/ 77 h 287"/>
                <a:gd name="T90" fmla="*/ 258 w 403"/>
                <a:gd name="T91" fmla="*/ 64 h 287"/>
                <a:gd name="T92" fmla="*/ 255 w 403"/>
                <a:gd name="T93" fmla="*/ 61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3" h="287">
                  <a:moveTo>
                    <a:pt x="255" y="61"/>
                  </a:moveTo>
                  <a:lnTo>
                    <a:pt x="245" y="64"/>
                  </a:lnTo>
                  <a:lnTo>
                    <a:pt x="245" y="58"/>
                  </a:lnTo>
                  <a:lnTo>
                    <a:pt x="227" y="55"/>
                  </a:lnTo>
                  <a:lnTo>
                    <a:pt x="186" y="55"/>
                  </a:lnTo>
                  <a:lnTo>
                    <a:pt x="97" y="0"/>
                  </a:lnTo>
                  <a:lnTo>
                    <a:pt x="80" y="0"/>
                  </a:lnTo>
                  <a:lnTo>
                    <a:pt x="73" y="6"/>
                  </a:lnTo>
                  <a:lnTo>
                    <a:pt x="42" y="13"/>
                  </a:lnTo>
                  <a:lnTo>
                    <a:pt x="66" y="32"/>
                  </a:lnTo>
                  <a:lnTo>
                    <a:pt x="55" y="42"/>
                  </a:lnTo>
                  <a:lnTo>
                    <a:pt x="55" y="45"/>
                  </a:lnTo>
                  <a:lnTo>
                    <a:pt x="42" y="48"/>
                  </a:lnTo>
                  <a:lnTo>
                    <a:pt x="28" y="61"/>
                  </a:lnTo>
                  <a:lnTo>
                    <a:pt x="7" y="55"/>
                  </a:lnTo>
                  <a:lnTo>
                    <a:pt x="0" y="55"/>
                  </a:lnTo>
                  <a:lnTo>
                    <a:pt x="0" y="61"/>
                  </a:lnTo>
                  <a:lnTo>
                    <a:pt x="0" y="67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11" y="74"/>
                  </a:lnTo>
                  <a:lnTo>
                    <a:pt x="7" y="77"/>
                  </a:lnTo>
                  <a:lnTo>
                    <a:pt x="18" y="84"/>
                  </a:lnTo>
                  <a:lnTo>
                    <a:pt x="18" y="87"/>
                  </a:lnTo>
                  <a:lnTo>
                    <a:pt x="21" y="87"/>
                  </a:lnTo>
                  <a:lnTo>
                    <a:pt x="21" y="90"/>
                  </a:lnTo>
                  <a:lnTo>
                    <a:pt x="24" y="93"/>
                  </a:lnTo>
                  <a:lnTo>
                    <a:pt x="28" y="97"/>
                  </a:lnTo>
                  <a:lnTo>
                    <a:pt x="31" y="103"/>
                  </a:lnTo>
                  <a:lnTo>
                    <a:pt x="31" y="106"/>
                  </a:lnTo>
                  <a:lnTo>
                    <a:pt x="35" y="109"/>
                  </a:lnTo>
                  <a:lnTo>
                    <a:pt x="38" y="109"/>
                  </a:lnTo>
                  <a:lnTo>
                    <a:pt x="38" y="113"/>
                  </a:lnTo>
                  <a:lnTo>
                    <a:pt x="42" y="116"/>
                  </a:lnTo>
                  <a:lnTo>
                    <a:pt x="45" y="116"/>
                  </a:lnTo>
                  <a:lnTo>
                    <a:pt x="49" y="126"/>
                  </a:lnTo>
                  <a:lnTo>
                    <a:pt x="52" y="126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5"/>
                  </a:lnTo>
                  <a:lnTo>
                    <a:pt x="55" y="139"/>
                  </a:lnTo>
                  <a:lnTo>
                    <a:pt x="55" y="142"/>
                  </a:lnTo>
                  <a:lnTo>
                    <a:pt x="59" y="142"/>
                  </a:lnTo>
                  <a:lnTo>
                    <a:pt x="59" y="139"/>
                  </a:lnTo>
                  <a:lnTo>
                    <a:pt x="66" y="142"/>
                  </a:lnTo>
                  <a:lnTo>
                    <a:pt x="69" y="145"/>
                  </a:lnTo>
                  <a:lnTo>
                    <a:pt x="76" y="148"/>
                  </a:lnTo>
                  <a:lnTo>
                    <a:pt x="76" y="151"/>
                  </a:lnTo>
                  <a:lnTo>
                    <a:pt x="80" y="155"/>
                  </a:lnTo>
                  <a:lnTo>
                    <a:pt x="80" y="158"/>
                  </a:lnTo>
                  <a:lnTo>
                    <a:pt x="80" y="158"/>
                  </a:lnTo>
                  <a:lnTo>
                    <a:pt x="83" y="164"/>
                  </a:lnTo>
                  <a:lnTo>
                    <a:pt x="86" y="168"/>
                  </a:lnTo>
                  <a:lnTo>
                    <a:pt x="86" y="174"/>
                  </a:lnTo>
                  <a:lnTo>
                    <a:pt x="90" y="174"/>
                  </a:lnTo>
                  <a:lnTo>
                    <a:pt x="86" y="181"/>
                  </a:lnTo>
                  <a:lnTo>
                    <a:pt x="86" y="181"/>
                  </a:lnTo>
                  <a:lnTo>
                    <a:pt x="86" y="184"/>
                  </a:lnTo>
                  <a:lnTo>
                    <a:pt x="90" y="190"/>
                  </a:lnTo>
                  <a:lnTo>
                    <a:pt x="90" y="197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104" y="210"/>
                  </a:lnTo>
                  <a:lnTo>
                    <a:pt x="107" y="210"/>
                  </a:lnTo>
                  <a:lnTo>
                    <a:pt x="110" y="213"/>
                  </a:lnTo>
                  <a:lnTo>
                    <a:pt x="114" y="216"/>
                  </a:lnTo>
                  <a:lnTo>
                    <a:pt x="117" y="216"/>
                  </a:lnTo>
                  <a:lnTo>
                    <a:pt x="121" y="219"/>
                  </a:lnTo>
                  <a:lnTo>
                    <a:pt x="121" y="223"/>
                  </a:lnTo>
                  <a:lnTo>
                    <a:pt x="128" y="223"/>
                  </a:lnTo>
                  <a:lnTo>
                    <a:pt x="124" y="226"/>
                  </a:lnTo>
                  <a:lnTo>
                    <a:pt x="128" y="226"/>
                  </a:lnTo>
                  <a:lnTo>
                    <a:pt x="135" y="239"/>
                  </a:lnTo>
                  <a:lnTo>
                    <a:pt x="138" y="242"/>
                  </a:lnTo>
                  <a:lnTo>
                    <a:pt x="138" y="245"/>
                  </a:lnTo>
                  <a:lnTo>
                    <a:pt x="152" y="258"/>
                  </a:lnTo>
                  <a:lnTo>
                    <a:pt x="155" y="258"/>
                  </a:lnTo>
                  <a:lnTo>
                    <a:pt x="155" y="265"/>
                  </a:lnTo>
                  <a:lnTo>
                    <a:pt x="162" y="268"/>
                  </a:lnTo>
                  <a:lnTo>
                    <a:pt x="166" y="274"/>
                  </a:lnTo>
                  <a:lnTo>
                    <a:pt x="169" y="274"/>
                  </a:lnTo>
                  <a:lnTo>
                    <a:pt x="172" y="277"/>
                  </a:lnTo>
                  <a:lnTo>
                    <a:pt x="172" y="274"/>
                  </a:lnTo>
                  <a:lnTo>
                    <a:pt x="179" y="271"/>
                  </a:lnTo>
                  <a:lnTo>
                    <a:pt x="176" y="265"/>
                  </a:lnTo>
                  <a:lnTo>
                    <a:pt x="179" y="258"/>
                  </a:lnTo>
                  <a:lnTo>
                    <a:pt x="183" y="255"/>
                  </a:lnTo>
                  <a:lnTo>
                    <a:pt x="190" y="258"/>
                  </a:lnTo>
                  <a:lnTo>
                    <a:pt x="200" y="258"/>
                  </a:lnTo>
                  <a:lnTo>
                    <a:pt x="217" y="265"/>
                  </a:lnTo>
                  <a:lnTo>
                    <a:pt x="234" y="271"/>
                  </a:lnTo>
                  <a:lnTo>
                    <a:pt x="234" y="287"/>
                  </a:lnTo>
                  <a:lnTo>
                    <a:pt x="272" y="248"/>
                  </a:lnTo>
                  <a:lnTo>
                    <a:pt x="399" y="213"/>
                  </a:lnTo>
                  <a:lnTo>
                    <a:pt x="403" y="177"/>
                  </a:lnTo>
                  <a:lnTo>
                    <a:pt x="396" y="164"/>
                  </a:lnTo>
                  <a:lnTo>
                    <a:pt x="396" y="164"/>
                  </a:lnTo>
                  <a:lnTo>
                    <a:pt x="389" y="171"/>
                  </a:lnTo>
                  <a:lnTo>
                    <a:pt x="334" y="164"/>
                  </a:lnTo>
                  <a:lnTo>
                    <a:pt x="331" y="151"/>
                  </a:lnTo>
                  <a:lnTo>
                    <a:pt x="324" y="145"/>
                  </a:lnTo>
                  <a:lnTo>
                    <a:pt x="324" y="139"/>
                  </a:lnTo>
                  <a:lnTo>
                    <a:pt x="324" y="139"/>
                  </a:lnTo>
                  <a:lnTo>
                    <a:pt x="324" y="139"/>
                  </a:lnTo>
                  <a:lnTo>
                    <a:pt x="324" y="139"/>
                  </a:lnTo>
                  <a:lnTo>
                    <a:pt x="324" y="135"/>
                  </a:lnTo>
                  <a:lnTo>
                    <a:pt x="324" y="135"/>
                  </a:lnTo>
                  <a:lnTo>
                    <a:pt x="320" y="135"/>
                  </a:lnTo>
                  <a:lnTo>
                    <a:pt x="320" y="132"/>
                  </a:lnTo>
                  <a:lnTo>
                    <a:pt x="317" y="132"/>
                  </a:lnTo>
                  <a:lnTo>
                    <a:pt x="310" y="132"/>
                  </a:lnTo>
                  <a:lnTo>
                    <a:pt x="310" y="129"/>
                  </a:lnTo>
                  <a:lnTo>
                    <a:pt x="310" y="129"/>
                  </a:lnTo>
                  <a:lnTo>
                    <a:pt x="307" y="126"/>
                  </a:lnTo>
                  <a:lnTo>
                    <a:pt x="307" y="122"/>
                  </a:lnTo>
                  <a:lnTo>
                    <a:pt x="296" y="109"/>
                  </a:lnTo>
                  <a:lnTo>
                    <a:pt x="293" y="106"/>
                  </a:lnTo>
                  <a:lnTo>
                    <a:pt x="296" y="106"/>
                  </a:lnTo>
                  <a:lnTo>
                    <a:pt x="296" y="106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89" y="93"/>
                  </a:lnTo>
                  <a:lnTo>
                    <a:pt x="286" y="93"/>
                  </a:lnTo>
                  <a:lnTo>
                    <a:pt x="282" y="84"/>
                  </a:lnTo>
                  <a:lnTo>
                    <a:pt x="279" y="84"/>
                  </a:lnTo>
                  <a:lnTo>
                    <a:pt x="276" y="84"/>
                  </a:lnTo>
                  <a:lnTo>
                    <a:pt x="276" y="80"/>
                  </a:lnTo>
                  <a:lnTo>
                    <a:pt x="279" y="80"/>
                  </a:lnTo>
                  <a:lnTo>
                    <a:pt x="279" y="80"/>
                  </a:lnTo>
                  <a:lnTo>
                    <a:pt x="279" y="80"/>
                  </a:lnTo>
                  <a:lnTo>
                    <a:pt x="276" y="80"/>
                  </a:lnTo>
                  <a:lnTo>
                    <a:pt x="269" y="77"/>
                  </a:lnTo>
                  <a:lnTo>
                    <a:pt x="265" y="71"/>
                  </a:lnTo>
                  <a:lnTo>
                    <a:pt x="262" y="64"/>
                  </a:lnTo>
                  <a:lnTo>
                    <a:pt x="258" y="64"/>
                  </a:lnTo>
                  <a:lnTo>
                    <a:pt x="258" y="61"/>
                  </a:lnTo>
                  <a:lnTo>
                    <a:pt x="258" y="61"/>
                  </a:lnTo>
                  <a:lnTo>
                    <a:pt x="255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90" name="Freeform 91"/>
            <p:cNvSpPr>
              <a:spLocks/>
            </p:cNvSpPr>
            <p:nvPr/>
          </p:nvSpPr>
          <p:spPr bwMode="auto">
            <a:xfrm>
              <a:off x="7800976" y="3918605"/>
              <a:ext cx="22225" cy="41275"/>
            </a:xfrm>
            <a:custGeom>
              <a:avLst/>
              <a:gdLst>
                <a:gd name="T0" fmla="*/ 10 w 14"/>
                <a:gd name="T1" fmla="*/ 26 h 26"/>
                <a:gd name="T2" fmla="*/ 7 w 14"/>
                <a:gd name="T3" fmla="*/ 26 h 26"/>
                <a:gd name="T4" fmla="*/ 0 w 14"/>
                <a:gd name="T5" fmla="*/ 26 h 26"/>
                <a:gd name="T6" fmla="*/ 0 w 14"/>
                <a:gd name="T7" fmla="*/ 23 h 26"/>
                <a:gd name="T8" fmla="*/ 0 w 14"/>
                <a:gd name="T9" fmla="*/ 23 h 26"/>
                <a:gd name="T10" fmla="*/ 0 w 14"/>
                <a:gd name="T11" fmla="*/ 20 h 26"/>
                <a:gd name="T12" fmla="*/ 0 w 14"/>
                <a:gd name="T13" fmla="*/ 16 h 26"/>
                <a:gd name="T14" fmla="*/ 0 w 14"/>
                <a:gd name="T15" fmla="*/ 16 h 26"/>
                <a:gd name="T16" fmla="*/ 0 w 14"/>
                <a:gd name="T17" fmla="*/ 10 h 26"/>
                <a:gd name="T18" fmla="*/ 0 w 14"/>
                <a:gd name="T19" fmla="*/ 10 h 26"/>
                <a:gd name="T20" fmla="*/ 3 w 14"/>
                <a:gd name="T21" fmla="*/ 10 h 26"/>
                <a:gd name="T22" fmla="*/ 0 w 14"/>
                <a:gd name="T23" fmla="*/ 7 h 26"/>
                <a:gd name="T24" fmla="*/ 3 w 14"/>
                <a:gd name="T25" fmla="*/ 7 h 26"/>
                <a:gd name="T26" fmla="*/ 0 w 14"/>
                <a:gd name="T27" fmla="*/ 3 h 26"/>
                <a:gd name="T28" fmla="*/ 3 w 14"/>
                <a:gd name="T29" fmla="*/ 3 h 26"/>
                <a:gd name="T30" fmla="*/ 3 w 14"/>
                <a:gd name="T31" fmla="*/ 0 h 26"/>
                <a:gd name="T32" fmla="*/ 3 w 14"/>
                <a:gd name="T33" fmla="*/ 0 h 26"/>
                <a:gd name="T34" fmla="*/ 3 w 14"/>
                <a:gd name="T35" fmla="*/ 0 h 26"/>
                <a:gd name="T36" fmla="*/ 7 w 14"/>
                <a:gd name="T37" fmla="*/ 0 h 26"/>
                <a:gd name="T38" fmla="*/ 10 w 14"/>
                <a:gd name="T39" fmla="*/ 0 h 26"/>
                <a:gd name="T40" fmla="*/ 10 w 14"/>
                <a:gd name="T41" fmla="*/ 3 h 26"/>
                <a:gd name="T42" fmla="*/ 10 w 14"/>
                <a:gd name="T43" fmla="*/ 3 h 26"/>
                <a:gd name="T44" fmla="*/ 14 w 14"/>
                <a:gd name="T45" fmla="*/ 3 h 26"/>
                <a:gd name="T46" fmla="*/ 10 w 14"/>
                <a:gd name="T47" fmla="*/ 10 h 26"/>
                <a:gd name="T48" fmla="*/ 10 w 14"/>
                <a:gd name="T49" fmla="*/ 10 h 26"/>
                <a:gd name="T50" fmla="*/ 10 w 14"/>
                <a:gd name="T51" fmla="*/ 16 h 26"/>
                <a:gd name="T52" fmla="*/ 14 w 14"/>
                <a:gd name="T53" fmla="*/ 16 h 26"/>
                <a:gd name="T54" fmla="*/ 14 w 14"/>
                <a:gd name="T55" fmla="*/ 20 h 26"/>
                <a:gd name="T56" fmla="*/ 14 w 14"/>
                <a:gd name="T57" fmla="*/ 26 h 26"/>
                <a:gd name="T58" fmla="*/ 10 w 14"/>
                <a:gd name="T59" fmla="*/ 26 h 26"/>
                <a:gd name="T60" fmla="*/ 10 w 14"/>
                <a:gd name="T6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" h="26">
                  <a:moveTo>
                    <a:pt x="10" y="26"/>
                  </a:moveTo>
                  <a:lnTo>
                    <a:pt x="7" y="26"/>
                  </a:lnTo>
                  <a:lnTo>
                    <a:pt x="0" y="26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0" y="7"/>
                  </a:lnTo>
                  <a:lnTo>
                    <a:pt x="3" y="7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4" y="3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6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1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91" name="Freeform 92"/>
            <p:cNvSpPr>
              <a:spLocks/>
            </p:cNvSpPr>
            <p:nvPr/>
          </p:nvSpPr>
          <p:spPr bwMode="auto">
            <a:xfrm>
              <a:off x="7823201" y="3918605"/>
              <a:ext cx="147638" cy="103187"/>
            </a:xfrm>
            <a:custGeom>
              <a:avLst/>
              <a:gdLst>
                <a:gd name="T0" fmla="*/ 0 w 93"/>
                <a:gd name="T1" fmla="*/ 33 h 65"/>
                <a:gd name="T2" fmla="*/ 0 w 93"/>
                <a:gd name="T3" fmla="*/ 39 h 65"/>
                <a:gd name="T4" fmla="*/ 7 w 93"/>
                <a:gd name="T5" fmla="*/ 45 h 65"/>
                <a:gd name="T6" fmla="*/ 10 w 93"/>
                <a:gd name="T7" fmla="*/ 58 h 65"/>
                <a:gd name="T8" fmla="*/ 65 w 93"/>
                <a:gd name="T9" fmla="*/ 65 h 65"/>
                <a:gd name="T10" fmla="*/ 72 w 93"/>
                <a:gd name="T11" fmla="*/ 58 h 65"/>
                <a:gd name="T12" fmla="*/ 89 w 93"/>
                <a:gd name="T13" fmla="*/ 16 h 65"/>
                <a:gd name="T14" fmla="*/ 93 w 93"/>
                <a:gd name="T15" fmla="*/ 16 h 65"/>
                <a:gd name="T16" fmla="*/ 93 w 93"/>
                <a:gd name="T17" fmla="*/ 10 h 65"/>
                <a:gd name="T18" fmla="*/ 93 w 93"/>
                <a:gd name="T19" fmla="*/ 10 h 65"/>
                <a:gd name="T20" fmla="*/ 89 w 93"/>
                <a:gd name="T21" fmla="*/ 10 h 65"/>
                <a:gd name="T22" fmla="*/ 89 w 93"/>
                <a:gd name="T23" fmla="*/ 10 h 65"/>
                <a:gd name="T24" fmla="*/ 89 w 93"/>
                <a:gd name="T25" fmla="*/ 7 h 65"/>
                <a:gd name="T26" fmla="*/ 89 w 93"/>
                <a:gd name="T27" fmla="*/ 7 h 65"/>
                <a:gd name="T28" fmla="*/ 86 w 93"/>
                <a:gd name="T29" fmla="*/ 3 h 65"/>
                <a:gd name="T30" fmla="*/ 86 w 93"/>
                <a:gd name="T31" fmla="*/ 0 h 65"/>
                <a:gd name="T32" fmla="*/ 86 w 93"/>
                <a:gd name="T33" fmla="*/ 3 h 65"/>
                <a:gd name="T34" fmla="*/ 82 w 93"/>
                <a:gd name="T35" fmla="*/ 7 h 65"/>
                <a:gd name="T36" fmla="*/ 72 w 93"/>
                <a:gd name="T37" fmla="*/ 13 h 65"/>
                <a:gd name="T38" fmla="*/ 72 w 93"/>
                <a:gd name="T39" fmla="*/ 16 h 65"/>
                <a:gd name="T40" fmla="*/ 62 w 93"/>
                <a:gd name="T41" fmla="*/ 23 h 65"/>
                <a:gd name="T42" fmla="*/ 58 w 93"/>
                <a:gd name="T43" fmla="*/ 26 h 65"/>
                <a:gd name="T44" fmla="*/ 62 w 93"/>
                <a:gd name="T45" fmla="*/ 26 h 65"/>
                <a:gd name="T46" fmla="*/ 62 w 93"/>
                <a:gd name="T47" fmla="*/ 29 h 65"/>
                <a:gd name="T48" fmla="*/ 58 w 93"/>
                <a:gd name="T49" fmla="*/ 33 h 65"/>
                <a:gd name="T50" fmla="*/ 55 w 93"/>
                <a:gd name="T51" fmla="*/ 33 h 65"/>
                <a:gd name="T52" fmla="*/ 55 w 93"/>
                <a:gd name="T53" fmla="*/ 33 h 65"/>
                <a:gd name="T54" fmla="*/ 51 w 93"/>
                <a:gd name="T55" fmla="*/ 33 h 65"/>
                <a:gd name="T56" fmla="*/ 51 w 93"/>
                <a:gd name="T57" fmla="*/ 36 h 65"/>
                <a:gd name="T58" fmla="*/ 51 w 93"/>
                <a:gd name="T59" fmla="*/ 36 h 65"/>
                <a:gd name="T60" fmla="*/ 48 w 93"/>
                <a:gd name="T61" fmla="*/ 36 h 65"/>
                <a:gd name="T62" fmla="*/ 44 w 93"/>
                <a:gd name="T63" fmla="*/ 39 h 65"/>
                <a:gd name="T64" fmla="*/ 38 w 93"/>
                <a:gd name="T65" fmla="*/ 39 h 65"/>
                <a:gd name="T66" fmla="*/ 38 w 93"/>
                <a:gd name="T67" fmla="*/ 36 h 65"/>
                <a:gd name="T68" fmla="*/ 34 w 93"/>
                <a:gd name="T69" fmla="*/ 36 h 65"/>
                <a:gd name="T70" fmla="*/ 31 w 93"/>
                <a:gd name="T71" fmla="*/ 36 h 65"/>
                <a:gd name="T72" fmla="*/ 31 w 93"/>
                <a:gd name="T73" fmla="*/ 36 h 65"/>
                <a:gd name="T74" fmla="*/ 24 w 93"/>
                <a:gd name="T75" fmla="*/ 36 h 65"/>
                <a:gd name="T76" fmla="*/ 14 w 93"/>
                <a:gd name="T77" fmla="*/ 39 h 65"/>
                <a:gd name="T78" fmla="*/ 10 w 93"/>
                <a:gd name="T79" fmla="*/ 39 h 65"/>
                <a:gd name="T80" fmla="*/ 10 w 93"/>
                <a:gd name="T81" fmla="*/ 39 h 65"/>
                <a:gd name="T82" fmla="*/ 7 w 93"/>
                <a:gd name="T83" fmla="*/ 39 h 65"/>
                <a:gd name="T84" fmla="*/ 3 w 93"/>
                <a:gd name="T85" fmla="*/ 33 h 65"/>
                <a:gd name="T86" fmla="*/ 3 w 93"/>
                <a:gd name="T87" fmla="*/ 36 h 65"/>
                <a:gd name="T88" fmla="*/ 0 w 93"/>
                <a:gd name="T89" fmla="*/ 3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3" h="65">
                  <a:moveTo>
                    <a:pt x="0" y="33"/>
                  </a:moveTo>
                  <a:lnTo>
                    <a:pt x="0" y="39"/>
                  </a:lnTo>
                  <a:lnTo>
                    <a:pt x="7" y="45"/>
                  </a:lnTo>
                  <a:lnTo>
                    <a:pt x="10" y="58"/>
                  </a:lnTo>
                  <a:lnTo>
                    <a:pt x="65" y="65"/>
                  </a:lnTo>
                  <a:lnTo>
                    <a:pt x="72" y="58"/>
                  </a:lnTo>
                  <a:lnTo>
                    <a:pt x="89" y="16"/>
                  </a:lnTo>
                  <a:lnTo>
                    <a:pt x="93" y="16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6" y="3"/>
                  </a:lnTo>
                  <a:lnTo>
                    <a:pt x="86" y="0"/>
                  </a:lnTo>
                  <a:lnTo>
                    <a:pt x="86" y="3"/>
                  </a:lnTo>
                  <a:lnTo>
                    <a:pt x="82" y="7"/>
                  </a:lnTo>
                  <a:lnTo>
                    <a:pt x="72" y="13"/>
                  </a:lnTo>
                  <a:lnTo>
                    <a:pt x="72" y="16"/>
                  </a:lnTo>
                  <a:lnTo>
                    <a:pt x="62" y="23"/>
                  </a:lnTo>
                  <a:lnTo>
                    <a:pt x="58" y="26"/>
                  </a:lnTo>
                  <a:lnTo>
                    <a:pt x="62" y="26"/>
                  </a:lnTo>
                  <a:lnTo>
                    <a:pt x="62" y="29"/>
                  </a:lnTo>
                  <a:lnTo>
                    <a:pt x="58" y="33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51" y="33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8" y="36"/>
                  </a:lnTo>
                  <a:lnTo>
                    <a:pt x="44" y="39"/>
                  </a:lnTo>
                  <a:lnTo>
                    <a:pt x="38" y="39"/>
                  </a:lnTo>
                  <a:lnTo>
                    <a:pt x="38" y="36"/>
                  </a:lnTo>
                  <a:lnTo>
                    <a:pt x="34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24" y="36"/>
                  </a:lnTo>
                  <a:lnTo>
                    <a:pt x="14" y="39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7" y="39"/>
                  </a:lnTo>
                  <a:lnTo>
                    <a:pt x="3" y="33"/>
                  </a:lnTo>
                  <a:lnTo>
                    <a:pt x="3" y="36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92" name="Freeform 93"/>
            <p:cNvSpPr>
              <a:spLocks noEditPoints="1"/>
            </p:cNvSpPr>
            <p:nvPr/>
          </p:nvSpPr>
          <p:spPr bwMode="auto">
            <a:xfrm>
              <a:off x="5430838" y="3555067"/>
              <a:ext cx="87313" cy="30162"/>
            </a:xfrm>
            <a:custGeom>
              <a:avLst/>
              <a:gdLst>
                <a:gd name="T0" fmla="*/ 24 w 55"/>
                <a:gd name="T1" fmla="*/ 0 h 19"/>
                <a:gd name="T2" fmla="*/ 24 w 55"/>
                <a:gd name="T3" fmla="*/ 0 h 19"/>
                <a:gd name="T4" fmla="*/ 28 w 55"/>
                <a:gd name="T5" fmla="*/ 0 h 19"/>
                <a:gd name="T6" fmla="*/ 24 w 55"/>
                <a:gd name="T7" fmla="*/ 0 h 19"/>
                <a:gd name="T8" fmla="*/ 24 w 55"/>
                <a:gd name="T9" fmla="*/ 0 h 19"/>
                <a:gd name="T10" fmla="*/ 24 w 55"/>
                <a:gd name="T11" fmla="*/ 0 h 19"/>
                <a:gd name="T12" fmla="*/ 7 w 55"/>
                <a:gd name="T13" fmla="*/ 0 h 19"/>
                <a:gd name="T14" fmla="*/ 10 w 55"/>
                <a:gd name="T15" fmla="*/ 0 h 19"/>
                <a:gd name="T16" fmla="*/ 10 w 55"/>
                <a:gd name="T17" fmla="*/ 0 h 19"/>
                <a:gd name="T18" fmla="*/ 7 w 55"/>
                <a:gd name="T19" fmla="*/ 0 h 19"/>
                <a:gd name="T20" fmla="*/ 7 w 55"/>
                <a:gd name="T21" fmla="*/ 0 h 19"/>
                <a:gd name="T22" fmla="*/ 0 w 55"/>
                <a:gd name="T23" fmla="*/ 3 h 19"/>
                <a:gd name="T24" fmla="*/ 0 w 55"/>
                <a:gd name="T25" fmla="*/ 6 h 19"/>
                <a:gd name="T26" fmla="*/ 3 w 55"/>
                <a:gd name="T27" fmla="*/ 6 h 19"/>
                <a:gd name="T28" fmla="*/ 7 w 55"/>
                <a:gd name="T29" fmla="*/ 6 h 19"/>
                <a:gd name="T30" fmla="*/ 3 w 55"/>
                <a:gd name="T31" fmla="*/ 3 h 19"/>
                <a:gd name="T32" fmla="*/ 0 w 55"/>
                <a:gd name="T33" fmla="*/ 3 h 19"/>
                <a:gd name="T34" fmla="*/ 0 w 55"/>
                <a:gd name="T35" fmla="*/ 3 h 19"/>
                <a:gd name="T36" fmla="*/ 52 w 55"/>
                <a:gd name="T37" fmla="*/ 16 h 19"/>
                <a:gd name="T38" fmla="*/ 48 w 55"/>
                <a:gd name="T39" fmla="*/ 19 h 19"/>
                <a:gd name="T40" fmla="*/ 48 w 55"/>
                <a:gd name="T41" fmla="*/ 19 h 19"/>
                <a:gd name="T42" fmla="*/ 55 w 55"/>
                <a:gd name="T43" fmla="*/ 19 h 19"/>
                <a:gd name="T44" fmla="*/ 55 w 55"/>
                <a:gd name="T45" fmla="*/ 19 h 19"/>
                <a:gd name="T46" fmla="*/ 55 w 55"/>
                <a:gd name="T47" fmla="*/ 16 h 19"/>
                <a:gd name="T48" fmla="*/ 52 w 55"/>
                <a:gd name="T49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5" h="19">
                  <a:moveTo>
                    <a:pt x="24" y="0"/>
                  </a:moveTo>
                  <a:lnTo>
                    <a:pt x="24" y="0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7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close/>
                  <a:moveTo>
                    <a:pt x="0" y="3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close/>
                  <a:moveTo>
                    <a:pt x="52" y="16"/>
                  </a:moveTo>
                  <a:lnTo>
                    <a:pt x="48" y="19"/>
                  </a:lnTo>
                  <a:lnTo>
                    <a:pt x="48" y="19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5" y="16"/>
                  </a:lnTo>
                  <a:lnTo>
                    <a:pt x="5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93" name="Freeform 94"/>
            <p:cNvSpPr>
              <a:spLocks/>
            </p:cNvSpPr>
            <p:nvPr/>
          </p:nvSpPr>
          <p:spPr bwMode="auto">
            <a:xfrm>
              <a:off x="5757863" y="3734455"/>
              <a:ext cx="11113" cy="4762"/>
            </a:xfrm>
            <a:custGeom>
              <a:avLst/>
              <a:gdLst>
                <a:gd name="T0" fmla="*/ 4 w 7"/>
                <a:gd name="T1" fmla="*/ 3 h 3"/>
                <a:gd name="T2" fmla="*/ 0 w 7"/>
                <a:gd name="T3" fmla="*/ 3 h 3"/>
                <a:gd name="T4" fmla="*/ 0 w 7"/>
                <a:gd name="T5" fmla="*/ 0 h 3"/>
                <a:gd name="T6" fmla="*/ 7 w 7"/>
                <a:gd name="T7" fmla="*/ 0 h 3"/>
                <a:gd name="T8" fmla="*/ 7 w 7"/>
                <a:gd name="T9" fmla="*/ 3 h 3"/>
                <a:gd name="T10" fmla="*/ 7 w 7"/>
                <a:gd name="T11" fmla="*/ 3 h 3"/>
                <a:gd name="T12" fmla="*/ 4 w 7"/>
                <a:gd name="T13" fmla="*/ 3 h 3"/>
                <a:gd name="T14" fmla="*/ 4 w 7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4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3"/>
                  </a:lnTo>
                  <a:lnTo>
                    <a:pt x="7" y="3"/>
                  </a:lnTo>
                  <a:lnTo>
                    <a:pt x="4" y="3"/>
                  </a:lnTo>
                  <a:lnTo>
                    <a:pt x="4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94" name="Freeform 95"/>
            <p:cNvSpPr>
              <a:spLocks noEditPoints="1"/>
            </p:cNvSpPr>
            <p:nvPr/>
          </p:nvSpPr>
          <p:spPr bwMode="auto">
            <a:xfrm>
              <a:off x="5730876" y="3842405"/>
              <a:ext cx="136525" cy="46037"/>
            </a:xfrm>
            <a:custGeom>
              <a:avLst/>
              <a:gdLst>
                <a:gd name="T0" fmla="*/ 14 w 86"/>
                <a:gd name="T1" fmla="*/ 19 h 29"/>
                <a:gd name="T2" fmla="*/ 14 w 86"/>
                <a:gd name="T3" fmla="*/ 19 h 29"/>
                <a:gd name="T4" fmla="*/ 14 w 86"/>
                <a:gd name="T5" fmla="*/ 19 h 29"/>
                <a:gd name="T6" fmla="*/ 14 w 86"/>
                <a:gd name="T7" fmla="*/ 19 h 29"/>
                <a:gd name="T8" fmla="*/ 14 w 86"/>
                <a:gd name="T9" fmla="*/ 19 h 29"/>
                <a:gd name="T10" fmla="*/ 14 w 86"/>
                <a:gd name="T11" fmla="*/ 19 h 29"/>
                <a:gd name="T12" fmla="*/ 14 w 86"/>
                <a:gd name="T13" fmla="*/ 19 h 29"/>
                <a:gd name="T14" fmla="*/ 14 w 86"/>
                <a:gd name="T15" fmla="*/ 19 h 29"/>
                <a:gd name="T16" fmla="*/ 0 w 86"/>
                <a:gd name="T17" fmla="*/ 26 h 29"/>
                <a:gd name="T18" fmla="*/ 0 w 86"/>
                <a:gd name="T19" fmla="*/ 26 h 29"/>
                <a:gd name="T20" fmla="*/ 0 w 86"/>
                <a:gd name="T21" fmla="*/ 26 h 29"/>
                <a:gd name="T22" fmla="*/ 4 w 86"/>
                <a:gd name="T23" fmla="*/ 26 h 29"/>
                <a:gd name="T24" fmla="*/ 4 w 86"/>
                <a:gd name="T25" fmla="*/ 26 h 29"/>
                <a:gd name="T26" fmla="*/ 0 w 86"/>
                <a:gd name="T27" fmla="*/ 29 h 29"/>
                <a:gd name="T28" fmla="*/ 0 w 86"/>
                <a:gd name="T29" fmla="*/ 26 h 29"/>
                <a:gd name="T30" fmla="*/ 0 w 86"/>
                <a:gd name="T31" fmla="*/ 26 h 29"/>
                <a:gd name="T32" fmla="*/ 4 w 86"/>
                <a:gd name="T33" fmla="*/ 13 h 29"/>
                <a:gd name="T34" fmla="*/ 4 w 86"/>
                <a:gd name="T35" fmla="*/ 9 h 29"/>
                <a:gd name="T36" fmla="*/ 4 w 86"/>
                <a:gd name="T37" fmla="*/ 6 h 29"/>
                <a:gd name="T38" fmla="*/ 4 w 86"/>
                <a:gd name="T39" fmla="*/ 6 h 29"/>
                <a:gd name="T40" fmla="*/ 4 w 86"/>
                <a:gd name="T41" fmla="*/ 6 h 29"/>
                <a:gd name="T42" fmla="*/ 4 w 86"/>
                <a:gd name="T43" fmla="*/ 6 h 29"/>
                <a:gd name="T44" fmla="*/ 7 w 86"/>
                <a:gd name="T45" fmla="*/ 6 h 29"/>
                <a:gd name="T46" fmla="*/ 7 w 86"/>
                <a:gd name="T47" fmla="*/ 13 h 29"/>
                <a:gd name="T48" fmla="*/ 7 w 86"/>
                <a:gd name="T49" fmla="*/ 13 h 29"/>
                <a:gd name="T50" fmla="*/ 4 w 86"/>
                <a:gd name="T51" fmla="*/ 13 h 29"/>
                <a:gd name="T52" fmla="*/ 4 w 86"/>
                <a:gd name="T53" fmla="*/ 13 h 29"/>
                <a:gd name="T54" fmla="*/ 35 w 86"/>
                <a:gd name="T55" fmla="*/ 16 h 29"/>
                <a:gd name="T56" fmla="*/ 31 w 86"/>
                <a:gd name="T57" fmla="*/ 16 h 29"/>
                <a:gd name="T58" fmla="*/ 24 w 86"/>
                <a:gd name="T59" fmla="*/ 22 h 29"/>
                <a:gd name="T60" fmla="*/ 21 w 86"/>
                <a:gd name="T61" fmla="*/ 19 h 29"/>
                <a:gd name="T62" fmla="*/ 17 w 86"/>
                <a:gd name="T63" fmla="*/ 16 h 29"/>
                <a:gd name="T64" fmla="*/ 21 w 86"/>
                <a:gd name="T65" fmla="*/ 16 h 29"/>
                <a:gd name="T66" fmla="*/ 24 w 86"/>
                <a:gd name="T67" fmla="*/ 16 h 29"/>
                <a:gd name="T68" fmla="*/ 28 w 86"/>
                <a:gd name="T69" fmla="*/ 13 h 29"/>
                <a:gd name="T70" fmla="*/ 31 w 86"/>
                <a:gd name="T71" fmla="*/ 13 h 29"/>
                <a:gd name="T72" fmla="*/ 35 w 86"/>
                <a:gd name="T73" fmla="*/ 13 h 29"/>
                <a:gd name="T74" fmla="*/ 35 w 86"/>
                <a:gd name="T75" fmla="*/ 16 h 29"/>
                <a:gd name="T76" fmla="*/ 35 w 86"/>
                <a:gd name="T77" fmla="*/ 16 h 29"/>
                <a:gd name="T78" fmla="*/ 42 w 86"/>
                <a:gd name="T79" fmla="*/ 19 h 29"/>
                <a:gd name="T80" fmla="*/ 42 w 86"/>
                <a:gd name="T81" fmla="*/ 22 h 29"/>
                <a:gd name="T82" fmla="*/ 45 w 86"/>
                <a:gd name="T83" fmla="*/ 26 h 29"/>
                <a:gd name="T84" fmla="*/ 48 w 86"/>
                <a:gd name="T85" fmla="*/ 22 h 29"/>
                <a:gd name="T86" fmla="*/ 48 w 86"/>
                <a:gd name="T87" fmla="*/ 22 h 29"/>
                <a:gd name="T88" fmla="*/ 48 w 86"/>
                <a:gd name="T89" fmla="*/ 19 h 29"/>
                <a:gd name="T90" fmla="*/ 45 w 86"/>
                <a:gd name="T91" fmla="*/ 19 h 29"/>
                <a:gd name="T92" fmla="*/ 42 w 86"/>
                <a:gd name="T93" fmla="*/ 19 h 29"/>
                <a:gd name="T94" fmla="*/ 42 w 86"/>
                <a:gd name="T95" fmla="*/ 19 h 29"/>
                <a:gd name="T96" fmla="*/ 79 w 86"/>
                <a:gd name="T97" fmla="*/ 6 h 29"/>
                <a:gd name="T98" fmla="*/ 79 w 86"/>
                <a:gd name="T99" fmla="*/ 3 h 29"/>
                <a:gd name="T100" fmla="*/ 83 w 86"/>
                <a:gd name="T101" fmla="*/ 0 h 29"/>
                <a:gd name="T102" fmla="*/ 86 w 86"/>
                <a:gd name="T103" fmla="*/ 3 h 29"/>
                <a:gd name="T104" fmla="*/ 83 w 86"/>
                <a:gd name="T105" fmla="*/ 3 h 29"/>
                <a:gd name="T106" fmla="*/ 79 w 86"/>
                <a:gd name="T107" fmla="*/ 6 h 29"/>
                <a:gd name="T108" fmla="*/ 79 w 86"/>
                <a:gd name="T109" fmla="*/ 6 h 29"/>
                <a:gd name="T110" fmla="*/ 66 w 86"/>
                <a:gd name="T111" fmla="*/ 19 h 29"/>
                <a:gd name="T112" fmla="*/ 69 w 86"/>
                <a:gd name="T113" fmla="*/ 16 h 29"/>
                <a:gd name="T114" fmla="*/ 69 w 86"/>
                <a:gd name="T115" fmla="*/ 13 h 29"/>
                <a:gd name="T116" fmla="*/ 76 w 86"/>
                <a:gd name="T117" fmla="*/ 9 h 29"/>
                <a:gd name="T118" fmla="*/ 76 w 86"/>
                <a:gd name="T119" fmla="*/ 13 h 29"/>
                <a:gd name="T120" fmla="*/ 72 w 86"/>
                <a:gd name="T121" fmla="*/ 19 h 29"/>
                <a:gd name="T122" fmla="*/ 69 w 86"/>
                <a:gd name="T123" fmla="*/ 19 h 29"/>
                <a:gd name="T124" fmla="*/ 66 w 86"/>
                <a:gd name="T125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6" h="29">
                  <a:moveTo>
                    <a:pt x="14" y="19"/>
                  </a:move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close/>
                  <a:moveTo>
                    <a:pt x="0" y="26"/>
                  </a:moveTo>
                  <a:lnTo>
                    <a:pt x="0" y="26"/>
                  </a:lnTo>
                  <a:lnTo>
                    <a:pt x="0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0" y="29"/>
                  </a:lnTo>
                  <a:lnTo>
                    <a:pt x="0" y="26"/>
                  </a:lnTo>
                  <a:lnTo>
                    <a:pt x="0" y="26"/>
                  </a:lnTo>
                  <a:close/>
                  <a:moveTo>
                    <a:pt x="4" y="13"/>
                  </a:moveTo>
                  <a:lnTo>
                    <a:pt x="4" y="9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4" y="13"/>
                  </a:lnTo>
                  <a:lnTo>
                    <a:pt x="4" y="13"/>
                  </a:lnTo>
                  <a:close/>
                  <a:moveTo>
                    <a:pt x="35" y="16"/>
                  </a:moveTo>
                  <a:lnTo>
                    <a:pt x="31" y="16"/>
                  </a:lnTo>
                  <a:lnTo>
                    <a:pt x="24" y="22"/>
                  </a:lnTo>
                  <a:lnTo>
                    <a:pt x="21" y="19"/>
                  </a:lnTo>
                  <a:lnTo>
                    <a:pt x="17" y="16"/>
                  </a:lnTo>
                  <a:lnTo>
                    <a:pt x="21" y="16"/>
                  </a:lnTo>
                  <a:lnTo>
                    <a:pt x="24" y="16"/>
                  </a:lnTo>
                  <a:lnTo>
                    <a:pt x="28" y="13"/>
                  </a:lnTo>
                  <a:lnTo>
                    <a:pt x="31" y="13"/>
                  </a:lnTo>
                  <a:lnTo>
                    <a:pt x="35" y="13"/>
                  </a:lnTo>
                  <a:lnTo>
                    <a:pt x="35" y="16"/>
                  </a:lnTo>
                  <a:lnTo>
                    <a:pt x="35" y="16"/>
                  </a:lnTo>
                  <a:close/>
                  <a:moveTo>
                    <a:pt x="42" y="19"/>
                  </a:moveTo>
                  <a:lnTo>
                    <a:pt x="42" y="22"/>
                  </a:lnTo>
                  <a:lnTo>
                    <a:pt x="45" y="26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19"/>
                  </a:lnTo>
                  <a:lnTo>
                    <a:pt x="45" y="19"/>
                  </a:lnTo>
                  <a:lnTo>
                    <a:pt x="42" y="19"/>
                  </a:lnTo>
                  <a:lnTo>
                    <a:pt x="42" y="19"/>
                  </a:lnTo>
                  <a:close/>
                  <a:moveTo>
                    <a:pt x="79" y="6"/>
                  </a:moveTo>
                  <a:lnTo>
                    <a:pt x="79" y="3"/>
                  </a:lnTo>
                  <a:lnTo>
                    <a:pt x="83" y="0"/>
                  </a:lnTo>
                  <a:lnTo>
                    <a:pt x="86" y="3"/>
                  </a:lnTo>
                  <a:lnTo>
                    <a:pt x="83" y="3"/>
                  </a:lnTo>
                  <a:lnTo>
                    <a:pt x="79" y="6"/>
                  </a:lnTo>
                  <a:lnTo>
                    <a:pt x="79" y="6"/>
                  </a:lnTo>
                  <a:close/>
                  <a:moveTo>
                    <a:pt x="66" y="19"/>
                  </a:moveTo>
                  <a:lnTo>
                    <a:pt x="69" y="16"/>
                  </a:lnTo>
                  <a:lnTo>
                    <a:pt x="69" y="13"/>
                  </a:lnTo>
                  <a:lnTo>
                    <a:pt x="76" y="9"/>
                  </a:lnTo>
                  <a:lnTo>
                    <a:pt x="76" y="13"/>
                  </a:lnTo>
                  <a:lnTo>
                    <a:pt x="72" y="19"/>
                  </a:lnTo>
                  <a:lnTo>
                    <a:pt x="69" y="19"/>
                  </a:lnTo>
                  <a:lnTo>
                    <a:pt x="6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95" name="Freeform 96"/>
            <p:cNvSpPr>
              <a:spLocks noEditPoints="1"/>
            </p:cNvSpPr>
            <p:nvPr/>
          </p:nvSpPr>
          <p:spPr bwMode="auto">
            <a:xfrm>
              <a:off x="5495926" y="4171017"/>
              <a:ext cx="82550" cy="60325"/>
            </a:xfrm>
            <a:custGeom>
              <a:avLst/>
              <a:gdLst>
                <a:gd name="T0" fmla="*/ 7 w 52"/>
                <a:gd name="T1" fmla="*/ 3 h 38"/>
                <a:gd name="T2" fmla="*/ 11 w 52"/>
                <a:gd name="T3" fmla="*/ 0 h 38"/>
                <a:gd name="T4" fmla="*/ 11 w 52"/>
                <a:gd name="T5" fmla="*/ 0 h 38"/>
                <a:gd name="T6" fmla="*/ 7 w 52"/>
                <a:gd name="T7" fmla="*/ 0 h 38"/>
                <a:gd name="T8" fmla="*/ 4 w 52"/>
                <a:gd name="T9" fmla="*/ 0 h 38"/>
                <a:gd name="T10" fmla="*/ 0 w 52"/>
                <a:gd name="T11" fmla="*/ 0 h 38"/>
                <a:gd name="T12" fmla="*/ 4 w 52"/>
                <a:gd name="T13" fmla="*/ 3 h 38"/>
                <a:gd name="T14" fmla="*/ 4 w 52"/>
                <a:gd name="T15" fmla="*/ 3 h 38"/>
                <a:gd name="T16" fmla="*/ 7 w 52"/>
                <a:gd name="T17" fmla="*/ 3 h 38"/>
                <a:gd name="T18" fmla="*/ 7 w 52"/>
                <a:gd name="T19" fmla="*/ 3 h 38"/>
                <a:gd name="T20" fmla="*/ 11 w 52"/>
                <a:gd name="T21" fmla="*/ 6 h 38"/>
                <a:gd name="T22" fmla="*/ 11 w 52"/>
                <a:gd name="T23" fmla="*/ 3 h 38"/>
                <a:gd name="T24" fmla="*/ 11 w 52"/>
                <a:gd name="T25" fmla="*/ 3 h 38"/>
                <a:gd name="T26" fmla="*/ 14 w 52"/>
                <a:gd name="T27" fmla="*/ 3 h 38"/>
                <a:gd name="T28" fmla="*/ 14 w 52"/>
                <a:gd name="T29" fmla="*/ 3 h 38"/>
                <a:gd name="T30" fmla="*/ 14 w 52"/>
                <a:gd name="T31" fmla="*/ 3 h 38"/>
                <a:gd name="T32" fmla="*/ 11 w 52"/>
                <a:gd name="T33" fmla="*/ 6 h 38"/>
                <a:gd name="T34" fmla="*/ 11 w 52"/>
                <a:gd name="T35" fmla="*/ 6 h 38"/>
                <a:gd name="T36" fmla="*/ 24 w 52"/>
                <a:gd name="T37" fmla="*/ 9 h 38"/>
                <a:gd name="T38" fmla="*/ 24 w 52"/>
                <a:gd name="T39" fmla="*/ 9 h 38"/>
                <a:gd name="T40" fmla="*/ 24 w 52"/>
                <a:gd name="T41" fmla="*/ 9 h 38"/>
                <a:gd name="T42" fmla="*/ 21 w 52"/>
                <a:gd name="T43" fmla="*/ 6 h 38"/>
                <a:gd name="T44" fmla="*/ 21 w 52"/>
                <a:gd name="T45" fmla="*/ 6 h 38"/>
                <a:gd name="T46" fmla="*/ 24 w 52"/>
                <a:gd name="T47" fmla="*/ 6 h 38"/>
                <a:gd name="T48" fmla="*/ 28 w 52"/>
                <a:gd name="T49" fmla="*/ 6 h 38"/>
                <a:gd name="T50" fmla="*/ 28 w 52"/>
                <a:gd name="T51" fmla="*/ 9 h 38"/>
                <a:gd name="T52" fmla="*/ 28 w 52"/>
                <a:gd name="T53" fmla="*/ 9 h 38"/>
                <a:gd name="T54" fmla="*/ 24 w 52"/>
                <a:gd name="T55" fmla="*/ 9 h 38"/>
                <a:gd name="T56" fmla="*/ 24 w 52"/>
                <a:gd name="T57" fmla="*/ 9 h 38"/>
                <a:gd name="T58" fmla="*/ 31 w 52"/>
                <a:gd name="T59" fmla="*/ 9 h 38"/>
                <a:gd name="T60" fmla="*/ 31 w 52"/>
                <a:gd name="T61" fmla="*/ 9 h 38"/>
                <a:gd name="T62" fmla="*/ 28 w 52"/>
                <a:gd name="T63" fmla="*/ 9 h 38"/>
                <a:gd name="T64" fmla="*/ 31 w 52"/>
                <a:gd name="T65" fmla="*/ 6 h 38"/>
                <a:gd name="T66" fmla="*/ 31 w 52"/>
                <a:gd name="T67" fmla="*/ 9 h 38"/>
                <a:gd name="T68" fmla="*/ 31 w 52"/>
                <a:gd name="T69" fmla="*/ 9 h 38"/>
                <a:gd name="T70" fmla="*/ 48 w 52"/>
                <a:gd name="T71" fmla="*/ 6 h 38"/>
                <a:gd name="T72" fmla="*/ 48 w 52"/>
                <a:gd name="T73" fmla="*/ 3 h 38"/>
                <a:gd name="T74" fmla="*/ 48 w 52"/>
                <a:gd name="T75" fmla="*/ 3 h 38"/>
                <a:gd name="T76" fmla="*/ 48 w 52"/>
                <a:gd name="T77" fmla="*/ 6 h 38"/>
                <a:gd name="T78" fmla="*/ 48 w 52"/>
                <a:gd name="T79" fmla="*/ 6 h 38"/>
                <a:gd name="T80" fmla="*/ 48 w 52"/>
                <a:gd name="T81" fmla="*/ 6 h 38"/>
                <a:gd name="T82" fmla="*/ 48 w 52"/>
                <a:gd name="T83" fmla="*/ 19 h 38"/>
                <a:gd name="T84" fmla="*/ 45 w 52"/>
                <a:gd name="T85" fmla="*/ 16 h 38"/>
                <a:gd name="T86" fmla="*/ 48 w 52"/>
                <a:gd name="T87" fmla="*/ 12 h 38"/>
                <a:gd name="T88" fmla="*/ 52 w 52"/>
                <a:gd name="T89" fmla="*/ 16 h 38"/>
                <a:gd name="T90" fmla="*/ 52 w 52"/>
                <a:gd name="T91" fmla="*/ 16 h 38"/>
                <a:gd name="T92" fmla="*/ 48 w 52"/>
                <a:gd name="T93" fmla="*/ 19 h 38"/>
                <a:gd name="T94" fmla="*/ 48 w 52"/>
                <a:gd name="T95" fmla="*/ 19 h 38"/>
                <a:gd name="T96" fmla="*/ 48 w 52"/>
                <a:gd name="T97" fmla="*/ 19 h 38"/>
                <a:gd name="T98" fmla="*/ 42 w 52"/>
                <a:gd name="T99" fmla="*/ 32 h 38"/>
                <a:gd name="T100" fmla="*/ 42 w 52"/>
                <a:gd name="T101" fmla="*/ 32 h 38"/>
                <a:gd name="T102" fmla="*/ 45 w 52"/>
                <a:gd name="T103" fmla="*/ 32 h 38"/>
                <a:gd name="T104" fmla="*/ 45 w 52"/>
                <a:gd name="T105" fmla="*/ 32 h 38"/>
                <a:gd name="T106" fmla="*/ 42 w 52"/>
                <a:gd name="T107" fmla="*/ 32 h 38"/>
                <a:gd name="T108" fmla="*/ 42 w 52"/>
                <a:gd name="T109" fmla="*/ 32 h 38"/>
                <a:gd name="T110" fmla="*/ 35 w 52"/>
                <a:gd name="T111" fmla="*/ 35 h 38"/>
                <a:gd name="T112" fmla="*/ 35 w 52"/>
                <a:gd name="T113" fmla="*/ 32 h 38"/>
                <a:gd name="T114" fmla="*/ 31 w 52"/>
                <a:gd name="T115" fmla="*/ 32 h 38"/>
                <a:gd name="T116" fmla="*/ 35 w 52"/>
                <a:gd name="T117" fmla="*/ 32 h 38"/>
                <a:gd name="T118" fmla="*/ 38 w 52"/>
                <a:gd name="T119" fmla="*/ 35 h 38"/>
                <a:gd name="T120" fmla="*/ 38 w 52"/>
                <a:gd name="T121" fmla="*/ 38 h 38"/>
                <a:gd name="T122" fmla="*/ 35 w 52"/>
                <a:gd name="T123" fmla="*/ 3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" h="38">
                  <a:moveTo>
                    <a:pt x="7" y="3"/>
                  </a:moveTo>
                  <a:lnTo>
                    <a:pt x="11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7" y="3"/>
                  </a:lnTo>
                  <a:lnTo>
                    <a:pt x="7" y="3"/>
                  </a:lnTo>
                  <a:close/>
                  <a:moveTo>
                    <a:pt x="11" y="6"/>
                  </a:moveTo>
                  <a:lnTo>
                    <a:pt x="11" y="3"/>
                  </a:lnTo>
                  <a:lnTo>
                    <a:pt x="11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1" y="6"/>
                  </a:lnTo>
                  <a:lnTo>
                    <a:pt x="11" y="6"/>
                  </a:lnTo>
                  <a:close/>
                  <a:moveTo>
                    <a:pt x="24" y="9"/>
                  </a:moveTo>
                  <a:lnTo>
                    <a:pt x="24" y="9"/>
                  </a:lnTo>
                  <a:lnTo>
                    <a:pt x="24" y="9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8" y="6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4" y="9"/>
                  </a:lnTo>
                  <a:lnTo>
                    <a:pt x="24" y="9"/>
                  </a:lnTo>
                  <a:close/>
                  <a:moveTo>
                    <a:pt x="31" y="9"/>
                  </a:moveTo>
                  <a:lnTo>
                    <a:pt x="31" y="9"/>
                  </a:lnTo>
                  <a:lnTo>
                    <a:pt x="28" y="9"/>
                  </a:lnTo>
                  <a:lnTo>
                    <a:pt x="31" y="6"/>
                  </a:lnTo>
                  <a:lnTo>
                    <a:pt x="31" y="9"/>
                  </a:lnTo>
                  <a:lnTo>
                    <a:pt x="31" y="9"/>
                  </a:lnTo>
                  <a:close/>
                  <a:moveTo>
                    <a:pt x="48" y="6"/>
                  </a:moveTo>
                  <a:lnTo>
                    <a:pt x="48" y="3"/>
                  </a:lnTo>
                  <a:lnTo>
                    <a:pt x="48" y="3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close/>
                  <a:moveTo>
                    <a:pt x="48" y="19"/>
                  </a:moveTo>
                  <a:lnTo>
                    <a:pt x="45" y="16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9"/>
                  </a:lnTo>
                  <a:close/>
                  <a:moveTo>
                    <a:pt x="42" y="32"/>
                  </a:moveTo>
                  <a:lnTo>
                    <a:pt x="42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2" y="32"/>
                  </a:lnTo>
                  <a:lnTo>
                    <a:pt x="42" y="32"/>
                  </a:lnTo>
                  <a:close/>
                  <a:moveTo>
                    <a:pt x="35" y="35"/>
                  </a:moveTo>
                  <a:lnTo>
                    <a:pt x="35" y="32"/>
                  </a:lnTo>
                  <a:lnTo>
                    <a:pt x="31" y="32"/>
                  </a:lnTo>
                  <a:lnTo>
                    <a:pt x="35" y="32"/>
                  </a:lnTo>
                  <a:lnTo>
                    <a:pt x="38" y="35"/>
                  </a:lnTo>
                  <a:lnTo>
                    <a:pt x="38" y="38"/>
                  </a:lnTo>
                  <a:lnTo>
                    <a:pt x="3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96" name="Freeform 97"/>
            <p:cNvSpPr>
              <a:spLocks noEditPoints="1"/>
            </p:cNvSpPr>
            <p:nvPr/>
          </p:nvSpPr>
          <p:spPr bwMode="auto">
            <a:xfrm>
              <a:off x="7850188" y="3909080"/>
              <a:ext cx="234950" cy="276225"/>
            </a:xfrm>
            <a:custGeom>
              <a:avLst/>
              <a:gdLst>
                <a:gd name="T0" fmla="*/ 58 w 148"/>
                <a:gd name="T1" fmla="*/ 113 h 174"/>
                <a:gd name="T2" fmla="*/ 55 w 148"/>
                <a:gd name="T3" fmla="*/ 64 h 174"/>
                <a:gd name="T4" fmla="*/ 76 w 148"/>
                <a:gd name="T5" fmla="*/ 22 h 174"/>
                <a:gd name="T6" fmla="*/ 83 w 148"/>
                <a:gd name="T7" fmla="*/ 39 h 174"/>
                <a:gd name="T8" fmla="*/ 96 w 148"/>
                <a:gd name="T9" fmla="*/ 48 h 174"/>
                <a:gd name="T10" fmla="*/ 103 w 148"/>
                <a:gd name="T11" fmla="*/ 48 h 174"/>
                <a:gd name="T12" fmla="*/ 113 w 148"/>
                <a:gd name="T13" fmla="*/ 48 h 174"/>
                <a:gd name="T14" fmla="*/ 124 w 148"/>
                <a:gd name="T15" fmla="*/ 48 h 174"/>
                <a:gd name="T16" fmla="*/ 131 w 148"/>
                <a:gd name="T17" fmla="*/ 58 h 174"/>
                <a:gd name="T18" fmla="*/ 134 w 148"/>
                <a:gd name="T19" fmla="*/ 64 h 174"/>
                <a:gd name="T20" fmla="*/ 144 w 148"/>
                <a:gd name="T21" fmla="*/ 71 h 174"/>
                <a:gd name="T22" fmla="*/ 144 w 148"/>
                <a:gd name="T23" fmla="*/ 74 h 174"/>
                <a:gd name="T24" fmla="*/ 144 w 148"/>
                <a:gd name="T25" fmla="*/ 81 h 174"/>
                <a:gd name="T26" fmla="*/ 138 w 148"/>
                <a:gd name="T27" fmla="*/ 93 h 174"/>
                <a:gd name="T28" fmla="*/ 131 w 148"/>
                <a:gd name="T29" fmla="*/ 100 h 174"/>
                <a:gd name="T30" fmla="*/ 124 w 148"/>
                <a:gd name="T31" fmla="*/ 106 h 174"/>
                <a:gd name="T32" fmla="*/ 120 w 148"/>
                <a:gd name="T33" fmla="*/ 106 h 174"/>
                <a:gd name="T34" fmla="*/ 120 w 148"/>
                <a:gd name="T35" fmla="*/ 103 h 174"/>
                <a:gd name="T36" fmla="*/ 117 w 148"/>
                <a:gd name="T37" fmla="*/ 103 h 174"/>
                <a:gd name="T38" fmla="*/ 113 w 148"/>
                <a:gd name="T39" fmla="*/ 106 h 174"/>
                <a:gd name="T40" fmla="*/ 113 w 148"/>
                <a:gd name="T41" fmla="*/ 110 h 174"/>
                <a:gd name="T42" fmla="*/ 110 w 148"/>
                <a:gd name="T43" fmla="*/ 119 h 174"/>
                <a:gd name="T44" fmla="*/ 110 w 148"/>
                <a:gd name="T45" fmla="*/ 123 h 174"/>
                <a:gd name="T46" fmla="*/ 110 w 148"/>
                <a:gd name="T47" fmla="*/ 123 h 174"/>
                <a:gd name="T48" fmla="*/ 117 w 148"/>
                <a:gd name="T49" fmla="*/ 132 h 174"/>
                <a:gd name="T50" fmla="*/ 107 w 148"/>
                <a:gd name="T51" fmla="*/ 132 h 174"/>
                <a:gd name="T52" fmla="*/ 100 w 148"/>
                <a:gd name="T53" fmla="*/ 132 h 174"/>
                <a:gd name="T54" fmla="*/ 89 w 148"/>
                <a:gd name="T55" fmla="*/ 142 h 174"/>
                <a:gd name="T56" fmla="*/ 86 w 148"/>
                <a:gd name="T57" fmla="*/ 148 h 174"/>
                <a:gd name="T58" fmla="*/ 83 w 148"/>
                <a:gd name="T59" fmla="*/ 152 h 174"/>
                <a:gd name="T60" fmla="*/ 69 w 148"/>
                <a:gd name="T61" fmla="*/ 152 h 174"/>
                <a:gd name="T62" fmla="*/ 65 w 148"/>
                <a:gd name="T63" fmla="*/ 155 h 174"/>
                <a:gd name="T64" fmla="*/ 65 w 148"/>
                <a:gd name="T65" fmla="*/ 158 h 174"/>
                <a:gd name="T66" fmla="*/ 65 w 148"/>
                <a:gd name="T67" fmla="*/ 161 h 174"/>
                <a:gd name="T68" fmla="*/ 65 w 148"/>
                <a:gd name="T69" fmla="*/ 161 h 174"/>
                <a:gd name="T70" fmla="*/ 58 w 148"/>
                <a:gd name="T71" fmla="*/ 168 h 174"/>
                <a:gd name="T72" fmla="*/ 52 w 148"/>
                <a:gd name="T73" fmla="*/ 168 h 174"/>
                <a:gd name="T74" fmla="*/ 41 w 148"/>
                <a:gd name="T75" fmla="*/ 171 h 174"/>
                <a:gd name="T76" fmla="*/ 34 w 148"/>
                <a:gd name="T77" fmla="*/ 174 h 174"/>
                <a:gd name="T78" fmla="*/ 31 w 148"/>
                <a:gd name="T79" fmla="*/ 174 h 174"/>
                <a:gd name="T80" fmla="*/ 17 w 148"/>
                <a:gd name="T81" fmla="*/ 161 h 174"/>
                <a:gd name="T82" fmla="*/ 0 w 148"/>
                <a:gd name="T83" fmla="*/ 135 h 174"/>
                <a:gd name="T84" fmla="*/ 3 w 148"/>
                <a:gd name="T85" fmla="*/ 129 h 174"/>
                <a:gd name="T86" fmla="*/ 72 w 148"/>
                <a:gd name="T87" fmla="*/ 13 h 174"/>
                <a:gd name="T88" fmla="*/ 76 w 148"/>
                <a:gd name="T89" fmla="*/ 6 h 174"/>
                <a:gd name="T90" fmla="*/ 76 w 148"/>
                <a:gd name="T91" fmla="*/ 3 h 174"/>
                <a:gd name="T92" fmla="*/ 76 w 148"/>
                <a:gd name="T93" fmla="*/ 0 h 174"/>
                <a:gd name="T94" fmla="*/ 76 w 148"/>
                <a:gd name="T95" fmla="*/ 0 h 174"/>
                <a:gd name="T96" fmla="*/ 72 w 148"/>
                <a:gd name="T97" fmla="*/ 0 h 174"/>
                <a:gd name="T98" fmla="*/ 69 w 148"/>
                <a:gd name="T99" fmla="*/ 6 h 174"/>
                <a:gd name="T100" fmla="*/ 69 w 148"/>
                <a:gd name="T101" fmla="*/ 6 h 174"/>
                <a:gd name="T102" fmla="*/ 69 w 148"/>
                <a:gd name="T103" fmla="*/ 9 h 174"/>
                <a:gd name="T104" fmla="*/ 72 w 148"/>
                <a:gd name="T105" fmla="*/ 13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8" h="174">
                  <a:moveTo>
                    <a:pt x="3" y="129"/>
                  </a:moveTo>
                  <a:lnTo>
                    <a:pt x="58" y="113"/>
                  </a:lnTo>
                  <a:lnTo>
                    <a:pt x="62" y="77"/>
                  </a:lnTo>
                  <a:lnTo>
                    <a:pt x="55" y="64"/>
                  </a:lnTo>
                  <a:lnTo>
                    <a:pt x="72" y="22"/>
                  </a:lnTo>
                  <a:lnTo>
                    <a:pt x="76" y="22"/>
                  </a:lnTo>
                  <a:lnTo>
                    <a:pt x="79" y="32"/>
                  </a:lnTo>
                  <a:lnTo>
                    <a:pt x="83" y="39"/>
                  </a:lnTo>
                  <a:lnTo>
                    <a:pt x="86" y="39"/>
                  </a:lnTo>
                  <a:lnTo>
                    <a:pt x="96" y="48"/>
                  </a:lnTo>
                  <a:lnTo>
                    <a:pt x="100" y="48"/>
                  </a:lnTo>
                  <a:lnTo>
                    <a:pt x="103" y="48"/>
                  </a:lnTo>
                  <a:lnTo>
                    <a:pt x="107" y="48"/>
                  </a:lnTo>
                  <a:lnTo>
                    <a:pt x="113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7" y="55"/>
                  </a:lnTo>
                  <a:lnTo>
                    <a:pt x="131" y="58"/>
                  </a:lnTo>
                  <a:lnTo>
                    <a:pt x="134" y="61"/>
                  </a:lnTo>
                  <a:lnTo>
                    <a:pt x="134" y="64"/>
                  </a:lnTo>
                  <a:lnTo>
                    <a:pt x="141" y="71"/>
                  </a:lnTo>
                  <a:lnTo>
                    <a:pt x="144" y="71"/>
                  </a:lnTo>
                  <a:lnTo>
                    <a:pt x="148" y="71"/>
                  </a:lnTo>
                  <a:lnTo>
                    <a:pt x="144" y="74"/>
                  </a:lnTo>
                  <a:lnTo>
                    <a:pt x="144" y="77"/>
                  </a:lnTo>
                  <a:lnTo>
                    <a:pt x="144" y="81"/>
                  </a:lnTo>
                  <a:lnTo>
                    <a:pt x="144" y="84"/>
                  </a:lnTo>
                  <a:lnTo>
                    <a:pt x="138" y="93"/>
                  </a:lnTo>
                  <a:lnTo>
                    <a:pt x="131" y="97"/>
                  </a:lnTo>
                  <a:lnTo>
                    <a:pt x="131" y="100"/>
                  </a:lnTo>
                  <a:lnTo>
                    <a:pt x="127" y="100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0" y="106"/>
                  </a:lnTo>
                  <a:lnTo>
                    <a:pt x="120" y="103"/>
                  </a:lnTo>
                  <a:lnTo>
                    <a:pt x="120" y="103"/>
                  </a:lnTo>
                  <a:lnTo>
                    <a:pt x="120" y="103"/>
                  </a:lnTo>
                  <a:lnTo>
                    <a:pt x="117" y="103"/>
                  </a:lnTo>
                  <a:lnTo>
                    <a:pt x="117" y="106"/>
                  </a:lnTo>
                  <a:lnTo>
                    <a:pt x="113" y="106"/>
                  </a:lnTo>
                  <a:lnTo>
                    <a:pt x="117" y="110"/>
                  </a:lnTo>
                  <a:lnTo>
                    <a:pt x="113" y="110"/>
                  </a:lnTo>
                  <a:lnTo>
                    <a:pt x="110" y="116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23"/>
                  </a:lnTo>
                  <a:lnTo>
                    <a:pt x="113" y="123"/>
                  </a:lnTo>
                  <a:lnTo>
                    <a:pt x="110" y="123"/>
                  </a:lnTo>
                  <a:lnTo>
                    <a:pt x="113" y="129"/>
                  </a:lnTo>
                  <a:lnTo>
                    <a:pt x="117" y="132"/>
                  </a:lnTo>
                  <a:lnTo>
                    <a:pt x="113" y="132"/>
                  </a:lnTo>
                  <a:lnTo>
                    <a:pt x="107" y="132"/>
                  </a:lnTo>
                  <a:lnTo>
                    <a:pt x="103" y="135"/>
                  </a:lnTo>
                  <a:lnTo>
                    <a:pt x="100" y="132"/>
                  </a:lnTo>
                  <a:lnTo>
                    <a:pt x="96" y="135"/>
                  </a:lnTo>
                  <a:lnTo>
                    <a:pt x="89" y="142"/>
                  </a:lnTo>
                  <a:lnTo>
                    <a:pt x="89" y="148"/>
                  </a:lnTo>
                  <a:lnTo>
                    <a:pt x="86" y="148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76" y="152"/>
                  </a:lnTo>
                  <a:lnTo>
                    <a:pt x="69" y="152"/>
                  </a:lnTo>
                  <a:lnTo>
                    <a:pt x="69" y="152"/>
                  </a:lnTo>
                  <a:lnTo>
                    <a:pt x="65" y="155"/>
                  </a:lnTo>
                  <a:lnTo>
                    <a:pt x="65" y="158"/>
                  </a:lnTo>
                  <a:lnTo>
                    <a:pt x="65" y="158"/>
                  </a:lnTo>
                  <a:lnTo>
                    <a:pt x="69" y="158"/>
                  </a:lnTo>
                  <a:lnTo>
                    <a:pt x="65" y="161"/>
                  </a:lnTo>
                  <a:lnTo>
                    <a:pt x="65" y="161"/>
                  </a:lnTo>
                  <a:lnTo>
                    <a:pt x="65" y="161"/>
                  </a:lnTo>
                  <a:lnTo>
                    <a:pt x="62" y="168"/>
                  </a:lnTo>
                  <a:lnTo>
                    <a:pt x="58" y="168"/>
                  </a:lnTo>
                  <a:lnTo>
                    <a:pt x="55" y="168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1" y="171"/>
                  </a:lnTo>
                  <a:lnTo>
                    <a:pt x="38" y="171"/>
                  </a:lnTo>
                  <a:lnTo>
                    <a:pt x="34" y="174"/>
                  </a:lnTo>
                  <a:lnTo>
                    <a:pt x="31" y="174"/>
                  </a:lnTo>
                  <a:lnTo>
                    <a:pt x="31" y="174"/>
                  </a:lnTo>
                  <a:lnTo>
                    <a:pt x="27" y="174"/>
                  </a:lnTo>
                  <a:lnTo>
                    <a:pt x="17" y="161"/>
                  </a:lnTo>
                  <a:lnTo>
                    <a:pt x="21" y="155"/>
                  </a:lnTo>
                  <a:lnTo>
                    <a:pt x="0" y="135"/>
                  </a:lnTo>
                  <a:lnTo>
                    <a:pt x="3" y="129"/>
                  </a:lnTo>
                  <a:lnTo>
                    <a:pt x="3" y="129"/>
                  </a:lnTo>
                  <a:close/>
                  <a:moveTo>
                    <a:pt x="72" y="13"/>
                  </a:moveTo>
                  <a:lnTo>
                    <a:pt x="72" y="13"/>
                  </a:lnTo>
                  <a:lnTo>
                    <a:pt x="76" y="9"/>
                  </a:lnTo>
                  <a:lnTo>
                    <a:pt x="76" y="6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2" y="3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9"/>
                  </a:lnTo>
                  <a:lnTo>
                    <a:pt x="72" y="13"/>
                  </a:lnTo>
                  <a:lnTo>
                    <a:pt x="72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97" name="Freeform 98"/>
            <p:cNvSpPr>
              <a:spLocks noEditPoints="1"/>
            </p:cNvSpPr>
            <p:nvPr/>
          </p:nvSpPr>
          <p:spPr bwMode="auto">
            <a:xfrm>
              <a:off x="7566026" y="4113867"/>
              <a:ext cx="376238" cy="195262"/>
            </a:xfrm>
            <a:custGeom>
              <a:avLst/>
              <a:gdLst>
                <a:gd name="T0" fmla="*/ 7 w 237"/>
                <a:gd name="T1" fmla="*/ 45 h 123"/>
                <a:gd name="T2" fmla="*/ 10 w 237"/>
                <a:gd name="T3" fmla="*/ 45 h 123"/>
                <a:gd name="T4" fmla="*/ 14 w 237"/>
                <a:gd name="T5" fmla="*/ 36 h 123"/>
                <a:gd name="T6" fmla="*/ 21 w 237"/>
                <a:gd name="T7" fmla="*/ 26 h 123"/>
                <a:gd name="T8" fmla="*/ 38 w 237"/>
                <a:gd name="T9" fmla="*/ 29 h 123"/>
                <a:gd name="T10" fmla="*/ 72 w 237"/>
                <a:gd name="T11" fmla="*/ 42 h 123"/>
                <a:gd name="T12" fmla="*/ 110 w 237"/>
                <a:gd name="T13" fmla="*/ 19 h 123"/>
                <a:gd name="T14" fmla="*/ 179 w 237"/>
                <a:gd name="T15" fmla="*/ 6 h 123"/>
                <a:gd name="T16" fmla="*/ 196 w 237"/>
                <a:gd name="T17" fmla="*/ 32 h 123"/>
                <a:gd name="T18" fmla="*/ 203 w 237"/>
                <a:gd name="T19" fmla="*/ 45 h 123"/>
                <a:gd name="T20" fmla="*/ 189 w 237"/>
                <a:gd name="T21" fmla="*/ 55 h 123"/>
                <a:gd name="T22" fmla="*/ 189 w 237"/>
                <a:gd name="T23" fmla="*/ 58 h 123"/>
                <a:gd name="T24" fmla="*/ 189 w 237"/>
                <a:gd name="T25" fmla="*/ 61 h 123"/>
                <a:gd name="T26" fmla="*/ 179 w 237"/>
                <a:gd name="T27" fmla="*/ 68 h 123"/>
                <a:gd name="T28" fmla="*/ 158 w 237"/>
                <a:gd name="T29" fmla="*/ 71 h 123"/>
                <a:gd name="T30" fmla="*/ 134 w 237"/>
                <a:gd name="T31" fmla="*/ 78 h 123"/>
                <a:gd name="T32" fmla="*/ 131 w 237"/>
                <a:gd name="T33" fmla="*/ 81 h 123"/>
                <a:gd name="T34" fmla="*/ 120 w 237"/>
                <a:gd name="T35" fmla="*/ 90 h 123"/>
                <a:gd name="T36" fmla="*/ 117 w 237"/>
                <a:gd name="T37" fmla="*/ 87 h 123"/>
                <a:gd name="T38" fmla="*/ 110 w 237"/>
                <a:gd name="T39" fmla="*/ 90 h 123"/>
                <a:gd name="T40" fmla="*/ 107 w 237"/>
                <a:gd name="T41" fmla="*/ 90 h 123"/>
                <a:gd name="T42" fmla="*/ 100 w 237"/>
                <a:gd name="T43" fmla="*/ 97 h 123"/>
                <a:gd name="T44" fmla="*/ 90 w 237"/>
                <a:gd name="T45" fmla="*/ 97 h 123"/>
                <a:gd name="T46" fmla="*/ 76 w 237"/>
                <a:gd name="T47" fmla="*/ 100 h 123"/>
                <a:gd name="T48" fmla="*/ 69 w 237"/>
                <a:gd name="T49" fmla="*/ 100 h 123"/>
                <a:gd name="T50" fmla="*/ 65 w 237"/>
                <a:gd name="T51" fmla="*/ 97 h 123"/>
                <a:gd name="T52" fmla="*/ 59 w 237"/>
                <a:gd name="T53" fmla="*/ 100 h 123"/>
                <a:gd name="T54" fmla="*/ 55 w 237"/>
                <a:gd name="T55" fmla="*/ 107 h 123"/>
                <a:gd name="T56" fmla="*/ 45 w 237"/>
                <a:gd name="T57" fmla="*/ 113 h 123"/>
                <a:gd name="T58" fmla="*/ 41 w 237"/>
                <a:gd name="T59" fmla="*/ 110 h 123"/>
                <a:gd name="T60" fmla="*/ 34 w 237"/>
                <a:gd name="T61" fmla="*/ 113 h 123"/>
                <a:gd name="T62" fmla="*/ 28 w 237"/>
                <a:gd name="T63" fmla="*/ 113 h 123"/>
                <a:gd name="T64" fmla="*/ 21 w 237"/>
                <a:gd name="T65" fmla="*/ 110 h 123"/>
                <a:gd name="T66" fmla="*/ 17 w 237"/>
                <a:gd name="T67" fmla="*/ 103 h 123"/>
                <a:gd name="T68" fmla="*/ 17 w 237"/>
                <a:gd name="T69" fmla="*/ 97 h 123"/>
                <a:gd name="T70" fmla="*/ 10 w 237"/>
                <a:gd name="T71" fmla="*/ 87 h 123"/>
                <a:gd name="T72" fmla="*/ 4 w 237"/>
                <a:gd name="T73" fmla="*/ 68 h 123"/>
                <a:gd name="T74" fmla="*/ 0 w 237"/>
                <a:gd name="T75" fmla="*/ 65 h 123"/>
                <a:gd name="T76" fmla="*/ 4 w 237"/>
                <a:gd name="T77" fmla="*/ 65 h 123"/>
                <a:gd name="T78" fmla="*/ 7 w 237"/>
                <a:gd name="T79" fmla="*/ 61 h 123"/>
                <a:gd name="T80" fmla="*/ 4 w 237"/>
                <a:gd name="T81" fmla="*/ 48 h 123"/>
                <a:gd name="T82" fmla="*/ 4 w 237"/>
                <a:gd name="T83" fmla="*/ 45 h 123"/>
                <a:gd name="T84" fmla="*/ 193 w 237"/>
                <a:gd name="T85" fmla="*/ 120 h 123"/>
                <a:gd name="T86" fmla="*/ 193 w 237"/>
                <a:gd name="T87" fmla="*/ 123 h 123"/>
                <a:gd name="T88" fmla="*/ 189 w 237"/>
                <a:gd name="T89" fmla="*/ 123 h 123"/>
                <a:gd name="T90" fmla="*/ 213 w 237"/>
                <a:gd name="T91" fmla="*/ 116 h 123"/>
                <a:gd name="T92" fmla="*/ 217 w 237"/>
                <a:gd name="T93" fmla="*/ 110 h 123"/>
                <a:gd name="T94" fmla="*/ 220 w 237"/>
                <a:gd name="T95" fmla="*/ 113 h 123"/>
                <a:gd name="T96" fmla="*/ 227 w 237"/>
                <a:gd name="T97" fmla="*/ 113 h 123"/>
                <a:gd name="T98" fmla="*/ 234 w 237"/>
                <a:gd name="T99" fmla="*/ 113 h 123"/>
                <a:gd name="T100" fmla="*/ 237 w 237"/>
                <a:gd name="T101" fmla="*/ 116 h 123"/>
                <a:gd name="T102" fmla="*/ 231 w 237"/>
                <a:gd name="T103" fmla="*/ 116 h 123"/>
                <a:gd name="T104" fmla="*/ 220 w 237"/>
                <a:gd name="T105" fmla="*/ 120 h 123"/>
                <a:gd name="T106" fmla="*/ 213 w 237"/>
                <a:gd name="T107" fmla="*/ 11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7" h="123">
                  <a:moveTo>
                    <a:pt x="4" y="45"/>
                  </a:moveTo>
                  <a:lnTo>
                    <a:pt x="7" y="45"/>
                  </a:lnTo>
                  <a:lnTo>
                    <a:pt x="10" y="48"/>
                  </a:lnTo>
                  <a:lnTo>
                    <a:pt x="10" y="45"/>
                  </a:lnTo>
                  <a:lnTo>
                    <a:pt x="17" y="42"/>
                  </a:lnTo>
                  <a:lnTo>
                    <a:pt x="14" y="36"/>
                  </a:lnTo>
                  <a:lnTo>
                    <a:pt x="17" y="29"/>
                  </a:lnTo>
                  <a:lnTo>
                    <a:pt x="21" y="26"/>
                  </a:lnTo>
                  <a:lnTo>
                    <a:pt x="28" y="29"/>
                  </a:lnTo>
                  <a:lnTo>
                    <a:pt x="38" y="29"/>
                  </a:lnTo>
                  <a:lnTo>
                    <a:pt x="55" y="36"/>
                  </a:lnTo>
                  <a:lnTo>
                    <a:pt x="72" y="42"/>
                  </a:lnTo>
                  <a:lnTo>
                    <a:pt x="72" y="58"/>
                  </a:lnTo>
                  <a:lnTo>
                    <a:pt x="110" y="19"/>
                  </a:lnTo>
                  <a:lnTo>
                    <a:pt x="182" y="0"/>
                  </a:lnTo>
                  <a:lnTo>
                    <a:pt x="179" y="6"/>
                  </a:lnTo>
                  <a:lnTo>
                    <a:pt x="200" y="26"/>
                  </a:lnTo>
                  <a:lnTo>
                    <a:pt x="196" y="32"/>
                  </a:lnTo>
                  <a:lnTo>
                    <a:pt x="206" y="45"/>
                  </a:lnTo>
                  <a:lnTo>
                    <a:pt x="203" y="45"/>
                  </a:lnTo>
                  <a:lnTo>
                    <a:pt x="196" y="48"/>
                  </a:lnTo>
                  <a:lnTo>
                    <a:pt x="189" y="55"/>
                  </a:lnTo>
                  <a:lnTo>
                    <a:pt x="189" y="58"/>
                  </a:lnTo>
                  <a:lnTo>
                    <a:pt x="189" y="58"/>
                  </a:lnTo>
                  <a:lnTo>
                    <a:pt x="189" y="61"/>
                  </a:lnTo>
                  <a:lnTo>
                    <a:pt x="189" y="61"/>
                  </a:lnTo>
                  <a:lnTo>
                    <a:pt x="182" y="65"/>
                  </a:lnTo>
                  <a:lnTo>
                    <a:pt x="179" y="68"/>
                  </a:lnTo>
                  <a:lnTo>
                    <a:pt x="169" y="71"/>
                  </a:lnTo>
                  <a:lnTo>
                    <a:pt x="158" y="71"/>
                  </a:lnTo>
                  <a:lnTo>
                    <a:pt x="155" y="74"/>
                  </a:lnTo>
                  <a:lnTo>
                    <a:pt x="134" y="78"/>
                  </a:lnTo>
                  <a:lnTo>
                    <a:pt x="134" y="78"/>
                  </a:lnTo>
                  <a:lnTo>
                    <a:pt x="131" y="81"/>
                  </a:lnTo>
                  <a:lnTo>
                    <a:pt x="124" y="87"/>
                  </a:lnTo>
                  <a:lnTo>
                    <a:pt x="120" y="90"/>
                  </a:lnTo>
                  <a:lnTo>
                    <a:pt x="117" y="90"/>
                  </a:lnTo>
                  <a:lnTo>
                    <a:pt x="117" y="87"/>
                  </a:lnTo>
                  <a:lnTo>
                    <a:pt x="114" y="90"/>
                  </a:lnTo>
                  <a:lnTo>
                    <a:pt x="110" y="90"/>
                  </a:lnTo>
                  <a:lnTo>
                    <a:pt x="110" y="90"/>
                  </a:lnTo>
                  <a:lnTo>
                    <a:pt x="107" y="90"/>
                  </a:lnTo>
                  <a:lnTo>
                    <a:pt x="100" y="94"/>
                  </a:lnTo>
                  <a:lnTo>
                    <a:pt x="100" y="97"/>
                  </a:lnTo>
                  <a:lnTo>
                    <a:pt x="96" y="97"/>
                  </a:lnTo>
                  <a:lnTo>
                    <a:pt x="90" y="97"/>
                  </a:lnTo>
                  <a:lnTo>
                    <a:pt x="79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0"/>
                  </a:lnTo>
                  <a:lnTo>
                    <a:pt x="69" y="97"/>
                  </a:lnTo>
                  <a:lnTo>
                    <a:pt x="65" y="97"/>
                  </a:lnTo>
                  <a:lnTo>
                    <a:pt x="62" y="100"/>
                  </a:lnTo>
                  <a:lnTo>
                    <a:pt x="59" y="100"/>
                  </a:lnTo>
                  <a:lnTo>
                    <a:pt x="55" y="107"/>
                  </a:lnTo>
                  <a:lnTo>
                    <a:pt x="55" y="107"/>
                  </a:lnTo>
                  <a:lnTo>
                    <a:pt x="48" y="110"/>
                  </a:lnTo>
                  <a:lnTo>
                    <a:pt x="45" y="113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8" y="113"/>
                  </a:lnTo>
                  <a:lnTo>
                    <a:pt x="34" y="113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24" y="113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17" y="103"/>
                  </a:lnTo>
                  <a:lnTo>
                    <a:pt x="14" y="97"/>
                  </a:lnTo>
                  <a:lnTo>
                    <a:pt x="17" y="97"/>
                  </a:lnTo>
                  <a:lnTo>
                    <a:pt x="17" y="94"/>
                  </a:lnTo>
                  <a:lnTo>
                    <a:pt x="10" y="87"/>
                  </a:lnTo>
                  <a:lnTo>
                    <a:pt x="7" y="74"/>
                  </a:lnTo>
                  <a:lnTo>
                    <a:pt x="4" y="68"/>
                  </a:lnTo>
                  <a:lnTo>
                    <a:pt x="4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4" y="65"/>
                  </a:lnTo>
                  <a:lnTo>
                    <a:pt x="4" y="61"/>
                  </a:lnTo>
                  <a:lnTo>
                    <a:pt x="7" y="61"/>
                  </a:lnTo>
                  <a:lnTo>
                    <a:pt x="7" y="58"/>
                  </a:lnTo>
                  <a:lnTo>
                    <a:pt x="4" y="48"/>
                  </a:lnTo>
                  <a:lnTo>
                    <a:pt x="4" y="45"/>
                  </a:lnTo>
                  <a:lnTo>
                    <a:pt x="4" y="45"/>
                  </a:lnTo>
                  <a:close/>
                  <a:moveTo>
                    <a:pt x="189" y="123"/>
                  </a:moveTo>
                  <a:lnTo>
                    <a:pt x="193" y="120"/>
                  </a:lnTo>
                  <a:lnTo>
                    <a:pt x="196" y="123"/>
                  </a:lnTo>
                  <a:lnTo>
                    <a:pt x="193" y="123"/>
                  </a:lnTo>
                  <a:lnTo>
                    <a:pt x="189" y="123"/>
                  </a:lnTo>
                  <a:lnTo>
                    <a:pt x="189" y="123"/>
                  </a:lnTo>
                  <a:close/>
                  <a:moveTo>
                    <a:pt x="213" y="116"/>
                  </a:moveTo>
                  <a:lnTo>
                    <a:pt x="213" y="116"/>
                  </a:lnTo>
                  <a:lnTo>
                    <a:pt x="217" y="113"/>
                  </a:lnTo>
                  <a:lnTo>
                    <a:pt x="217" y="110"/>
                  </a:lnTo>
                  <a:lnTo>
                    <a:pt x="220" y="110"/>
                  </a:lnTo>
                  <a:lnTo>
                    <a:pt x="220" y="113"/>
                  </a:lnTo>
                  <a:lnTo>
                    <a:pt x="224" y="113"/>
                  </a:lnTo>
                  <a:lnTo>
                    <a:pt x="227" y="113"/>
                  </a:lnTo>
                  <a:lnTo>
                    <a:pt x="231" y="113"/>
                  </a:lnTo>
                  <a:lnTo>
                    <a:pt x="234" y="113"/>
                  </a:lnTo>
                  <a:lnTo>
                    <a:pt x="234" y="113"/>
                  </a:lnTo>
                  <a:lnTo>
                    <a:pt x="237" y="116"/>
                  </a:lnTo>
                  <a:lnTo>
                    <a:pt x="234" y="116"/>
                  </a:lnTo>
                  <a:lnTo>
                    <a:pt x="231" y="116"/>
                  </a:lnTo>
                  <a:lnTo>
                    <a:pt x="227" y="120"/>
                  </a:lnTo>
                  <a:lnTo>
                    <a:pt x="220" y="120"/>
                  </a:lnTo>
                  <a:lnTo>
                    <a:pt x="217" y="120"/>
                  </a:lnTo>
                  <a:lnTo>
                    <a:pt x="213" y="116"/>
                  </a:lnTo>
                  <a:lnTo>
                    <a:pt x="213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98" name="Freeform 99"/>
            <p:cNvSpPr>
              <a:spLocks/>
            </p:cNvSpPr>
            <p:nvPr/>
          </p:nvSpPr>
          <p:spPr bwMode="auto">
            <a:xfrm>
              <a:off x="7004051" y="3770967"/>
              <a:ext cx="382588" cy="271462"/>
            </a:xfrm>
            <a:custGeom>
              <a:avLst/>
              <a:gdLst>
                <a:gd name="T0" fmla="*/ 192 w 241"/>
                <a:gd name="T1" fmla="*/ 29 h 171"/>
                <a:gd name="T2" fmla="*/ 179 w 241"/>
                <a:gd name="T3" fmla="*/ 6 h 171"/>
                <a:gd name="T4" fmla="*/ 172 w 241"/>
                <a:gd name="T5" fmla="*/ 6 h 171"/>
                <a:gd name="T6" fmla="*/ 144 w 241"/>
                <a:gd name="T7" fmla="*/ 6 h 171"/>
                <a:gd name="T8" fmla="*/ 137 w 241"/>
                <a:gd name="T9" fmla="*/ 9 h 171"/>
                <a:gd name="T10" fmla="*/ 130 w 241"/>
                <a:gd name="T11" fmla="*/ 6 h 171"/>
                <a:gd name="T12" fmla="*/ 130 w 241"/>
                <a:gd name="T13" fmla="*/ 0 h 171"/>
                <a:gd name="T14" fmla="*/ 117 w 241"/>
                <a:gd name="T15" fmla="*/ 0 h 171"/>
                <a:gd name="T16" fmla="*/ 120 w 241"/>
                <a:gd name="T17" fmla="*/ 3 h 171"/>
                <a:gd name="T18" fmla="*/ 110 w 241"/>
                <a:gd name="T19" fmla="*/ 3 h 171"/>
                <a:gd name="T20" fmla="*/ 110 w 241"/>
                <a:gd name="T21" fmla="*/ 0 h 171"/>
                <a:gd name="T22" fmla="*/ 106 w 241"/>
                <a:gd name="T23" fmla="*/ 0 h 171"/>
                <a:gd name="T24" fmla="*/ 96 w 241"/>
                <a:gd name="T25" fmla="*/ 6 h 171"/>
                <a:gd name="T26" fmla="*/ 86 w 241"/>
                <a:gd name="T27" fmla="*/ 13 h 171"/>
                <a:gd name="T28" fmla="*/ 69 w 241"/>
                <a:gd name="T29" fmla="*/ 6 h 171"/>
                <a:gd name="T30" fmla="*/ 51 w 241"/>
                <a:gd name="T31" fmla="*/ 3 h 171"/>
                <a:gd name="T32" fmla="*/ 38 w 241"/>
                <a:gd name="T33" fmla="*/ 3 h 171"/>
                <a:gd name="T34" fmla="*/ 7 w 241"/>
                <a:gd name="T35" fmla="*/ 0 h 171"/>
                <a:gd name="T36" fmla="*/ 3 w 241"/>
                <a:gd name="T37" fmla="*/ 3 h 171"/>
                <a:gd name="T38" fmla="*/ 3 w 241"/>
                <a:gd name="T39" fmla="*/ 16 h 171"/>
                <a:gd name="T40" fmla="*/ 0 w 241"/>
                <a:gd name="T41" fmla="*/ 32 h 171"/>
                <a:gd name="T42" fmla="*/ 241 w 241"/>
                <a:gd name="T43" fmla="*/ 171 h 171"/>
                <a:gd name="T44" fmla="*/ 234 w 241"/>
                <a:gd name="T45" fmla="*/ 164 h 171"/>
                <a:gd name="T46" fmla="*/ 227 w 241"/>
                <a:gd name="T47" fmla="*/ 158 h 171"/>
                <a:gd name="T48" fmla="*/ 213 w 241"/>
                <a:gd name="T49" fmla="*/ 155 h 171"/>
                <a:gd name="T50" fmla="*/ 210 w 241"/>
                <a:gd name="T51" fmla="*/ 138 h 171"/>
                <a:gd name="T52" fmla="*/ 213 w 241"/>
                <a:gd name="T53" fmla="*/ 135 h 171"/>
                <a:gd name="T54" fmla="*/ 213 w 241"/>
                <a:gd name="T55" fmla="*/ 135 h 171"/>
                <a:gd name="T56" fmla="*/ 210 w 241"/>
                <a:gd name="T57" fmla="*/ 132 h 171"/>
                <a:gd name="T58" fmla="*/ 196 w 241"/>
                <a:gd name="T59" fmla="*/ 116 h 171"/>
                <a:gd name="T60" fmla="*/ 182 w 241"/>
                <a:gd name="T61" fmla="*/ 93 h 171"/>
                <a:gd name="T62" fmla="*/ 179 w 241"/>
                <a:gd name="T63" fmla="*/ 80 h 171"/>
                <a:gd name="T64" fmla="*/ 168 w 241"/>
                <a:gd name="T65" fmla="*/ 71 h 171"/>
                <a:gd name="T66" fmla="*/ 168 w 241"/>
                <a:gd name="T67" fmla="*/ 64 h 171"/>
                <a:gd name="T68" fmla="*/ 148 w 241"/>
                <a:gd name="T69" fmla="*/ 45 h 171"/>
                <a:gd name="T70" fmla="*/ 144 w 241"/>
                <a:gd name="T71" fmla="*/ 35 h 171"/>
                <a:gd name="T72" fmla="*/ 148 w 241"/>
                <a:gd name="T73" fmla="*/ 32 h 171"/>
                <a:gd name="T74" fmla="*/ 151 w 241"/>
                <a:gd name="T75" fmla="*/ 38 h 171"/>
                <a:gd name="T76" fmla="*/ 161 w 241"/>
                <a:gd name="T77" fmla="*/ 48 h 171"/>
                <a:gd name="T78" fmla="*/ 168 w 241"/>
                <a:gd name="T79" fmla="*/ 58 h 171"/>
                <a:gd name="T80" fmla="*/ 182 w 241"/>
                <a:gd name="T81" fmla="*/ 67 h 171"/>
                <a:gd name="T82" fmla="*/ 189 w 241"/>
                <a:gd name="T83" fmla="*/ 58 h 171"/>
                <a:gd name="T84" fmla="*/ 189 w 241"/>
                <a:gd name="T85" fmla="*/ 4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1" h="171">
                  <a:moveTo>
                    <a:pt x="192" y="38"/>
                  </a:moveTo>
                  <a:lnTo>
                    <a:pt x="189" y="32"/>
                  </a:lnTo>
                  <a:lnTo>
                    <a:pt x="192" y="29"/>
                  </a:lnTo>
                  <a:lnTo>
                    <a:pt x="189" y="22"/>
                  </a:lnTo>
                  <a:lnTo>
                    <a:pt x="182" y="13"/>
                  </a:lnTo>
                  <a:lnTo>
                    <a:pt x="179" y="6"/>
                  </a:lnTo>
                  <a:lnTo>
                    <a:pt x="175" y="3"/>
                  </a:lnTo>
                  <a:lnTo>
                    <a:pt x="175" y="3"/>
                  </a:lnTo>
                  <a:lnTo>
                    <a:pt x="172" y="6"/>
                  </a:lnTo>
                  <a:lnTo>
                    <a:pt x="165" y="6"/>
                  </a:lnTo>
                  <a:lnTo>
                    <a:pt x="155" y="6"/>
                  </a:lnTo>
                  <a:lnTo>
                    <a:pt x="144" y="6"/>
                  </a:lnTo>
                  <a:lnTo>
                    <a:pt x="137" y="3"/>
                  </a:lnTo>
                  <a:lnTo>
                    <a:pt x="137" y="6"/>
                  </a:lnTo>
                  <a:lnTo>
                    <a:pt x="137" y="9"/>
                  </a:lnTo>
                  <a:lnTo>
                    <a:pt x="137" y="13"/>
                  </a:lnTo>
                  <a:lnTo>
                    <a:pt x="137" y="9"/>
                  </a:lnTo>
                  <a:lnTo>
                    <a:pt x="130" y="6"/>
                  </a:lnTo>
                  <a:lnTo>
                    <a:pt x="130" y="3"/>
                  </a:lnTo>
                  <a:lnTo>
                    <a:pt x="134" y="3"/>
                  </a:lnTo>
                  <a:lnTo>
                    <a:pt x="130" y="0"/>
                  </a:lnTo>
                  <a:lnTo>
                    <a:pt x="127" y="3"/>
                  </a:lnTo>
                  <a:lnTo>
                    <a:pt x="124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20" y="0"/>
                  </a:lnTo>
                  <a:lnTo>
                    <a:pt x="120" y="3"/>
                  </a:lnTo>
                  <a:lnTo>
                    <a:pt x="117" y="3"/>
                  </a:lnTo>
                  <a:lnTo>
                    <a:pt x="113" y="3"/>
                  </a:lnTo>
                  <a:lnTo>
                    <a:pt x="110" y="3"/>
                  </a:lnTo>
                  <a:lnTo>
                    <a:pt x="106" y="3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3" y="0"/>
                  </a:lnTo>
                  <a:lnTo>
                    <a:pt x="110" y="0"/>
                  </a:lnTo>
                  <a:lnTo>
                    <a:pt x="106" y="0"/>
                  </a:lnTo>
                  <a:lnTo>
                    <a:pt x="103" y="3"/>
                  </a:lnTo>
                  <a:lnTo>
                    <a:pt x="96" y="3"/>
                  </a:lnTo>
                  <a:lnTo>
                    <a:pt x="96" y="6"/>
                  </a:lnTo>
                  <a:lnTo>
                    <a:pt x="89" y="6"/>
                  </a:lnTo>
                  <a:lnTo>
                    <a:pt x="86" y="9"/>
                  </a:lnTo>
                  <a:lnTo>
                    <a:pt x="86" y="13"/>
                  </a:lnTo>
                  <a:lnTo>
                    <a:pt x="79" y="13"/>
                  </a:lnTo>
                  <a:lnTo>
                    <a:pt x="72" y="6"/>
                  </a:lnTo>
                  <a:lnTo>
                    <a:pt x="69" y="6"/>
                  </a:lnTo>
                  <a:lnTo>
                    <a:pt x="62" y="6"/>
                  </a:lnTo>
                  <a:lnTo>
                    <a:pt x="55" y="3"/>
                  </a:lnTo>
                  <a:lnTo>
                    <a:pt x="51" y="3"/>
                  </a:lnTo>
                  <a:lnTo>
                    <a:pt x="51" y="6"/>
                  </a:lnTo>
                  <a:lnTo>
                    <a:pt x="44" y="3"/>
                  </a:lnTo>
                  <a:lnTo>
                    <a:pt x="38" y="3"/>
                  </a:lnTo>
                  <a:lnTo>
                    <a:pt x="24" y="0"/>
                  </a:lnTo>
                  <a:lnTo>
                    <a:pt x="17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9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0" y="22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42"/>
                  </a:lnTo>
                  <a:lnTo>
                    <a:pt x="10" y="171"/>
                  </a:lnTo>
                  <a:lnTo>
                    <a:pt x="241" y="171"/>
                  </a:lnTo>
                  <a:lnTo>
                    <a:pt x="241" y="168"/>
                  </a:lnTo>
                  <a:lnTo>
                    <a:pt x="237" y="168"/>
                  </a:lnTo>
                  <a:lnTo>
                    <a:pt x="234" y="164"/>
                  </a:lnTo>
                  <a:lnTo>
                    <a:pt x="234" y="161"/>
                  </a:lnTo>
                  <a:lnTo>
                    <a:pt x="227" y="161"/>
                  </a:lnTo>
                  <a:lnTo>
                    <a:pt x="227" y="158"/>
                  </a:lnTo>
                  <a:lnTo>
                    <a:pt x="223" y="158"/>
                  </a:lnTo>
                  <a:lnTo>
                    <a:pt x="220" y="158"/>
                  </a:lnTo>
                  <a:lnTo>
                    <a:pt x="213" y="155"/>
                  </a:lnTo>
                  <a:lnTo>
                    <a:pt x="210" y="145"/>
                  </a:lnTo>
                  <a:lnTo>
                    <a:pt x="213" y="142"/>
                  </a:lnTo>
                  <a:lnTo>
                    <a:pt x="210" y="138"/>
                  </a:lnTo>
                  <a:lnTo>
                    <a:pt x="210" y="138"/>
                  </a:lnTo>
                  <a:lnTo>
                    <a:pt x="210" y="135"/>
                  </a:lnTo>
                  <a:lnTo>
                    <a:pt x="213" y="135"/>
                  </a:lnTo>
                  <a:lnTo>
                    <a:pt x="216" y="135"/>
                  </a:lnTo>
                  <a:lnTo>
                    <a:pt x="216" y="135"/>
                  </a:lnTo>
                  <a:lnTo>
                    <a:pt x="213" y="135"/>
                  </a:lnTo>
                  <a:lnTo>
                    <a:pt x="210" y="129"/>
                  </a:lnTo>
                  <a:lnTo>
                    <a:pt x="210" y="129"/>
                  </a:lnTo>
                  <a:lnTo>
                    <a:pt x="210" y="132"/>
                  </a:lnTo>
                  <a:lnTo>
                    <a:pt x="206" y="129"/>
                  </a:lnTo>
                  <a:lnTo>
                    <a:pt x="206" y="126"/>
                  </a:lnTo>
                  <a:lnTo>
                    <a:pt x="196" y="116"/>
                  </a:lnTo>
                  <a:lnTo>
                    <a:pt x="192" y="113"/>
                  </a:lnTo>
                  <a:lnTo>
                    <a:pt x="192" y="109"/>
                  </a:lnTo>
                  <a:lnTo>
                    <a:pt x="182" y="93"/>
                  </a:lnTo>
                  <a:lnTo>
                    <a:pt x="182" y="90"/>
                  </a:lnTo>
                  <a:lnTo>
                    <a:pt x="179" y="87"/>
                  </a:lnTo>
                  <a:lnTo>
                    <a:pt x="179" y="80"/>
                  </a:lnTo>
                  <a:lnTo>
                    <a:pt x="175" y="77"/>
                  </a:lnTo>
                  <a:lnTo>
                    <a:pt x="175" y="77"/>
                  </a:lnTo>
                  <a:lnTo>
                    <a:pt x="168" y="71"/>
                  </a:lnTo>
                  <a:lnTo>
                    <a:pt x="168" y="67"/>
                  </a:lnTo>
                  <a:lnTo>
                    <a:pt x="172" y="64"/>
                  </a:lnTo>
                  <a:lnTo>
                    <a:pt x="168" y="64"/>
                  </a:lnTo>
                  <a:lnTo>
                    <a:pt x="158" y="54"/>
                  </a:lnTo>
                  <a:lnTo>
                    <a:pt x="158" y="51"/>
                  </a:lnTo>
                  <a:lnTo>
                    <a:pt x="148" y="45"/>
                  </a:lnTo>
                  <a:lnTo>
                    <a:pt x="148" y="42"/>
                  </a:lnTo>
                  <a:lnTo>
                    <a:pt x="144" y="35"/>
                  </a:lnTo>
                  <a:lnTo>
                    <a:pt x="144" y="35"/>
                  </a:lnTo>
                  <a:lnTo>
                    <a:pt x="144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51" y="35"/>
                  </a:lnTo>
                  <a:lnTo>
                    <a:pt x="151" y="38"/>
                  </a:lnTo>
                  <a:lnTo>
                    <a:pt x="151" y="42"/>
                  </a:lnTo>
                  <a:lnTo>
                    <a:pt x="161" y="45"/>
                  </a:lnTo>
                  <a:lnTo>
                    <a:pt x="161" y="48"/>
                  </a:lnTo>
                  <a:lnTo>
                    <a:pt x="161" y="51"/>
                  </a:lnTo>
                  <a:lnTo>
                    <a:pt x="168" y="54"/>
                  </a:lnTo>
                  <a:lnTo>
                    <a:pt x="168" y="58"/>
                  </a:lnTo>
                  <a:lnTo>
                    <a:pt x="179" y="64"/>
                  </a:lnTo>
                  <a:lnTo>
                    <a:pt x="182" y="67"/>
                  </a:lnTo>
                  <a:lnTo>
                    <a:pt x="182" y="67"/>
                  </a:lnTo>
                  <a:lnTo>
                    <a:pt x="182" y="67"/>
                  </a:lnTo>
                  <a:lnTo>
                    <a:pt x="186" y="64"/>
                  </a:lnTo>
                  <a:lnTo>
                    <a:pt x="189" y="58"/>
                  </a:lnTo>
                  <a:lnTo>
                    <a:pt x="186" y="58"/>
                  </a:lnTo>
                  <a:lnTo>
                    <a:pt x="189" y="51"/>
                  </a:lnTo>
                  <a:lnTo>
                    <a:pt x="189" y="48"/>
                  </a:lnTo>
                  <a:lnTo>
                    <a:pt x="192" y="38"/>
                  </a:lnTo>
                  <a:lnTo>
                    <a:pt x="192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99" name="Freeform 100"/>
            <p:cNvSpPr>
              <a:spLocks/>
            </p:cNvSpPr>
            <p:nvPr/>
          </p:nvSpPr>
          <p:spPr bwMode="auto">
            <a:xfrm>
              <a:off x="6932613" y="4042430"/>
              <a:ext cx="508000" cy="492125"/>
            </a:xfrm>
            <a:custGeom>
              <a:avLst/>
              <a:gdLst>
                <a:gd name="T0" fmla="*/ 286 w 320"/>
                <a:gd name="T1" fmla="*/ 3 h 310"/>
                <a:gd name="T2" fmla="*/ 289 w 320"/>
                <a:gd name="T3" fmla="*/ 9 h 310"/>
                <a:gd name="T4" fmla="*/ 289 w 320"/>
                <a:gd name="T5" fmla="*/ 13 h 310"/>
                <a:gd name="T6" fmla="*/ 292 w 320"/>
                <a:gd name="T7" fmla="*/ 42 h 310"/>
                <a:gd name="T8" fmla="*/ 313 w 320"/>
                <a:gd name="T9" fmla="*/ 61 h 310"/>
                <a:gd name="T10" fmla="*/ 320 w 320"/>
                <a:gd name="T11" fmla="*/ 71 h 310"/>
                <a:gd name="T12" fmla="*/ 303 w 320"/>
                <a:gd name="T13" fmla="*/ 74 h 310"/>
                <a:gd name="T14" fmla="*/ 296 w 320"/>
                <a:gd name="T15" fmla="*/ 81 h 310"/>
                <a:gd name="T16" fmla="*/ 292 w 320"/>
                <a:gd name="T17" fmla="*/ 90 h 310"/>
                <a:gd name="T18" fmla="*/ 286 w 320"/>
                <a:gd name="T19" fmla="*/ 113 h 310"/>
                <a:gd name="T20" fmla="*/ 286 w 320"/>
                <a:gd name="T21" fmla="*/ 129 h 310"/>
                <a:gd name="T22" fmla="*/ 275 w 320"/>
                <a:gd name="T23" fmla="*/ 155 h 310"/>
                <a:gd name="T24" fmla="*/ 265 w 320"/>
                <a:gd name="T25" fmla="*/ 168 h 310"/>
                <a:gd name="T26" fmla="*/ 251 w 320"/>
                <a:gd name="T27" fmla="*/ 187 h 310"/>
                <a:gd name="T28" fmla="*/ 244 w 320"/>
                <a:gd name="T29" fmla="*/ 203 h 310"/>
                <a:gd name="T30" fmla="*/ 237 w 320"/>
                <a:gd name="T31" fmla="*/ 226 h 310"/>
                <a:gd name="T32" fmla="*/ 224 w 320"/>
                <a:gd name="T33" fmla="*/ 226 h 310"/>
                <a:gd name="T34" fmla="*/ 224 w 320"/>
                <a:gd name="T35" fmla="*/ 239 h 310"/>
                <a:gd name="T36" fmla="*/ 241 w 320"/>
                <a:gd name="T37" fmla="*/ 245 h 310"/>
                <a:gd name="T38" fmla="*/ 251 w 320"/>
                <a:gd name="T39" fmla="*/ 255 h 310"/>
                <a:gd name="T40" fmla="*/ 261 w 320"/>
                <a:gd name="T41" fmla="*/ 271 h 310"/>
                <a:gd name="T42" fmla="*/ 248 w 320"/>
                <a:gd name="T43" fmla="*/ 294 h 310"/>
                <a:gd name="T44" fmla="*/ 237 w 320"/>
                <a:gd name="T45" fmla="*/ 300 h 310"/>
                <a:gd name="T46" fmla="*/ 213 w 320"/>
                <a:gd name="T47" fmla="*/ 307 h 310"/>
                <a:gd name="T48" fmla="*/ 206 w 320"/>
                <a:gd name="T49" fmla="*/ 310 h 310"/>
                <a:gd name="T50" fmla="*/ 193 w 320"/>
                <a:gd name="T51" fmla="*/ 307 h 310"/>
                <a:gd name="T52" fmla="*/ 182 w 320"/>
                <a:gd name="T53" fmla="*/ 310 h 310"/>
                <a:gd name="T54" fmla="*/ 172 w 320"/>
                <a:gd name="T55" fmla="*/ 307 h 310"/>
                <a:gd name="T56" fmla="*/ 162 w 320"/>
                <a:gd name="T57" fmla="*/ 297 h 310"/>
                <a:gd name="T58" fmla="*/ 151 w 320"/>
                <a:gd name="T59" fmla="*/ 291 h 310"/>
                <a:gd name="T60" fmla="*/ 141 w 320"/>
                <a:gd name="T61" fmla="*/ 294 h 310"/>
                <a:gd name="T62" fmla="*/ 127 w 320"/>
                <a:gd name="T63" fmla="*/ 297 h 310"/>
                <a:gd name="T64" fmla="*/ 114 w 320"/>
                <a:gd name="T65" fmla="*/ 287 h 310"/>
                <a:gd name="T66" fmla="*/ 107 w 320"/>
                <a:gd name="T67" fmla="*/ 281 h 310"/>
                <a:gd name="T68" fmla="*/ 96 w 320"/>
                <a:gd name="T69" fmla="*/ 271 h 310"/>
                <a:gd name="T70" fmla="*/ 86 w 320"/>
                <a:gd name="T71" fmla="*/ 261 h 310"/>
                <a:gd name="T72" fmla="*/ 76 w 320"/>
                <a:gd name="T73" fmla="*/ 249 h 310"/>
                <a:gd name="T74" fmla="*/ 69 w 320"/>
                <a:gd name="T75" fmla="*/ 245 h 310"/>
                <a:gd name="T76" fmla="*/ 62 w 320"/>
                <a:gd name="T77" fmla="*/ 236 h 310"/>
                <a:gd name="T78" fmla="*/ 48 w 320"/>
                <a:gd name="T79" fmla="*/ 229 h 310"/>
                <a:gd name="T80" fmla="*/ 38 w 320"/>
                <a:gd name="T81" fmla="*/ 223 h 310"/>
                <a:gd name="T82" fmla="*/ 34 w 320"/>
                <a:gd name="T83" fmla="*/ 213 h 310"/>
                <a:gd name="T84" fmla="*/ 24 w 320"/>
                <a:gd name="T85" fmla="*/ 190 h 310"/>
                <a:gd name="T86" fmla="*/ 21 w 320"/>
                <a:gd name="T87" fmla="*/ 184 h 310"/>
                <a:gd name="T88" fmla="*/ 10 w 320"/>
                <a:gd name="T89" fmla="*/ 171 h 310"/>
                <a:gd name="T90" fmla="*/ 10 w 320"/>
                <a:gd name="T91" fmla="*/ 158 h 310"/>
                <a:gd name="T92" fmla="*/ 0 w 320"/>
                <a:gd name="T93" fmla="*/ 152 h 310"/>
                <a:gd name="T94" fmla="*/ 7 w 320"/>
                <a:gd name="T95" fmla="*/ 139 h 310"/>
                <a:gd name="T96" fmla="*/ 14 w 320"/>
                <a:gd name="T97" fmla="*/ 126 h 310"/>
                <a:gd name="T98" fmla="*/ 21 w 320"/>
                <a:gd name="T99" fmla="*/ 106 h 310"/>
                <a:gd name="T100" fmla="*/ 38 w 320"/>
                <a:gd name="T101" fmla="*/ 103 h 310"/>
                <a:gd name="T102" fmla="*/ 55 w 320"/>
                <a:gd name="T103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0" h="310">
                  <a:moveTo>
                    <a:pt x="55" y="0"/>
                  </a:moveTo>
                  <a:lnTo>
                    <a:pt x="286" y="0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6" y="6"/>
                  </a:lnTo>
                  <a:lnTo>
                    <a:pt x="289" y="6"/>
                  </a:lnTo>
                  <a:lnTo>
                    <a:pt x="289" y="9"/>
                  </a:lnTo>
                  <a:lnTo>
                    <a:pt x="292" y="13"/>
                  </a:lnTo>
                  <a:lnTo>
                    <a:pt x="292" y="16"/>
                  </a:lnTo>
                  <a:lnTo>
                    <a:pt x="292" y="16"/>
                  </a:lnTo>
                  <a:lnTo>
                    <a:pt x="292" y="16"/>
                  </a:lnTo>
                  <a:lnTo>
                    <a:pt x="289" y="13"/>
                  </a:lnTo>
                  <a:lnTo>
                    <a:pt x="289" y="13"/>
                  </a:lnTo>
                  <a:lnTo>
                    <a:pt x="289" y="16"/>
                  </a:lnTo>
                  <a:lnTo>
                    <a:pt x="292" y="29"/>
                  </a:lnTo>
                  <a:lnTo>
                    <a:pt x="296" y="35"/>
                  </a:lnTo>
                  <a:lnTo>
                    <a:pt x="292" y="42"/>
                  </a:lnTo>
                  <a:lnTo>
                    <a:pt x="296" y="48"/>
                  </a:lnTo>
                  <a:lnTo>
                    <a:pt x="299" y="55"/>
                  </a:lnTo>
                  <a:lnTo>
                    <a:pt x="303" y="55"/>
                  </a:lnTo>
                  <a:lnTo>
                    <a:pt x="313" y="58"/>
                  </a:lnTo>
                  <a:lnTo>
                    <a:pt x="313" y="61"/>
                  </a:lnTo>
                  <a:lnTo>
                    <a:pt x="317" y="61"/>
                  </a:lnTo>
                  <a:lnTo>
                    <a:pt x="320" y="64"/>
                  </a:lnTo>
                  <a:lnTo>
                    <a:pt x="320" y="68"/>
                  </a:lnTo>
                  <a:lnTo>
                    <a:pt x="320" y="68"/>
                  </a:lnTo>
                  <a:lnTo>
                    <a:pt x="320" y="71"/>
                  </a:lnTo>
                  <a:lnTo>
                    <a:pt x="317" y="71"/>
                  </a:lnTo>
                  <a:lnTo>
                    <a:pt x="313" y="71"/>
                  </a:lnTo>
                  <a:lnTo>
                    <a:pt x="310" y="74"/>
                  </a:lnTo>
                  <a:lnTo>
                    <a:pt x="306" y="74"/>
                  </a:lnTo>
                  <a:lnTo>
                    <a:pt x="303" y="74"/>
                  </a:lnTo>
                  <a:lnTo>
                    <a:pt x="299" y="77"/>
                  </a:lnTo>
                  <a:lnTo>
                    <a:pt x="299" y="77"/>
                  </a:lnTo>
                  <a:lnTo>
                    <a:pt x="299" y="81"/>
                  </a:lnTo>
                  <a:lnTo>
                    <a:pt x="299" y="81"/>
                  </a:lnTo>
                  <a:lnTo>
                    <a:pt x="296" y="81"/>
                  </a:lnTo>
                  <a:lnTo>
                    <a:pt x="292" y="81"/>
                  </a:lnTo>
                  <a:lnTo>
                    <a:pt x="292" y="87"/>
                  </a:lnTo>
                  <a:lnTo>
                    <a:pt x="292" y="90"/>
                  </a:lnTo>
                  <a:lnTo>
                    <a:pt x="292" y="90"/>
                  </a:lnTo>
                  <a:lnTo>
                    <a:pt x="292" y="90"/>
                  </a:lnTo>
                  <a:lnTo>
                    <a:pt x="292" y="93"/>
                  </a:lnTo>
                  <a:lnTo>
                    <a:pt x="289" y="100"/>
                  </a:lnTo>
                  <a:lnTo>
                    <a:pt x="289" y="106"/>
                  </a:lnTo>
                  <a:lnTo>
                    <a:pt x="286" y="110"/>
                  </a:lnTo>
                  <a:lnTo>
                    <a:pt x="286" y="113"/>
                  </a:lnTo>
                  <a:lnTo>
                    <a:pt x="282" y="116"/>
                  </a:lnTo>
                  <a:lnTo>
                    <a:pt x="282" y="119"/>
                  </a:lnTo>
                  <a:lnTo>
                    <a:pt x="286" y="126"/>
                  </a:lnTo>
                  <a:lnTo>
                    <a:pt x="286" y="129"/>
                  </a:lnTo>
                  <a:lnTo>
                    <a:pt x="286" y="129"/>
                  </a:lnTo>
                  <a:lnTo>
                    <a:pt x="286" y="132"/>
                  </a:lnTo>
                  <a:lnTo>
                    <a:pt x="286" y="135"/>
                  </a:lnTo>
                  <a:lnTo>
                    <a:pt x="286" y="142"/>
                  </a:lnTo>
                  <a:lnTo>
                    <a:pt x="279" y="148"/>
                  </a:lnTo>
                  <a:lnTo>
                    <a:pt x="275" y="155"/>
                  </a:lnTo>
                  <a:lnTo>
                    <a:pt x="275" y="155"/>
                  </a:lnTo>
                  <a:lnTo>
                    <a:pt x="272" y="155"/>
                  </a:lnTo>
                  <a:lnTo>
                    <a:pt x="272" y="158"/>
                  </a:lnTo>
                  <a:lnTo>
                    <a:pt x="265" y="165"/>
                  </a:lnTo>
                  <a:lnTo>
                    <a:pt x="265" y="168"/>
                  </a:lnTo>
                  <a:lnTo>
                    <a:pt x="261" y="171"/>
                  </a:lnTo>
                  <a:lnTo>
                    <a:pt x="258" y="174"/>
                  </a:lnTo>
                  <a:lnTo>
                    <a:pt x="255" y="187"/>
                  </a:lnTo>
                  <a:lnTo>
                    <a:pt x="251" y="187"/>
                  </a:lnTo>
                  <a:lnTo>
                    <a:pt x="251" y="187"/>
                  </a:lnTo>
                  <a:lnTo>
                    <a:pt x="251" y="190"/>
                  </a:lnTo>
                  <a:lnTo>
                    <a:pt x="244" y="194"/>
                  </a:lnTo>
                  <a:lnTo>
                    <a:pt x="244" y="197"/>
                  </a:lnTo>
                  <a:lnTo>
                    <a:pt x="244" y="200"/>
                  </a:lnTo>
                  <a:lnTo>
                    <a:pt x="244" y="203"/>
                  </a:lnTo>
                  <a:lnTo>
                    <a:pt x="244" y="207"/>
                  </a:lnTo>
                  <a:lnTo>
                    <a:pt x="241" y="210"/>
                  </a:lnTo>
                  <a:lnTo>
                    <a:pt x="241" y="216"/>
                  </a:lnTo>
                  <a:lnTo>
                    <a:pt x="241" y="226"/>
                  </a:lnTo>
                  <a:lnTo>
                    <a:pt x="237" y="226"/>
                  </a:lnTo>
                  <a:lnTo>
                    <a:pt x="237" y="229"/>
                  </a:lnTo>
                  <a:lnTo>
                    <a:pt x="234" y="229"/>
                  </a:lnTo>
                  <a:lnTo>
                    <a:pt x="234" y="226"/>
                  </a:lnTo>
                  <a:lnTo>
                    <a:pt x="231" y="229"/>
                  </a:lnTo>
                  <a:lnTo>
                    <a:pt x="224" y="226"/>
                  </a:lnTo>
                  <a:lnTo>
                    <a:pt x="224" y="232"/>
                  </a:lnTo>
                  <a:lnTo>
                    <a:pt x="224" y="232"/>
                  </a:lnTo>
                  <a:lnTo>
                    <a:pt x="220" y="236"/>
                  </a:lnTo>
                  <a:lnTo>
                    <a:pt x="220" y="239"/>
                  </a:lnTo>
                  <a:lnTo>
                    <a:pt x="224" y="239"/>
                  </a:lnTo>
                  <a:lnTo>
                    <a:pt x="234" y="239"/>
                  </a:lnTo>
                  <a:lnTo>
                    <a:pt x="234" y="242"/>
                  </a:lnTo>
                  <a:lnTo>
                    <a:pt x="237" y="242"/>
                  </a:lnTo>
                  <a:lnTo>
                    <a:pt x="237" y="245"/>
                  </a:lnTo>
                  <a:lnTo>
                    <a:pt x="241" y="245"/>
                  </a:lnTo>
                  <a:lnTo>
                    <a:pt x="244" y="252"/>
                  </a:lnTo>
                  <a:lnTo>
                    <a:pt x="248" y="255"/>
                  </a:lnTo>
                  <a:lnTo>
                    <a:pt x="248" y="255"/>
                  </a:lnTo>
                  <a:lnTo>
                    <a:pt x="248" y="255"/>
                  </a:lnTo>
                  <a:lnTo>
                    <a:pt x="251" y="255"/>
                  </a:lnTo>
                  <a:lnTo>
                    <a:pt x="255" y="258"/>
                  </a:lnTo>
                  <a:lnTo>
                    <a:pt x="255" y="261"/>
                  </a:lnTo>
                  <a:lnTo>
                    <a:pt x="258" y="265"/>
                  </a:lnTo>
                  <a:lnTo>
                    <a:pt x="261" y="271"/>
                  </a:lnTo>
                  <a:lnTo>
                    <a:pt x="261" y="271"/>
                  </a:lnTo>
                  <a:lnTo>
                    <a:pt x="265" y="278"/>
                  </a:lnTo>
                  <a:lnTo>
                    <a:pt x="258" y="284"/>
                  </a:lnTo>
                  <a:lnTo>
                    <a:pt x="251" y="291"/>
                  </a:lnTo>
                  <a:lnTo>
                    <a:pt x="251" y="291"/>
                  </a:lnTo>
                  <a:lnTo>
                    <a:pt x="248" y="294"/>
                  </a:lnTo>
                  <a:lnTo>
                    <a:pt x="244" y="294"/>
                  </a:lnTo>
                  <a:lnTo>
                    <a:pt x="244" y="297"/>
                  </a:lnTo>
                  <a:lnTo>
                    <a:pt x="241" y="297"/>
                  </a:lnTo>
                  <a:lnTo>
                    <a:pt x="241" y="297"/>
                  </a:lnTo>
                  <a:lnTo>
                    <a:pt x="237" y="300"/>
                  </a:lnTo>
                  <a:lnTo>
                    <a:pt x="234" y="303"/>
                  </a:lnTo>
                  <a:lnTo>
                    <a:pt x="231" y="303"/>
                  </a:lnTo>
                  <a:lnTo>
                    <a:pt x="227" y="303"/>
                  </a:lnTo>
                  <a:lnTo>
                    <a:pt x="220" y="303"/>
                  </a:lnTo>
                  <a:lnTo>
                    <a:pt x="213" y="307"/>
                  </a:lnTo>
                  <a:lnTo>
                    <a:pt x="210" y="307"/>
                  </a:lnTo>
                  <a:lnTo>
                    <a:pt x="210" y="307"/>
                  </a:lnTo>
                  <a:lnTo>
                    <a:pt x="206" y="307"/>
                  </a:lnTo>
                  <a:lnTo>
                    <a:pt x="206" y="307"/>
                  </a:lnTo>
                  <a:lnTo>
                    <a:pt x="206" y="310"/>
                  </a:lnTo>
                  <a:lnTo>
                    <a:pt x="203" y="310"/>
                  </a:lnTo>
                  <a:lnTo>
                    <a:pt x="200" y="310"/>
                  </a:lnTo>
                  <a:lnTo>
                    <a:pt x="196" y="307"/>
                  </a:lnTo>
                  <a:lnTo>
                    <a:pt x="193" y="307"/>
                  </a:lnTo>
                  <a:lnTo>
                    <a:pt x="193" y="307"/>
                  </a:lnTo>
                  <a:lnTo>
                    <a:pt x="186" y="307"/>
                  </a:lnTo>
                  <a:lnTo>
                    <a:pt x="182" y="303"/>
                  </a:lnTo>
                  <a:lnTo>
                    <a:pt x="179" y="307"/>
                  </a:lnTo>
                  <a:lnTo>
                    <a:pt x="179" y="307"/>
                  </a:lnTo>
                  <a:lnTo>
                    <a:pt x="182" y="310"/>
                  </a:lnTo>
                  <a:lnTo>
                    <a:pt x="179" y="310"/>
                  </a:lnTo>
                  <a:lnTo>
                    <a:pt x="179" y="310"/>
                  </a:lnTo>
                  <a:lnTo>
                    <a:pt x="175" y="310"/>
                  </a:lnTo>
                  <a:lnTo>
                    <a:pt x="172" y="310"/>
                  </a:lnTo>
                  <a:lnTo>
                    <a:pt x="172" y="307"/>
                  </a:lnTo>
                  <a:lnTo>
                    <a:pt x="172" y="307"/>
                  </a:lnTo>
                  <a:lnTo>
                    <a:pt x="172" y="303"/>
                  </a:lnTo>
                  <a:lnTo>
                    <a:pt x="169" y="300"/>
                  </a:lnTo>
                  <a:lnTo>
                    <a:pt x="169" y="300"/>
                  </a:lnTo>
                  <a:lnTo>
                    <a:pt x="162" y="297"/>
                  </a:lnTo>
                  <a:lnTo>
                    <a:pt x="162" y="297"/>
                  </a:lnTo>
                  <a:lnTo>
                    <a:pt x="158" y="294"/>
                  </a:lnTo>
                  <a:lnTo>
                    <a:pt x="155" y="291"/>
                  </a:lnTo>
                  <a:lnTo>
                    <a:pt x="155" y="291"/>
                  </a:lnTo>
                  <a:lnTo>
                    <a:pt x="151" y="291"/>
                  </a:lnTo>
                  <a:lnTo>
                    <a:pt x="148" y="291"/>
                  </a:lnTo>
                  <a:lnTo>
                    <a:pt x="148" y="294"/>
                  </a:lnTo>
                  <a:lnTo>
                    <a:pt x="145" y="294"/>
                  </a:lnTo>
                  <a:lnTo>
                    <a:pt x="141" y="294"/>
                  </a:lnTo>
                  <a:lnTo>
                    <a:pt x="141" y="294"/>
                  </a:lnTo>
                  <a:lnTo>
                    <a:pt x="138" y="294"/>
                  </a:lnTo>
                  <a:lnTo>
                    <a:pt x="134" y="294"/>
                  </a:lnTo>
                  <a:lnTo>
                    <a:pt x="131" y="294"/>
                  </a:lnTo>
                  <a:lnTo>
                    <a:pt x="131" y="297"/>
                  </a:lnTo>
                  <a:lnTo>
                    <a:pt x="127" y="297"/>
                  </a:lnTo>
                  <a:lnTo>
                    <a:pt x="124" y="297"/>
                  </a:lnTo>
                  <a:lnTo>
                    <a:pt x="120" y="294"/>
                  </a:lnTo>
                  <a:lnTo>
                    <a:pt x="117" y="291"/>
                  </a:lnTo>
                  <a:lnTo>
                    <a:pt x="117" y="291"/>
                  </a:lnTo>
                  <a:lnTo>
                    <a:pt x="114" y="287"/>
                  </a:lnTo>
                  <a:lnTo>
                    <a:pt x="114" y="284"/>
                  </a:lnTo>
                  <a:lnTo>
                    <a:pt x="114" y="284"/>
                  </a:lnTo>
                  <a:lnTo>
                    <a:pt x="114" y="284"/>
                  </a:lnTo>
                  <a:lnTo>
                    <a:pt x="110" y="284"/>
                  </a:lnTo>
                  <a:lnTo>
                    <a:pt x="107" y="281"/>
                  </a:lnTo>
                  <a:lnTo>
                    <a:pt x="103" y="281"/>
                  </a:lnTo>
                  <a:lnTo>
                    <a:pt x="103" y="274"/>
                  </a:lnTo>
                  <a:lnTo>
                    <a:pt x="103" y="274"/>
                  </a:lnTo>
                  <a:lnTo>
                    <a:pt x="103" y="271"/>
                  </a:lnTo>
                  <a:lnTo>
                    <a:pt x="96" y="271"/>
                  </a:lnTo>
                  <a:lnTo>
                    <a:pt x="93" y="268"/>
                  </a:lnTo>
                  <a:lnTo>
                    <a:pt x="93" y="265"/>
                  </a:lnTo>
                  <a:lnTo>
                    <a:pt x="93" y="265"/>
                  </a:lnTo>
                  <a:lnTo>
                    <a:pt x="89" y="261"/>
                  </a:lnTo>
                  <a:lnTo>
                    <a:pt x="86" y="261"/>
                  </a:lnTo>
                  <a:lnTo>
                    <a:pt x="86" y="255"/>
                  </a:lnTo>
                  <a:lnTo>
                    <a:pt x="86" y="255"/>
                  </a:lnTo>
                  <a:lnTo>
                    <a:pt x="79" y="252"/>
                  </a:lnTo>
                  <a:lnTo>
                    <a:pt x="76" y="252"/>
                  </a:lnTo>
                  <a:lnTo>
                    <a:pt x="76" y="249"/>
                  </a:lnTo>
                  <a:lnTo>
                    <a:pt x="72" y="252"/>
                  </a:lnTo>
                  <a:lnTo>
                    <a:pt x="69" y="249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9" y="245"/>
                  </a:lnTo>
                  <a:lnTo>
                    <a:pt x="69" y="242"/>
                  </a:lnTo>
                  <a:lnTo>
                    <a:pt x="72" y="239"/>
                  </a:lnTo>
                  <a:lnTo>
                    <a:pt x="69" y="239"/>
                  </a:lnTo>
                  <a:lnTo>
                    <a:pt x="65" y="239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59" y="232"/>
                  </a:lnTo>
                  <a:lnTo>
                    <a:pt x="55" y="232"/>
                  </a:lnTo>
                  <a:lnTo>
                    <a:pt x="52" y="232"/>
                  </a:lnTo>
                  <a:lnTo>
                    <a:pt x="48" y="229"/>
                  </a:lnTo>
                  <a:lnTo>
                    <a:pt x="48" y="226"/>
                  </a:lnTo>
                  <a:lnTo>
                    <a:pt x="48" y="223"/>
                  </a:lnTo>
                  <a:lnTo>
                    <a:pt x="45" y="223"/>
                  </a:lnTo>
                  <a:lnTo>
                    <a:pt x="41" y="223"/>
                  </a:lnTo>
                  <a:lnTo>
                    <a:pt x="38" y="223"/>
                  </a:lnTo>
                  <a:lnTo>
                    <a:pt x="34" y="223"/>
                  </a:lnTo>
                  <a:lnTo>
                    <a:pt x="31" y="223"/>
                  </a:lnTo>
                  <a:lnTo>
                    <a:pt x="31" y="216"/>
                  </a:lnTo>
                  <a:lnTo>
                    <a:pt x="31" y="213"/>
                  </a:lnTo>
                  <a:lnTo>
                    <a:pt x="34" y="213"/>
                  </a:lnTo>
                  <a:lnTo>
                    <a:pt x="34" y="210"/>
                  </a:lnTo>
                  <a:lnTo>
                    <a:pt x="34" y="207"/>
                  </a:lnTo>
                  <a:lnTo>
                    <a:pt x="31" y="200"/>
                  </a:lnTo>
                  <a:lnTo>
                    <a:pt x="24" y="194"/>
                  </a:lnTo>
                  <a:lnTo>
                    <a:pt x="24" y="190"/>
                  </a:lnTo>
                  <a:lnTo>
                    <a:pt x="21" y="190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17" y="184"/>
                  </a:lnTo>
                  <a:lnTo>
                    <a:pt x="21" y="184"/>
                  </a:lnTo>
                  <a:lnTo>
                    <a:pt x="21" y="181"/>
                  </a:lnTo>
                  <a:lnTo>
                    <a:pt x="21" y="177"/>
                  </a:lnTo>
                  <a:lnTo>
                    <a:pt x="21" y="174"/>
                  </a:lnTo>
                  <a:lnTo>
                    <a:pt x="10" y="174"/>
                  </a:lnTo>
                  <a:lnTo>
                    <a:pt x="10" y="171"/>
                  </a:lnTo>
                  <a:lnTo>
                    <a:pt x="10" y="168"/>
                  </a:lnTo>
                  <a:lnTo>
                    <a:pt x="10" y="165"/>
                  </a:lnTo>
                  <a:lnTo>
                    <a:pt x="10" y="161"/>
                  </a:lnTo>
                  <a:lnTo>
                    <a:pt x="7" y="161"/>
                  </a:lnTo>
                  <a:lnTo>
                    <a:pt x="10" y="158"/>
                  </a:lnTo>
                  <a:lnTo>
                    <a:pt x="10" y="158"/>
                  </a:lnTo>
                  <a:lnTo>
                    <a:pt x="7" y="155"/>
                  </a:lnTo>
                  <a:lnTo>
                    <a:pt x="3" y="158"/>
                  </a:lnTo>
                  <a:lnTo>
                    <a:pt x="0" y="158"/>
                  </a:lnTo>
                  <a:lnTo>
                    <a:pt x="0" y="152"/>
                  </a:lnTo>
                  <a:lnTo>
                    <a:pt x="7" y="148"/>
                  </a:lnTo>
                  <a:lnTo>
                    <a:pt x="10" y="145"/>
                  </a:lnTo>
                  <a:lnTo>
                    <a:pt x="7" y="142"/>
                  </a:lnTo>
                  <a:lnTo>
                    <a:pt x="3" y="139"/>
                  </a:lnTo>
                  <a:lnTo>
                    <a:pt x="7" y="139"/>
                  </a:lnTo>
                  <a:lnTo>
                    <a:pt x="10" y="135"/>
                  </a:lnTo>
                  <a:lnTo>
                    <a:pt x="10" y="132"/>
                  </a:lnTo>
                  <a:lnTo>
                    <a:pt x="10" y="129"/>
                  </a:lnTo>
                  <a:lnTo>
                    <a:pt x="10" y="129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21" y="119"/>
                  </a:lnTo>
                  <a:lnTo>
                    <a:pt x="24" y="113"/>
                  </a:lnTo>
                  <a:lnTo>
                    <a:pt x="21" y="113"/>
                  </a:lnTo>
                  <a:lnTo>
                    <a:pt x="21" y="106"/>
                  </a:lnTo>
                  <a:lnTo>
                    <a:pt x="24" y="106"/>
                  </a:lnTo>
                  <a:lnTo>
                    <a:pt x="31" y="106"/>
                  </a:lnTo>
                  <a:lnTo>
                    <a:pt x="34" y="106"/>
                  </a:lnTo>
                  <a:lnTo>
                    <a:pt x="38" y="106"/>
                  </a:lnTo>
                  <a:lnTo>
                    <a:pt x="38" y="103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8" y="32"/>
                  </a:lnTo>
                  <a:lnTo>
                    <a:pt x="55" y="32"/>
                  </a:lnTo>
                  <a:lnTo>
                    <a:pt x="5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0" name="Freeform 101"/>
            <p:cNvSpPr>
              <a:spLocks/>
            </p:cNvSpPr>
            <p:nvPr/>
          </p:nvSpPr>
          <p:spPr bwMode="auto">
            <a:xfrm>
              <a:off x="7281863" y="4231342"/>
              <a:ext cx="469900" cy="303212"/>
            </a:xfrm>
            <a:custGeom>
              <a:avLst/>
              <a:gdLst>
                <a:gd name="T0" fmla="*/ 41 w 296"/>
                <a:gd name="T1" fmla="*/ 152 h 191"/>
                <a:gd name="T2" fmla="*/ 35 w 296"/>
                <a:gd name="T3" fmla="*/ 139 h 191"/>
                <a:gd name="T4" fmla="*/ 28 w 296"/>
                <a:gd name="T5" fmla="*/ 136 h 191"/>
                <a:gd name="T6" fmla="*/ 21 w 296"/>
                <a:gd name="T7" fmla="*/ 126 h 191"/>
                <a:gd name="T8" fmla="*/ 14 w 296"/>
                <a:gd name="T9" fmla="*/ 123 h 191"/>
                <a:gd name="T10" fmla="*/ 0 w 296"/>
                <a:gd name="T11" fmla="*/ 120 h 191"/>
                <a:gd name="T12" fmla="*/ 4 w 296"/>
                <a:gd name="T13" fmla="*/ 113 h 191"/>
                <a:gd name="T14" fmla="*/ 14 w 296"/>
                <a:gd name="T15" fmla="*/ 107 h 191"/>
                <a:gd name="T16" fmla="*/ 17 w 296"/>
                <a:gd name="T17" fmla="*/ 107 h 191"/>
                <a:gd name="T18" fmla="*/ 21 w 296"/>
                <a:gd name="T19" fmla="*/ 91 h 191"/>
                <a:gd name="T20" fmla="*/ 24 w 296"/>
                <a:gd name="T21" fmla="*/ 81 h 191"/>
                <a:gd name="T22" fmla="*/ 31 w 296"/>
                <a:gd name="T23" fmla="*/ 71 h 191"/>
                <a:gd name="T24" fmla="*/ 35 w 296"/>
                <a:gd name="T25" fmla="*/ 68 h 191"/>
                <a:gd name="T26" fmla="*/ 45 w 296"/>
                <a:gd name="T27" fmla="*/ 49 h 191"/>
                <a:gd name="T28" fmla="*/ 52 w 296"/>
                <a:gd name="T29" fmla="*/ 36 h 191"/>
                <a:gd name="T30" fmla="*/ 59 w 296"/>
                <a:gd name="T31" fmla="*/ 29 h 191"/>
                <a:gd name="T32" fmla="*/ 66 w 296"/>
                <a:gd name="T33" fmla="*/ 13 h 191"/>
                <a:gd name="T34" fmla="*/ 72 w 296"/>
                <a:gd name="T35" fmla="*/ 13 h 191"/>
                <a:gd name="T36" fmla="*/ 83 w 296"/>
                <a:gd name="T37" fmla="*/ 0 h 191"/>
                <a:gd name="T38" fmla="*/ 93 w 296"/>
                <a:gd name="T39" fmla="*/ 7 h 191"/>
                <a:gd name="T40" fmla="*/ 107 w 296"/>
                <a:gd name="T41" fmla="*/ 4 h 191"/>
                <a:gd name="T42" fmla="*/ 114 w 296"/>
                <a:gd name="T43" fmla="*/ 4 h 191"/>
                <a:gd name="T44" fmla="*/ 124 w 296"/>
                <a:gd name="T45" fmla="*/ 7 h 191"/>
                <a:gd name="T46" fmla="*/ 134 w 296"/>
                <a:gd name="T47" fmla="*/ 10 h 191"/>
                <a:gd name="T48" fmla="*/ 148 w 296"/>
                <a:gd name="T49" fmla="*/ 20 h 191"/>
                <a:gd name="T50" fmla="*/ 152 w 296"/>
                <a:gd name="T51" fmla="*/ 23 h 191"/>
                <a:gd name="T52" fmla="*/ 165 w 296"/>
                <a:gd name="T53" fmla="*/ 29 h 191"/>
                <a:gd name="T54" fmla="*/ 172 w 296"/>
                <a:gd name="T55" fmla="*/ 39 h 191"/>
                <a:gd name="T56" fmla="*/ 176 w 296"/>
                <a:gd name="T57" fmla="*/ 46 h 191"/>
                <a:gd name="T58" fmla="*/ 176 w 296"/>
                <a:gd name="T59" fmla="*/ 58 h 191"/>
                <a:gd name="T60" fmla="*/ 169 w 296"/>
                <a:gd name="T61" fmla="*/ 68 h 191"/>
                <a:gd name="T62" fmla="*/ 183 w 296"/>
                <a:gd name="T63" fmla="*/ 65 h 191"/>
                <a:gd name="T64" fmla="*/ 189 w 296"/>
                <a:gd name="T65" fmla="*/ 68 h 191"/>
                <a:gd name="T66" fmla="*/ 200 w 296"/>
                <a:gd name="T67" fmla="*/ 84 h 191"/>
                <a:gd name="T68" fmla="*/ 210 w 296"/>
                <a:gd name="T69" fmla="*/ 97 h 191"/>
                <a:gd name="T70" fmla="*/ 296 w 296"/>
                <a:gd name="T71" fmla="*/ 113 h 191"/>
                <a:gd name="T72" fmla="*/ 210 w 296"/>
                <a:gd name="T73" fmla="*/ 165 h 191"/>
                <a:gd name="T74" fmla="*/ 200 w 296"/>
                <a:gd name="T75" fmla="*/ 172 h 191"/>
                <a:gd name="T76" fmla="*/ 189 w 296"/>
                <a:gd name="T77" fmla="*/ 178 h 191"/>
                <a:gd name="T78" fmla="*/ 176 w 296"/>
                <a:gd name="T79" fmla="*/ 184 h 191"/>
                <a:gd name="T80" fmla="*/ 162 w 296"/>
                <a:gd name="T81" fmla="*/ 184 h 191"/>
                <a:gd name="T82" fmla="*/ 155 w 296"/>
                <a:gd name="T83" fmla="*/ 178 h 191"/>
                <a:gd name="T84" fmla="*/ 141 w 296"/>
                <a:gd name="T85" fmla="*/ 181 h 191"/>
                <a:gd name="T86" fmla="*/ 127 w 296"/>
                <a:gd name="T87" fmla="*/ 191 h 191"/>
                <a:gd name="T88" fmla="*/ 117 w 296"/>
                <a:gd name="T89" fmla="*/ 191 h 191"/>
                <a:gd name="T90" fmla="*/ 103 w 296"/>
                <a:gd name="T91" fmla="*/ 188 h 191"/>
                <a:gd name="T92" fmla="*/ 90 w 296"/>
                <a:gd name="T93" fmla="*/ 181 h 191"/>
                <a:gd name="T94" fmla="*/ 69 w 296"/>
                <a:gd name="T95" fmla="*/ 175 h 191"/>
                <a:gd name="T96" fmla="*/ 59 w 296"/>
                <a:gd name="T97" fmla="*/ 175 h 191"/>
                <a:gd name="T98" fmla="*/ 52 w 296"/>
                <a:gd name="T99" fmla="*/ 159 h 191"/>
                <a:gd name="T100" fmla="*/ 45 w 296"/>
                <a:gd name="T101" fmla="*/ 15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6" h="191">
                  <a:moveTo>
                    <a:pt x="45" y="159"/>
                  </a:moveTo>
                  <a:lnTo>
                    <a:pt x="41" y="152"/>
                  </a:lnTo>
                  <a:lnTo>
                    <a:pt x="41" y="152"/>
                  </a:lnTo>
                  <a:lnTo>
                    <a:pt x="38" y="146"/>
                  </a:lnTo>
                  <a:lnTo>
                    <a:pt x="35" y="142"/>
                  </a:lnTo>
                  <a:lnTo>
                    <a:pt x="35" y="139"/>
                  </a:lnTo>
                  <a:lnTo>
                    <a:pt x="31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4" y="133"/>
                  </a:lnTo>
                  <a:lnTo>
                    <a:pt x="21" y="126"/>
                  </a:lnTo>
                  <a:lnTo>
                    <a:pt x="17" y="126"/>
                  </a:lnTo>
                  <a:lnTo>
                    <a:pt x="17" y="123"/>
                  </a:lnTo>
                  <a:lnTo>
                    <a:pt x="14" y="123"/>
                  </a:lnTo>
                  <a:lnTo>
                    <a:pt x="14" y="120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0" y="117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4" y="107"/>
                  </a:lnTo>
                  <a:lnTo>
                    <a:pt x="11" y="110"/>
                  </a:lnTo>
                  <a:lnTo>
                    <a:pt x="14" y="107"/>
                  </a:lnTo>
                  <a:lnTo>
                    <a:pt x="14" y="110"/>
                  </a:lnTo>
                  <a:lnTo>
                    <a:pt x="17" y="110"/>
                  </a:lnTo>
                  <a:lnTo>
                    <a:pt x="17" y="107"/>
                  </a:lnTo>
                  <a:lnTo>
                    <a:pt x="21" y="107"/>
                  </a:lnTo>
                  <a:lnTo>
                    <a:pt x="21" y="97"/>
                  </a:lnTo>
                  <a:lnTo>
                    <a:pt x="21" y="91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1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31" y="71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5" y="68"/>
                  </a:lnTo>
                  <a:lnTo>
                    <a:pt x="38" y="55"/>
                  </a:lnTo>
                  <a:lnTo>
                    <a:pt x="41" y="52"/>
                  </a:lnTo>
                  <a:lnTo>
                    <a:pt x="45" y="49"/>
                  </a:lnTo>
                  <a:lnTo>
                    <a:pt x="45" y="46"/>
                  </a:lnTo>
                  <a:lnTo>
                    <a:pt x="52" y="39"/>
                  </a:lnTo>
                  <a:lnTo>
                    <a:pt x="52" y="36"/>
                  </a:lnTo>
                  <a:lnTo>
                    <a:pt x="55" y="36"/>
                  </a:lnTo>
                  <a:lnTo>
                    <a:pt x="55" y="36"/>
                  </a:lnTo>
                  <a:lnTo>
                    <a:pt x="59" y="29"/>
                  </a:lnTo>
                  <a:lnTo>
                    <a:pt x="66" y="23"/>
                  </a:lnTo>
                  <a:lnTo>
                    <a:pt x="66" y="16"/>
                  </a:lnTo>
                  <a:lnTo>
                    <a:pt x="66" y="13"/>
                  </a:lnTo>
                  <a:lnTo>
                    <a:pt x="66" y="10"/>
                  </a:lnTo>
                  <a:lnTo>
                    <a:pt x="69" y="13"/>
                  </a:lnTo>
                  <a:lnTo>
                    <a:pt x="72" y="13"/>
                  </a:lnTo>
                  <a:lnTo>
                    <a:pt x="76" y="10"/>
                  </a:lnTo>
                  <a:lnTo>
                    <a:pt x="79" y="10"/>
                  </a:lnTo>
                  <a:lnTo>
                    <a:pt x="83" y="0"/>
                  </a:lnTo>
                  <a:lnTo>
                    <a:pt x="86" y="0"/>
                  </a:lnTo>
                  <a:lnTo>
                    <a:pt x="86" y="4"/>
                  </a:lnTo>
                  <a:lnTo>
                    <a:pt x="93" y="7"/>
                  </a:lnTo>
                  <a:lnTo>
                    <a:pt x="97" y="7"/>
                  </a:lnTo>
                  <a:lnTo>
                    <a:pt x="100" y="4"/>
                  </a:lnTo>
                  <a:lnTo>
                    <a:pt x="107" y="4"/>
                  </a:lnTo>
                  <a:lnTo>
                    <a:pt x="107" y="4"/>
                  </a:lnTo>
                  <a:lnTo>
                    <a:pt x="110" y="4"/>
                  </a:lnTo>
                  <a:lnTo>
                    <a:pt x="114" y="4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4" y="7"/>
                  </a:lnTo>
                  <a:lnTo>
                    <a:pt x="127" y="7"/>
                  </a:lnTo>
                  <a:lnTo>
                    <a:pt x="131" y="10"/>
                  </a:lnTo>
                  <a:lnTo>
                    <a:pt x="134" y="10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8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3"/>
                  </a:lnTo>
                  <a:lnTo>
                    <a:pt x="158" y="23"/>
                  </a:lnTo>
                  <a:lnTo>
                    <a:pt x="162" y="29"/>
                  </a:lnTo>
                  <a:lnTo>
                    <a:pt x="165" y="29"/>
                  </a:lnTo>
                  <a:lnTo>
                    <a:pt x="169" y="33"/>
                  </a:lnTo>
                  <a:lnTo>
                    <a:pt x="172" y="36"/>
                  </a:lnTo>
                  <a:lnTo>
                    <a:pt x="172" y="39"/>
                  </a:lnTo>
                  <a:lnTo>
                    <a:pt x="176" y="39"/>
                  </a:lnTo>
                  <a:lnTo>
                    <a:pt x="179" y="46"/>
                  </a:lnTo>
                  <a:lnTo>
                    <a:pt x="176" y="46"/>
                  </a:lnTo>
                  <a:lnTo>
                    <a:pt x="176" y="49"/>
                  </a:lnTo>
                  <a:lnTo>
                    <a:pt x="172" y="52"/>
                  </a:lnTo>
                  <a:lnTo>
                    <a:pt x="176" y="58"/>
                  </a:lnTo>
                  <a:lnTo>
                    <a:pt x="172" y="58"/>
                  </a:lnTo>
                  <a:lnTo>
                    <a:pt x="172" y="62"/>
                  </a:lnTo>
                  <a:lnTo>
                    <a:pt x="169" y="68"/>
                  </a:lnTo>
                  <a:lnTo>
                    <a:pt x="172" y="68"/>
                  </a:lnTo>
                  <a:lnTo>
                    <a:pt x="179" y="68"/>
                  </a:lnTo>
                  <a:lnTo>
                    <a:pt x="183" y="65"/>
                  </a:lnTo>
                  <a:lnTo>
                    <a:pt x="186" y="65"/>
                  </a:lnTo>
                  <a:lnTo>
                    <a:pt x="189" y="68"/>
                  </a:lnTo>
                  <a:lnTo>
                    <a:pt x="189" y="68"/>
                  </a:lnTo>
                  <a:lnTo>
                    <a:pt x="189" y="75"/>
                  </a:lnTo>
                  <a:lnTo>
                    <a:pt x="193" y="84"/>
                  </a:lnTo>
                  <a:lnTo>
                    <a:pt x="200" y="84"/>
                  </a:lnTo>
                  <a:lnTo>
                    <a:pt x="200" y="91"/>
                  </a:lnTo>
                  <a:lnTo>
                    <a:pt x="200" y="94"/>
                  </a:lnTo>
                  <a:lnTo>
                    <a:pt x="210" y="97"/>
                  </a:lnTo>
                  <a:lnTo>
                    <a:pt x="213" y="100"/>
                  </a:lnTo>
                  <a:lnTo>
                    <a:pt x="269" y="117"/>
                  </a:lnTo>
                  <a:lnTo>
                    <a:pt x="296" y="113"/>
                  </a:lnTo>
                  <a:lnTo>
                    <a:pt x="234" y="165"/>
                  </a:lnTo>
                  <a:lnTo>
                    <a:pt x="224" y="165"/>
                  </a:lnTo>
                  <a:lnTo>
                    <a:pt x="210" y="165"/>
                  </a:lnTo>
                  <a:lnTo>
                    <a:pt x="207" y="168"/>
                  </a:lnTo>
                  <a:lnTo>
                    <a:pt x="203" y="168"/>
                  </a:lnTo>
                  <a:lnTo>
                    <a:pt x="200" y="172"/>
                  </a:lnTo>
                  <a:lnTo>
                    <a:pt x="196" y="175"/>
                  </a:lnTo>
                  <a:lnTo>
                    <a:pt x="193" y="175"/>
                  </a:lnTo>
                  <a:lnTo>
                    <a:pt x="189" y="178"/>
                  </a:lnTo>
                  <a:lnTo>
                    <a:pt x="183" y="178"/>
                  </a:lnTo>
                  <a:lnTo>
                    <a:pt x="176" y="181"/>
                  </a:lnTo>
                  <a:lnTo>
                    <a:pt x="176" y="184"/>
                  </a:lnTo>
                  <a:lnTo>
                    <a:pt x="176" y="184"/>
                  </a:lnTo>
                  <a:lnTo>
                    <a:pt x="169" y="184"/>
                  </a:lnTo>
                  <a:lnTo>
                    <a:pt x="162" y="184"/>
                  </a:lnTo>
                  <a:lnTo>
                    <a:pt x="158" y="184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45" y="178"/>
                  </a:lnTo>
                  <a:lnTo>
                    <a:pt x="141" y="181"/>
                  </a:lnTo>
                  <a:lnTo>
                    <a:pt x="141" y="181"/>
                  </a:lnTo>
                  <a:lnTo>
                    <a:pt x="134" y="181"/>
                  </a:lnTo>
                  <a:lnTo>
                    <a:pt x="134" y="184"/>
                  </a:lnTo>
                  <a:lnTo>
                    <a:pt x="127" y="191"/>
                  </a:lnTo>
                  <a:lnTo>
                    <a:pt x="124" y="191"/>
                  </a:lnTo>
                  <a:lnTo>
                    <a:pt x="121" y="191"/>
                  </a:lnTo>
                  <a:lnTo>
                    <a:pt x="117" y="191"/>
                  </a:lnTo>
                  <a:lnTo>
                    <a:pt x="114" y="191"/>
                  </a:lnTo>
                  <a:lnTo>
                    <a:pt x="110" y="188"/>
                  </a:lnTo>
                  <a:lnTo>
                    <a:pt x="103" y="188"/>
                  </a:lnTo>
                  <a:lnTo>
                    <a:pt x="100" y="188"/>
                  </a:lnTo>
                  <a:lnTo>
                    <a:pt x="97" y="184"/>
                  </a:lnTo>
                  <a:lnTo>
                    <a:pt x="90" y="181"/>
                  </a:lnTo>
                  <a:lnTo>
                    <a:pt x="83" y="175"/>
                  </a:lnTo>
                  <a:lnTo>
                    <a:pt x="79" y="175"/>
                  </a:lnTo>
                  <a:lnTo>
                    <a:pt x="69" y="175"/>
                  </a:lnTo>
                  <a:lnTo>
                    <a:pt x="66" y="172"/>
                  </a:lnTo>
                  <a:lnTo>
                    <a:pt x="62" y="175"/>
                  </a:lnTo>
                  <a:lnTo>
                    <a:pt x="59" y="175"/>
                  </a:lnTo>
                  <a:lnTo>
                    <a:pt x="55" y="172"/>
                  </a:lnTo>
                  <a:lnTo>
                    <a:pt x="55" y="162"/>
                  </a:lnTo>
                  <a:lnTo>
                    <a:pt x="52" y="159"/>
                  </a:lnTo>
                  <a:lnTo>
                    <a:pt x="48" y="162"/>
                  </a:lnTo>
                  <a:lnTo>
                    <a:pt x="45" y="159"/>
                  </a:lnTo>
                  <a:lnTo>
                    <a:pt x="45" y="1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1" name="Freeform 102"/>
            <p:cNvSpPr>
              <a:spLocks/>
            </p:cNvSpPr>
            <p:nvPr/>
          </p:nvSpPr>
          <p:spPr bwMode="auto">
            <a:xfrm>
              <a:off x="7380288" y="4150380"/>
              <a:ext cx="207963" cy="153987"/>
            </a:xfrm>
            <a:custGeom>
              <a:avLst/>
              <a:gdLst>
                <a:gd name="T0" fmla="*/ 114 w 131"/>
                <a:gd name="T1" fmla="*/ 90 h 97"/>
                <a:gd name="T2" fmla="*/ 110 w 131"/>
                <a:gd name="T3" fmla="*/ 87 h 97"/>
                <a:gd name="T4" fmla="*/ 103 w 131"/>
                <a:gd name="T5" fmla="*/ 80 h 97"/>
                <a:gd name="T6" fmla="*/ 96 w 131"/>
                <a:gd name="T7" fmla="*/ 74 h 97"/>
                <a:gd name="T8" fmla="*/ 90 w 131"/>
                <a:gd name="T9" fmla="*/ 71 h 97"/>
                <a:gd name="T10" fmla="*/ 86 w 131"/>
                <a:gd name="T11" fmla="*/ 71 h 97"/>
                <a:gd name="T12" fmla="*/ 79 w 131"/>
                <a:gd name="T13" fmla="*/ 67 h 97"/>
                <a:gd name="T14" fmla="*/ 69 w 131"/>
                <a:gd name="T15" fmla="*/ 61 h 97"/>
                <a:gd name="T16" fmla="*/ 62 w 131"/>
                <a:gd name="T17" fmla="*/ 58 h 97"/>
                <a:gd name="T18" fmla="*/ 59 w 131"/>
                <a:gd name="T19" fmla="*/ 58 h 97"/>
                <a:gd name="T20" fmla="*/ 48 w 131"/>
                <a:gd name="T21" fmla="*/ 55 h 97"/>
                <a:gd name="T22" fmla="*/ 45 w 131"/>
                <a:gd name="T23" fmla="*/ 55 h 97"/>
                <a:gd name="T24" fmla="*/ 35 w 131"/>
                <a:gd name="T25" fmla="*/ 58 h 97"/>
                <a:gd name="T26" fmla="*/ 24 w 131"/>
                <a:gd name="T27" fmla="*/ 55 h 97"/>
                <a:gd name="T28" fmla="*/ 21 w 131"/>
                <a:gd name="T29" fmla="*/ 51 h 97"/>
                <a:gd name="T30" fmla="*/ 14 w 131"/>
                <a:gd name="T31" fmla="*/ 61 h 97"/>
                <a:gd name="T32" fmla="*/ 7 w 131"/>
                <a:gd name="T33" fmla="*/ 64 h 97"/>
                <a:gd name="T34" fmla="*/ 4 w 131"/>
                <a:gd name="T35" fmla="*/ 58 h 97"/>
                <a:gd name="T36" fmla="*/ 0 w 131"/>
                <a:gd name="T37" fmla="*/ 48 h 97"/>
                <a:gd name="T38" fmla="*/ 4 w 131"/>
                <a:gd name="T39" fmla="*/ 42 h 97"/>
                <a:gd name="T40" fmla="*/ 7 w 131"/>
                <a:gd name="T41" fmla="*/ 32 h 97"/>
                <a:gd name="T42" fmla="*/ 10 w 131"/>
                <a:gd name="T43" fmla="*/ 22 h 97"/>
                <a:gd name="T44" fmla="*/ 10 w 131"/>
                <a:gd name="T45" fmla="*/ 22 h 97"/>
                <a:gd name="T46" fmla="*/ 10 w 131"/>
                <a:gd name="T47" fmla="*/ 13 h 97"/>
                <a:gd name="T48" fmla="*/ 17 w 131"/>
                <a:gd name="T49" fmla="*/ 13 h 97"/>
                <a:gd name="T50" fmla="*/ 17 w 131"/>
                <a:gd name="T51" fmla="*/ 9 h 97"/>
                <a:gd name="T52" fmla="*/ 21 w 131"/>
                <a:gd name="T53" fmla="*/ 6 h 97"/>
                <a:gd name="T54" fmla="*/ 28 w 131"/>
                <a:gd name="T55" fmla="*/ 6 h 97"/>
                <a:gd name="T56" fmla="*/ 35 w 131"/>
                <a:gd name="T57" fmla="*/ 3 h 97"/>
                <a:gd name="T58" fmla="*/ 38 w 131"/>
                <a:gd name="T59" fmla="*/ 0 h 97"/>
                <a:gd name="T60" fmla="*/ 45 w 131"/>
                <a:gd name="T61" fmla="*/ 3 h 97"/>
                <a:gd name="T62" fmla="*/ 55 w 131"/>
                <a:gd name="T63" fmla="*/ 32 h 97"/>
                <a:gd name="T64" fmla="*/ 59 w 131"/>
                <a:gd name="T65" fmla="*/ 38 h 97"/>
                <a:gd name="T66" fmla="*/ 59 w 131"/>
                <a:gd name="T67" fmla="*/ 38 h 97"/>
                <a:gd name="T68" fmla="*/ 62 w 131"/>
                <a:gd name="T69" fmla="*/ 48 h 97"/>
                <a:gd name="T70" fmla="*/ 65 w 131"/>
                <a:gd name="T71" fmla="*/ 45 h 97"/>
                <a:gd name="T72" fmla="*/ 65 w 131"/>
                <a:gd name="T73" fmla="*/ 42 h 97"/>
                <a:gd name="T74" fmla="*/ 69 w 131"/>
                <a:gd name="T75" fmla="*/ 45 h 97"/>
                <a:gd name="T76" fmla="*/ 72 w 131"/>
                <a:gd name="T77" fmla="*/ 51 h 97"/>
                <a:gd name="T78" fmla="*/ 76 w 131"/>
                <a:gd name="T79" fmla="*/ 51 h 97"/>
                <a:gd name="T80" fmla="*/ 79 w 131"/>
                <a:gd name="T81" fmla="*/ 51 h 97"/>
                <a:gd name="T82" fmla="*/ 86 w 131"/>
                <a:gd name="T83" fmla="*/ 55 h 97"/>
                <a:gd name="T84" fmla="*/ 93 w 131"/>
                <a:gd name="T85" fmla="*/ 58 h 97"/>
                <a:gd name="T86" fmla="*/ 100 w 131"/>
                <a:gd name="T87" fmla="*/ 64 h 97"/>
                <a:gd name="T88" fmla="*/ 107 w 131"/>
                <a:gd name="T89" fmla="*/ 71 h 97"/>
                <a:gd name="T90" fmla="*/ 114 w 131"/>
                <a:gd name="T91" fmla="*/ 74 h 97"/>
                <a:gd name="T92" fmla="*/ 114 w 131"/>
                <a:gd name="T93" fmla="*/ 74 h 97"/>
                <a:gd name="T94" fmla="*/ 121 w 131"/>
                <a:gd name="T95" fmla="*/ 80 h 97"/>
                <a:gd name="T96" fmla="*/ 121 w 131"/>
                <a:gd name="T97" fmla="*/ 84 h 97"/>
                <a:gd name="T98" fmla="*/ 124 w 131"/>
                <a:gd name="T99" fmla="*/ 87 h 97"/>
                <a:gd name="T100" fmla="*/ 127 w 131"/>
                <a:gd name="T101" fmla="*/ 87 h 97"/>
                <a:gd name="T102" fmla="*/ 131 w 131"/>
                <a:gd name="T103" fmla="*/ 90 h 97"/>
                <a:gd name="T104" fmla="*/ 124 w 131"/>
                <a:gd name="T105" fmla="*/ 93 h 97"/>
                <a:gd name="T106" fmla="*/ 117 w 131"/>
                <a:gd name="T10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1" h="97">
                  <a:moveTo>
                    <a:pt x="117" y="97"/>
                  </a:moveTo>
                  <a:lnTo>
                    <a:pt x="114" y="90"/>
                  </a:lnTo>
                  <a:lnTo>
                    <a:pt x="110" y="90"/>
                  </a:lnTo>
                  <a:lnTo>
                    <a:pt x="110" y="87"/>
                  </a:lnTo>
                  <a:lnTo>
                    <a:pt x="107" y="84"/>
                  </a:lnTo>
                  <a:lnTo>
                    <a:pt x="103" y="80"/>
                  </a:lnTo>
                  <a:lnTo>
                    <a:pt x="100" y="80"/>
                  </a:lnTo>
                  <a:lnTo>
                    <a:pt x="96" y="74"/>
                  </a:lnTo>
                  <a:lnTo>
                    <a:pt x="90" y="74"/>
                  </a:lnTo>
                  <a:lnTo>
                    <a:pt x="90" y="71"/>
                  </a:lnTo>
                  <a:lnTo>
                    <a:pt x="86" y="71"/>
                  </a:lnTo>
                  <a:lnTo>
                    <a:pt x="86" y="71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2" y="61"/>
                  </a:lnTo>
                  <a:lnTo>
                    <a:pt x="69" y="61"/>
                  </a:lnTo>
                  <a:lnTo>
                    <a:pt x="65" y="58"/>
                  </a:lnTo>
                  <a:lnTo>
                    <a:pt x="62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2" y="55"/>
                  </a:lnTo>
                  <a:lnTo>
                    <a:pt x="48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38" y="55"/>
                  </a:lnTo>
                  <a:lnTo>
                    <a:pt x="35" y="58"/>
                  </a:lnTo>
                  <a:lnTo>
                    <a:pt x="31" y="58"/>
                  </a:lnTo>
                  <a:lnTo>
                    <a:pt x="24" y="55"/>
                  </a:lnTo>
                  <a:lnTo>
                    <a:pt x="24" y="51"/>
                  </a:lnTo>
                  <a:lnTo>
                    <a:pt x="21" y="51"/>
                  </a:lnTo>
                  <a:lnTo>
                    <a:pt x="17" y="61"/>
                  </a:lnTo>
                  <a:lnTo>
                    <a:pt x="14" y="61"/>
                  </a:lnTo>
                  <a:lnTo>
                    <a:pt x="10" y="64"/>
                  </a:lnTo>
                  <a:lnTo>
                    <a:pt x="7" y="64"/>
                  </a:lnTo>
                  <a:lnTo>
                    <a:pt x="4" y="61"/>
                  </a:lnTo>
                  <a:lnTo>
                    <a:pt x="4" y="58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4" y="45"/>
                  </a:lnTo>
                  <a:lnTo>
                    <a:pt x="4" y="42"/>
                  </a:lnTo>
                  <a:lnTo>
                    <a:pt x="7" y="38"/>
                  </a:lnTo>
                  <a:lnTo>
                    <a:pt x="7" y="32"/>
                  </a:lnTo>
                  <a:lnTo>
                    <a:pt x="10" y="25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19"/>
                  </a:lnTo>
                  <a:lnTo>
                    <a:pt x="10" y="13"/>
                  </a:lnTo>
                  <a:lnTo>
                    <a:pt x="14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8" y="6"/>
                  </a:lnTo>
                  <a:lnTo>
                    <a:pt x="31" y="3"/>
                  </a:lnTo>
                  <a:lnTo>
                    <a:pt x="35" y="3"/>
                  </a:lnTo>
                  <a:lnTo>
                    <a:pt x="38" y="3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5" y="3"/>
                  </a:lnTo>
                  <a:lnTo>
                    <a:pt x="52" y="19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62" y="42"/>
                  </a:lnTo>
                  <a:lnTo>
                    <a:pt x="62" y="48"/>
                  </a:lnTo>
                  <a:lnTo>
                    <a:pt x="65" y="48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6" y="51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83" y="51"/>
                  </a:lnTo>
                  <a:lnTo>
                    <a:pt x="86" y="55"/>
                  </a:lnTo>
                  <a:lnTo>
                    <a:pt x="90" y="55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100" y="64"/>
                  </a:lnTo>
                  <a:lnTo>
                    <a:pt x="103" y="67"/>
                  </a:lnTo>
                  <a:lnTo>
                    <a:pt x="107" y="71"/>
                  </a:lnTo>
                  <a:lnTo>
                    <a:pt x="110" y="74"/>
                  </a:lnTo>
                  <a:lnTo>
                    <a:pt x="114" y="74"/>
                  </a:lnTo>
                  <a:lnTo>
                    <a:pt x="114" y="71"/>
                  </a:lnTo>
                  <a:lnTo>
                    <a:pt x="114" y="74"/>
                  </a:lnTo>
                  <a:lnTo>
                    <a:pt x="117" y="80"/>
                  </a:lnTo>
                  <a:lnTo>
                    <a:pt x="121" y="80"/>
                  </a:lnTo>
                  <a:lnTo>
                    <a:pt x="121" y="84"/>
                  </a:lnTo>
                  <a:lnTo>
                    <a:pt x="121" y="84"/>
                  </a:lnTo>
                  <a:lnTo>
                    <a:pt x="124" y="87"/>
                  </a:lnTo>
                  <a:lnTo>
                    <a:pt x="124" y="87"/>
                  </a:lnTo>
                  <a:lnTo>
                    <a:pt x="127" y="90"/>
                  </a:lnTo>
                  <a:lnTo>
                    <a:pt x="127" y="87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27" y="93"/>
                  </a:lnTo>
                  <a:lnTo>
                    <a:pt x="124" y="93"/>
                  </a:lnTo>
                  <a:lnTo>
                    <a:pt x="121" y="93"/>
                  </a:lnTo>
                  <a:lnTo>
                    <a:pt x="117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2" name="Freeform 103"/>
            <p:cNvSpPr>
              <a:spLocks/>
            </p:cNvSpPr>
            <p:nvPr/>
          </p:nvSpPr>
          <p:spPr bwMode="auto">
            <a:xfrm>
              <a:off x="7550151" y="4293255"/>
              <a:ext cx="49213" cy="46037"/>
            </a:xfrm>
            <a:custGeom>
              <a:avLst/>
              <a:gdLst>
                <a:gd name="T0" fmla="*/ 20 w 31"/>
                <a:gd name="T1" fmla="*/ 29 h 29"/>
                <a:gd name="T2" fmla="*/ 17 w 31"/>
                <a:gd name="T3" fmla="*/ 26 h 29"/>
                <a:gd name="T4" fmla="*/ 14 w 31"/>
                <a:gd name="T5" fmla="*/ 26 h 29"/>
                <a:gd name="T6" fmla="*/ 10 w 31"/>
                <a:gd name="T7" fmla="*/ 29 h 29"/>
                <a:gd name="T8" fmla="*/ 3 w 31"/>
                <a:gd name="T9" fmla="*/ 29 h 29"/>
                <a:gd name="T10" fmla="*/ 0 w 31"/>
                <a:gd name="T11" fmla="*/ 29 h 29"/>
                <a:gd name="T12" fmla="*/ 3 w 31"/>
                <a:gd name="T13" fmla="*/ 23 h 29"/>
                <a:gd name="T14" fmla="*/ 3 w 31"/>
                <a:gd name="T15" fmla="*/ 19 h 29"/>
                <a:gd name="T16" fmla="*/ 7 w 31"/>
                <a:gd name="T17" fmla="*/ 19 h 29"/>
                <a:gd name="T18" fmla="*/ 3 w 31"/>
                <a:gd name="T19" fmla="*/ 13 h 29"/>
                <a:gd name="T20" fmla="*/ 7 w 31"/>
                <a:gd name="T21" fmla="*/ 10 h 29"/>
                <a:gd name="T22" fmla="*/ 7 w 31"/>
                <a:gd name="T23" fmla="*/ 7 h 29"/>
                <a:gd name="T24" fmla="*/ 14 w 31"/>
                <a:gd name="T25" fmla="*/ 3 h 29"/>
                <a:gd name="T26" fmla="*/ 17 w 31"/>
                <a:gd name="T27" fmla="*/ 3 h 29"/>
                <a:gd name="T28" fmla="*/ 20 w 31"/>
                <a:gd name="T29" fmla="*/ 3 h 29"/>
                <a:gd name="T30" fmla="*/ 24 w 31"/>
                <a:gd name="T31" fmla="*/ 0 h 29"/>
                <a:gd name="T32" fmla="*/ 24 w 31"/>
                <a:gd name="T33" fmla="*/ 0 h 29"/>
                <a:gd name="T34" fmla="*/ 24 w 31"/>
                <a:gd name="T35" fmla="*/ 0 h 29"/>
                <a:gd name="T36" fmla="*/ 27 w 31"/>
                <a:gd name="T37" fmla="*/ 3 h 29"/>
                <a:gd name="T38" fmla="*/ 31 w 31"/>
                <a:gd name="T39" fmla="*/ 3 h 29"/>
                <a:gd name="T40" fmla="*/ 27 w 31"/>
                <a:gd name="T41" fmla="*/ 7 h 29"/>
                <a:gd name="T42" fmla="*/ 31 w 31"/>
                <a:gd name="T43" fmla="*/ 10 h 29"/>
                <a:gd name="T44" fmla="*/ 27 w 31"/>
                <a:gd name="T45" fmla="*/ 13 h 29"/>
                <a:gd name="T46" fmla="*/ 24 w 31"/>
                <a:gd name="T47" fmla="*/ 16 h 29"/>
                <a:gd name="T48" fmla="*/ 20 w 31"/>
                <a:gd name="T49" fmla="*/ 16 h 29"/>
                <a:gd name="T50" fmla="*/ 20 w 31"/>
                <a:gd name="T51" fmla="*/ 16 h 29"/>
                <a:gd name="T52" fmla="*/ 14 w 31"/>
                <a:gd name="T53" fmla="*/ 16 h 29"/>
                <a:gd name="T54" fmla="*/ 17 w 31"/>
                <a:gd name="T55" fmla="*/ 19 h 29"/>
                <a:gd name="T56" fmla="*/ 17 w 31"/>
                <a:gd name="T57" fmla="*/ 19 h 29"/>
                <a:gd name="T58" fmla="*/ 20 w 31"/>
                <a:gd name="T59" fmla="*/ 19 h 29"/>
                <a:gd name="T60" fmla="*/ 27 w 31"/>
                <a:gd name="T61" fmla="*/ 19 h 29"/>
                <a:gd name="T62" fmla="*/ 27 w 31"/>
                <a:gd name="T63" fmla="*/ 19 h 29"/>
                <a:gd name="T64" fmla="*/ 24 w 31"/>
                <a:gd name="T65" fmla="*/ 26 h 29"/>
                <a:gd name="T66" fmla="*/ 20 w 31"/>
                <a:gd name="T6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1" h="29">
                  <a:moveTo>
                    <a:pt x="20" y="29"/>
                  </a:moveTo>
                  <a:lnTo>
                    <a:pt x="17" y="26"/>
                  </a:lnTo>
                  <a:lnTo>
                    <a:pt x="14" y="26"/>
                  </a:lnTo>
                  <a:lnTo>
                    <a:pt x="10" y="29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3" y="23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3" y="13"/>
                  </a:lnTo>
                  <a:lnTo>
                    <a:pt x="7" y="10"/>
                  </a:lnTo>
                  <a:lnTo>
                    <a:pt x="7" y="7"/>
                  </a:lnTo>
                  <a:lnTo>
                    <a:pt x="14" y="3"/>
                  </a:lnTo>
                  <a:lnTo>
                    <a:pt x="17" y="3"/>
                  </a:lnTo>
                  <a:lnTo>
                    <a:pt x="20" y="3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7" y="3"/>
                  </a:lnTo>
                  <a:lnTo>
                    <a:pt x="31" y="3"/>
                  </a:lnTo>
                  <a:lnTo>
                    <a:pt x="27" y="7"/>
                  </a:lnTo>
                  <a:lnTo>
                    <a:pt x="31" y="10"/>
                  </a:lnTo>
                  <a:lnTo>
                    <a:pt x="27" y="13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4" y="16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20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4" y="26"/>
                  </a:lnTo>
                  <a:lnTo>
                    <a:pt x="2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3" name="Freeform 104"/>
            <p:cNvSpPr>
              <a:spLocks/>
            </p:cNvSpPr>
            <p:nvPr/>
          </p:nvSpPr>
          <p:spPr bwMode="auto">
            <a:xfrm>
              <a:off x="7527926" y="4313892"/>
              <a:ext cx="317500" cy="354012"/>
            </a:xfrm>
            <a:custGeom>
              <a:avLst/>
              <a:gdLst>
                <a:gd name="T0" fmla="*/ 21 w 200"/>
                <a:gd name="T1" fmla="*/ 129 h 223"/>
                <a:gd name="T2" fmla="*/ 38 w 200"/>
                <a:gd name="T3" fmla="*/ 123 h 223"/>
                <a:gd name="T4" fmla="*/ 48 w 200"/>
                <a:gd name="T5" fmla="*/ 116 h 223"/>
                <a:gd name="T6" fmla="*/ 69 w 200"/>
                <a:gd name="T7" fmla="*/ 113 h 223"/>
                <a:gd name="T8" fmla="*/ 114 w 200"/>
                <a:gd name="T9" fmla="*/ 65 h 223"/>
                <a:gd name="T10" fmla="*/ 45 w 200"/>
                <a:gd name="T11" fmla="*/ 42 h 223"/>
                <a:gd name="T12" fmla="*/ 38 w 200"/>
                <a:gd name="T13" fmla="*/ 32 h 223"/>
                <a:gd name="T14" fmla="*/ 38 w 200"/>
                <a:gd name="T15" fmla="*/ 13 h 223"/>
                <a:gd name="T16" fmla="*/ 45 w 200"/>
                <a:gd name="T17" fmla="*/ 10 h 223"/>
                <a:gd name="T18" fmla="*/ 58 w 200"/>
                <a:gd name="T19" fmla="*/ 23 h 223"/>
                <a:gd name="T20" fmla="*/ 72 w 200"/>
                <a:gd name="T21" fmla="*/ 26 h 223"/>
                <a:gd name="T22" fmla="*/ 83 w 200"/>
                <a:gd name="T23" fmla="*/ 23 h 223"/>
                <a:gd name="T24" fmla="*/ 93 w 200"/>
                <a:gd name="T25" fmla="*/ 19 h 223"/>
                <a:gd name="T26" fmla="*/ 103 w 200"/>
                <a:gd name="T27" fmla="*/ 19 h 223"/>
                <a:gd name="T28" fmla="*/ 124 w 200"/>
                <a:gd name="T29" fmla="*/ 13 h 223"/>
                <a:gd name="T30" fmla="*/ 138 w 200"/>
                <a:gd name="T31" fmla="*/ 13 h 223"/>
                <a:gd name="T32" fmla="*/ 151 w 200"/>
                <a:gd name="T33" fmla="*/ 13 h 223"/>
                <a:gd name="T34" fmla="*/ 165 w 200"/>
                <a:gd name="T35" fmla="*/ 6 h 223"/>
                <a:gd name="T36" fmla="*/ 172 w 200"/>
                <a:gd name="T37" fmla="*/ 6 h 223"/>
                <a:gd name="T38" fmla="*/ 182 w 200"/>
                <a:gd name="T39" fmla="*/ 3 h 223"/>
                <a:gd name="T40" fmla="*/ 186 w 200"/>
                <a:gd name="T41" fmla="*/ 0 h 223"/>
                <a:gd name="T42" fmla="*/ 189 w 200"/>
                <a:gd name="T43" fmla="*/ 0 h 223"/>
                <a:gd name="T44" fmla="*/ 200 w 200"/>
                <a:gd name="T45" fmla="*/ 3 h 223"/>
                <a:gd name="T46" fmla="*/ 196 w 200"/>
                <a:gd name="T47" fmla="*/ 10 h 223"/>
                <a:gd name="T48" fmla="*/ 196 w 200"/>
                <a:gd name="T49" fmla="*/ 13 h 223"/>
                <a:gd name="T50" fmla="*/ 193 w 200"/>
                <a:gd name="T51" fmla="*/ 19 h 223"/>
                <a:gd name="T52" fmla="*/ 196 w 200"/>
                <a:gd name="T53" fmla="*/ 26 h 223"/>
                <a:gd name="T54" fmla="*/ 200 w 200"/>
                <a:gd name="T55" fmla="*/ 26 h 223"/>
                <a:gd name="T56" fmla="*/ 200 w 200"/>
                <a:gd name="T57" fmla="*/ 26 h 223"/>
                <a:gd name="T58" fmla="*/ 189 w 200"/>
                <a:gd name="T59" fmla="*/ 32 h 223"/>
                <a:gd name="T60" fmla="*/ 189 w 200"/>
                <a:gd name="T61" fmla="*/ 39 h 223"/>
                <a:gd name="T62" fmla="*/ 179 w 200"/>
                <a:gd name="T63" fmla="*/ 58 h 223"/>
                <a:gd name="T64" fmla="*/ 172 w 200"/>
                <a:gd name="T65" fmla="*/ 68 h 223"/>
                <a:gd name="T66" fmla="*/ 169 w 200"/>
                <a:gd name="T67" fmla="*/ 71 h 223"/>
                <a:gd name="T68" fmla="*/ 151 w 200"/>
                <a:gd name="T69" fmla="*/ 103 h 223"/>
                <a:gd name="T70" fmla="*/ 138 w 200"/>
                <a:gd name="T71" fmla="*/ 126 h 223"/>
                <a:gd name="T72" fmla="*/ 100 w 200"/>
                <a:gd name="T73" fmla="*/ 158 h 223"/>
                <a:gd name="T74" fmla="*/ 79 w 200"/>
                <a:gd name="T75" fmla="*/ 168 h 223"/>
                <a:gd name="T76" fmla="*/ 55 w 200"/>
                <a:gd name="T77" fmla="*/ 184 h 223"/>
                <a:gd name="T78" fmla="*/ 41 w 200"/>
                <a:gd name="T79" fmla="*/ 197 h 223"/>
                <a:gd name="T80" fmla="*/ 31 w 200"/>
                <a:gd name="T81" fmla="*/ 207 h 223"/>
                <a:gd name="T82" fmla="*/ 0 w 200"/>
                <a:gd name="T83" fmla="*/ 210 h 223"/>
                <a:gd name="T84" fmla="*/ 21 w 200"/>
                <a:gd name="T85" fmla="*/ 13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223">
                  <a:moveTo>
                    <a:pt x="21" y="132"/>
                  </a:moveTo>
                  <a:lnTo>
                    <a:pt x="21" y="132"/>
                  </a:lnTo>
                  <a:lnTo>
                    <a:pt x="21" y="129"/>
                  </a:lnTo>
                  <a:lnTo>
                    <a:pt x="28" y="126"/>
                  </a:lnTo>
                  <a:lnTo>
                    <a:pt x="34" y="126"/>
                  </a:lnTo>
                  <a:lnTo>
                    <a:pt x="38" y="123"/>
                  </a:lnTo>
                  <a:lnTo>
                    <a:pt x="41" y="123"/>
                  </a:lnTo>
                  <a:lnTo>
                    <a:pt x="45" y="120"/>
                  </a:lnTo>
                  <a:lnTo>
                    <a:pt x="48" y="116"/>
                  </a:lnTo>
                  <a:lnTo>
                    <a:pt x="52" y="116"/>
                  </a:lnTo>
                  <a:lnTo>
                    <a:pt x="55" y="113"/>
                  </a:lnTo>
                  <a:lnTo>
                    <a:pt x="69" y="113"/>
                  </a:lnTo>
                  <a:lnTo>
                    <a:pt x="79" y="113"/>
                  </a:lnTo>
                  <a:lnTo>
                    <a:pt x="141" y="61"/>
                  </a:lnTo>
                  <a:lnTo>
                    <a:pt x="114" y="65"/>
                  </a:lnTo>
                  <a:lnTo>
                    <a:pt x="58" y="48"/>
                  </a:lnTo>
                  <a:lnTo>
                    <a:pt x="55" y="45"/>
                  </a:lnTo>
                  <a:lnTo>
                    <a:pt x="45" y="42"/>
                  </a:lnTo>
                  <a:lnTo>
                    <a:pt x="45" y="39"/>
                  </a:lnTo>
                  <a:lnTo>
                    <a:pt x="45" y="32"/>
                  </a:lnTo>
                  <a:lnTo>
                    <a:pt x="38" y="32"/>
                  </a:lnTo>
                  <a:lnTo>
                    <a:pt x="34" y="23"/>
                  </a:lnTo>
                  <a:lnTo>
                    <a:pt x="34" y="16"/>
                  </a:lnTo>
                  <a:lnTo>
                    <a:pt x="38" y="13"/>
                  </a:lnTo>
                  <a:lnTo>
                    <a:pt x="41" y="6"/>
                  </a:lnTo>
                  <a:lnTo>
                    <a:pt x="41" y="10"/>
                  </a:lnTo>
                  <a:lnTo>
                    <a:pt x="45" y="10"/>
                  </a:lnTo>
                  <a:lnTo>
                    <a:pt x="55" y="19"/>
                  </a:lnTo>
                  <a:lnTo>
                    <a:pt x="55" y="23"/>
                  </a:lnTo>
                  <a:lnTo>
                    <a:pt x="58" y="23"/>
                  </a:lnTo>
                  <a:lnTo>
                    <a:pt x="62" y="26"/>
                  </a:lnTo>
                  <a:lnTo>
                    <a:pt x="69" y="29"/>
                  </a:lnTo>
                  <a:lnTo>
                    <a:pt x="72" y="26"/>
                  </a:lnTo>
                  <a:lnTo>
                    <a:pt x="76" y="26"/>
                  </a:lnTo>
                  <a:lnTo>
                    <a:pt x="79" y="23"/>
                  </a:lnTo>
                  <a:lnTo>
                    <a:pt x="83" y="23"/>
                  </a:lnTo>
                  <a:lnTo>
                    <a:pt x="89" y="19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3" y="19"/>
                  </a:lnTo>
                  <a:lnTo>
                    <a:pt x="110" y="19"/>
                  </a:lnTo>
                  <a:lnTo>
                    <a:pt x="120" y="13"/>
                  </a:lnTo>
                  <a:lnTo>
                    <a:pt x="124" y="13"/>
                  </a:lnTo>
                  <a:lnTo>
                    <a:pt x="131" y="13"/>
                  </a:lnTo>
                  <a:lnTo>
                    <a:pt x="131" y="13"/>
                  </a:lnTo>
                  <a:lnTo>
                    <a:pt x="138" y="13"/>
                  </a:lnTo>
                  <a:lnTo>
                    <a:pt x="141" y="10"/>
                  </a:lnTo>
                  <a:lnTo>
                    <a:pt x="148" y="10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62" y="10"/>
                  </a:lnTo>
                  <a:lnTo>
                    <a:pt x="165" y="6"/>
                  </a:lnTo>
                  <a:lnTo>
                    <a:pt x="172" y="6"/>
                  </a:lnTo>
                  <a:lnTo>
                    <a:pt x="172" y="10"/>
                  </a:lnTo>
                  <a:lnTo>
                    <a:pt x="172" y="6"/>
                  </a:lnTo>
                  <a:lnTo>
                    <a:pt x="179" y="6"/>
                  </a:lnTo>
                  <a:lnTo>
                    <a:pt x="182" y="3"/>
                  </a:lnTo>
                  <a:lnTo>
                    <a:pt x="182" y="3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200" y="3"/>
                  </a:lnTo>
                  <a:lnTo>
                    <a:pt x="196" y="3"/>
                  </a:lnTo>
                  <a:lnTo>
                    <a:pt x="196" y="6"/>
                  </a:lnTo>
                  <a:lnTo>
                    <a:pt x="196" y="10"/>
                  </a:lnTo>
                  <a:lnTo>
                    <a:pt x="193" y="10"/>
                  </a:lnTo>
                  <a:lnTo>
                    <a:pt x="196" y="13"/>
                  </a:lnTo>
                  <a:lnTo>
                    <a:pt x="196" y="13"/>
                  </a:lnTo>
                  <a:lnTo>
                    <a:pt x="196" y="13"/>
                  </a:lnTo>
                  <a:lnTo>
                    <a:pt x="196" y="16"/>
                  </a:lnTo>
                  <a:lnTo>
                    <a:pt x="193" y="19"/>
                  </a:lnTo>
                  <a:lnTo>
                    <a:pt x="196" y="19"/>
                  </a:lnTo>
                  <a:lnTo>
                    <a:pt x="196" y="23"/>
                  </a:lnTo>
                  <a:lnTo>
                    <a:pt x="196" y="26"/>
                  </a:lnTo>
                  <a:lnTo>
                    <a:pt x="196" y="26"/>
                  </a:lnTo>
                  <a:lnTo>
                    <a:pt x="196" y="26"/>
                  </a:lnTo>
                  <a:lnTo>
                    <a:pt x="200" y="26"/>
                  </a:lnTo>
                  <a:lnTo>
                    <a:pt x="200" y="26"/>
                  </a:lnTo>
                  <a:lnTo>
                    <a:pt x="200" y="29"/>
                  </a:lnTo>
                  <a:lnTo>
                    <a:pt x="200" y="26"/>
                  </a:lnTo>
                  <a:lnTo>
                    <a:pt x="196" y="26"/>
                  </a:lnTo>
                  <a:lnTo>
                    <a:pt x="193" y="26"/>
                  </a:lnTo>
                  <a:lnTo>
                    <a:pt x="189" y="32"/>
                  </a:lnTo>
                  <a:lnTo>
                    <a:pt x="193" y="32"/>
                  </a:lnTo>
                  <a:lnTo>
                    <a:pt x="193" y="39"/>
                  </a:lnTo>
                  <a:lnTo>
                    <a:pt x="189" y="39"/>
                  </a:lnTo>
                  <a:lnTo>
                    <a:pt x="189" y="42"/>
                  </a:lnTo>
                  <a:lnTo>
                    <a:pt x="182" y="52"/>
                  </a:lnTo>
                  <a:lnTo>
                    <a:pt x="179" y="58"/>
                  </a:lnTo>
                  <a:lnTo>
                    <a:pt x="175" y="61"/>
                  </a:lnTo>
                  <a:lnTo>
                    <a:pt x="175" y="61"/>
                  </a:lnTo>
                  <a:lnTo>
                    <a:pt x="172" y="68"/>
                  </a:lnTo>
                  <a:lnTo>
                    <a:pt x="172" y="68"/>
                  </a:lnTo>
                  <a:lnTo>
                    <a:pt x="172" y="71"/>
                  </a:lnTo>
                  <a:lnTo>
                    <a:pt x="169" y="71"/>
                  </a:lnTo>
                  <a:lnTo>
                    <a:pt x="158" y="90"/>
                  </a:lnTo>
                  <a:lnTo>
                    <a:pt x="158" y="97"/>
                  </a:lnTo>
                  <a:lnTo>
                    <a:pt x="151" y="103"/>
                  </a:lnTo>
                  <a:lnTo>
                    <a:pt x="151" y="107"/>
                  </a:lnTo>
                  <a:lnTo>
                    <a:pt x="138" y="123"/>
                  </a:lnTo>
                  <a:lnTo>
                    <a:pt x="138" y="126"/>
                  </a:lnTo>
                  <a:lnTo>
                    <a:pt x="131" y="129"/>
                  </a:lnTo>
                  <a:lnTo>
                    <a:pt x="120" y="142"/>
                  </a:lnTo>
                  <a:lnTo>
                    <a:pt x="100" y="158"/>
                  </a:lnTo>
                  <a:lnTo>
                    <a:pt x="89" y="165"/>
                  </a:lnTo>
                  <a:lnTo>
                    <a:pt x="83" y="165"/>
                  </a:lnTo>
                  <a:lnTo>
                    <a:pt x="79" y="168"/>
                  </a:lnTo>
                  <a:lnTo>
                    <a:pt x="72" y="171"/>
                  </a:lnTo>
                  <a:lnTo>
                    <a:pt x="58" y="184"/>
                  </a:lnTo>
                  <a:lnTo>
                    <a:pt x="55" y="184"/>
                  </a:lnTo>
                  <a:lnTo>
                    <a:pt x="45" y="194"/>
                  </a:lnTo>
                  <a:lnTo>
                    <a:pt x="41" y="197"/>
                  </a:lnTo>
                  <a:lnTo>
                    <a:pt x="41" y="197"/>
                  </a:lnTo>
                  <a:lnTo>
                    <a:pt x="38" y="200"/>
                  </a:lnTo>
                  <a:lnTo>
                    <a:pt x="31" y="204"/>
                  </a:lnTo>
                  <a:lnTo>
                    <a:pt x="31" y="207"/>
                  </a:lnTo>
                  <a:lnTo>
                    <a:pt x="14" y="220"/>
                  </a:lnTo>
                  <a:lnTo>
                    <a:pt x="14" y="223"/>
                  </a:lnTo>
                  <a:lnTo>
                    <a:pt x="0" y="210"/>
                  </a:lnTo>
                  <a:lnTo>
                    <a:pt x="0" y="145"/>
                  </a:lnTo>
                  <a:lnTo>
                    <a:pt x="21" y="132"/>
                  </a:lnTo>
                  <a:lnTo>
                    <a:pt x="21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4" name="Freeform 105"/>
            <p:cNvSpPr>
              <a:spLocks/>
            </p:cNvSpPr>
            <p:nvPr/>
          </p:nvSpPr>
          <p:spPr bwMode="auto">
            <a:xfrm>
              <a:off x="9586913" y="4072592"/>
              <a:ext cx="76200" cy="57150"/>
            </a:xfrm>
            <a:custGeom>
              <a:avLst/>
              <a:gdLst>
                <a:gd name="T0" fmla="*/ 41 w 48"/>
                <a:gd name="T1" fmla="*/ 3 h 36"/>
                <a:gd name="T2" fmla="*/ 38 w 48"/>
                <a:gd name="T3" fmla="*/ 0 h 36"/>
                <a:gd name="T4" fmla="*/ 34 w 48"/>
                <a:gd name="T5" fmla="*/ 3 h 36"/>
                <a:gd name="T6" fmla="*/ 34 w 48"/>
                <a:gd name="T7" fmla="*/ 3 h 36"/>
                <a:gd name="T8" fmla="*/ 34 w 48"/>
                <a:gd name="T9" fmla="*/ 0 h 36"/>
                <a:gd name="T10" fmla="*/ 27 w 48"/>
                <a:gd name="T11" fmla="*/ 3 h 36"/>
                <a:gd name="T12" fmla="*/ 27 w 48"/>
                <a:gd name="T13" fmla="*/ 0 h 36"/>
                <a:gd name="T14" fmla="*/ 24 w 48"/>
                <a:gd name="T15" fmla="*/ 3 h 36"/>
                <a:gd name="T16" fmla="*/ 21 w 48"/>
                <a:gd name="T17" fmla="*/ 3 h 36"/>
                <a:gd name="T18" fmla="*/ 17 w 48"/>
                <a:gd name="T19" fmla="*/ 3 h 36"/>
                <a:gd name="T20" fmla="*/ 14 w 48"/>
                <a:gd name="T21" fmla="*/ 3 h 36"/>
                <a:gd name="T22" fmla="*/ 14 w 48"/>
                <a:gd name="T23" fmla="*/ 7 h 36"/>
                <a:gd name="T24" fmla="*/ 7 w 48"/>
                <a:gd name="T25" fmla="*/ 10 h 36"/>
                <a:gd name="T26" fmla="*/ 0 w 48"/>
                <a:gd name="T27" fmla="*/ 16 h 36"/>
                <a:gd name="T28" fmla="*/ 3 w 48"/>
                <a:gd name="T29" fmla="*/ 20 h 36"/>
                <a:gd name="T30" fmla="*/ 3 w 48"/>
                <a:gd name="T31" fmla="*/ 23 h 36"/>
                <a:gd name="T32" fmla="*/ 7 w 48"/>
                <a:gd name="T33" fmla="*/ 26 h 36"/>
                <a:gd name="T34" fmla="*/ 7 w 48"/>
                <a:gd name="T35" fmla="*/ 29 h 36"/>
                <a:gd name="T36" fmla="*/ 10 w 48"/>
                <a:gd name="T37" fmla="*/ 32 h 36"/>
                <a:gd name="T38" fmla="*/ 14 w 48"/>
                <a:gd name="T39" fmla="*/ 32 h 36"/>
                <a:gd name="T40" fmla="*/ 17 w 48"/>
                <a:gd name="T41" fmla="*/ 32 h 36"/>
                <a:gd name="T42" fmla="*/ 17 w 48"/>
                <a:gd name="T43" fmla="*/ 32 h 36"/>
                <a:gd name="T44" fmla="*/ 21 w 48"/>
                <a:gd name="T45" fmla="*/ 36 h 36"/>
                <a:gd name="T46" fmla="*/ 24 w 48"/>
                <a:gd name="T47" fmla="*/ 36 h 36"/>
                <a:gd name="T48" fmla="*/ 24 w 48"/>
                <a:gd name="T49" fmla="*/ 32 h 36"/>
                <a:gd name="T50" fmla="*/ 27 w 48"/>
                <a:gd name="T51" fmla="*/ 32 h 36"/>
                <a:gd name="T52" fmla="*/ 31 w 48"/>
                <a:gd name="T53" fmla="*/ 32 h 36"/>
                <a:gd name="T54" fmla="*/ 34 w 48"/>
                <a:gd name="T55" fmla="*/ 29 h 36"/>
                <a:gd name="T56" fmla="*/ 34 w 48"/>
                <a:gd name="T57" fmla="*/ 26 h 36"/>
                <a:gd name="T58" fmla="*/ 38 w 48"/>
                <a:gd name="T59" fmla="*/ 26 h 36"/>
                <a:gd name="T60" fmla="*/ 41 w 48"/>
                <a:gd name="T61" fmla="*/ 23 h 36"/>
                <a:gd name="T62" fmla="*/ 41 w 48"/>
                <a:gd name="T63" fmla="*/ 23 h 36"/>
                <a:gd name="T64" fmla="*/ 41 w 48"/>
                <a:gd name="T65" fmla="*/ 16 h 36"/>
                <a:gd name="T66" fmla="*/ 45 w 48"/>
                <a:gd name="T67" fmla="*/ 16 h 36"/>
                <a:gd name="T68" fmla="*/ 45 w 48"/>
                <a:gd name="T69" fmla="*/ 13 h 36"/>
                <a:gd name="T70" fmla="*/ 48 w 48"/>
                <a:gd name="T71" fmla="*/ 10 h 36"/>
                <a:gd name="T72" fmla="*/ 45 w 48"/>
                <a:gd name="T73" fmla="*/ 3 h 36"/>
                <a:gd name="T74" fmla="*/ 41 w 48"/>
                <a:gd name="T75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" h="36">
                  <a:moveTo>
                    <a:pt x="41" y="3"/>
                  </a:moveTo>
                  <a:lnTo>
                    <a:pt x="38" y="0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0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14" y="7"/>
                  </a:lnTo>
                  <a:lnTo>
                    <a:pt x="7" y="10"/>
                  </a:lnTo>
                  <a:lnTo>
                    <a:pt x="0" y="16"/>
                  </a:lnTo>
                  <a:lnTo>
                    <a:pt x="3" y="20"/>
                  </a:lnTo>
                  <a:lnTo>
                    <a:pt x="3" y="23"/>
                  </a:lnTo>
                  <a:lnTo>
                    <a:pt x="7" y="26"/>
                  </a:lnTo>
                  <a:lnTo>
                    <a:pt x="7" y="29"/>
                  </a:lnTo>
                  <a:lnTo>
                    <a:pt x="10" y="32"/>
                  </a:lnTo>
                  <a:lnTo>
                    <a:pt x="14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21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7" y="32"/>
                  </a:lnTo>
                  <a:lnTo>
                    <a:pt x="31" y="32"/>
                  </a:lnTo>
                  <a:lnTo>
                    <a:pt x="34" y="29"/>
                  </a:lnTo>
                  <a:lnTo>
                    <a:pt x="34" y="26"/>
                  </a:lnTo>
                  <a:lnTo>
                    <a:pt x="38" y="26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16"/>
                  </a:lnTo>
                  <a:lnTo>
                    <a:pt x="45" y="16"/>
                  </a:lnTo>
                  <a:lnTo>
                    <a:pt x="45" y="13"/>
                  </a:lnTo>
                  <a:lnTo>
                    <a:pt x="48" y="10"/>
                  </a:lnTo>
                  <a:lnTo>
                    <a:pt x="45" y="3"/>
                  </a:lnTo>
                  <a:lnTo>
                    <a:pt x="41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5" name="Freeform 106"/>
            <p:cNvSpPr>
              <a:spLocks/>
            </p:cNvSpPr>
            <p:nvPr/>
          </p:nvSpPr>
          <p:spPr bwMode="auto">
            <a:xfrm>
              <a:off x="8243888" y="2872442"/>
              <a:ext cx="1882775" cy="1195387"/>
            </a:xfrm>
            <a:custGeom>
              <a:avLst/>
              <a:gdLst>
                <a:gd name="T0" fmla="*/ 1145 w 1186"/>
                <a:gd name="T1" fmla="*/ 133 h 753"/>
                <a:gd name="T2" fmla="*/ 1107 w 1186"/>
                <a:gd name="T3" fmla="*/ 120 h 753"/>
                <a:gd name="T4" fmla="*/ 1073 w 1186"/>
                <a:gd name="T5" fmla="*/ 97 h 753"/>
                <a:gd name="T6" fmla="*/ 1028 w 1186"/>
                <a:gd name="T7" fmla="*/ 87 h 753"/>
                <a:gd name="T8" fmla="*/ 994 w 1186"/>
                <a:gd name="T9" fmla="*/ 39 h 753"/>
                <a:gd name="T10" fmla="*/ 963 w 1186"/>
                <a:gd name="T11" fmla="*/ 10 h 753"/>
                <a:gd name="T12" fmla="*/ 911 w 1186"/>
                <a:gd name="T13" fmla="*/ 0 h 753"/>
                <a:gd name="T14" fmla="*/ 863 w 1186"/>
                <a:gd name="T15" fmla="*/ 29 h 753"/>
                <a:gd name="T16" fmla="*/ 877 w 1186"/>
                <a:gd name="T17" fmla="*/ 78 h 753"/>
                <a:gd name="T18" fmla="*/ 839 w 1186"/>
                <a:gd name="T19" fmla="*/ 110 h 753"/>
                <a:gd name="T20" fmla="*/ 918 w 1186"/>
                <a:gd name="T21" fmla="*/ 178 h 753"/>
                <a:gd name="T22" fmla="*/ 867 w 1186"/>
                <a:gd name="T23" fmla="*/ 213 h 753"/>
                <a:gd name="T24" fmla="*/ 784 w 1186"/>
                <a:gd name="T25" fmla="*/ 252 h 753"/>
                <a:gd name="T26" fmla="*/ 681 w 1186"/>
                <a:gd name="T27" fmla="*/ 323 h 753"/>
                <a:gd name="T28" fmla="*/ 516 w 1186"/>
                <a:gd name="T29" fmla="*/ 307 h 753"/>
                <a:gd name="T30" fmla="*/ 440 w 1186"/>
                <a:gd name="T31" fmla="*/ 255 h 753"/>
                <a:gd name="T32" fmla="*/ 385 w 1186"/>
                <a:gd name="T33" fmla="*/ 207 h 753"/>
                <a:gd name="T34" fmla="*/ 330 w 1186"/>
                <a:gd name="T35" fmla="*/ 184 h 753"/>
                <a:gd name="T36" fmla="*/ 292 w 1186"/>
                <a:gd name="T37" fmla="*/ 188 h 753"/>
                <a:gd name="T38" fmla="*/ 244 w 1186"/>
                <a:gd name="T39" fmla="*/ 252 h 753"/>
                <a:gd name="T40" fmla="*/ 213 w 1186"/>
                <a:gd name="T41" fmla="*/ 281 h 753"/>
                <a:gd name="T42" fmla="*/ 161 w 1186"/>
                <a:gd name="T43" fmla="*/ 317 h 753"/>
                <a:gd name="T44" fmla="*/ 51 w 1186"/>
                <a:gd name="T45" fmla="*/ 330 h 753"/>
                <a:gd name="T46" fmla="*/ 34 w 1186"/>
                <a:gd name="T47" fmla="*/ 369 h 753"/>
                <a:gd name="T48" fmla="*/ 17 w 1186"/>
                <a:gd name="T49" fmla="*/ 427 h 753"/>
                <a:gd name="T50" fmla="*/ 58 w 1186"/>
                <a:gd name="T51" fmla="*/ 430 h 753"/>
                <a:gd name="T52" fmla="*/ 106 w 1186"/>
                <a:gd name="T53" fmla="*/ 446 h 753"/>
                <a:gd name="T54" fmla="*/ 175 w 1186"/>
                <a:gd name="T55" fmla="*/ 459 h 753"/>
                <a:gd name="T56" fmla="*/ 237 w 1186"/>
                <a:gd name="T57" fmla="*/ 533 h 753"/>
                <a:gd name="T58" fmla="*/ 282 w 1186"/>
                <a:gd name="T59" fmla="*/ 575 h 753"/>
                <a:gd name="T60" fmla="*/ 354 w 1186"/>
                <a:gd name="T61" fmla="*/ 595 h 753"/>
                <a:gd name="T62" fmla="*/ 437 w 1186"/>
                <a:gd name="T63" fmla="*/ 617 h 753"/>
                <a:gd name="T64" fmla="*/ 519 w 1186"/>
                <a:gd name="T65" fmla="*/ 611 h 753"/>
                <a:gd name="T66" fmla="*/ 591 w 1186"/>
                <a:gd name="T67" fmla="*/ 595 h 753"/>
                <a:gd name="T68" fmla="*/ 636 w 1186"/>
                <a:gd name="T69" fmla="*/ 653 h 753"/>
                <a:gd name="T70" fmla="*/ 646 w 1186"/>
                <a:gd name="T71" fmla="*/ 692 h 753"/>
                <a:gd name="T72" fmla="*/ 674 w 1186"/>
                <a:gd name="T73" fmla="*/ 734 h 753"/>
                <a:gd name="T74" fmla="*/ 719 w 1186"/>
                <a:gd name="T75" fmla="*/ 714 h 753"/>
                <a:gd name="T76" fmla="*/ 781 w 1186"/>
                <a:gd name="T77" fmla="*/ 701 h 753"/>
                <a:gd name="T78" fmla="*/ 836 w 1186"/>
                <a:gd name="T79" fmla="*/ 730 h 753"/>
                <a:gd name="T80" fmla="*/ 870 w 1186"/>
                <a:gd name="T81" fmla="*/ 753 h 753"/>
                <a:gd name="T82" fmla="*/ 884 w 1186"/>
                <a:gd name="T83" fmla="*/ 737 h 753"/>
                <a:gd name="T84" fmla="*/ 932 w 1186"/>
                <a:gd name="T85" fmla="*/ 711 h 753"/>
                <a:gd name="T86" fmla="*/ 970 w 1186"/>
                <a:gd name="T87" fmla="*/ 708 h 753"/>
                <a:gd name="T88" fmla="*/ 1008 w 1186"/>
                <a:gd name="T89" fmla="*/ 685 h 753"/>
                <a:gd name="T90" fmla="*/ 1028 w 1186"/>
                <a:gd name="T91" fmla="*/ 666 h 753"/>
                <a:gd name="T92" fmla="*/ 1039 w 1186"/>
                <a:gd name="T93" fmla="*/ 650 h 753"/>
                <a:gd name="T94" fmla="*/ 1049 w 1186"/>
                <a:gd name="T95" fmla="*/ 624 h 753"/>
                <a:gd name="T96" fmla="*/ 1070 w 1186"/>
                <a:gd name="T97" fmla="*/ 595 h 753"/>
                <a:gd name="T98" fmla="*/ 1073 w 1186"/>
                <a:gd name="T99" fmla="*/ 569 h 753"/>
                <a:gd name="T100" fmla="*/ 1032 w 1186"/>
                <a:gd name="T101" fmla="*/ 556 h 753"/>
                <a:gd name="T102" fmla="*/ 1004 w 1186"/>
                <a:gd name="T103" fmla="*/ 517 h 753"/>
                <a:gd name="T104" fmla="*/ 1052 w 1186"/>
                <a:gd name="T105" fmla="*/ 511 h 753"/>
                <a:gd name="T106" fmla="*/ 1001 w 1186"/>
                <a:gd name="T107" fmla="*/ 440 h 753"/>
                <a:gd name="T108" fmla="*/ 1049 w 1186"/>
                <a:gd name="T109" fmla="*/ 411 h 753"/>
                <a:gd name="T110" fmla="*/ 997 w 1186"/>
                <a:gd name="T111" fmla="*/ 394 h 753"/>
                <a:gd name="T112" fmla="*/ 946 w 1186"/>
                <a:gd name="T113" fmla="*/ 385 h 753"/>
                <a:gd name="T114" fmla="*/ 987 w 1186"/>
                <a:gd name="T115" fmla="*/ 336 h 753"/>
                <a:gd name="T116" fmla="*/ 1011 w 1186"/>
                <a:gd name="T117" fmla="*/ 356 h 753"/>
                <a:gd name="T118" fmla="*/ 1028 w 1186"/>
                <a:gd name="T119" fmla="*/ 356 h 753"/>
                <a:gd name="T120" fmla="*/ 1159 w 1186"/>
                <a:gd name="T121" fmla="*/ 259 h 753"/>
                <a:gd name="T122" fmla="*/ 1159 w 1186"/>
                <a:gd name="T123" fmla="*/ 201 h 753"/>
                <a:gd name="T124" fmla="*/ 1186 w 1186"/>
                <a:gd name="T125" fmla="*/ 17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6" h="753">
                  <a:moveTo>
                    <a:pt x="1186" y="133"/>
                  </a:moveTo>
                  <a:lnTo>
                    <a:pt x="1183" y="129"/>
                  </a:lnTo>
                  <a:lnTo>
                    <a:pt x="1183" y="129"/>
                  </a:lnTo>
                  <a:lnTo>
                    <a:pt x="1180" y="126"/>
                  </a:lnTo>
                  <a:lnTo>
                    <a:pt x="1180" y="123"/>
                  </a:lnTo>
                  <a:lnTo>
                    <a:pt x="1183" y="123"/>
                  </a:lnTo>
                  <a:lnTo>
                    <a:pt x="1180" y="120"/>
                  </a:lnTo>
                  <a:lnTo>
                    <a:pt x="1180" y="117"/>
                  </a:lnTo>
                  <a:lnTo>
                    <a:pt x="1176" y="117"/>
                  </a:lnTo>
                  <a:lnTo>
                    <a:pt x="1173" y="117"/>
                  </a:lnTo>
                  <a:lnTo>
                    <a:pt x="1169" y="117"/>
                  </a:lnTo>
                  <a:lnTo>
                    <a:pt x="1166" y="117"/>
                  </a:lnTo>
                  <a:lnTo>
                    <a:pt x="1166" y="117"/>
                  </a:lnTo>
                  <a:lnTo>
                    <a:pt x="1162" y="120"/>
                  </a:lnTo>
                  <a:lnTo>
                    <a:pt x="1162" y="120"/>
                  </a:lnTo>
                  <a:lnTo>
                    <a:pt x="1159" y="123"/>
                  </a:lnTo>
                  <a:lnTo>
                    <a:pt x="1159" y="123"/>
                  </a:lnTo>
                  <a:lnTo>
                    <a:pt x="1156" y="126"/>
                  </a:lnTo>
                  <a:lnTo>
                    <a:pt x="1152" y="126"/>
                  </a:lnTo>
                  <a:lnTo>
                    <a:pt x="1149" y="126"/>
                  </a:lnTo>
                  <a:lnTo>
                    <a:pt x="1149" y="129"/>
                  </a:lnTo>
                  <a:lnTo>
                    <a:pt x="1149" y="129"/>
                  </a:lnTo>
                  <a:lnTo>
                    <a:pt x="1145" y="133"/>
                  </a:lnTo>
                  <a:lnTo>
                    <a:pt x="1145" y="136"/>
                  </a:lnTo>
                  <a:lnTo>
                    <a:pt x="1145" y="136"/>
                  </a:lnTo>
                  <a:lnTo>
                    <a:pt x="1145" y="136"/>
                  </a:lnTo>
                  <a:lnTo>
                    <a:pt x="1142" y="139"/>
                  </a:lnTo>
                  <a:lnTo>
                    <a:pt x="1135" y="139"/>
                  </a:lnTo>
                  <a:lnTo>
                    <a:pt x="1135" y="139"/>
                  </a:lnTo>
                  <a:lnTo>
                    <a:pt x="1131" y="139"/>
                  </a:lnTo>
                  <a:lnTo>
                    <a:pt x="1131" y="142"/>
                  </a:lnTo>
                  <a:lnTo>
                    <a:pt x="1128" y="142"/>
                  </a:lnTo>
                  <a:lnTo>
                    <a:pt x="1128" y="139"/>
                  </a:lnTo>
                  <a:lnTo>
                    <a:pt x="1125" y="139"/>
                  </a:lnTo>
                  <a:lnTo>
                    <a:pt x="1121" y="139"/>
                  </a:lnTo>
                  <a:lnTo>
                    <a:pt x="1118" y="139"/>
                  </a:lnTo>
                  <a:lnTo>
                    <a:pt x="1118" y="139"/>
                  </a:lnTo>
                  <a:lnTo>
                    <a:pt x="1114" y="139"/>
                  </a:lnTo>
                  <a:lnTo>
                    <a:pt x="1111" y="136"/>
                  </a:lnTo>
                  <a:lnTo>
                    <a:pt x="1111" y="133"/>
                  </a:lnTo>
                  <a:lnTo>
                    <a:pt x="1107" y="129"/>
                  </a:lnTo>
                  <a:lnTo>
                    <a:pt x="1107" y="129"/>
                  </a:lnTo>
                  <a:lnTo>
                    <a:pt x="1107" y="126"/>
                  </a:lnTo>
                  <a:lnTo>
                    <a:pt x="1107" y="123"/>
                  </a:lnTo>
                  <a:lnTo>
                    <a:pt x="1107" y="120"/>
                  </a:lnTo>
                  <a:lnTo>
                    <a:pt x="1107" y="120"/>
                  </a:lnTo>
                  <a:lnTo>
                    <a:pt x="1104" y="120"/>
                  </a:lnTo>
                  <a:lnTo>
                    <a:pt x="1104" y="117"/>
                  </a:lnTo>
                  <a:lnTo>
                    <a:pt x="1104" y="113"/>
                  </a:lnTo>
                  <a:lnTo>
                    <a:pt x="1104" y="113"/>
                  </a:lnTo>
                  <a:lnTo>
                    <a:pt x="1104" y="110"/>
                  </a:lnTo>
                  <a:lnTo>
                    <a:pt x="1104" y="110"/>
                  </a:lnTo>
                  <a:lnTo>
                    <a:pt x="1100" y="110"/>
                  </a:lnTo>
                  <a:lnTo>
                    <a:pt x="1100" y="110"/>
                  </a:lnTo>
                  <a:lnTo>
                    <a:pt x="1097" y="110"/>
                  </a:lnTo>
                  <a:lnTo>
                    <a:pt x="1097" y="113"/>
                  </a:lnTo>
                  <a:lnTo>
                    <a:pt x="1094" y="110"/>
                  </a:lnTo>
                  <a:lnTo>
                    <a:pt x="1090" y="110"/>
                  </a:lnTo>
                  <a:lnTo>
                    <a:pt x="1090" y="110"/>
                  </a:lnTo>
                  <a:lnTo>
                    <a:pt x="1087" y="110"/>
                  </a:lnTo>
                  <a:lnTo>
                    <a:pt x="1083" y="107"/>
                  </a:lnTo>
                  <a:lnTo>
                    <a:pt x="1083" y="107"/>
                  </a:lnTo>
                  <a:lnTo>
                    <a:pt x="1083" y="104"/>
                  </a:lnTo>
                  <a:lnTo>
                    <a:pt x="1080" y="104"/>
                  </a:lnTo>
                  <a:lnTo>
                    <a:pt x="1080" y="104"/>
                  </a:lnTo>
                  <a:lnTo>
                    <a:pt x="1076" y="100"/>
                  </a:lnTo>
                  <a:lnTo>
                    <a:pt x="1076" y="100"/>
                  </a:lnTo>
                  <a:lnTo>
                    <a:pt x="1073" y="100"/>
                  </a:lnTo>
                  <a:lnTo>
                    <a:pt x="1073" y="97"/>
                  </a:lnTo>
                  <a:lnTo>
                    <a:pt x="1073" y="97"/>
                  </a:lnTo>
                  <a:lnTo>
                    <a:pt x="1070" y="97"/>
                  </a:lnTo>
                  <a:lnTo>
                    <a:pt x="1070" y="97"/>
                  </a:lnTo>
                  <a:lnTo>
                    <a:pt x="1066" y="97"/>
                  </a:lnTo>
                  <a:lnTo>
                    <a:pt x="1066" y="97"/>
                  </a:lnTo>
                  <a:lnTo>
                    <a:pt x="1066" y="100"/>
                  </a:lnTo>
                  <a:lnTo>
                    <a:pt x="1063" y="97"/>
                  </a:lnTo>
                  <a:lnTo>
                    <a:pt x="1059" y="97"/>
                  </a:lnTo>
                  <a:lnTo>
                    <a:pt x="1059" y="97"/>
                  </a:lnTo>
                  <a:lnTo>
                    <a:pt x="1056" y="97"/>
                  </a:lnTo>
                  <a:lnTo>
                    <a:pt x="1052" y="94"/>
                  </a:lnTo>
                  <a:lnTo>
                    <a:pt x="1056" y="94"/>
                  </a:lnTo>
                  <a:lnTo>
                    <a:pt x="1056" y="94"/>
                  </a:lnTo>
                  <a:lnTo>
                    <a:pt x="1052" y="94"/>
                  </a:lnTo>
                  <a:lnTo>
                    <a:pt x="1049" y="94"/>
                  </a:lnTo>
                  <a:lnTo>
                    <a:pt x="1045" y="94"/>
                  </a:lnTo>
                  <a:lnTo>
                    <a:pt x="1045" y="94"/>
                  </a:lnTo>
                  <a:lnTo>
                    <a:pt x="1042" y="94"/>
                  </a:lnTo>
                  <a:lnTo>
                    <a:pt x="1042" y="94"/>
                  </a:lnTo>
                  <a:lnTo>
                    <a:pt x="1039" y="94"/>
                  </a:lnTo>
                  <a:lnTo>
                    <a:pt x="1035" y="91"/>
                  </a:lnTo>
                  <a:lnTo>
                    <a:pt x="1035" y="91"/>
                  </a:lnTo>
                  <a:lnTo>
                    <a:pt x="1028" y="87"/>
                  </a:lnTo>
                  <a:lnTo>
                    <a:pt x="1028" y="84"/>
                  </a:lnTo>
                  <a:lnTo>
                    <a:pt x="1028" y="81"/>
                  </a:lnTo>
                  <a:lnTo>
                    <a:pt x="1028" y="78"/>
                  </a:lnTo>
                  <a:lnTo>
                    <a:pt x="1025" y="78"/>
                  </a:lnTo>
                  <a:lnTo>
                    <a:pt x="1021" y="78"/>
                  </a:lnTo>
                  <a:lnTo>
                    <a:pt x="1021" y="75"/>
                  </a:lnTo>
                  <a:lnTo>
                    <a:pt x="1021" y="71"/>
                  </a:lnTo>
                  <a:lnTo>
                    <a:pt x="1021" y="68"/>
                  </a:lnTo>
                  <a:lnTo>
                    <a:pt x="1018" y="68"/>
                  </a:lnTo>
                  <a:lnTo>
                    <a:pt x="1011" y="62"/>
                  </a:lnTo>
                  <a:lnTo>
                    <a:pt x="1008" y="58"/>
                  </a:lnTo>
                  <a:lnTo>
                    <a:pt x="1008" y="55"/>
                  </a:lnTo>
                  <a:lnTo>
                    <a:pt x="1004" y="55"/>
                  </a:lnTo>
                  <a:lnTo>
                    <a:pt x="1004" y="55"/>
                  </a:lnTo>
                  <a:lnTo>
                    <a:pt x="1004" y="55"/>
                  </a:lnTo>
                  <a:lnTo>
                    <a:pt x="1004" y="52"/>
                  </a:lnTo>
                  <a:lnTo>
                    <a:pt x="1004" y="52"/>
                  </a:lnTo>
                  <a:lnTo>
                    <a:pt x="1001" y="49"/>
                  </a:lnTo>
                  <a:lnTo>
                    <a:pt x="1001" y="45"/>
                  </a:lnTo>
                  <a:lnTo>
                    <a:pt x="997" y="45"/>
                  </a:lnTo>
                  <a:lnTo>
                    <a:pt x="997" y="42"/>
                  </a:lnTo>
                  <a:lnTo>
                    <a:pt x="994" y="42"/>
                  </a:lnTo>
                  <a:lnTo>
                    <a:pt x="994" y="39"/>
                  </a:lnTo>
                  <a:lnTo>
                    <a:pt x="987" y="36"/>
                  </a:lnTo>
                  <a:lnTo>
                    <a:pt x="987" y="33"/>
                  </a:lnTo>
                  <a:lnTo>
                    <a:pt x="990" y="33"/>
                  </a:lnTo>
                  <a:lnTo>
                    <a:pt x="990" y="29"/>
                  </a:lnTo>
                  <a:lnTo>
                    <a:pt x="984" y="29"/>
                  </a:lnTo>
                  <a:lnTo>
                    <a:pt x="984" y="29"/>
                  </a:lnTo>
                  <a:lnTo>
                    <a:pt x="984" y="26"/>
                  </a:lnTo>
                  <a:lnTo>
                    <a:pt x="984" y="26"/>
                  </a:lnTo>
                  <a:lnTo>
                    <a:pt x="984" y="23"/>
                  </a:lnTo>
                  <a:lnTo>
                    <a:pt x="980" y="20"/>
                  </a:lnTo>
                  <a:lnTo>
                    <a:pt x="980" y="20"/>
                  </a:lnTo>
                  <a:lnTo>
                    <a:pt x="980" y="20"/>
                  </a:lnTo>
                  <a:lnTo>
                    <a:pt x="977" y="16"/>
                  </a:lnTo>
                  <a:lnTo>
                    <a:pt x="977" y="16"/>
                  </a:lnTo>
                  <a:lnTo>
                    <a:pt x="973" y="16"/>
                  </a:lnTo>
                  <a:lnTo>
                    <a:pt x="970" y="16"/>
                  </a:lnTo>
                  <a:lnTo>
                    <a:pt x="973" y="13"/>
                  </a:lnTo>
                  <a:lnTo>
                    <a:pt x="973" y="13"/>
                  </a:lnTo>
                  <a:lnTo>
                    <a:pt x="970" y="13"/>
                  </a:lnTo>
                  <a:lnTo>
                    <a:pt x="966" y="13"/>
                  </a:lnTo>
                  <a:lnTo>
                    <a:pt x="966" y="13"/>
                  </a:lnTo>
                  <a:lnTo>
                    <a:pt x="963" y="13"/>
                  </a:lnTo>
                  <a:lnTo>
                    <a:pt x="963" y="10"/>
                  </a:lnTo>
                  <a:lnTo>
                    <a:pt x="963" y="10"/>
                  </a:lnTo>
                  <a:lnTo>
                    <a:pt x="963" y="7"/>
                  </a:lnTo>
                  <a:lnTo>
                    <a:pt x="959" y="7"/>
                  </a:lnTo>
                  <a:lnTo>
                    <a:pt x="959" y="7"/>
                  </a:lnTo>
                  <a:lnTo>
                    <a:pt x="956" y="3"/>
                  </a:lnTo>
                  <a:lnTo>
                    <a:pt x="956" y="7"/>
                  </a:lnTo>
                  <a:lnTo>
                    <a:pt x="953" y="7"/>
                  </a:lnTo>
                  <a:lnTo>
                    <a:pt x="949" y="3"/>
                  </a:lnTo>
                  <a:lnTo>
                    <a:pt x="949" y="7"/>
                  </a:lnTo>
                  <a:lnTo>
                    <a:pt x="949" y="7"/>
                  </a:lnTo>
                  <a:lnTo>
                    <a:pt x="946" y="7"/>
                  </a:lnTo>
                  <a:lnTo>
                    <a:pt x="942" y="7"/>
                  </a:lnTo>
                  <a:lnTo>
                    <a:pt x="942" y="7"/>
                  </a:lnTo>
                  <a:lnTo>
                    <a:pt x="939" y="7"/>
                  </a:lnTo>
                  <a:lnTo>
                    <a:pt x="935" y="7"/>
                  </a:lnTo>
                  <a:lnTo>
                    <a:pt x="935" y="3"/>
                  </a:lnTo>
                  <a:lnTo>
                    <a:pt x="932" y="3"/>
                  </a:lnTo>
                  <a:lnTo>
                    <a:pt x="925" y="3"/>
                  </a:lnTo>
                  <a:lnTo>
                    <a:pt x="925" y="0"/>
                  </a:lnTo>
                  <a:lnTo>
                    <a:pt x="922" y="0"/>
                  </a:lnTo>
                  <a:lnTo>
                    <a:pt x="918" y="0"/>
                  </a:lnTo>
                  <a:lnTo>
                    <a:pt x="918" y="0"/>
                  </a:lnTo>
                  <a:lnTo>
                    <a:pt x="911" y="0"/>
                  </a:lnTo>
                  <a:lnTo>
                    <a:pt x="911" y="3"/>
                  </a:lnTo>
                  <a:lnTo>
                    <a:pt x="908" y="3"/>
                  </a:lnTo>
                  <a:lnTo>
                    <a:pt x="908" y="7"/>
                  </a:lnTo>
                  <a:lnTo>
                    <a:pt x="904" y="3"/>
                  </a:lnTo>
                  <a:lnTo>
                    <a:pt x="901" y="7"/>
                  </a:lnTo>
                  <a:lnTo>
                    <a:pt x="898" y="3"/>
                  </a:lnTo>
                  <a:lnTo>
                    <a:pt x="894" y="7"/>
                  </a:lnTo>
                  <a:lnTo>
                    <a:pt x="891" y="7"/>
                  </a:lnTo>
                  <a:lnTo>
                    <a:pt x="891" y="10"/>
                  </a:lnTo>
                  <a:lnTo>
                    <a:pt x="887" y="10"/>
                  </a:lnTo>
                  <a:lnTo>
                    <a:pt x="884" y="10"/>
                  </a:lnTo>
                  <a:lnTo>
                    <a:pt x="884" y="10"/>
                  </a:lnTo>
                  <a:lnTo>
                    <a:pt x="880" y="10"/>
                  </a:lnTo>
                  <a:lnTo>
                    <a:pt x="877" y="13"/>
                  </a:lnTo>
                  <a:lnTo>
                    <a:pt x="873" y="13"/>
                  </a:lnTo>
                  <a:lnTo>
                    <a:pt x="870" y="13"/>
                  </a:lnTo>
                  <a:lnTo>
                    <a:pt x="870" y="16"/>
                  </a:lnTo>
                  <a:lnTo>
                    <a:pt x="870" y="20"/>
                  </a:lnTo>
                  <a:lnTo>
                    <a:pt x="867" y="23"/>
                  </a:lnTo>
                  <a:lnTo>
                    <a:pt x="867" y="23"/>
                  </a:lnTo>
                  <a:lnTo>
                    <a:pt x="867" y="26"/>
                  </a:lnTo>
                  <a:lnTo>
                    <a:pt x="863" y="26"/>
                  </a:lnTo>
                  <a:lnTo>
                    <a:pt x="863" y="29"/>
                  </a:lnTo>
                  <a:lnTo>
                    <a:pt x="867" y="33"/>
                  </a:lnTo>
                  <a:lnTo>
                    <a:pt x="867" y="33"/>
                  </a:lnTo>
                  <a:lnTo>
                    <a:pt x="873" y="29"/>
                  </a:lnTo>
                  <a:lnTo>
                    <a:pt x="873" y="29"/>
                  </a:lnTo>
                  <a:lnTo>
                    <a:pt x="877" y="29"/>
                  </a:lnTo>
                  <a:lnTo>
                    <a:pt x="880" y="33"/>
                  </a:lnTo>
                  <a:lnTo>
                    <a:pt x="880" y="36"/>
                  </a:lnTo>
                  <a:lnTo>
                    <a:pt x="884" y="39"/>
                  </a:lnTo>
                  <a:lnTo>
                    <a:pt x="884" y="39"/>
                  </a:lnTo>
                  <a:lnTo>
                    <a:pt x="884" y="42"/>
                  </a:lnTo>
                  <a:lnTo>
                    <a:pt x="884" y="45"/>
                  </a:lnTo>
                  <a:lnTo>
                    <a:pt x="884" y="49"/>
                  </a:lnTo>
                  <a:lnTo>
                    <a:pt x="880" y="52"/>
                  </a:lnTo>
                  <a:lnTo>
                    <a:pt x="880" y="55"/>
                  </a:lnTo>
                  <a:lnTo>
                    <a:pt x="877" y="55"/>
                  </a:lnTo>
                  <a:lnTo>
                    <a:pt x="873" y="58"/>
                  </a:lnTo>
                  <a:lnTo>
                    <a:pt x="873" y="62"/>
                  </a:lnTo>
                  <a:lnTo>
                    <a:pt x="877" y="65"/>
                  </a:lnTo>
                  <a:lnTo>
                    <a:pt x="877" y="68"/>
                  </a:lnTo>
                  <a:lnTo>
                    <a:pt x="877" y="71"/>
                  </a:lnTo>
                  <a:lnTo>
                    <a:pt x="877" y="71"/>
                  </a:lnTo>
                  <a:lnTo>
                    <a:pt x="877" y="75"/>
                  </a:lnTo>
                  <a:lnTo>
                    <a:pt x="877" y="78"/>
                  </a:lnTo>
                  <a:lnTo>
                    <a:pt x="873" y="78"/>
                  </a:lnTo>
                  <a:lnTo>
                    <a:pt x="877" y="81"/>
                  </a:lnTo>
                  <a:lnTo>
                    <a:pt x="877" y="87"/>
                  </a:lnTo>
                  <a:lnTo>
                    <a:pt x="877" y="87"/>
                  </a:lnTo>
                  <a:lnTo>
                    <a:pt x="877" y="94"/>
                  </a:lnTo>
                  <a:lnTo>
                    <a:pt x="877" y="94"/>
                  </a:lnTo>
                  <a:lnTo>
                    <a:pt x="880" y="94"/>
                  </a:lnTo>
                  <a:lnTo>
                    <a:pt x="880" y="94"/>
                  </a:lnTo>
                  <a:lnTo>
                    <a:pt x="880" y="94"/>
                  </a:lnTo>
                  <a:lnTo>
                    <a:pt x="884" y="97"/>
                  </a:lnTo>
                  <a:lnTo>
                    <a:pt x="880" y="100"/>
                  </a:lnTo>
                  <a:lnTo>
                    <a:pt x="880" y="104"/>
                  </a:lnTo>
                  <a:lnTo>
                    <a:pt x="873" y="104"/>
                  </a:lnTo>
                  <a:lnTo>
                    <a:pt x="867" y="107"/>
                  </a:lnTo>
                  <a:lnTo>
                    <a:pt x="860" y="113"/>
                  </a:lnTo>
                  <a:lnTo>
                    <a:pt x="856" y="113"/>
                  </a:lnTo>
                  <a:lnTo>
                    <a:pt x="853" y="113"/>
                  </a:lnTo>
                  <a:lnTo>
                    <a:pt x="846" y="110"/>
                  </a:lnTo>
                  <a:lnTo>
                    <a:pt x="842" y="110"/>
                  </a:lnTo>
                  <a:lnTo>
                    <a:pt x="842" y="110"/>
                  </a:lnTo>
                  <a:lnTo>
                    <a:pt x="839" y="110"/>
                  </a:lnTo>
                  <a:lnTo>
                    <a:pt x="839" y="110"/>
                  </a:lnTo>
                  <a:lnTo>
                    <a:pt x="839" y="110"/>
                  </a:lnTo>
                  <a:lnTo>
                    <a:pt x="836" y="136"/>
                  </a:lnTo>
                  <a:lnTo>
                    <a:pt x="836" y="142"/>
                  </a:lnTo>
                  <a:lnTo>
                    <a:pt x="832" y="146"/>
                  </a:lnTo>
                  <a:lnTo>
                    <a:pt x="836" y="149"/>
                  </a:lnTo>
                  <a:lnTo>
                    <a:pt x="832" y="159"/>
                  </a:lnTo>
                  <a:lnTo>
                    <a:pt x="836" y="162"/>
                  </a:lnTo>
                  <a:lnTo>
                    <a:pt x="842" y="165"/>
                  </a:lnTo>
                  <a:lnTo>
                    <a:pt x="849" y="162"/>
                  </a:lnTo>
                  <a:lnTo>
                    <a:pt x="860" y="162"/>
                  </a:lnTo>
                  <a:lnTo>
                    <a:pt x="867" y="162"/>
                  </a:lnTo>
                  <a:lnTo>
                    <a:pt x="870" y="168"/>
                  </a:lnTo>
                  <a:lnTo>
                    <a:pt x="873" y="162"/>
                  </a:lnTo>
                  <a:lnTo>
                    <a:pt x="873" y="159"/>
                  </a:lnTo>
                  <a:lnTo>
                    <a:pt x="873" y="155"/>
                  </a:lnTo>
                  <a:lnTo>
                    <a:pt x="880" y="152"/>
                  </a:lnTo>
                  <a:lnTo>
                    <a:pt x="880" y="152"/>
                  </a:lnTo>
                  <a:lnTo>
                    <a:pt x="891" y="152"/>
                  </a:lnTo>
                  <a:lnTo>
                    <a:pt x="894" y="159"/>
                  </a:lnTo>
                  <a:lnTo>
                    <a:pt x="901" y="165"/>
                  </a:lnTo>
                  <a:lnTo>
                    <a:pt x="908" y="168"/>
                  </a:lnTo>
                  <a:lnTo>
                    <a:pt x="915" y="175"/>
                  </a:lnTo>
                  <a:lnTo>
                    <a:pt x="915" y="178"/>
                  </a:lnTo>
                  <a:lnTo>
                    <a:pt x="918" y="178"/>
                  </a:lnTo>
                  <a:lnTo>
                    <a:pt x="918" y="181"/>
                  </a:lnTo>
                  <a:lnTo>
                    <a:pt x="915" y="184"/>
                  </a:lnTo>
                  <a:lnTo>
                    <a:pt x="915" y="188"/>
                  </a:lnTo>
                  <a:lnTo>
                    <a:pt x="915" y="188"/>
                  </a:lnTo>
                  <a:lnTo>
                    <a:pt x="911" y="188"/>
                  </a:lnTo>
                  <a:lnTo>
                    <a:pt x="908" y="184"/>
                  </a:lnTo>
                  <a:lnTo>
                    <a:pt x="904" y="188"/>
                  </a:lnTo>
                  <a:lnTo>
                    <a:pt x="904" y="188"/>
                  </a:lnTo>
                  <a:lnTo>
                    <a:pt x="898" y="184"/>
                  </a:lnTo>
                  <a:lnTo>
                    <a:pt x="894" y="188"/>
                  </a:lnTo>
                  <a:lnTo>
                    <a:pt x="891" y="191"/>
                  </a:lnTo>
                  <a:lnTo>
                    <a:pt x="884" y="194"/>
                  </a:lnTo>
                  <a:lnTo>
                    <a:pt x="884" y="194"/>
                  </a:lnTo>
                  <a:lnTo>
                    <a:pt x="880" y="194"/>
                  </a:lnTo>
                  <a:lnTo>
                    <a:pt x="877" y="194"/>
                  </a:lnTo>
                  <a:lnTo>
                    <a:pt x="877" y="197"/>
                  </a:lnTo>
                  <a:lnTo>
                    <a:pt x="877" y="197"/>
                  </a:lnTo>
                  <a:lnTo>
                    <a:pt x="873" y="201"/>
                  </a:lnTo>
                  <a:lnTo>
                    <a:pt x="870" y="197"/>
                  </a:lnTo>
                  <a:lnTo>
                    <a:pt x="870" y="201"/>
                  </a:lnTo>
                  <a:lnTo>
                    <a:pt x="867" y="204"/>
                  </a:lnTo>
                  <a:lnTo>
                    <a:pt x="867" y="210"/>
                  </a:lnTo>
                  <a:lnTo>
                    <a:pt x="867" y="213"/>
                  </a:lnTo>
                  <a:lnTo>
                    <a:pt x="863" y="217"/>
                  </a:lnTo>
                  <a:lnTo>
                    <a:pt x="860" y="217"/>
                  </a:lnTo>
                  <a:lnTo>
                    <a:pt x="849" y="220"/>
                  </a:lnTo>
                  <a:lnTo>
                    <a:pt x="846" y="220"/>
                  </a:lnTo>
                  <a:lnTo>
                    <a:pt x="842" y="220"/>
                  </a:lnTo>
                  <a:lnTo>
                    <a:pt x="839" y="223"/>
                  </a:lnTo>
                  <a:lnTo>
                    <a:pt x="836" y="230"/>
                  </a:lnTo>
                  <a:lnTo>
                    <a:pt x="832" y="230"/>
                  </a:lnTo>
                  <a:lnTo>
                    <a:pt x="829" y="233"/>
                  </a:lnTo>
                  <a:lnTo>
                    <a:pt x="825" y="236"/>
                  </a:lnTo>
                  <a:lnTo>
                    <a:pt x="825" y="239"/>
                  </a:lnTo>
                  <a:lnTo>
                    <a:pt x="822" y="239"/>
                  </a:lnTo>
                  <a:lnTo>
                    <a:pt x="818" y="236"/>
                  </a:lnTo>
                  <a:lnTo>
                    <a:pt x="812" y="236"/>
                  </a:lnTo>
                  <a:lnTo>
                    <a:pt x="808" y="236"/>
                  </a:lnTo>
                  <a:lnTo>
                    <a:pt x="801" y="233"/>
                  </a:lnTo>
                  <a:lnTo>
                    <a:pt x="798" y="233"/>
                  </a:lnTo>
                  <a:lnTo>
                    <a:pt x="791" y="233"/>
                  </a:lnTo>
                  <a:lnTo>
                    <a:pt x="784" y="236"/>
                  </a:lnTo>
                  <a:lnTo>
                    <a:pt x="784" y="239"/>
                  </a:lnTo>
                  <a:lnTo>
                    <a:pt x="784" y="246"/>
                  </a:lnTo>
                  <a:lnTo>
                    <a:pt x="784" y="249"/>
                  </a:lnTo>
                  <a:lnTo>
                    <a:pt x="784" y="252"/>
                  </a:lnTo>
                  <a:lnTo>
                    <a:pt x="791" y="255"/>
                  </a:lnTo>
                  <a:lnTo>
                    <a:pt x="798" y="262"/>
                  </a:lnTo>
                  <a:lnTo>
                    <a:pt x="798" y="262"/>
                  </a:lnTo>
                  <a:lnTo>
                    <a:pt x="798" y="265"/>
                  </a:lnTo>
                  <a:lnTo>
                    <a:pt x="794" y="268"/>
                  </a:lnTo>
                  <a:lnTo>
                    <a:pt x="787" y="278"/>
                  </a:lnTo>
                  <a:lnTo>
                    <a:pt x="781" y="285"/>
                  </a:lnTo>
                  <a:lnTo>
                    <a:pt x="777" y="291"/>
                  </a:lnTo>
                  <a:lnTo>
                    <a:pt x="774" y="291"/>
                  </a:lnTo>
                  <a:lnTo>
                    <a:pt x="770" y="291"/>
                  </a:lnTo>
                  <a:lnTo>
                    <a:pt x="763" y="291"/>
                  </a:lnTo>
                  <a:lnTo>
                    <a:pt x="760" y="294"/>
                  </a:lnTo>
                  <a:lnTo>
                    <a:pt x="753" y="297"/>
                  </a:lnTo>
                  <a:lnTo>
                    <a:pt x="750" y="297"/>
                  </a:lnTo>
                  <a:lnTo>
                    <a:pt x="739" y="301"/>
                  </a:lnTo>
                  <a:lnTo>
                    <a:pt x="736" y="301"/>
                  </a:lnTo>
                  <a:lnTo>
                    <a:pt x="729" y="301"/>
                  </a:lnTo>
                  <a:lnTo>
                    <a:pt x="715" y="307"/>
                  </a:lnTo>
                  <a:lnTo>
                    <a:pt x="705" y="310"/>
                  </a:lnTo>
                  <a:lnTo>
                    <a:pt x="698" y="314"/>
                  </a:lnTo>
                  <a:lnTo>
                    <a:pt x="691" y="320"/>
                  </a:lnTo>
                  <a:lnTo>
                    <a:pt x="688" y="323"/>
                  </a:lnTo>
                  <a:lnTo>
                    <a:pt x="681" y="323"/>
                  </a:lnTo>
                  <a:lnTo>
                    <a:pt x="677" y="320"/>
                  </a:lnTo>
                  <a:lnTo>
                    <a:pt x="677" y="320"/>
                  </a:lnTo>
                  <a:lnTo>
                    <a:pt x="677" y="317"/>
                  </a:lnTo>
                  <a:lnTo>
                    <a:pt x="667" y="320"/>
                  </a:lnTo>
                  <a:lnTo>
                    <a:pt x="660" y="320"/>
                  </a:lnTo>
                  <a:lnTo>
                    <a:pt x="653" y="317"/>
                  </a:lnTo>
                  <a:lnTo>
                    <a:pt x="650" y="317"/>
                  </a:lnTo>
                  <a:lnTo>
                    <a:pt x="636" y="314"/>
                  </a:lnTo>
                  <a:lnTo>
                    <a:pt x="626" y="307"/>
                  </a:lnTo>
                  <a:lnTo>
                    <a:pt x="619" y="304"/>
                  </a:lnTo>
                  <a:lnTo>
                    <a:pt x="612" y="304"/>
                  </a:lnTo>
                  <a:lnTo>
                    <a:pt x="598" y="301"/>
                  </a:lnTo>
                  <a:lnTo>
                    <a:pt x="588" y="301"/>
                  </a:lnTo>
                  <a:lnTo>
                    <a:pt x="584" y="301"/>
                  </a:lnTo>
                  <a:lnTo>
                    <a:pt x="581" y="301"/>
                  </a:lnTo>
                  <a:lnTo>
                    <a:pt x="581" y="304"/>
                  </a:lnTo>
                  <a:lnTo>
                    <a:pt x="574" y="307"/>
                  </a:lnTo>
                  <a:lnTo>
                    <a:pt x="564" y="307"/>
                  </a:lnTo>
                  <a:lnTo>
                    <a:pt x="550" y="304"/>
                  </a:lnTo>
                  <a:lnTo>
                    <a:pt x="536" y="307"/>
                  </a:lnTo>
                  <a:lnTo>
                    <a:pt x="529" y="304"/>
                  </a:lnTo>
                  <a:lnTo>
                    <a:pt x="519" y="307"/>
                  </a:lnTo>
                  <a:lnTo>
                    <a:pt x="516" y="307"/>
                  </a:lnTo>
                  <a:lnTo>
                    <a:pt x="512" y="307"/>
                  </a:lnTo>
                  <a:lnTo>
                    <a:pt x="509" y="297"/>
                  </a:lnTo>
                  <a:lnTo>
                    <a:pt x="509" y="294"/>
                  </a:lnTo>
                  <a:lnTo>
                    <a:pt x="502" y="291"/>
                  </a:lnTo>
                  <a:lnTo>
                    <a:pt x="498" y="288"/>
                  </a:lnTo>
                  <a:lnTo>
                    <a:pt x="498" y="281"/>
                  </a:lnTo>
                  <a:lnTo>
                    <a:pt x="498" y="278"/>
                  </a:lnTo>
                  <a:lnTo>
                    <a:pt x="495" y="278"/>
                  </a:lnTo>
                  <a:lnTo>
                    <a:pt x="492" y="275"/>
                  </a:lnTo>
                  <a:lnTo>
                    <a:pt x="488" y="275"/>
                  </a:lnTo>
                  <a:lnTo>
                    <a:pt x="488" y="275"/>
                  </a:lnTo>
                  <a:lnTo>
                    <a:pt x="488" y="272"/>
                  </a:lnTo>
                  <a:lnTo>
                    <a:pt x="488" y="272"/>
                  </a:lnTo>
                  <a:lnTo>
                    <a:pt x="485" y="272"/>
                  </a:lnTo>
                  <a:lnTo>
                    <a:pt x="481" y="272"/>
                  </a:lnTo>
                  <a:lnTo>
                    <a:pt x="474" y="268"/>
                  </a:lnTo>
                  <a:lnTo>
                    <a:pt x="468" y="265"/>
                  </a:lnTo>
                  <a:lnTo>
                    <a:pt x="464" y="265"/>
                  </a:lnTo>
                  <a:lnTo>
                    <a:pt x="464" y="265"/>
                  </a:lnTo>
                  <a:lnTo>
                    <a:pt x="461" y="262"/>
                  </a:lnTo>
                  <a:lnTo>
                    <a:pt x="461" y="262"/>
                  </a:lnTo>
                  <a:lnTo>
                    <a:pt x="454" y="259"/>
                  </a:lnTo>
                  <a:lnTo>
                    <a:pt x="440" y="255"/>
                  </a:lnTo>
                  <a:lnTo>
                    <a:pt x="440" y="255"/>
                  </a:lnTo>
                  <a:lnTo>
                    <a:pt x="437" y="259"/>
                  </a:lnTo>
                  <a:lnTo>
                    <a:pt x="433" y="259"/>
                  </a:lnTo>
                  <a:lnTo>
                    <a:pt x="423" y="259"/>
                  </a:lnTo>
                  <a:lnTo>
                    <a:pt x="406" y="255"/>
                  </a:lnTo>
                  <a:lnTo>
                    <a:pt x="399" y="252"/>
                  </a:lnTo>
                  <a:lnTo>
                    <a:pt x="395" y="246"/>
                  </a:lnTo>
                  <a:lnTo>
                    <a:pt x="395" y="243"/>
                  </a:lnTo>
                  <a:lnTo>
                    <a:pt x="395" y="243"/>
                  </a:lnTo>
                  <a:lnTo>
                    <a:pt x="395" y="239"/>
                  </a:lnTo>
                  <a:lnTo>
                    <a:pt x="399" y="239"/>
                  </a:lnTo>
                  <a:lnTo>
                    <a:pt x="399" y="236"/>
                  </a:lnTo>
                  <a:lnTo>
                    <a:pt x="399" y="233"/>
                  </a:lnTo>
                  <a:lnTo>
                    <a:pt x="399" y="230"/>
                  </a:lnTo>
                  <a:lnTo>
                    <a:pt x="399" y="226"/>
                  </a:lnTo>
                  <a:lnTo>
                    <a:pt x="399" y="223"/>
                  </a:lnTo>
                  <a:lnTo>
                    <a:pt x="395" y="220"/>
                  </a:lnTo>
                  <a:lnTo>
                    <a:pt x="395" y="217"/>
                  </a:lnTo>
                  <a:lnTo>
                    <a:pt x="392" y="217"/>
                  </a:lnTo>
                  <a:lnTo>
                    <a:pt x="388" y="213"/>
                  </a:lnTo>
                  <a:lnTo>
                    <a:pt x="385" y="210"/>
                  </a:lnTo>
                  <a:lnTo>
                    <a:pt x="385" y="210"/>
                  </a:lnTo>
                  <a:lnTo>
                    <a:pt x="385" y="207"/>
                  </a:lnTo>
                  <a:lnTo>
                    <a:pt x="382" y="204"/>
                  </a:lnTo>
                  <a:lnTo>
                    <a:pt x="382" y="201"/>
                  </a:lnTo>
                  <a:lnTo>
                    <a:pt x="378" y="201"/>
                  </a:lnTo>
                  <a:lnTo>
                    <a:pt x="375" y="197"/>
                  </a:lnTo>
                  <a:lnTo>
                    <a:pt x="375" y="197"/>
                  </a:lnTo>
                  <a:lnTo>
                    <a:pt x="371" y="194"/>
                  </a:lnTo>
                  <a:lnTo>
                    <a:pt x="368" y="194"/>
                  </a:lnTo>
                  <a:lnTo>
                    <a:pt x="364" y="197"/>
                  </a:lnTo>
                  <a:lnTo>
                    <a:pt x="364" y="197"/>
                  </a:lnTo>
                  <a:lnTo>
                    <a:pt x="361" y="197"/>
                  </a:lnTo>
                  <a:lnTo>
                    <a:pt x="357" y="194"/>
                  </a:lnTo>
                  <a:lnTo>
                    <a:pt x="357" y="194"/>
                  </a:lnTo>
                  <a:lnTo>
                    <a:pt x="354" y="194"/>
                  </a:lnTo>
                  <a:lnTo>
                    <a:pt x="351" y="194"/>
                  </a:lnTo>
                  <a:lnTo>
                    <a:pt x="347" y="197"/>
                  </a:lnTo>
                  <a:lnTo>
                    <a:pt x="347" y="197"/>
                  </a:lnTo>
                  <a:lnTo>
                    <a:pt x="347" y="197"/>
                  </a:lnTo>
                  <a:lnTo>
                    <a:pt x="340" y="194"/>
                  </a:lnTo>
                  <a:lnTo>
                    <a:pt x="340" y="194"/>
                  </a:lnTo>
                  <a:lnTo>
                    <a:pt x="340" y="191"/>
                  </a:lnTo>
                  <a:lnTo>
                    <a:pt x="337" y="191"/>
                  </a:lnTo>
                  <a:lnTo>
                    <a:pt x="333" y="188"/>
                  </a:lnTo>
                  <a:lnTo>
                    <a:pt x="330" y="184"/>
                  </a:lnTo>
                  <a:lnTo>
                    <a:pt x="330" y="184"/>
                  </a:lnTo>
                  <a:lnTo>
                    <a:pt x="326" y="181"/>
                  </a:lnTo>
                  <a:lnTo>
                    <a:pt x="326" y="181"/>
                  </a:lnTo>
                  <a:lnTo>
                    <a:pt x="326" y="178"/>
                  </a:lnTo>
                  <a:lnTo>
                    <a:pt x="326" y="175"/>
                  </a:lnTo>
                  <a:lnTo>
                    <a:pt x="323" y="178"/>
                  </a:lnTo>
                  <a:lnTo>
                    <a:pt x="323" y="178"/>
                  </a:lnTo>
                  <a:lnTo>
                    <a:pt x="323" y="178"/>
                  </a:lnTo>
                  <a:lnTo>
                    <a:pt x="320" y="175"/>
                  </a:lnTo>
                  <a:lnTo>
                    <a:pt x="320" y="175"/>
                  </a:lnTo>
                  <a:lnTo>
                    <a:pt x="320" y="171"/>
                  </a:lnTo>
                  <a:lnTo>
                    <a:pt x="320" y="168"/>
                  </a:lnTo>
                  <a:lnTo>
                    <a:pt x="320" y="168"/>
                  </a:lnTo>
                  <a:lnTo>
                    <a:pt x="313" y="168"/>
                  </a:lnTo>
                  <a:lnTo>
                    <a:pt x="313" y="168"/>
                  </a:lnTo>
                  <a:lnTo>
                    <a:pt x="313" y="168"/>
                  </a:lnTo>
                  <a:lnTo>
                    <a:pt x="309" y="171"/>
                  </a:lnTo>
                  <a:lnTo>
                    <a:pt x="306" y="175"/>
                  </a:lnTo>
                  <a:lnTo>
                    <a:pt x="299" y="178"/>
                  </a:lnTo>
                  <a:lnTo>
                    <a:pt x="299" y="181"/>
                  </a:lnTo>
                  <a:lnTo>
                    <a:pt x="302" y="181"/>
                  </a:lnTo>
                  <a:lnTo>
                    <a:pt x="299" y="184"/>
                  </a:lnTo>
                  <a:lnTo>
                    <a:pt x="292" y="188"/>
                  </a:lnTo>
                  <a:lnTo>
                    <a:pt x="289" y="191"/>
                  </a:lnTo>
                  <a:lnTo>
                    <a:pt x="289" y="194"/>
                  </a:lnTo>
                  <a:lnTo>
                    <a:pt x="289" y="201"/>
                  </a:lnTo>
                  <a:lnTo>
                    <a:pt x="292" y="207"/>
                  </a:lnTo>
                  <a:lnTo>
                    <a:pt x="296" y="210"/>
                  </a:lnTo>
                  <a:lnTo>
                    <a:pt x="296" y="213"/>
                  </a:lnTo>
                  <a:lnTo>
                    <a:pt x="292" y="217"/>
                  </a:lnTo>
                  <a:lnTo>
                    <a:pt x="289" y="220"/>
                  </a:lnTo>
                  <a:lnTo>
                    <a:pt x="285" y="223"/>
                  </a:lnTo>
                  <a:lnTo>
                    <a:pt x="282" y="223"/>
                  </a:lnTo>
                  <a:lnTo>
                    <a:pt x="278" y="223"/>
                  </a:lnTo>
                  <a:lnTo>
                    <a:pt x="278" y="220"/>
                  </a:lnTo>
                  <a:lnTo>
                    <a:pt x="275" y="220"/>
                  </a:lnTo>
                  <a:lnTo>
                    <a:pt x="268" y="223"/>
                  </a:lnTo>
                  <a:lnTo>
                    <a:pt x="261" y="223"/>
                  </a:lnTo>
                  <a:lnTo>
                    <a:pt x="254" y="220"/>
                  </a:lnTo>
                  <a:lnTo>
                    <a:pt x="251" y="220"/>
                  </a:lnTo>
                  <a:lnTo>
                    <a:pt x="247" y="220"/>
                  </a:lnTo>
                  <a:lnTo>
                    <a:pt x="247" y="226"/>
                  </a:lnTo>
                  <a:lnTo>
                    <a:pt x="244" y="233"/>
                  </a:lnTo>
                  <a:lnTo>
                    <a:pt x="244" y="236"/>
                  </a:lnTo>
                  <a:lnTo>
                    <a:pt x="244" y="246"/>
                  </a:lnTo>
                  <a:lnTo>
                    <a:pt x="244" y="252"/>
                  </a:lnTo>
                  <a:lnTo>
                    <a:pt x="240" y="255"/>
                  </a:lnTo>
                  <a:lnTo>
                    <a:pt x="244" y="255"/>
                  </a:lnTo>
                  <a:lnTo>
                    <a:pt x="247" y="259"/>
                  </a:lnTo>
                  <a:lnTo>
                    <a:pt x="247" y="262"/>
                  </a:lnTo>
                  <a:lnTo>
                    <a:pt x="247" y="265"/>
                  </a:lnTo>
                  <a:lnTo>
                    <a:pt x="244" y="265"/>
                  </a:lnTo>
                  <a:lnTo>
                    <a:pt x="240" y="265"/>
                  </a:lnTo>
                  <a:lnTo>
                    <a:pt x="237" y="265"/>
                  </a:lnTo>
                  <a:lnTo>
                    <a:pt x="237" y="262"/>
                  </a:lnTo>
                  <a:lnTo>
                    <a:pt x="234" y="265"/>
                  </a:lnTo>
                  <a:lnTo>
                    <a:pt x="230" y="265"/>
                  </a:lnTo>
                  <a:lnTo>
                    <a:pt x="220" y="265"/>
                  </a:lnTo>
                  <a:lnTo>
                    <a:pt x="213" y="268"/>
                  </a:lnTo>
                  <a:lnTo>
                    <a:pt x="213" y="268"/>
                  </a:lnTo>
                  <a:lnTo>
                    <a:pt x="210" y="268"/>
                  </a:lnTo>
                  <a:lnTo>
                    <a:pt x="206" y="268"/>
                  </a:lnTo>
                  <a:lnTo>
                    <a:pt x="203" y="272"/>
                  </a:lnTo>
                  <a:lnTo>
                    <a:pt x="203" y="275"/>
                  </a:lnTo>
                  <a:lnTo>
                    <a:pt x="206" y="275"/>
                  </a:lnTo>
                  <a:lnTo>
                    <a:pt x="213" y="275"/>
                  </a:lnTo>
                  <a:lnTo>
                    <a:pt x="216" y="275"/>
                  </a:lnTo>
                  <a:lnTo>
                    <a:pt x="216" y="278"/>
                  </a:lnTo>
                  <a:lnTo>
                    <a:pt x="213" y="281"/>
                  </a:lnTo>
                  <a:lnTo>
                    <a:pt x="216" y="285"/>
                  </a:lnTo>
                  <a:lnTo>
                    <a:pt x="216" y="288"/>
                  </a:lnTo>
                  <a:lnTo>
                    <a:pt x="216" y="288"/>
                  </a:lnTo>
                  <a:lnTo>
                    <a:pt x="216" y="294"/>
                  </a:lnTo>
                  <a:lnTo>
                    <a:pt x="220" y="297"/>
                  </a:lnTo>
                  <a:lnTo>
                    <a:pt x="223" y="301"/>
                  </a:lnTo>
                  <a:lnTo>
                    <a:pt x="227" y="304"/>
                  </a:lnTo>
                  <a:lnTo>
                    <a:pt x="227" y="310"/>
                  </a:lnTo>
                  <a:lnTo>
                    <a:pt x="227" y="310"/>
                  </a:lnTo>
                  <a:lnTo>
                    <a:pt x="223" y="314"/>
                  </a:lnTo>
                  <a:lnTo>
                    <a:pt x="227" y="317"/>
                  </a:lnTo>
                  <a:lnTo>
                    <a:pt x="227" y="320"/>
                  </a:lnTo>
                  <a:lnTo>
                    <a:pt x="227" y="320"/>
                  </a:lnTo>
                  <a:lnTo>
                    <a:pt x="220" y="323"/>
                  </a:lnTo>
                  <a:lnTo>
                    <a:pt x="223" y="327"/>
                  </a:lnTo>
                  <a:lnTo>
                    <a:pt x="216" y="330"/>
                  </a:lnTo>
                  <a:lnTo>
                    <a:pt x="210" y="327"/>
                  </a:lnTo>
                  <a:lnTo>
                    <a:pt x="203" y="320"/>
                  </a:lnTo>
                  <a:lnTo>
                    <a:pt x="199" y="320"/>
                  </a:lnTo>
                  <a:lnTo>
                    <a:pt x="189" y="317"/>
                  </a:lnTo>
                  <a:lnTo>
                    <a:pt x="179" y="317"/>
                  </a:lnTo>
                  <a:lnTo>
                    <a:pt x="172" y="317"/>
                  </a:lnTo>
                  <a:lnTo>
                    <a:pt x="161" y="317"/>
                  </a:lnTo>
                  <a:lnTo>
                    <a:pt x="151" y="317"/>
                  </a:lnTo>
                  <a:lnTo>
                    <a:pt x="148" y="317"/>
                  </a:lnTo>
                  <a:lnTo>
                    <a:pt x="144" y="317"/>
                  </a:lnTo>
                  <a:lnTo>
                    <a:pt x="141" y="320"/>
                  </a:lnTo>
                  <a:lnTo>
                    <a:pt x="137" y="320"/>
                  </a:lnTo>
                  <a:lnTo>
                    <a:pt x="127" y="320"/>
                  </a:lnTo>
                  <a:lnTo>
                    <a:pt x="117" y="317"/>
                  </a:lnTo>
                  <a:lnTo>
                    <a:pt x="113" y="317"/>
                  </a:lnTo>
                  <a:lnTo>
                    <a:pt x="106" y="317"/>
                  </a:lnTo>
                  <a:lnTo>
                    <a:pt x="106" y="317"/>
                  </a:lnTo>
                  <a:lnTo>
                    <a:pt x="99" y="317"/>
                  </a:lnTo>
                  <a:lnTo>
                    <a:pt x="96" y="317"/>
                  </a:lnTo>
                  <a:lnTo>
                    <a:pt x="96" y="317"/>
                  </a:lnTo>
                  <a:lnTo>
                    <a:pt x="96" y="320"/>
                  </a:lnTo>
                  <a:lnTo>
                    <a:pt x="96" y="323"/>
                  </a:lnTo>
                  <a:lnTo>
                    <a:pt x="96" y="330"/>
                  </a:lnTo>
                  <a:lnTo>
                    <a:pt x="93" y="330"/>
                  </a:lnTo>
                  <a:lnTo>
                    <a:pt x="79" y="330"/>
                  </a:lnTo>
                  <a:lnTo>
                    <a:pt x="65" y="330"/>
                  </a:lnTo>
                  <a:lnTo>
                    <a:pt x="62" y="327"/>
                  </a:lnTo>
                  <a:lnTo>
                    <a:pt x="55" y="327"/>
                  </a:lnTo>
                  <a:lnTo>
                    <a:pt x="51" y="330"/>
                  </a:lnTo>
                  <a:lnTo>
                    <a:pt x="51" y="330"/>
                  </a:lnTo>
                  <a:lnTo>
                    <a:pt x="48" y="333"/>
                  </a:lnTo>
                  <a:lnTo>
                    <a:pt x="48" y="336"/>
                  </a:lnTo>
                  <a:lnTo>
                    <a:pt x="51" y="336"/>
                  </a:lnTo>
                  <a:lnTo>
                    <a:pt x="51" y="339"/>
                  </a:lnTo>
                  <a:lnTo>
                    <a:pt x="44" y="346"/>
                  </a:lnTo>
                  <a:lnTo>
                    <a:pt x="41" y="352"/>
                  </a:lnTo>
                  <a:lnTo>
                    <a:pt x="44" y="352"/>
                  </a:lnTo>
                  <a:lnTo>
                    <a:pt x="55" y="356"/>
                  </a:lnTo>
                  <a:lnTo>
                    <a:pt x="58" y="359"/>
                  </a:lnTo>
                  <a:lnTo>
                    <a:pt x="62" y="359"/>
                  </a:lnTo>
                  <a:lnTo>
                    <a:pt x="65" y="356"/>
                  </a:lnTo>
                  <a:lnTo>
                    <a:pt x="65" y="352"/>
                  </a:lnTo>
                  <a:lnTo>
                    <a:pt x="65" y="352"/>
                  </a:lnTo>
                  <a:lnTo>
                    <a:pt x="75" y="359"/>
                  </a:lnTo>
                  <a:lnTo>
                    <a:pt x="79" y="362"/>
                  </a:lnTo>
                  <a:lnTo>
                    <a:pt x="72" y="365"/>
                  </a:lnTo>
                  <a:lnTo>
                    <a:pt x="65" y="365"/>
                  </a:lnTo>
                  <a:lnTo>
                    <a:pt x="55" y="369"/>
                  </a:lnTo>
                  <a:lnTo>
                    <a:pt x="55" y="365"/>
                  </a:lnTo>
                  <a:lnTo>
                    <a:pt x="51" y="362"/>
                  </a:lnTo>
                  <a:lnTo>
                    <a:pt x="44" y="365"/>
                  </a:lnTo>
                  <a:lnTo>
                    <a:pt x="41" y="365"/>
                  </a:lnTo>
                  <a:lnTo>
                    <a:pt x="34" y="369"/>
                  </a:lnTo>
                  <a:lnTo>
                    <a:pt x="31" y="372"/>
                  </a:lnTo>
                  <a:lnTo>
                    <a:pt x="31" y="375"/>
                  </a:lnTo>
                  <a:lnTo>
                    <a:pt x="34" y="378"/>
                  </a:lnTo>
                  <a:lnTo>
                    <a:pt x="34" y="381"/>
                  </a:lnTo>
                  <a:lnTo>
                    <a:pt x="27" y="385"/>
                  </a:lnTo>
                  <a:lnTo>
                    <a:pt x="20" y="385"/>
                  </a:lnTo>
                  <a:lnTo>
                    <a:pt x="20" y="385"/>
                  </a:lnTo>
                  <a:lnTo>
                    <a:pt x="24" y="388"/>
                  </a:lnTo>
                  <a:lnTo>
                    <a:pt x="17" y="391"/>
                  </a:lnTo>
                  <a:lnTo>
                    <a:pt x="17" y="394"/>
                  </a:lnTo>
                  <a:lnTo>
                    <a:pt x="13" y="394"/>
                  </a:lnTo>
                  <a:lnTo>
                    <a:pt x="3" y="394"/>
                  </a:lnTo>
                  <a:lnTo>
                    <a:pt x="0" y="398"/>
                  </a:lnTo>
                  <a:lnTo>
                    <a:pt x="0" y="401"/>
                  </a:lnTo>
                  <a:lnTo>
                    <a:pt x="3" y="407"/>
                  </a:lnTo>
                  <a:lnTo>
                    <a:pt x="7" y="407"/>
                  </a:lnTo>
                  <a:lnTo>
                    <a:pt x="13" y="407"/>
                  </a:lnTo>
                  <a:lnTo>
                    <a:pt x="13" y="411"/>
                  </a:lnTo>
                  <a:lnTo>
                    <a:pt x="13" y="414"/>
                  </a:lnTo>
                  <a:lnTo>
                    <a:pt x="13" y="417"/>
                  </a:lnTo>
                  <a:lnTo>
                    <a:pt x="17" y="420"/>
                  </a:lnTo>
                  <a:lnTo>
                    <a:pt x="20" y="423"/>
                  </a:lnTo>
                  <a:lnTo>
                    <a:pt x="17" y="427"/>
                  </a:lnTo>
                  <a:lnTo>
                    <a:pt x="13" y="433"/>
                  </a:lnTo>
                  <a:lnTo>
                    <a:pt x="10" y="446"/>
                  </a:lnTo>
                  <a:lnTo>
                    <a:pt x="10" y="443"/>
                  </a:lnTo>
                  <a:lnTo>
                    <a:pt x="13" y="446"/>
                  </a:lnTo>
                  <a:lnTo>
                    <a:pt x="17" y="449"/>
                  </a:lnTo>
                  <a:lnTo>
                    <a:pt x="24" y="446"/>
                  </a:lnTo>
                  <a:lnTo>
                    <a:pt x="27" y="446"/>
                  </a:lnTo>
                  <a:lnTo>
                    <a:pt x="31" y="443"/>
                  </a:lnTo>
                  <a:lnTo>
                    <a:pt x="31" y="443"/>
                  </a:lnTo>
                  <a:lnTo>
                    <a:pt x="34" y="440"/>
                  </a:lnTo>
                  <a:lnTo>
                    <a:pt x="37" y="443"/>
                  </a:lnTo>
                  <a:lnTo>
                    <a:pt x="37" y="443"/>
                  </a:lnTo>
                  <a:lnTo>
                    <a:pt x="44" y="446"/>
                  </a:lnTo>
                  <a:lnTo>
                    <a:pt x="44" y="443"/>
                  </a:lnTo>
                  <a:lnTo>
                    <a:pt x="44" y="440"/>
                  </a:lnTo>
                  <a:lnTo>
                    <a:pt x="44" y="440"/>
                  </a:lnTo>
                  <a:lnTo>
                    <a:pt x="48" y="436"/>
                  </a:lnTo>
                  <a:lnTo>
                    <a:pt x="48" y="436"/>
                  </a:lnTo>
                  <a:lnTo>
                    <a:pt x="51" y="436"/>
                  </a:lnTo>
                  <a:lnTo>
                    <a:pt x="51" y="436"/>
                  </a:lnTo>
                  <a:lnTo>
                    <a:pt x="55" y="436"/>
                  </a:lnTo>
                  <a:lnTo>
                    <a:pt x="58" y="433"/>
                  </a:lnTo>
                  <a:lnTo>
                    <a:pt x="58" y="430"/>
                  </a:lnTo>
                  <a:lnTo>
                    <a:pt x="58" y="427"/>
                  </a:lnTo>
                  <a:lnTo>
                    <a:pt x="62" y="423"/>
                  </a:lnTo>
                  <a:lnTo>
                    <a:pt x="62" y="420"/>
                  </a:lnTo>
                  <a:lnTo>
                    <a:pt x="65" y="417"/>
                  </a:lnTo>
                  <a:lnTo>
                    <a:pt x="68" y="417"/>
                  </a:lnTo>
                  <a:lnTo>
                    <a:pt x="72" y="420"/>
                  </a:lnTo>
                  <a:lnTo>
                    <a:pt x="75" y="420"/>
                  </a:lnTo>
                  <a:lnTo>
                    <a:pt x="75" y="423"/>
                  </a:lnTo>
                  <a:lnTo>
                    <a:pt x="75" y="427"/>
                  </a:lnTo>
                  <a:lnTo>
                    <a:pt x="75" y="430"/>
                  </a:lnTo>
                  <a:lnTo>
                    <a:pt x="79" y="430"/>
                  </a:lnTo>
                  <a:lnTo>
                    <a:pt x="79" y="433"/>
                  </a:lnTo>
                  <a:lnTo>
                    <a:pt x="79" y="436"/>
                  </a:lnTo>
                  <a:lnTo>
                    <a:pt x="82" y="440"/>
                  </a:lnTo>
                  <a:lnTo>
                    <a:pt x="82" y="446"/>
                  </a:lnTo>
                  <a:lnTo>
                    <a:pt x="82" y="449"/>
                  </a:lnTo>
                  <a:lnTo>
                    <a:pt x="82" y="453"/>
                  </a:lnTo>
                  <a:lnTo>
                    <a:pt x="86" y="453"/>
                  </a:lnTo>
                  <a:lnTo>
                    <a:pt x="93" y="453"/>
                  </a:lnTo>
                  <a:lnTo>
                    <a:pt x="96" y="453"/>
                  </a:lnTo>
                  <a:lnTo>
                    <a:pt x="96" y="449"/>
                  </a:lnTo>
                  <a:lnTo>
                    <a:pt x="103" y="446"/>
                  </a:lnTo>
                  <a:lnTo>
                    <a:pt x="106" y="446"/>
                  </a:lnTo>
                  <a:lnTo>
                    <a:pt x="106" y="443"/>
                  </a:lnTo>
                  <a:lnTo>
                    <a:pt x="110" y="440"/>
                  </a:lnTo>
                  <a:lnTo>
                    <a:pt x="117" y="436"/>
                  </a:lnTo>
                  <a:lnTo>
                    <a:pt x="123" y="433"/>
                  </a:lnTo>
                  <a:lnTo>
                    <a:pt x="123" y="436"/>
                  </a:lnTo>
                  <a:lnTo>
                    <a:pt x="130" y="436"/>
                  </a:lnTo>
                  <a:lnTo>
                    <a:pt x="134" y="433"/>
                  </a:lnTo>
                  <a:lnTo>
                    <a:pt x="144" y="433"/>
                  </a:lnTo>
                  <a:lnTo>
                    <a:pt x="144" y="436"/>
                  </a:lnTo>
                  <a:lnTo>
                    <a:pt x="137" y="443"/>
                  </a:lnTo>
                  <a:lnTo>
                    <a:pt x="141" y="443"/>
                  </a:lnTo>
                  <a:lnTo>
                    <a:pt x="141" y="443"/>
                  </a:lnTo>
                  <a:lnTo>
                    <a:pt x="144" y="440"/>
                  </a:lnTo>
                  <a:lnTo>
                    <a:pt x="144" y="440"/>
                  </a:lnTo>
                  <a:lnTo>
                    <a:pt x="148" y="443"/>
                  </a:lnTo>
                  <a:lnTo>
                    <a:pt x="151" y="443"/>
                  </a:lnTo>
                  <a:lnTo>
                    <a:pt x="154" y="443"/>
                  </a:lnTo>
                  <a:lnTo>
                    <a:pt x="154" y="440"/>
                  </a:lnTo>
                  <a:lnTo>
                    <a:pt x="158" y="440"/>
                  </a:lnTo>
                  <a:lnTo>
                    <a:pt x="161" y="440"/>
                  </a:lnTo>
                  <a:lnTo>
                    <a:pt x="165" y="443"/>
                  </a:lnTo>
                  <a:lnTo>
                    <a:pt x="165" y="446"/>
                  </a:lnTo>
                  <a:lnTo>
                    <a:pt x="175" y="459"/>
                  </a:lnTo>
                  <a:lnTo>
                    <a:pt x="179" y="462"/>
                  </a:lnTo>
                  <a:lnTo>
                    <a:pt x="179" y="465"/>
                  </a:lnTo>
                  <a:lnTo>
                    <a:pt x="182" y="465"/>
                  </a:lnTo>
                  <a:lnTo>
                    <a:pt x="185" y="469"/>
                  </a:lnTo>
                  <a:lnTo>
                    <a:pt x="192" y="469"/>
                  </a:lnTo>
                  <a:lnTo>
                    <a:pt x="199" y="469"/>
                  </a:lnTo>
                  <a:lnTo>
                    <a:pt x="203" y="472"/>
                  </a:lnTo>
                  <a:lnTo>
                    <a:pt x="206" y="475"/>
                  </a:lnTo>
                  <a:lnTo>
                    <a:pt x="213" y="475"/>
                  </a:lnTo>
                  <a:lnTo>
                    <a:pt x="220" y="478"/>
                  </a:lnTo>
                  <a:lnTo>
                    <a:pt x="223" y="488"/>
                  </a:lnTo>
                  <a:lnTo>
                    <a:pt x="227" y="491"/>
                  </a:lnTo>
                  <a:lnTo>
                    <a:pt x="234" y="495"/>
                  </a:lnTo>
                  <a:lnTo>
                    <a:pt x="237" y="501"/>
                  </a:lnTo>
                  <a:lnTo>
                    <a:pt x="237" y="507"/>
                  </a:lnTo>
                  <a:lnTo>
                    <a:pt x="240" y="514"/>
                  </a:lnTo>
                  <a:lnTo>
                    <a:pt x="244" y="517"/>
                  </a:lnTo>
                  <a:lnTo>
                    <a:pt x="247" y="524"/>
                  </a:lnTo>
                  <a:lnTo>
                    <a:pt x="247" y="530"/>
                  </a:lnTo>
                  <a:lnTo>
                    <a:pt x="244" y="533"/>
                  </a:lnTo>
                  <a:lnTo>
                    <a:pt x="244" y="530"/>
                  </a:lnTo>
                  <a:lnTo>
                    <a:pt x="240" y="530"/>
                  </a:lnTo>
                  <a:lnTo>
                    <a:pt x="237" y="533"/>
                  </a:lnTo>
                  <a:lnTo>
                    <a:pt x="237" y="533"/>
                  </a:lnTo>
                  <a:lnTo>
                    <a:pt x="237" y="537"/>
                  </a:lnTo>
                  <a:lnTo>
                    <a:pt x="237" y="540"/>
                  </a:lnTo>
                  <a:lnTo>
                    <a:pt x="244" y="540"/>
                  </a:lnTo>
                  <a:lnTo>
                    <a:pt x="240" y="546"/>
                  </a:lnTo>
                  <a:lnTo>
                    <a:pt x="244" y="549"/>
                  </a:lnTo>
                  <a:lnTo>
                    <a:pt x="244" y="553"/>
                  </a:lnTo>
                  <a:lnTo>
                    <a:pt x="244" y="553"/>
                  </a:lnTo>
                  <a:lnTo>
                    <a:pt x="247" y="556"/>
                  </a:lnTo>
                  <a:lnTo>
                    <a:pt x="247" y="559"/>
                  </a:lnTo>
                  <a:lnTo>
                    <a:pt x="247" y="559"/>
                  </a:lnTo>
                  <a:lnTo>
                    <a:pt x="251" y="562"/>
                  </a:lnTo>
                  <a:lnTo>
                    <a:pt x="254" y="566"/>
                  </a:lnTo>
                  <a:lnTo>
                    <a:pt x="258" y="562"/>
                  </a:lnTo>
                  <a:lnTo>
                    <a:pt x="261" y="562"/>
                  </a:lnTo>
                  <a:lnTo>
                    <a:pt x="265" y="562"/>
                  </a:lnTo>
                  <a:lnTo>
                    <a:pt x="268" y="566"/>
                  </a:lnTo>
                  <a:lnTo>
                    <a:pt x="271" y="569"/>
                  </a:lnTo>
                  <a:lnTo>
                    <a:pt x="275" y="569"/>
                  </a:lnTo>
                  <a:lnTo>
                    <a:pt x="275" y="572"/>
                  </a:lnTo>
                  <a:lnTo>
                    <a:pt x="278" y="572"/>
                  </a:lnTo>
                  <a:lnTo>
                    <a:pt x="282" y="575"/>
                  </a:lnTo>
                  <a:lnTo>
                    <a:pt x="282" y="575"/>
                  </a:lnTo>
                  <a:lnTo>
                    <a:pt x="282" y="575"/>
                  </a:lnTo>
                  <a:lnTo>
                    <a:pt x="289" y="575"/>
                  </a:lnTo>
                  <a:lnTo>
                    <a:pt x="289" y="579"/>
                  </a:lnTo>
                  <a:lnTo>
                    <a:pt x="292" y="579"/>
                  </a:lnTo>
                  <a:lnTo>
                    <a:pt x="296" y="579"/>
                  </a:lnTo>
                  <a:lnTo>
                    <a:pt x="299" y="575"/>
                  </a:lnTo>
                  <a:lnTo>
                    <a:pt x="302" y="575"/>
                  </a:lnTo>
                  <a:lnTo>
                    <a:pt x="309" y="579"/>
                  </a:lnTo>
                  <a:lnTo>
                    <a:pt x="313" y="579"/>
                  </a:lnTo>
                  <a:lnTo>
                    <a:pt x="316" y="582"/>
                  </a:lnTo>
                  <a:lnTo>
                    <a:pt x="320" y="582"/>
                  </a:lnTo>
                  <a:lnTo>
                    <a:pt x="326" y="588"/>
                  </a:lnTo>
                  <a:lnTo>
                    <a:pt x="330" y="588"/>
                  </a:lnTo>
                  <a:lnTo>
                    <a:pt x="333" y="588"/>
                  </a:lnTo>
                  <a:lnTo>
                    <a:pt x="333" y="591"/>
                  </a:lnTo>
                  <a:lnTo>
                    <a:pt x="337" y="595"/>
                  </a:lnTo>
                  <a:lnTo>
                    <a:pt x="340" y="598"/>
                  </a:lnTo>
                  <a:lnTo>
                    <a:pt x="344" y="598"/>
                  </a:lnTo>
                  <a:lnTo>
                    <a:pt x="344" y="591"/>
                  </a:lnTo>
                  <a:lnTo>
                    <a:pt x="344" y="591"/>
                  </a:lnTo>
                  <a:lnTo>
                    <a:pt x="347" y="591"/>
                  </a:lnTo>
                  <a:lnTo>
                    <a:pt x="351" y="591"/>
                  </a:lnTo>
                  <a:lnTo>
                    <a:pt x="354" y="595"/>
                  </a:lnTo>
                  <a:lnTo>
                    <a:pt x="354" y="598"/>
                  </a:lnTo>
                  <a:lnTo>
                    <a:pt x="361" y="601"/>
                  </a:lnTo>
                  <a:lnTo>
                    <a:pt x="364" y="601"/>
                  </a:lnTo>
                  <a:lnTo>
                    <a:pt x="371" y="601"/>
                  </a:lnTo>
                  <a:lnTo>
                    <a:pt x="368" y="608"/>
                  </a:lnTo>
                  <a:lnTo>
                    <a:pt x="371" y="611"/>
                  </a:lnTo>
                  <a:lnTo>
                    <a:pt x="375" y="611"/>
                  </a:lnTo>
                  <a:lnTo>
                    <a:pt x="382" y="614"/>
                  </a:lnTo>
                  <a:lnTo>
                    <a:pt x="382" y="611"/>
                  </a:lnTo>
                  <a:lnTo>
                    <a:pt x="388" y="611"/>
                  </a:lnTo>
                  <a:lnTo>
                    <a:pt x="392" y="608"/>
                  </a:lnTo>
                  <a:lnTo>
                    <a:pt x="399" y="608"/>
                  </a:lnTo>
                  <a:lnTo>
                    <a:pt x="402" y="611"/>
                  </a:lnTo>
                  <a:lnTo>
                    <a:pt x="402" y="614"/>
                  </a:lnTo>
                  <a:lnTo>
                    <a:pt x="409" y="617"/>
                  </a:lnTo>
                  <a:lnTo>
                    <a:pt x="412" y="620"/>
                  </a:lnTo>
                  <a:lnTo>
                    <a:pt x="416" y="620"/>
                  </a:lnTo>
                  <a:lnTo>
                    <a:pt x="423" y="620"/>
                  </a:lnTo>
                  <a:lnTo>
                    <a:pt x="423" y="620"/>
                  </a:lnTo>
                  <a:lnTo>
                    <a:pt x="430" y="617"/>
                  </a:lnTo>
                  <a:lnTo>
                    <a:pt x="433" y="620"/>
                  </a:lnTo>
                  <a:lnTo>
                    <a:pt x="433" y="620"/>
                  </a:lnTo>
                  <a:lnTo>
                    <a:pt x="437" y="617"/>
                  </a:lnTo>
                  <a:lnTo>
                    <a:pt x="440" y="617"/>
                  </a:lnTo>
                  <a:lnTo>
                    <a:pt x="443" y="620"/>
                  </a:lnTo>
                  <a:lnTo>
                    <a:pt x="443" y="624"/>
                  </a:lnTo>
                  <a:lnTo>
                    <a:pt x="447" y="627"/>
                  </a:lnTo>
                  <a:lnTo>
                    <a:pt x="447" y="627"/>
                  </a:lnTo>
                  <a:lnTo>
                    <a:pt x="450" y="624"/>
                  </a:lnTo>
                  <a:lnTo>
                    <a:pt x="454" y="617"/>
                  </a:lnTo>
                  <a:lnTo>
                    <a:pt x="464" y="611"/>
                  </a:lnTo>
                  <a:lnTo>
                    <a:pt x="471" y="611"/>
                  </a:lnTo>
                  <a:lnTo>
                    <a:pt x="474" y="614"/>
                  </a:lnTo>
                  <a:lnTo>
                    <a:pt x="481" y="614"/>
                  </a:lnTo>
                  <a:lnTo>
                    <a:pt x="485" y="617"/>
                  </a:lnTo>
                  <a:lnTo>
                    <a:pt x="492" y="614"/>
                  </a:lnTo>
                  <a:lnTo>
                    <a:pt x="495" y="614"/>
                  </a:lnTo>
                  <a:lnTo>
                    <a:pt x="498" y="617"/>
                  </a:lnTo>
                  <a:lnTo>
                    <a:pt x="498" y="617"/>
                  </a:lnTo>
                  <a:lnTo>
                    <a:pt x="502" y="617"/>
                  </a:lnTo>
                  <a:lnTo>
                    <a:pt x="509" y="617"/>
                  </a:lnTo>
                  <a:lnTo>
                    <a:pt x="512" y="617"/>
                  </a:lnTo>
                  <a:lnTo>
                    <a:pt x="516" y="614"/>
                  </a:lnTo>
                  <a:lnTo>
                    <a:pt x="519" y="611"/>
                  </a:lnTo>
                  <a:lnTo>
                    <a:pt x="519" y="611"/>
                  </a:lnTo>
                  <a:lnTo>
                    <a:pt x="519" y="611"/>
                  </a:lnTo>
                  <a:lnTo>
                    <a:pt x="526" y="608"/>
                  </a:lnTo>
                  <a:lnTo>
                    <a:pt x="526" y="604"/>
                  </a:lnTo>
                  <a:lnTo>
                    <a:pt x="529" y="601"/>
                  </a:lnTo>
                  <a:lnTo>
                    <a:pt x="533" y="601"/>
                  </a:lnTo>
                  <a:lnTo>
                    <a:pt x="540" y="601"/>
                  </a:lnTo>
                  <a:lnTo>
                    <a:pt x="543" y="595"/>
                  </a:lnTo>
                  <a:lnTo>
                    <a:pt x="543" y="591"/>
                  </a:lnTo>
                  <a:lnTo>
                    <a:pt x="547" y="591"/>
                  </a:lnTo>
                  <a:lnTo>
                    <a:pt x="550" y="588"/>
                  </a:lnTo>
                  <a:lnTo>
                    <a:pt x="554" y="591"/>
                  </a:lnTo>
                  <a:lnTo>
                    <a:pt x="560" y="591"/>
                  </a:lnTo>
                  <a:lnTo>
                    <a:pt x="567" y="595"/>
                  </a:lnTo>
                  <a:lnTo>
                    <a:pt x="571" y="591"/>
                  </a:lnTo>
                  <a:lnTo>
                    <a:pt x="571" y="588"/>
                  </a:lnTo>
                  <a:lnTo>
                    <a:pt x="578" y="585"/>
                  </a:lnTo>
                  <a:lnTo>
                    <a:pt x="581" y="585"/>
                  </a:lnTo>
                  <a:lnTo>
                    <a:pt x="581" y="588"/>
                  </a:lnTo>
                  <a:lnTo>
                    <a:pt x="584" y="588"/>
                  </a:lnTo>
                  <a:lnTo>
                    <a:pt x="584" y="588"/>
                  </a:lnTo>
                  <a:lnTo>
                    <a:pt x="584" y="595"/>
                  </a:lnTo>
                  <a:lnTo>
                    <a:pt x="584" y="595"/>
                  </a:lnTo>
                  <a:lnTo>
                    <a:pt x="588" y="595"/>
                  </a:lnTo>
                  <a:lnTo>
                    <a:pt x="591" y="595"/>
                  </a:lnTo>
                  <a:lnTo>
                    <a:pt x="591" y="598"/>
                  </a:lnTo>
                  <a:lnTo>
                    <a:pt x="595" y="601"/>
                  </a:lnTo>
                  <a:lnTo>
                    <a:pt x="595" y="604"/>
                  </a:lnTo>
                  <a:lnTo>
                    <a:pt x="591" y="604"/>
                  </a:lnTo>
                  <a:lnTo>
                    <a:pt x="591" y="608"/>
                  </a:lnTo>
                  <a:lnTo>
                    <a:pt x="595" y="608"/>
                  </a:lnTo>
                  <a:lnTo>
                    <a:pt x="598" y="608"/>
                  </a:lnTo>
                  <a:lnTo>
                    <a:pt x="602" y="611"/>
                  </a:lnTo>
                  <a:lnTo>
                    <a:pt x="605" y="611"/>
                  </a:lnTo>
                  <a:lnTo>
                    <a:pt x="609" y="611"/>
                  </a:lnTo>
                  <a:lnTo>
                    <a:pt x="612" y="614"/>
                  </a:lnTo>
                  <a:lnTo>
                    <a:pt x="615" y="611"/>
                  </a:lnTo>
                  <a:lnTo>
                    <a:pt x="619" y="611"/>
                  </a:lnTo>
                  <a:lnTo>
                    <a:pt x="622" y="614"/>
                  </a:lnTo>
                  <a:lnTo>
                    <a:pt x="626" y="617"/>
                  </a:lnTo>
                  <a:lnTo>
                    <a:pt x="626" y="624"/>
                  </a:lnTo>
                  <a:lnTo>
                    <a:pt x="629" y="624"/>
                  </a:lnTo>
                  <a:lnTo>
                    <a:pt x="633" y="627"/>
                  </a:lnTo>
                  <a:lnTo>
                    <a:pt x="633" y="630"/>
                  </a:lnTo>
                  <a:lnTo>
                    <a:pt x="636" y="637"/>
                  </a:lnTo>
                  <a:lnTo>
                    <a:pt x="636" y="643"/>
                  </a:lnTo>
                  <a:lnTo>
                    <a:pt x="636" y="650"/>
                  </a:lnTo>
                  <a:lnTo>
                    <a:pt x="636" y="653"/>
                  </a:lnTo>
                  <a:lnTo>
                    <a:pt x="636" y="653"/>
                  </a:lnTo>
                  <a:lnTo>
                    <a:pt x="633" y="656"/>
                  </a:lnTo>
                  <a:lnTo>
                    <a:pt x="633" y="659"/>
                  </a:lnTo>
                  <a:lnTo>
                    <a:pt x="629" y="659"/>
                  </a:lnTo>
                  <a:lnTo>
                    <a:pt x="629" y="662"/>
                  </a:lnTo>
                  <a:lnTo>
                    <a:pt x="629" y="666"/>
                  </a:lnTo>
                  <a:lnTo>
                    <a:pt x="629" y="666"/>
                  </a:lnTo>
                  <a:lnTo>
                    <a:pt x="626" y="666"/>
                  </a:lnTo>
                  <a:lnTo>
                    <a:pt x="622" y="669"/>
                  </a:lnTo>
                  <a:lnTo>
                    <a:pt x="622" y="672"/>
                  </a:lnTo>
                  <a:lnTo>
                    <a:pt x="622" y="672"/>
                  </a:lnTo>
                  <a:lnTo>
                    <a:pt x="622" y="675"/>
                  </a:lnTo>
                  <a:lnTo>
                    <a:pt x="622" y="679"/>
                  </a:lnTo>
                  <a:lnTo>
                    <a:pt x="626" y="679"/>
                  </a:lnTo>
                  <a:lnTo>
                    <a:pt x="626" y="682"/>
                  </a:lnTo>
                  <a:lnTo>
                    <a:pt x="629" y="685"/>
                  </a:lnTo>
                  <a:lnTo>
                    <a:pt x="629" y="688"/>
                  </a:lnTo>
                  <a:lnTo>
                    <a:pt x="629" y="692"/>
                  </a:lnTo>
                  <a:lnTo>
                    <a:pt x="636" y="688"/>
                  </a:lnTo>
                  <a:lnTo>
                    <a:pt x="643" y="688"/>
                  </a:lnTo>
                  <a:lnTo>
                    <a:pt x="646" y="688"/>
                  </a:lnTo>
                  <a:lnTo>
                    <a:pt x="643" y="692"/>
                  </a:lnTo>
                  <a:lnTo>
                    <a:pt x="646" y="692"/>
                  </a:lnTo>
                  <a:lnTo>
                    <a:pt x="650" y="692"/>
                  </a:lnTo>
                  <a:lnTo>
                    <a:pt x="653" y="695"/>
                  </a:lnTo>
                  <a:lnTo>
                    <a:pt x="650" y="698"/>
                  </a:lnTo>
                  <a:lnTo>
                    <a:pt x="653" y="701"/>
                  </a:lnTo>
                  <a:lnTo>
                    <a:pt x="657" y="701"/>
                  </a:lnTo>
                  <a:lnTo>
                    <a:pt x="657" y="704"/>
                  </a:lnTo>
                  <a:lnTo>
                    <a:pt x="657" y="704"/>
                  </a:lnTo>
                  <a:lnTo>
                    <a:pt x="660" y="704"/>
                  </a:lnTo>
                  <a:lnTo>
                    <a:pt x="664" y="704"/>
                  </a:lnTo>
                  <a:lnTo>
                    <a:pt x="667" y="704"/>
                  </a:lnTo>
                  <a:lnTo>
                    <a:pt x="667" y="708"/>
                  </a:lnTo>
                  <a:lnTo>
                    <a:pt x="667" y="711"/>
                  </a:lnTo>
                  <a:lnTo>
                    <a:pt x="667" y="714"/>
                  </a:lnTo>
                  <a:lnTo>
                    <a:pt x="664" y="717"/>
                  </a:lnTo>
                  <a:lnTo>
                    <a:pt x="660" y="721"/>
                  </a:lnTo>
                  <a:lnTo>
                    <a:pt x="660" y="724"/>
                  </a:lnTo>
                  <a:lnTo>
                    <a:pt x="664" y="724"/>
                  </a:lnTo>
                  <a:lnTo>
                    <a:pt x="667" y="724"/>
                  </a:lnTo>
                  <a:lnTo>
                    <a:pt x="670" y="724"/>
                  </a:lnTo>
                  <a:lnTo>
                    <a:pt x="674" y="721"/>
                  </a:lnTo>
                  <a:lnTo>
                    <a:pt x="674" y="724"/>
                  </a:lnTo>
                  <a:lnTo>
                    <a:pt x="674" y="730"/>
                  </a:lnTo>
                  <a:lnTo>
                    <a:pt x="674" y="734"/>
                  </a:lnTo>
                  <a:lnTo>
                    <a:pt x="681" y="734"/>
                  </a:lnTo>
                  <a:lnTo>
                    <a:pt x="681" y="730"/>
                  </a:lnTo>
                  <a:lnTo>
                    <a:pt x="688" y="730"/>
                  </a:lnTo>
                  <a:lnTo>
                    <a:pt x="695" y="727"/>
                  </a:lnTo>
                  <a:lnTo>
                    <a:pt x="698" y="730"/>
                  </a:lnTo>
                  <a:lnTo>
                    <a:pt x="698" y="734"/>
                  </a:lnTo>
                  <a:lnTo>
                    <a:pt x="695" y="737"/>
                  </a:lnTo>
                  <a:lnTo>
                    <a:pt x="698" y="734"/>
                  </a:lnTo>
                  <a:lnTo>
                    <a:pt x="698" y="737"/>
                  </a:lnTo>
                  <a:lnTo>
                    <a:pt x="701" y="737"/>
                  </a:lnTo>
                  <a:lnTo>
                    <a:pt x="705" y="737"/>
                  </a:lnTo>
                  <a:lnTo>
                    <a:pt x="708" y="737"/>
                  </a:lnTo>
                  <a:lnTo>
                    <a:pt x="708" y="734"/>
                  </a:lnTo>
                  <a:lnTo>
                    <a:pt x="708" y="730"/>
                  </a:lnTo>
                  <a:lnTo>
                    <a:pt x="708" y="727"/>
                  </a:lnTo>
                  <a:lnTo>
                    <a:pt x="708" y="721"/>
                  </a:lnTo>
                  <a:lnTo>
                    <a:pt x="708" y="721"/>
                  </a:lnTo>
                  <a:lnTo>
                    <a:pt x="708" y="717"/>
                  </a:lnTo>
                  <a:lnTo>
                    <a:pt x="715" y="717"/>
                  </a:lnTo>
                  <a:lnTo>
                    <a:pt x="719" y="717"/>
                  </a:lnTo>
                  <a:lnTo>
                    <a:pt x="715" y="717"/>
                  </a:lnTo>
                  <a:lnTo>
                    <a:pt x="719" y="714"/>
                  </a:lnTo>
                  <a:lnTo>
                    <a:pt x="719" y="714"/>
                  </a:lnTo>
                  <a:lnTo>
                    <a:pt x="722" y="714"/>
                  </a:lnTo>
                  <a:lnTo>
                    <a:pt x="722" y="711"/>
                  </a:lnTo>
                  <a:lnTo>
                    <a:pt x="726" y="711"/>
                  </a:lnTo>
                  <a:lnTo>
                    <a:pt x="729" y="711"/>
                  </a:lnTo>
                  <a:lnTo>
                    <a:pt x="729" y="714"/>
                  </a:lnTo>
                  <a:lnTo>
                    <a:pt x="732" y="714"/>
                  </a:lnTo>
                  <a:lnTo>
                    <a:pt x="732" y="714"/>
                  </a:lnTo>
                  <a:lnTo>
                    <a:pt x="736" y="711"/>
                  </a:lnTo>
                  <a:lnTo>
                    <a:pt x="736" y="711"/>
                  </a:lnTo>
                  <a:lnTo>
                    <a:pt x="743" y="714"/>
                  </a:lnTo>
                  <a:lnTo>
                    <a:pt x="743" y="711"/>
                  </a:lnTo>
                  <a:lnTo>
                    <a:pt x="746" y="711"/>
                  </a:lnTo>
                  <a:lnTo>
                    <a:pt x="746" y="714"/>
                  </a:lnTo>
                  <a:lnTo>
                    <a:pt x="750" y="711"/>
                  </a:lnTo>
                  <a:lnTo>
                    <a:pt x="750" y="708"/>
                  </a:lnTo>
                  <a:lnTo>
                    <a:pt x="756" y="708"/>
                  </a:lnTo>
                  <a:lnTo>
                    <a:pt x="760" y="711"/>
                  </a:lnTo>
                  <a:lnTo>
                    <a:pt x="767" y="708"/>
                  </a:lnTo>
                  <a:lnTo>
                    <a:pt x="767" y="704"/>
                  </a:lnTo>
                  <a:lnTo>
                    <a:pt x="770" y="701"/>
                  </a:lnTo>
                  <a:lnTo>
                    <a:pt x="774" y="701"/>
                  </a:lnTo>
                  <a:lnTo>
                    <a:pt x="777" y="698"/>
                  </a:lnTo>
                  <a:lnTo>
                    <a:pt x="781" y="701"/>
                  </a:lnTo>
                  <a:lnTo>
                    <a:pt x="781" y="704"/>
                  </a:lnTo>
                  <a:lnTo>
                    <a:pt x="787" y="704"/>
                  </a:lnTo>
                  <a:lnTo>
                    <a:pt x="787" y="708"/>
                  </a:lnTo>
                  <a:lnTo>
                    <a:pt x="798" y="708"/>
                  </a:lnTo>
                  <a:lnTo>
                    <a:pt x="798" y="708"/>
                  </a:lnTo>
                  <a:lnTo>
                    <a:pt x="805" y="708"/>
                  </a:lnTo>
                  <a:lnTo>
                    <a:pt x="808" y="708"/>
                  </a:lnTo>
                  <a:lnTo>
                    <a:pt x="805" y="711"/>
                  </a:lnTo>
                  <a:lnTo>
                    <a:pt x="805" y="711"/>
                  </a:lnTo>
                  <a:lnTo>
                    <a:pt x="801" y="717"/>
                  </a:lnTo>
                  <a:lnTo>
                    <a:pt x="805" y="717"/>
                  </a:lnTo>
                  <a:lnTo>
                    <a:pt x="805" y="721"/>
                  </a:lnTo>
                  <a:lnTo>
                    <a:pt x="812" y="724"/>
                  </a:lnTo>
                  <a:lnTo>
                    <a:pt x="815" y="727"/>
                  </a:lnTo>
                  <a:lnTo>
                    <a:pt x="818" y="727"/>
                  </a:lnTo>
                  <a:lnTo>
                    <a:pt x="822" y="730"/>
                  </a:lnTo>
                  <a:lnTo>
                    <a:pt x="825" y="730"/>
                  </a:lnTo>
                  <a:lnTo>
                    <a:pt x="825" y="730"/>
                  </a:lnTo>
                  <a:lnTo>
                    <a:pt x="829" y="730"/>
                  </a:lnTo>
                  <a:lnTo>
                    <a:pt x="832" y="730"/>
                  </a:lnTo>
                  <a:lnTo>
                    <a:pt x="832" y="730"/>
                  </a:lnTo>
                  <a:lnTo>
                    <a:pt x="836" y="730"/>
                  </a:lnTo>
                  <a:lnTo>
                    <a:pt x="836" y="730"/>
                  </a:lnTo>
                  <a:lnTo>
                    <a:pt x="839" y="730"/>
                  </a:lnTo>
                  <a:lnTo>
                    <a:pt x="839" y="727"/>
                  </a:lnTo>
                  <a:lnTo>
                    <a:pt x="842" y="724"/>
                  </a:lnTo>
                  <a:lnTo>
                    <a:pt x="842" y="727"/>
                  </a:lnTo>
                  <a:lnTo>
                    <a:pt x="846" y="730"/>
                  </a:lnTo>
                  <a:lnTo>
                    <a:pt x="849" y="730"/>
                  </a:lnTo>
                  <a:lnTo>
                    <a:pt x="853" y="734"/>
                  </a:lnTo>
                  <a:lnTo>
                    <a:pt x="856" y="734"/>
                  </a:lnTo>
                  <a:lnTo>
                    <a:pt x="856" y="734"/>
                  </a:lnTo>
                  <a:lnTo>
                    <a:pt x="860" y="730"/>
                  </a:lnTo>
                  <a:lnTo>
                    <a:pt x="863" y="734"/>
                  </a:lnTo>
                  <a:lnTo>
                    <a:pt x="867" y="734"/>
                  </a:lnTo>
                  <a:lnTo>
                    <a:pt x="867" y="734"/>
                  </a:lnTo>
                  <a:lnTo>
                    <a:pt x="867" y="734"/>
                  </a:lnTo>
                  <a:lnTo>
                    <a:pt x="867" y="734"/>
                  </a:lnTo>
                  <a:lnTo>
                    <a:pt x="863" y="737"/>
                  </a:lnTo>
                  <a:lnTo>
                    <a:pt x="863" y="740"/>
                  </a:lnTo>
                  <a:lnTo>
                    <a:pt x="863" y="743"/>
                  </a:lnTo>
                  <a:lnTo>
                    <a:pt x="867" y="746"/>
                  </a:lnTo>
                  <a:lnTo>
                    <a:pt x="870" y="750"/>
                  </a:lnTo>
                  <a:lnTo>
                    <a:pt x="870" y="750"/>
                  </a:lnTo>
                  <a:lnTo>
                    <a:pt x="870" y="753"/>
                  </a:lnTo>
                  <a:lnTo>
                    <a:pt x="870" y="753"/>
                  </a:lnTo>
                  <a:lnTo>
                    <a:pt x="870" y="750"/>
                  </a:lnTo>
                  <a:lnTo>
                    <a:pt x="877" y="753"/>
                  </a:lnTo>
                  <a:lnTo>
                    <a:pt x="877" y="753"/>
                  </a:lnTo>
                  <a:lnTo>
                    <a:pt x="877" y="753"/>
                  </a:lnTo>
                  <a:lnTo>
                    <a:pt x="880" y="750"/>
                  </a:lnTo>
                  <a:lnTo>
                    <a:pt x="880" y="746"/>
                  </a:lnTo>
                  <a:lnTo>
                    <a:pt x="880" y="746"/>
                  </a:lnTo>
                  <a:lnTo>
                    <a:pt x="880" y="746"/>
                  </a:lnTo>
                  <a:lnTo>
                    <a:pt x="877" y="743"/>
                  </a:lnTo>
                  <a:lnTo>
                    <a:pt x="873" y="743"/>
                  </a:lnTo>
                  <a:lnTo>
                    <a:pt x="873" y="740"/>
                  </a:lnTo>
                  <a:lnTo>
                    <a:pt x="873" y="740"/>
                  </a:lnTo>
                  <a:lnTo>
                    <a:pt x="877" y="737"/>
                  </a:lnTo>
                  <a:lnTo>
                    <a:pt x="877" y="734"/>
                  </a:lnTo>
                  <a:lnTo>
                    <a:pt x="877" y="734"/>
                  </a:lnTo>
                  <a:lnTo>
                    <a:pt x="877" y="734"/>
                  </a:lnTo>
                  <a:lnTo>
                    <a:pt x="880" y="734"/>
                  </a:lnTo>
                  <a:lnTo>
                    <a:pt x="880" y="734"/>
                  </a:lnTo>
                  <a:lnTo>
                    <a:pt x="880" y="734"/>
                  </a:lnTo>
                  <a:lnTo>
                    <a:pt x="880" y="734"/>
                  </a:lnTo>
                  <a:lnTo>
                    <a:pt x="880" y="734"/>
                  </a:lnTo>
                  <a:lnTo>
                    <a:pt x="880" y="737"/>
                  </a:lnTo>
                  <a:lnTo>
                    <a:pt x="884" y="737"/>
                  </a:lnTo>
                  <a:lnTo>
                    <a:pt x="880" y="737"/>
                  </a:lnTo>
                  <a:lnTo>
                    <a:pt x="884" y="737"/>
                  </a:lnTo>
                  <a:lnTo>
                    <a:pt x="884" y="734"/>
                  </a:lnTo>
                  <a:lnTo>
                    <a:pt x="887" y="734"/>
                  </a:lnTo>
                  <a:lnTo>
                    <a:pt x="891" y="730"/>
                  </a:lnTo>
                  <a:lnTo>
                    <a:pt x="894" y="734"/>
                  </a:lnTo>
                  <a:lnTo>
                    <a:pt x="898" y="730"/>
                  </a:lnTo>
                  <a:lnTo>
                    <a:pt x="901" y="730"/>
                  </a:lnTo>
                  <a:lnTo>
                    <a:pt x="901" y="727"/>
                  </a:lnTo>
                  <a:lnTo>
                    <a:pt x="904" y="727"/>
                  </a:lnTo>
                  <a:lnTo>
                    <a:pt x="908" y="727"/>
                  </a:lnTo>
                  <a:lnTo>
                    <a:pt x="911" y="727"/>
                  </a:lnTo>
                  <a:lnTo>
                    <a:pt x="911" y="727"/>
                  </a:lnTo>
                  <a:lnTo>
                    <a:pt x="918" y="727"/>
                  </a:lnTo>
                  <a:lnTo>
                    <a:pt x="922" y="724"/>
                  </a:lnTo>
                  <a:lnTo>
                    <a:pt x="922" y="721"/>
                  </a:lnTo>
                  <a:lnTo>
                    <a:pt x="925" y="717"/>
                  </a:lnTo>
                  <a:lnTo>
                    <a:pt x="925" y="721"/>
                  </a:lnTo>
                  <a:lnTo>
                    <a:pt x="925" y="721"/>
                  </a:lnTo>
                  <a:lnTo>
                    <a:pt x="928" y="721"/>
                  </a:lnTo>
                  <a:lnTo>
                    <a:pt x="928" y="717"/>
                  </a:lnTo>
                  <a:lnTo>
                    <a:pt x="932" y="714"/>
                  </a:lnTo>
                  <a:lnTo>
                    <a:pt x="932" y="711"/>
                  </a:lnTo>
                  <a:lnTo>
                    <a:pt x="932" y="708"/>
                  </a:lnTo>
                  <a:lnTo>
                    <a:pt x="932" y="704"/>
                  </a:lnTo>
                  <a:lnTo>
                    <a:pt x="932" y="704"/>
                  </a:lnTo>
                  <a:lnTo>
                    <a:pt x="932" y="704"/>
                  </a:lnTo>
                  <a:lnTo>
                    <a:pt x="939" y="708"/>
                  </a:lnTo>
                  <a:lnTo>
                    <a:pt x="939" y="711"/>
                  </a:lnTo>
                  <a:lnTo>
                    <a:pt x="942" y="714"/>
                  </a:lnTo>
                  <a:lnTo>
                    <a:pt x="946" y="711"/>
                  </a:lnTo>
                  <a:lnTo>
                    <a:pt x="942" y="714"/>
                  </a:lnTo>
                  <a:lnTo>
                    <a:pt x="939" y="717"/>
                  </a:lnTo>
                  <a:lnTo>
                    <a:pt x="939" y="717"/>
                  </a:lnTo>
                  <a:lnTo>
                    <a:pt x="946" y="714"/>
                  </a:lnTo>
                  <a:lnTo>
                    <a:pt x="949" y="711"/>
                  </a:lnTo>
                  <a:lnTo>
                    <a:pt x="953" y="711"/>
                  </a:lnTo>
                  <a:lnTo>
                    <a:pt x="953" y="708"/>
                  </a:lnTo>
                  <a:lnTo>
                    <a:pt x="956" y="711"/>
                  </a:lnTo>
                  <a:lnTo>
                    <a:pt x="959" y="711"/>
                  </a:lnTo>
                  <a:lnTo>
                    <a:pt x="959" y="708"/>
                  </a:lnTo>
                  <a:lnTo>
                    <a:pt x="963" y="708"/>
                  </a:lnTo>
                  <a:lnTo>
                    <a:pt x="963" y="704"/>
                  </a:lnTo>
                  <a:lnTo>
                    <a:pt x="966" y="708"/>
                  </a:lnTo>
                  <a:lnTo>
                    <a:pt x="966" y="711"/>
                  </a:lnTo>
                  <a:lnTo>
                    <a:pt x="970" y="708"/>
                  </a:lnTo>
                  <a:lnTo>
                    <a:pt x="970" y="704"/>
                  </a:lnTo>
                  <a:lnTo>
                    <a:pt x="973" y="704"/>
                  </a:lnTo>
                  <a:lnTo>
                    <a:pt x="973" y="708"/>
                  </a:lnTo>
                  <a:lnTo>
                    <a:pt x="977" y="708"/>
                  </a:lnTo>
                  <a:lnTo>
                    <a:pt x="977" y="704"/>
                  </a:lnTo>
                  <a:lnTo>
                    <a:pt x="980" y="704"/>
                  </a:lnTo>
                  <a:lnTo>
                    <a:pt x="984" y="701"/>
                  </a:lnTo>
                  <a:lnTo>
                    <a:pt x="984" y="701"/>
                  </a:lnTo>
                  <a:lnTo>
                    <a:pt x="984" y="704"/>
                  </a:lnTo>
                  <a:lnTo>
                    <a:pt x="987" y="701"/>
                  </a:lnTo>
                  <a:lnTo>
                    <a:pt x="987" y="701"/>
                  </a:lnTo>
                  <a:lnTo>
                    <a:pt x="990" y="701"/>
                  </a:lnTo>
                  <a:lnTo>
                    <a:pt x="990" y="698"/>
                  </a:lnTo>
                  <a:lnTo>
                    <a:pt x="990" y="698"/>
                  </a:lnTo>
                  <a:lnTo>
                    <a:pt x="994" y="695"/>
                  </a:lnTo>
                  <a:lnTo>
                    <a:pt x="990" y="688"/>
                  </a:lnTo>
                  <a:lnTo>
                    <a:pt x="994" y="692"/>
                  </a:lnTo>
                  <a:lnTo>
                    <a:pt x="994" y="688"/>
                  </a:lnTo>
                  <a:lnTo>
                    <a:pt x="1001" y="688"/>
                  </a:lnTo>
                  <a:lnTo>
                    <a:pt x="1001" y="688"/>
                  </a:lnTo>
                  <a:lnTo>
                    <a:pt x="1004" y="688"/>
                  </a:lnTo>
                  <a:lnTo>
                    <a:pt x="1004" y="685"/>
                  </a:lnTo>
                  <a:lnTo>
                    <a:pt x="1008" y="685"/>
                  </a:lnTo>
                  <a:lnTo>
                    <a:pt x="1008" y="682"/>
                  </a:lnTo>
                  <a:lnTo>
                    <a:pt x="1008" y="682"/>
                  </a:lnTo>
                  <a:lnTo>
                    <a:pt x="1008" y="685"/>
                  </a:lnTo>
                  <a:lnTo>
                    <a:pt x="1011" y="685"/>
                  </a:lnTo>
                  <a:lnTo>
                    <a:pt x="1011" y="682"/>
                  </a:lnTo>
                  <a:lnTo>
                    <a:pt x="1014" y="682"/>
                  </a:lnTo>
                  <a:lnTo>
                    <a:pt x="1014" y="679"/>
                  </a:lnTo>
                  <a:lnTo>
                    <a:pt x="1018" y="679"/>
                  </a:lnTo>
                  <a:lnTo>
                    <a:pt x="1018" y="675"/>
                  </a:lnTo>
                  <a:lnTo>
                    <a:pt x="1014" y="675"/>
                  </a:lnTo>
                  <a:lnTo>
                    <a:pt x="1014" y="675"/>
                  </a:lnTo>
                  <a:lnTo>
                    <a:pt x="1008" y="675"/>
                  </a:lnTo>
                  <a:lnTo>
                    <a:pt x="1014" y="672"/>
                  </a:lnTo>
                  <a:lnTo>
                    <a:pt x="1018" y="669"/>
                  </a:lnTo>
                  <a:lnTo>
                    <a:pt x="1018" y="672"/>
                  </a:lnTo>
                  <a:lnTo>
                    <a:pt x="1021" y="669"/>
                  </a:lnTo>
                  <a:lnTo>
                    <a:pt x="1025" y="672"/>
                  </a:lnTo>
                  <a:lnTo>
                    <a:pt x="1028" y="669"/>
                  </a:lnTo>
                  <a:lnTo>
                    <a:pt x="1025" y="669"/>
                  </a:lnTo>
                  <a:lnTo>
                    <a:pt x="1025" y="666"/>
                  </a:lnTo>
                  <a:lnTo>
                    <a:pt x="1025" y="666"/>
                  </a:lnTo>
                  <a:lnTo>
                    <a:pt x="1028" y="666"/>
                  </a:lnTo>
                  <a:lnTo>
                    <a:pt x="1028" y="666"/>
                  </a:lnTo>
                  <a:lnTo>
                    <a:pt x="1028" y="662"/>
                  </a:lnTo>
                  <a:lnTo>
                    <a:pt x="1028" y="662"/>
                  </a:lnTo>
                  <a:lnTo>
                    <a:pt x="1025" y="659"/>
                  </a:lnTo>
                  <a:lnTo>
                    <a:pt x="1025" y="659"/>
                  </a:lnTo>
                  <a:lnTo>
                    <a:pt x="1028" y="659"/>
                  </a:lnTo>
                  <a:lnTo>
                    <a:pt x="1028" y="659"/>
                  </a:lnTo>
                  <a:lnTo>
                    <a:pt x="1032" y="659"/>
                  </a:lnTo>
                  <a:lnTo>
                    <a:pt x="1032" y="662"/>
                  </a:lnTo>
                  <a:lnTo>
                    <a:pt x="1032" y="659"/>
                  </a:lnTo>
                  <a:lnTo>
                    <a:pt x="1028" y="656"/>
                  </a:lnTo>
                  <a:lnTo>
                    <a:pt x="1028" y="656"/>
                  </a:lnTo>
                  <a:lnTo>
                    <a:pt x="1032" y="656"/>
                  </a:lnTo>
                  <a:lnTo>
                    <a:pt x="1032" y="653"/>
                  </a:lnTo>
                  <a:lnTo>
                    <a:pt x="1035" y="656"/>
                  </a:lnTo>
                  <a:lnTo>
                    <a:pt x="1035" y="656"/>
                  </a:lnTo>
                  <a:lnTo>
                    <a:pt x="1039" y="656"/>
                  </a:lnTo>
                  <a:lnTo>
                    <a:pt x="1039" y="659"/>
                  </a:lnTo>
                  <a:lnTo>
                    <a:pt x="1039" y="656"/>
                  </a:lnTo>
                  <a:lnTo>
                    <a:pt x="1039" y="653"/>
                  </a:lnTo>
                  <a:lnTo>
                    <a:pt x="1035" y="653"/>
                  </a:lnTo>
                  <a:lnTo>
                    <a:pt x="1035" y="653"/>
                  </a:lnTo>
                  <a:lnTo>
                    <a:pt x="1039" y="650"/>
                  </a:lnTo>
                  <a:lnTo>
                    <a:pt x="1039" y="650"/>
                  </a:lnTo>
                  <a:lnTo>
                    <a:pt x="1035" y="646"/>
                  </a:lnTo>
                  <a:lnTo>
                    <a:pt x="1039" y="643"/>
                  </a:lnTo>
                  <a:lnTo>
                    <a:pt x="1039" y="643"/>
                  </a:lnTo>
                  <a:lnTo>
                    <a:pt x="1035" y="643"/>
                  </a:lnTo>
                  <a:lnTo>
                    <a:pt x="1032" y="643"/>
                  </a:lnTo>
                  <a:lnTo>
                    <a:pt x="1035" y="643"/>
                  </a:lnTo>
                  <a:lnTo>
                    <a:pt x="1039" y="640"/>
                  </a:lnTo>
                  <a:lnTo>
                    <a:pt x="1045" y="637"/>
                  </a:lnTo>
                  <a:lnTo>
                    <a:pt x="1042" y="637"/>
                  </a:lnTo>
                  <a:lnTo>
                    <a:pt x="1039" y="637"/>
                  </a:lnTo>
                  <a:lnTo>
                    <a:pt x="1035" y="633"/>
                  </a:lnTo>
                  <a:lnTo>
                    <a:pt x="1039" y="633"/>
                  </a:lnTo>
                  <a:lnTo>
                    <a:pt x="1035" y="630"/>
                  </a:lnTo>
                  <a:lnTo>
                    <a:pt x="1032" y="630"/>
                  </a:lnTo>
                  <a:lnTo>
                    <a:pt x="1035" y="630"/>
                  </a:lnTo>
                  <a:lnTo>
                    <a:pt x="1035" y="627"/>
                  </a:lnTo>
                  <a:lnTo>
                    <a:pt x="1035" y="627"/>
                  </a:lnTo>
                  <a:lnTo>
                    <a:pt x="1039" y="624"/>
                  </a:lnTo>
                  <a:lnTo>
                    <a:pt x="1039" y="624"/>
                  </a:lnTo>
                  <a:lnTo>
                    <a:pt x="1039" y="624"/>
                  </a:lnTo>
                  <a:lnTo>
                    <a:pt x="1039" y="627"/>
                  </a:lnTo>
                  <a:lnTo>
                    <a:pt x="1042" y="627"/>
                  </a:lnTo>
                  <a:lnTo>
                    <a:pt x="1049" y="624"/>
                  </a:lnTo>
                  <a:lnTo>
                    <a:pt x="1049" y="620"/>
                  </a:lnTo>
                  <a:lnTo>
                    <a:pt x="1052" y="620"/>
                  </a:lnTo>
                  <a:lnTo>
                    <a:pt x="1049" y="620"/>
                  </a:lnTo>
                  <a:lnTo>
                    <a:pt x="1045" y="620"/>
                  </a:lnTo>
                  <a:lnTo>
                    <a:pt x="1049" y="617"/>
                  </a:lnTo>
                  <a:lnTo>
                    <a:pt x="1049" y="617"/>
                  </a:lnTo>
                  <a:lnTo>
                    <a:pt x="1052" y="617"/>
                  </a:lnTo>
                  <a:lnTo>
                    <a:pt x="1052" y="614"/>
                  </a:lnTo>
                  <a:lnTo>
                    <a:pt x="1056" y="614"/>
                  </a:lnTo>
                  <a:lnTo>
                    <a:pt x="1052" y="611"/>
                  </a:lnTo>
                  <a:lnTo>
                    <a:pt x="1052" y="608"/>
                  </a:lnTo>
                  <a:lnTo>
                    <a:pt x="1056" y="608"/>
                  </a:lnTo>
                  <a:lnTo>
                    <a:pt x="1052" y="604"/>
                  </a:lnTo>
                  <a:lnTo>
                    <a:pt x="1052" y="604"/>
                  </a:lnTo>
                  <a:lnTo>
                    <a:pt x="1049" y="601"/>
                  </a:lnTo>
                  <a:lnTo>
                    <a:pt x="1056" y="604"/>
                  </a:lnTo>
                  <a:lnTo>
                    <a:pt x="1059" y="601"/>
                  </a:lnTo>
                  <a:lnTo>
                    <a:pt x="1059" y="595"/>
                  </a:lnTo>
                  <a:lnTo>
                    <a:pt x="1063" y="595"/>
                  </a:lnTo>
                  <a:lnTo>
                    <a:pt x="1063" y="598"/>
                  </a:lnTo>
                  <a:lnTo>
                    <a:pt x="1066" y="601"/>
                  </a:lnTo>
                  <a:lnTo>
                    <a:pt x="1066" y="598"/>
                  </a:lnTo>
                  <a:lnTo>
                    <a:pt x="1070" y="595"/>
                  </a:lnTo>
                  <a:lnTo>
                    <a:pt x="1066" y="591"/>
                  </a:lnTo>
                  <a:lnTo>
                    <a:pt x="1063" y="591"/>
                  </a:lnTo>
                  <a:lnTo>
                    <a:pt x="1063" y="591"/>
                  </a:lnTo>
                  <a:lnTo>
                    <a:pt x="1063" y="588"/>
                  </a:lnTo>
                  <a:lnTo>
                    <a:pt x="1066" y="588"/>
                  </a:lnTo>
                  <a:lnTo>
                    <a:pt x="1066" y="588"/>
                  </a:lnTo>
                  <a:lnTo>
                    <a:pt x="1066" y="585"/>
                  </a:lnTo>
                  <a:lnTo>
                    <a:pt x="1063" y="585"/>
                  </a:lnTo>
                  <a:lnTo>
                    <a:pt x="1066" y="582"/>
                  </a:lnTo>
                  <a:lnTo>
                    <a:pt x="1066" y="585"/>
                  </a:lnTo>
                  <a:lnTo>
                    <a:pt x="1070" y="582"/>
                  </a:lnTo>
                  <a:lnTo>
                    <a:pt x="1066" y="582"/>
                  </a:lnTo>
                  <a:lnTo>
                    <a:pt x="1059" y="582"/>
                  </a:lnTo>
                  <a:lnTo>
                    <a:pt x="1059" y="579"/>
                  </a:lnTo>
                  <a:lnTo>
                    <a:pt x="1063" y="575"/>
                  </a:lnTo>
                  <a:lnTo>
                    <a:pt x="1066" y="579"/>
                  </a:lnTo>
                  <a:lnTo>
                    <a:pt x="1070" y="575"/>
                  </a:lnTo>
                  <a:lnTo>
                    <a:pt x="1070" y="575"/>
                  </a:lnTo>
                  <a:lnTo>
                    <a:pt x="1073" y="575"/>
                  </a:lnTo>
                  <a:lnTo>
                    <a:pt x="1073" y="575"/>
                  </a:lnTo>
                  <a:lnTo>
                    <a:pt x="1073" y="575"/>
                  </a:lnTo>
                  <a:lnTo>
                    <a:pt x="1073" y="572"/>
                  </a:lnTo>
                  <a:lnTo>
                    <a:pt x="1073" y="569"/>
                  </a:lnTo>
                  <a:lnTo>
                    <a:pt x="1070" y="566"/>
                  </a:lnTo>
                  <a:lnTo>
                    <a:pt x="1070" y="569"/>
                  </a:lnTo>
                  <a:lnTo>
                    <a:pt x="1070" y="569"/>
                  </a:lnTo>
                  <a:lnTo>
                    <a:pt x="1070" y="572"/>
                  </a:lnTo>
                  <a:lnTo>
                    <a:pt x="1066" y="572"/>
                  </a:lnTo>
                  <a:lnTo>
                    <a:pt x="1059" y="575"/>
                  </a:lnTo>
                  <a:lnTo>
                    <a:pt x="1056" y="575"/>
                  </a:lnTo>
                  <a:lnTo>
                    <a:pt x="1056" y="572"/>
                  </a:lnTo>
                  <a:lnTo>
                    <a:pt x="1063" y="569"/>
                  </a:lnTo>
                  <a:lnTo>
                    <a:pt x="1070" y="562"/>
                  </a:lnTo>
                  <a:lnTo>
                    <a:pt x="1070" y="562"/>
                  </a:lnTo>
                  <a:lnTo>
                    <a:pt x="1066" y="562"/>
                  </a:lnTo>
                  <a:lnTo>
                    <a:pt x="1066" y="559"/>
                  </a:lnTo>
                  <a:lnTo>
                    <a:pt x="1063" y="562"/>
                  </a:lnTo>
                  <a:lnTo>
                    <a:pt x="1059" y="556"/>
                  </a:lnTo>
                  <a:lnTo>
                    <a:pt x="1052" y="556"/>
                  </a:lnTo>
                  <a:lnTo>
                    <a:pt x="1049" y="559"/>
                  </a:lnTo>
                  <a:lnTo>
                    <a:pt x="1045" y="559"/>
                  </a:lnTo>
                  <a:lnTo>
                    <a:pt x="1039" y="553"/>
                  </a:lnTo>
                  <a:lnTo>
                    <a:pt x="1035" y="553"/>
                  </a:lnTo>
                  <a:lnTo>
                    <a:pt x="1032" y="556"/>
                  </a:lnTo>
                  <a:lnTo>
                    <a:pt x="1032" y="559"/>
                  </a:lnTo>
                  <a:lnTo>
                    <a:pt x="1032" y="556"/>
                  </a:lnTo>
                  <a:lnTo>
                    <a:pt x="1035" y="553"/>
                  </a:lnTo>
                  <a:lnTo>
                    <a:pt x="1039" y="553"/>
                  </a:lnTo>
                  <a:lnTo>
                    <a:pt x="1042" y="549"/>
                  </a:lnTo>
                  <a:lnTo>
                    <a:pt x="1045" y="553"/>
                  </a:lnTo>
                  <a:lnTo>
                    <a:pt x="1049" y="553"/>
                  </a:lnTo>
                  <a:lnTo>
                    <a:pt x="1049" y="549"/>
                  </a:lnTo>
                  <a:lnTo>
                    <a:pt x="1052" y="546"/>
                  </a:lnTo>
                  <a:lnTo>
                    <a:pt x="1052" y="546"/>
                  </a:lnTo>
                  <a:lnTo>
                    <a:pt x="1059" y="543"/>
                  </a:lnTo>
                  <a:lnTo>
                    <a:pt x="1063" y="543"/>
                  </a:lnTo>
                  <a:lnTo>
                    <a:pt x="1063" y="540"/>
                  </a:lnTo>
                  <a:lnTo>
                    <a:pt x="1059" y="533"/>
                  </a:lnTo>
                  <a:lnTo>
                    <a:pt x="1049" y="530"/>
                  </a:lnTo>
                  <a:lnTo>
                    <a:pt x="1042" y="527"/>
                  </a:lnTo>
                  <a:lnTo>
                    <a:pt x="1035" y="520"/>
                  </a:lnTo>
                  <a:lnTo>
                    <a:pt x="1032" y="520"/>
                  </a:lnTo>
                  <a:lnTo>
                    <a:pt x="1025" y="524"/>
                  </a:lnTo>
                  <a:lnTo>
                    <a:pt x="1021" y="520"/>
                  </a:lnTo>
                  <a:lnTo>
                    <a:pt x="1018" y="517"/>
                  </a:lnTo>
                  <a:lnTo>
                    <a:pt x="1018" y="517"/>
                  </a:lnTo>
                  <a:lnTo>
                    <a:pt x="1014" y="517"/>
                  </a:lnTo>
                  <a:lnTo>
                    <a:pt x="1011" y="517"/>
                  </a:lnTo>
                  <a:lnTo>
                    <a:pt x="1004" y="517"/>
                  </a:lnTo>
                  <a:lnTo>
                    <a:pt x="1001" y="517"/>
                  </a:lnTo>
                  <a:lnTo>
                    <a:pt x="994" y="524"/>
                  </a:lnTo>
                  <a:lnTo>
                    <a:pt x="1001" y="517"/>
                  </a:lnTo>
                  <a:lnTo>
                    <a:pt x="1004" y="514"/>
                  </a:lnTo>
                  <a:lnTo>
                    <a:pt x="1004" y="514"/>
                  </a:lnTo>
                  <a:lnTo>
                    <a:pt x="1008" y="514"/>
                  </a:lnTo>
                  <a:lnTo>
                    <a:pt x="1011" y="514"/>
                  </a:lnTo>
                  <a:lnTo>
                    <a:pt x="1011" y="514"/>
                  </a:lnTo>
                  <a:lnTo>
                    <a:pt x="1018" y="514"/>
                  </a:lnTo>
                  <a:lnTo>
                    <a:pt x="1021" y="517"/>
                  </a:lnTo>
                  <a:lnTo>
                    <a:pt x="1021" y="520"/>
                  </a:lnTo>
                  <a:lnTo>
                    <a:pt x="1025" y="520"/>
                  </a:lnTo>
                  <a:lnTo>
                    <a:pt x="1028" y="517"/>
                  </a:lnTo>
                  <a:lnTo>
                    <a:pt x="1035" y="517"/>
                  </a:lnTo>
                  <a:lnTo>
                    <a:pt x="1039" y="520"/>
                  </a:lnTo>
                  <a:lnTo>
                    <a:pt x="1042" y="520"/>
                  </a:lnTo>
                  <a:lnTo>
                    <a:pt x="1045" y="524"/>
                  </a:lnTo>
                  <a:lnTo>
                    <a:pt x="1052" y="520"/>
                  </a:lnTo>
                  <a:lnTo>
                    <a:pt x="1059" y="524"/>
                  </a:lnTo>
                  <a:lnTo>
                    <a:pt x="1063" y="524"/>
                  </a:lnTo>
                  <a:lnTo>
                    <a:pt x="1059" y="517"/>
                  </a:lnTo>
                  <a:lnTo>
                    <a:pt x="1056" y="517"/>
                  </a:lnTo>
                  <a:lnTo>
                    <a:pt x="1052" y="511"/>
                  </a:lnTo>
                  <a:lnTo>
                    <a:pt x="1052" y="511"/>
                  </a:lnTo>
                  <a:lnTo>
                    <a:pt x="1049" y="511"/>
                  </a:lnTo>
                  <a:lnTo>
                    <a:pt x="1045" y="511"/>
                  </a:lnTo>
                  <a:lnTo>
                    <a:pt x="1042" y="507"/>
                  </a:lnTo>
                  <a:lnTo>
                    <a:pt x="1035" y="501"/>
                  </a:lnTo>
                  <a:lnTo>
                    <a:pt x="1035" y="498"/>
                  </a:lnTo>
                  <a:lnTo>
                    <a:pt x="1028" y="495"/>
                  </a:lnTo>
                  <a:lnTo>
                    <a:pt x="1028" y="488"/>
                  </a:lnTo>
                  <a:lnTo>
                    <a:pt x="1025" y="488"/>
                  </a:lnTo>
                  <a:lnTo>
                    <a:pt x="1028" y="482"/>
                  </a:lnTo>
                  <a:lnTo>
                    <a:pt x="1025" y="482"/>
                  </a:lnTo>
                  <a:lnTo>
                    <a:pt x="1021" y="472"/>
                  </a:lnTo>
                  <a:lnTo>
                    <a:pt x="1008" y="469"/>
                  </a:lnTo>
                  <a:lnTo>
                    <a:pt x="1008" y="469"/>
                  </a:lnTo>
                  <a:lnTo>
                    <a:pt x="1008" y="465"/>
                  </a:lnTo>
                  <a:lnTo>
                    <a:pt x="997" y="462"/>
                  </a:lnTo>
                  <a:lnTo>
                    <a:pt x="994" y="462"/>
                  </a:lnTo>
                  <a:lnTo>
                    <a:pt x="994" y="456"/>
                  </a:lnTo>
                  <a:lnTo>
                    <a:pt x="997" y="449"/>
                  </a:lnTo>
                  <a:lnTo>
                    <a:pt x="994" y="446"/>
                  </a:lnTo>
                  <a:lnTo>
                    <a:pt x="997" y="440"/>
                  </a:lnTo>
                  <a:lnTo>
                    <a:pt x="997" y="443"/>
                  </a:lnTo>
                  <a:lnTo>
                    <a:pt x="1001" y="440"/>
                  </a:lnTo>
                  <a:lnTo>
                    <a:pt x="1004" y="436"/>
                  </a:lnTo>
                  <a:lnTo>
                    <a:pt x="1004" y="436"/>
                  </a:lnTo>
                  <a:lnTo>
                    <a:pt x="1008" y="433"/>
                  </a:lnTo>
                  <a:lnTo>
                    <a:pt x="1004" y="433"/>
                  </a:lnTo>
                  <a:lnTo>
                    <a:pt x="1004" y="430"/>
                  </a:lnTo>
                  <a:lnTo>
                    <a:pt x="1008" y="427"/>
                  </a:lnTo>
                  <a:lnTo>
                    <a:pt x="1011" y="427"/>
                  </a:lnTo>
                  <a:lnTo>
                    <a:pt x="1011" y="423"/>
                  </a:lnTo>
                  <a:lnTo>
                    <a:pt x="1018" y="423"/>
                  </a:lnTo>
                  <a:lnTo>
                    <a:pt x="1018" y="420"/>
                  </a:lnTo>
                  <a:lnTo>
                    <a:pt x="1011" y="417"/>
                  </a:lnTo>
                  <a:lnTo>
                    <a:pt x="1018" y="417"/>
                  </a:lnTo>
                  <a:lnTo>
                    <a:pt x="1021" y="420"/>
                  </a:lnTo>
                  <a:lnTo>
                    <a:pt x="1021" y="417"/>
                  </a:lnTo>
                  <a:lnTo>
                    <a:pt x="1025" y="417"/>
                  </a:lnTo>
                  <a:lnTo>
                    <a:pt x="1028" y="414"/>
                  </a:lnTo>
                  <a:lnTo>
                    <a:pt x="1032" y="414"/>
                  </a:lnTo>
                  <a:lnTo>
                    <a:pt x="1035" y="411"/>
                  </a:lnTo>
                  <a:lnTo>
                    <a:pt x="1035" y="414"/>
                  </a:lnTo>
                  <a:lnTo>
                    <a:pt x="1039" y="411"/>
                  </a:lnTo>
                  <a:lnTo>
                    <a:pt x="1039" y="414"/>
                  </a:lnTo>
                  <a:lnTo>
                    <a:pt x="1042" y="414"/>
                  </a:lnTo>
                  <a:lnTo>
                    <a:pt x="1049" y="411"/>
                  </a:lnTo>
                  <a:lnTo>
                    <a:pt x="1049" y="411"/>
                  </a:lnTo>
                  <a:lnTo>
                    <a:pt x="1045" y="411"/>
                  </a:lnTo>
                  <a:lnTo>
                    <a:pt x="1045" y="407"/>
                  </a:lnTo>
                  <a:lnTo>
                    <a:pt x="1045" y="404"/>
                  </a:lnTo>
                  <a:lnTo>
                    <a:pt x="1049" y="404"/>
                  </a:lnTo>
                  <a:lnTo>
                    <a:pt x="1045" y="401"/>
                  </a:lnTo>
                  <a:lnTo>
                    <a:pt x="1045" y="401"/>
                  </a:lnTo>
                  <a:lnTo>
                    <a:pt x="1049" y="398"/>
                  </a:lnTo>
                  <a:lnTo>
                    <a:pt x="1049" y="398"/>
                  </a:lnTo>
                  <a:lnTo>
                    <a:pt x="1042" y="398"/>
                  </a:lnTo>
                  <a:lnTo>
                    <a:pt x="1039" y="398"/>
                  </a:lnTo>
                  <a:lnTo>
                    <a:pt x="1039" y="398"/>
                  </a:lnTo>
                  <a:lnTo>
                    <a:pt x="1035" y="398"/>
                  </a:lnTo>
                  <a:lnTo>
                    <a:pt x="1032" y="398"/>
                  </a:lnTo>
                  <a:lnTo>
                    <a:pt x="1021" y="398"/>
                  </a:lnTo>
                  <a:lnTo>
                    <a:pt x="1018" y="398"/>
                  </a:lnTo>
                  <a:lnTo>
                    <a:pt x="1014" y="398"/>
                  </a:lnTo>
                  <a:lnTo>
                    <a:pt x="1011" y="394"/>
                  </a:lnTo>
                  <a:lnTo>
                    <a:pt x="1011" y="391"/>
                  </a:lnTo>
                  <a:lnTo>
                    <a:pt x="1011" y="391"/>
                  </a:lnTo>
                  <a:lnTo>
                    <a:pt x="1001" y="394"/>
                  </a:lnTo>
                  <a:lnTo>
                    <a:pt x="997" y="394"/>
                  </a:lnTo>
                  <a:lnTo>
                    <a:pt x="997" y="394"/>
                  </a:lnTo>
                  <a:lnTo>
                    <a:pt x="997" y="398"/>
                  </a:lnTo>
                  <a:lnTo>
                    <a:pt x="994" y="401"/>
                  </a:lnTo>
                  <a:lnTo>
                    <a:pt x="990" y="401"/>
                  </a:lnTo>
                  <a:lnTo>
                    <a:pt x="990" y="404"/>
                  </a:lnTo>
                  <a:lnTo>
                    <a:pt x="994" y="404"/>
                  </a:lnTo>
                  <a:lnTo>
                    <a:pt x="990" y="407"/>
                  </a:lnTo>
                  <a:lnTo>
                    <a:pt x="987" y="411"/>
                  </a:lnTo>
                  <a:lnTo>
                    <a:pt x="984" y="407"/>
                  </a:lnTo>
                  <a:lnTo>
                    <a:pt x="980" y="411"/>
                  </a:lnTo>
                  <a:lnTo>
                    <a:pt x="977" y="411"/>
                  </a:lnTo>
                  <a:lnTo>
                    <a:pt x="970" y="401"/>
                  </a:lnTo>
                  <a:lnTo>
                    <a:pt x="970" y="398"/>
                  </a:lnTo>
                  <a:lnTo>
                    <a:pt x="970" y="394"/>
                  </a:lnTo>
                  <a:lnTo>
                    <a:pt x="963" y="394"/>
                  </a:lnTo>
                  <a:lnTo>
                    <a:pt x="963" y="394"/>
                  </a:lnTo>
                  <a:lnTo>
                    <a:pt x="963" y="394"/>
                  </a:lnTo>
                  <a:lnTo>
                    <a:pt x="959" y="394"/>
                  </a:lnTo>
                  <a:lnTo>
                    <a:pt x="959" y="394"/>
                  </a:lnTo>
                  <a:lnTo>
                    <a:pt x="956" y="394"/>
                  </a:lnTo>
                  <a:lnTo>
                    <a:pt x="956" y="394"/>
                  </a:lnTo>
                  <a:lnTo>
                    <a:pt x="953" y="391"/>
                  </a:lnTo>
                  <a:lnTo>
                    <a:pt x="953" y="388"/>
                  </a:lnTo>
                  <a:lnTo>
                    <a:pt x="946" y="385"/>
                  </a:lnTo>
                  <a:lnTo>
                    <a:pt x="942" y="381"/>
                  </a:lnTo>
                  <a:lnTo>
                    <a:pt x="942" y="378"/>
                  </a:lnTo>
                  <a:lnTo>
                    <a:pt x="939" y="375"/>
                  </a:lnTo>
                  <a:lnTo>
                    <a:pt x="942" y="375"/>
                  </a:lnTo>
                  <a:lnTo>
                    <a:pt x="942" y="372"/>
                  </a:lnTo>
                  <a:lnTo>
                    <a:pt x="942" y="372"/>
                  </a:lnTo>
                  <a:lnTo>
                    <a:pt x="942" y="369"/>
                  </a:lnTo>
                  <a:lnTo>
                    <a:pt x="946" y="365"/>
                  </a:lnTo>
                  <a:lnTo>
                    <a:pt x="946" y="365"/>
                  </a:lnTo>
                  <a:lnTo>
                    <a:pt x="953" y="365"/>
                  </a:lnTo>
                  <a:lnTo>
                    <a:pt x="959" y="365"/>
                  </a:lnTo>
                  <a:lnTo>
                    <a:pt x="963" y="365"/>
                  </a:lnTo>
                  <a:lnTo>
                    <a:pt x="966" y="362"/>
                  </a:lnTo>
                  <a:lnTo>
                    <a:pt x="966" y="362"/>
                  </a:lnTo>
                  <a:lnTo>
                    <a:pt x="966" y="362"/>
                  </a:lnTo>
                  <a:lnTo>
                    <a:pt x="966" y="356"/>
                  </a:lnTo>
                  <a:lnTo>
                    <a:pt x="966" y="356"/>
                  </a:lnTo>
                  <a:lnTo>
                    <a:pt x="966" y="356"/>
                  </a:lnTo>
                  <a:lnTo>
                    <a:pt x="970" y="346"/>
                  </a:lnTo>
                  <a:lnTo>
                    <a:pt x="977" y="343"/>
                  </a:lnTo>
                  <a:lnTo>
                    <a:pt x="980" y="343"/>
                  </a:lnTo>
                  <a:lnTo>
                    <a:pt x="984" y="339"/>
                  </a:lnTo>
                  <a:lnTo>
                    <a:pt x="987" y="336"/>
                  </a:lnTo>
                  <a:lnTo>
                    <a:pt x="987" y="330"/>
                  </a:lnTo>
                  <a:lnTo>
                    <a:pt x="990" y="327"/>
                  </a:lnTo>
                  <a:lnTo>
                    <a:pt x="990" y="323"/>
                  </a:lnTo>
                  <a:lnTo>
                    <a:pt x="994" y="323"/>
                  </a:lnTo>
                  <a:lnTo>
                    <a:pt x="994" y="320"/>
                  </a:lnTo>
                  <a:lnTo>
                    <a:pt x="1001" y="320"/>
                  </a:lnTo>
                  <a:lnTo>
                    <a:pt x="1001" y="320"/>
                  </a:lnTo>
                  <a:lnTo>
                    <a:pt x="1004" y="320"/>
                  </a:lnTo>
                  <a:lnTo>
                    <a:pt x="1004" y="317"/>
                  </a:lnTo>
                  <a:lnTo>
                    <a:pt x="1011" y="323"/>
                  </a:lnTo>
                  <a:lnTo>
                    <a:pt x="1021" y="327"/>
                  </a:lnTo>
                  <a:lnTo>
                    <a:pt x="1021" y="330"/>
                  </a:lnTo>
                  <a:lnTo>
                    <a:pt x="1018" y="330"/>
                  </a:lnTo>
                  <a:lnTo>
                    <a:pt x="1018" y="333"/>
                  </a:lnTo>
                  <a:lnTo>
                    <a:pt x="1014" y="339"/>
                  </a:lnTo>
                  <a:lnTo>
                    <a:pt x="1014" y="343"/>
                  </a:lnTo>
                  <a:lnTo>
                    <a:pt x="1008" y="343"/>
                  </a:lnTo>
                  <a:lnTo>
                    <a:pt x="1011" y="343"/>
                  </a:lnTo>
                  <a:lnTo>
                    <a:pt x="1008" y="349"/>
                  </a:lnTo>
                  <a:lnTo>
                    <a:pt x="1014" y="352"/>
                  </a:lnTo>
                  <a:lnTo>
                    <a:pt x="1011" y="352"/>
                  </a:lnTo>
                  <a:lnTo>
                    <a:pt x="1011" y="356"/>
                  </a:lnTo>
                  <a:lnTo>
                    <a:pt x="1011" y="356"/>
                  </a:lnTo>
                  <a:lnTo>
                    <a:pt x="1014" y="359"/>
                  </a:lnTo>
                  <a:lnTo>
                    <a:pt x="1018" y="356"/>
                  </a:lnTo>
                  <a:lnTo>
                    <a:pt x="1021" y="352"/>
                  </a:lnTo>
                  <a:lnTo>
                    <a:pt x="1021" y="356"/>
                  </a:lnTo>
                  <a:lnTo>
                    <a:pt x="1018" y="359"/>
                  </a:lnTo>
                  <a:lnTo>
                    <a:pt x="1018" y="359"/>
                  </a:lnTo>
                  <a:lnTo>
                    <a:pt x="1018" y="362"/>
                  </a:lnTo>
                  <a:lnTo>
                    <a:pt x="1018" y="362"/>
                  </a:lnTo>
                  <a:lnTo>
                    <a:pt x="1018" y="362"/>
                  </a:lnTo>
                  <a:lnTo>
                    <a:pt x="1011" y="362"/>
                  </a:lnTo>
                  <a:lnTo>
                    <a:pt x="1011" y="365"/>
                  </a:lnTo>
                  <a:lnTo>
                    <a:pt x="1008" y="365"/>
                  </a:lnTo>
                  <a:lnTo>
                    <a:pt x="1004" y="369"/>
                  </a:lnTo>
                  <a:lnTo>
                    <a:pt x="1008" y="369"/>
                  </a:lnTo>
                  <a:lnTo>
                    <a:pt x="1008" y="372"/>
                  </a:lnTo>
                  <a:lnTo>
                    <a:pt x="1011" y="372"/>
                  </a:lnTo>
                  <a:lnTo>
                    <a:pt x="1014" y="369"/>
                  </a:lnTo>
                  <a:lnTo>
                    <a:pt x="1018" y="369"/>
                  </a:lnTo>
                  <a:lnTo>
                    <a:pt x="1018" y="365"/>
                  </a:lnTo>
                  <a:lnTo>
                    <a:pt x="1025" y="362"/>
                  </a:lnTo>
                  <a:lnTo>
                    <a:pt x="1025" y="362"/>
                  </a:lnTo>
                  <a:lnTo>
                    <a:pt x="1025" y="359"/>
                  </a:lnTo>
                  <a:lnTo>
                    <a:pt x="1028" y="356"/>
                  </a:lnTo>
                  <a:lnTo>
                    <a:pt x="1039" y="349"/>
                  </a:lnTo>
                  <a:lnTo>
                    <a:pt x="1039" y="349"/>
                  </a:lnTo>
                  <a:lnTo>
                    <a:pt x="1042" y="346"/>
                  </a:lnTo>
                  <a:lnTo>
                    <a:pt x="1045" y="346"/>
                  </a:lnTo>
                  <a:lnTo>
                    <a:pt x="1049" y="343"/>
                  </a:lnTo>
                  <a:lnTo>
                    <a:pt x="1052" y="346"/>
                  </a:lnTo>
                  <a:lnTo>
                    <a:pt x="1056" y="346"/>
                  </a:lnTo>
                  <a:lnTo>
                    <a:pt x="1059" y="346"/>
                  </a:lnTo>
                  <a:lnTo>
                    <a:pt x="1063" y="339"/>
                  </a:lnTo>
                  <a:lnTo>
                    <a:pt x="1066" y="343"/>
                  </a:lnTo>
                  <a:lnTo>
                    <a:pt x="1066" y="343"/>
                  </a:lnTo>
                  <a:lnTo>
                    <a:pt x="1076" y="339"/>
                  </a:lnTo>
                  <a:lnTo>
                    <a:pt x="1131" y="304"/>
                  </a:lnTo>
                  <a:lnTo>
                    <a:pt x="1138" y="281"/>
                  </a:lnTo>
                  <a:lnTo>
                    <a:pt x="1152" y="268"/>
                  </a:lnTo>
                  <a:lnTo>
                    <a:pt x="1156" y="268"/>
                  </a:lnTo>
                  <a:lnTo>
                    <a:pt x="1156" y="265"/>
                  </a:lnTo>
                  <a:lnTo>
                    <a:pt x="1152" y="265"/>
                  </a:lnTo>
                  <a:lnTo>
                    <a:pt x="1152" y="262"/>
                  </a:lnTo>
                  <a:lnTo>
                    <a:pt x="1152" y="259"/>
                  </a:lnTo>
                  <a:lnTo>
                    <a:pt x="1156" y="259"/>
                  </a:lnTo>
                  <a:lnTo>
                    <a:pt x="1159" y="259"/>
                  </a:lnTo>
                  <a:lnTo>
                    <a:pt x="1159" y="259"/>
                  </a:lnTo>
                  <a:lnTo>
                    <a:pt x="1159" y="255"/>
                  </a:lnTo>
                  <a:lnTo>
                    <a:pt x="1159" y="255"/>
                  </a:lnTo>
                  <a:lnTo>
                    <a:pt x="1159" y="252"/>
                  </a:lnTo>
                  <a:lnTo>
                    <a:pt x="1162" y="252"/>
                  </a:lnTo>
                  <a:lnTo>
                    <a:pt x="1162" y="249"/>
                  </a:lnTo>
                  <a:lnTo>
                    <a:pt x="1162" y="246"/>
                  </a:lnTo>
                  <a:lnTo>
                    <a:pt x="1159" y="243"/>
                  </a:lnTo>
                  <a:lnTo>
                    <a:pt x="1159" y="239"/>
                  </a:lnTo>
                  <a:lnTo>
                    <a:pt x="1159" y="236"/>
                  </a:lnTo>
                  <a:lnTo>
                    <a:pt x="1159" y="230"/>
                  </a:lnTo>
                  <a:lnTo>
                    <a:pt x="1159" y="230"/>
                  </a:lnTo>
                  <a:lnTo>
                    <a:pt x="1156" y="226"/>
                  </a:lnTo>
                  <a:lnTo>
                    <a:pt x="1156" y="223"/>
                  </a:lnTo>
                  <a:lnTo>
                    <a:pt x="1152" y="220"/>
                  </a:lnTo>
                  <a:lnTo>
                    <a:pt x="1149" y="213"/>
                  </a:lnTo>
                  <a:lnTo>
                    <a:pt x="1149" y="213"/>
                  </a:lnTo>
                  <a:lnTo>
                    <a:pt x="1149" y="210"/>
                  </a:lnTo>
                  <a:lnTo>
                    <a:pt x="1152" y="210"/>
                  </a:lnTo>
                  <a:lnTo>
                    <a:pt x="1152" y="210"/>
                  </a:lnTo>
                  <a:lnTo>
                    <a:pt x="1156" y="207"/>
                  </a:lnTo>
                  <a:lnTo>
                    <a:pt x="1156" y="204"/>
                  </a:lnTo>
                  <a:lnTo>
                    <a:pt x="1159" y="201"/>
                  </a:lnTo>
                  <a:lnTo>
                    <a:pt x="1159" y="201"/>
                  </a:lnTo>
                  <a:lnTo>
                    <a:pt x="1162" y="201"/>
                  </a:lnTo>
                  <a:lnTo>
                    <a:pt x="1166" y="201"/>
                  </a:lnTo>
                  <a:lnTo>
                    <a:pt x="1180" y="204"/>
                  </a:lnTo>
                  <a:lnTo>
                    <a:pt x="1180" y="204"/>
                  </a:lnTo>
                  <a:lnTo>
                    <a:pt x="1183" y="204"/>
                  </a:lnTo>
                  <a:lnTo>
                    <a:pt x="1183" y="204"/>
                  </a:lnTo>
                  <a:lnTo>
                    <a:pt x="1183" y="201"/>
                  </a:lnTo>
                  <a:lnTo>
                    <a:pt x="1183" y="197"/>
                  </a:lnTo>
                  <a:lnTo>
                    <a:pt x="1183" y="197"/>
                  </a:lnTo>
                  <a:lnTo>
                    <a:pt x="1183" y="194"/>
                  </a:lnTo>
                  <a:lnTo>
                    <a:pt x="1183" y="194"/>
                  </a:lnTo>
                  <a:lnTo>
                    <a:pt x="1183" y="191"/>
                  </a:lnTo>
                  <a:lnTo>
                    <a:pt x="1183" y="188"/>
                  </a:lnTo>
                  <a:lnTo>
                    <a:pt x="1183" y="188"/>
                  </a:lnTo>
                  <a:lnTo>
                    <a:pt x="1183" y="184"/>
                  </a:lnTo>
                  <a:lnTo>
                    <a:pt x="1183" y="181"/>
                  </a:lnTo>
                  <a:lnTo>
                    <a:pt x="1183" y="181"/>
                  </a:lnTo>
                  <a:lnTo>
                    <a:pt x="1186" y="181"/>
                  </a:lnTo>
                  <a:lnTo>
                    <a:pt x="1186" y="178"/>
                  </a:lnTo>
                  <a:lnTo>
                    <a:pt x="1186" y="178"/>
                  </a:lnTo>
                  <a:lnTo>
                    <a:pt x="1183" y="175"/>
                  </a:lnTo>
                  <a:lnTo>
                    <a:pt x="1183" y="175"/>
                  </a:lnTo>
                  <a:lnTo>
                    <a:pt x="1186" y="171"/>
                  </a:lnTo>
                  <a:lnTo>
                    <a:pt x="1186" y="171"/>
                  </a:lnTo>
                  <a:lnTo>
                    <a:pt x="1186" y="168"/>
                  </a:lnTo>
                  <a:lnTo>
                    <a:pt x="1183" y="165"/>
                  </a:lnTo>
                  <a:lnTo>
                    <a:pt x="1183" y="162"/>
                  </a:lnTo>
                  <a:lnTo>
                    <a:pt x="1183" y="162"/>
                  </a:lnTo>
                  <a:lnTo>
                    <a:pt x="1186" y="162"/>
                  </a:lnTo>
                  <a:lnTo>
                    <a:pt x="1186" y="159"/>
                  </a:lnTo>
                  <a:lnTo>
                    <a:pt x="1183" y="159"/>
                  </a:lnTo>
                  <a:lnTo>
                    <a:pt x="1183" y="155"/>
                  </a:lnTo>
                  <a:lnTo>
                    <a:pt x="1183" y="155"/>
                  </a:lnTo>
                  <a:lnTo>
                    <a:pt x="1183" y="155"/>
                  </a:lnTo>
                  <a:lnTo>
                    <a:pt x="1183" y="152"/>
                  </a:lnTo>
                  <a:lnTo>
                    <a:pt x="1183" y="149"/>
                  </a:lnTo>
                  <a:lnTo>
                    <a:pt x="1183" y="149"/>
                  </a:lnTo>
                  <a:lnTo>
                    <a:pt x="1180" y="146"/>
                  </a:lnTo>
                  <a:lnTo>
                    <a:pt x="1180" y="146"/>
                  </a:lnTo>
                  <a:lnTo>
                    <a:pt x="1183" y="142"/>
                  </a:lnTo>
                  <a:lnTo>
                    <a:pt x="1186" y="142"/>
                  </a:lnTo>
                  <a:lnTo>
                    <a:pt x="1186" y="139"/>
                  </a:lnTo>
                  <a:lnTo>
                    <a:pt x="1186" y="136"/>
                  </a:lnTo>
                  <a:lnTo>
                    <a:pt x="1186" y="133"/>
                  </a:lnTo>
                  <a:lnTo>
                    <a:pt x="1186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6" name="Freeform 107"/>
            <p:cNvSpPr>
              <a:spLocks/>
            </p:cNvSpPr>
            <p:nvPr/>
          </p:nvSpPr>
          <p:spPr bwMode="auto">
            <a:xfrm>
              <a:off x="9920288" y="3909080"/>
              <a:ext cx="53975" cy="112712"/>
            </a:xfrm>
            <a:custGeom>
              <a:avLst/>
              <a:gdLst>
                <a:gd name="T0" fmla="*/ 31 w 34"/>
                <a:gd name="T1" fmla="*/ 6 h 71"/>
                <a:gd name="T2" fmla="*/ 31 w 34"/>
                <a:gd name="T3" fmla="*/ 6 h 71"/>
                <a:gd name="T4" fmla="*/ 27 w 34"/>
                <a:gd name="T5" fmla="*/ 0 h 71"/>
                <a:gd name="T6" fmla="*/ 24 w 34"/>
                <a:gd name="T7" fmla="*/ 0 h 71"/>
                <a:gd name="T8" fmla="*/ 20 w 34"/>
                <a:gd name="T9" fmla="*/ 0 h 71"/>
                <a:gd name="T10" fmla="*/ 20 w 34"/>
                <a:gd name="T11" fmla="*/ 3 h 71"/>
                <a:gd name="T12" fmla="*/ 17 w 34"/>
                <a:gd name="T13" fmla="*/ 3 h 71"/>
                <a:gd name="T14" fmla="*/ 14 w 34"/>
                <a:gd name="T15" fmla="*/ 9 h 71"/>
                <a:gd name="T16" fmla="*/ 10 w 34"/>
                <a:gd name="T17" fmla="*/ 13 h 71"/>
                <a:gd name="T18" fmla="*/ 10 w 34"/>
                <a:gd name="T19" fmla="*/ 16 h 71"/>
                <a:gd name="T20" fmla="*/ 10 w 34"/>
                <a:gd name="T21" fmla="*/ 19 h 71"/>
                <a:gd name="T22" fmla="*/ 10 w 34"/>
                <a:gd name="T23" fmla="*/ 19 h 71"/>
                <a:gd name="T24" fmla="*/ 3 w 34"/>
                <a:gd name="T25" fmla="*/ 26 h 71"/>
                <a:gd name="T26" fmla="*/ 3 w 34"/>
                <a:gd name="T27" fmla="*/ 32 h 71"/>
                <a:gd name="T28" fmla="*/ 0 w 34"/>
                <a:gd name="T29" fmla="*/ 32 h 71"/>
                <a:gd name="T30" fmla="*/ 3 w 34"/>
                <a:gd name="T31" fmla="*/ 35 h 71"/>
                <a:gd name="T32" fmla="*/ 3 w 34"/>
                <a:gd name="T33" fmla="*/ 42 h 71"/>
                <a:gd name="T34" fmla="*/ 3 w 34"/>
                <a:gd name="T35" fmla="*/ 48 h 71"/>
                <a:gd name="T36" fmla="*/ 3 w 34"/>
                <a:gd name="T37" fmla="*/ 48 h 71"/>
                <a:gd name="T38" fmla="*/ 7 w 34"/>
                <a:gd name="T39" fmla="*/ 51 h 71"/>
                <a:gd name="T40" fmla="*/ 3 w 34"/>
                <a:gd name="T41" fmla="*/ 51 h 71"/>
                <a:gd name="T42" fmla="*/ 3 w 34"/>
                <a:gd name="T43" fmla="*/ 51 h 71"/>
                <a:gd name="T44" fmla="*/ 7 w 34"/>
                <a:gd name="T45" fmla="*/ 55 h 71"/>
                <a:gd name="T46" fmla="*/ 10 w 34"/>
                <a:gd name="T47" fmla="*/ 55 h 71"/>
                <a:gd name="T48" fmla="*/ 10 w 34"/>
                <a:gd name="T49" fmla="*/ 58 h 71"/>
                <a:gd name="T50" fmla="*/ 14 w 34"/>
                <a:gd name="T51" fmla="*/ 58 h 71"/>
                <a:gd name="T52" fmla="*/ 17 w 34"/>
                <a:gd name="T53" fmla="*/ 64 h 71"/>
                <a:gd name="T54" fmla="*/ 17 w 34"/>
                <a:gd name="T55" fmla="*/ 68 h 71"/>
                <a:gd name="T56" fmla="*/ 17 w 34"/>
                <a:gd name="T57" fmla="*/ 71 h 71"/>
                <a:gd name="T58" fmla="*/ 20 w 34"/>
                <a:gd name="T59" fmla="*/ 68 h 71"/>
                <a:gd name="T60" fmla="*/ 24 w 34"/>
                <a:gd name="T61" fmla="*/ 71 h 71"/>
                <a:gd name="T62" fmla="*/ 20 w 34"/>
                <a:gd name="T63" fmla="*/ 68 h 71"/>
                <a:gd name="T64" fmla="*/ 24 w 34"/>
                <a:gd name="T65" fmla="*/ 61 h 71"/>
                <a:gd name="T66" fmla="*/ 20 w 34"/>
                <a:gd name="T67" fmla="*/ 58 h 71"/>
                <a:gd name="T68" fmla="*/ 24 w 34"/>
                <a:gd name="T69" fmla="*/ 55 h 71"/>
                <a:gd name="T70" fmla="*/ 31 w 34"/>
                <a:gd name="T71" fmla="*/ 48 h 71"/>
                <a:gd name="T72" fmla="*/ 31 w 34"/>
                <a:gd name="T73" fmla="*/ 45 h 71"/>
                <a:gd name="T74" fmla="*/ 31 w 34"/>
                <a:gd name="T75" fmla="*/ 42 h 71"/>
                <a:gd name="T76" fmla="*/ 27 w 34"/>
                <a:gd name="T77" fmla="*/ 42 h 71"/>
                <a:gd name="T78" fmla="*/ 31 w 34"/>
                <a:gd name="T79" fmla="*/ 35 h 71"/>
                <a:gd name="T80" fmla="*/ 31 w 34"/>
                <a:gd name="T81" fmla="*/ 32 h 71"/>
                <a:gd name="T82" fmla="*/ 31 w 34"/>
                <a:gd name="T83" fmla="*/ 26 h 71"/>
                <a:gd name="T84" fmla="*/ 31 w 34"/>
                <a:gd name="T85" fmla="*/ 22 h 71"/>
                <a:gd name="T86" fmla="*/ 34 w 34"/>
                <a:gd name="T87" fmla="*/ 13 h 71"/>
                <a:gd name="T88" fmla="*/ 34 w 34"/>
                <a:gd name="T89" fmla="*/ 9 h 71"/>
                <a:gd name="T90" fmla="*/ 34 w 34"/>
                <a:gd name="T91" fmla="*/ 9 h 71"/>
                <a:gd name="T92" fmla="*/ 34 w 34"/>
                <a:gd name="T93" fmla="*/ 6 h 71"/>
                <a:gd name="T94" fmla="*/ 31 w 34"/>
                <a:gd name="T95" fmla="*/ 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" h="71">
                  <a:moveTo>
                    <a:pt x="31" y="6"/>
                  </a:moveTo>
                  <a:lnTo>
                    <a:pt x="31" y="6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10" y="16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3" y="26"/>
                  </a:lnTo>
                  <a:lnTo>
                    <a:pt x="3" y="32"/>
                  </a:lnTo>
                  <a:lnTo>
                    <a:pt x="0" y="32"/>
                  </a:lnTo>
                  <a:lnTo>
                    <a:pt x="3" y="35"/>
                  </a:lnTo>
                  <a:lnTo>
                    <a:pt x="3" y="42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7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7" y="55"/>
                  </a:lnTo>
                  <a:lnTo>
                    <a:pt x="10" y="55"/>
                  </a:lnTo>
                  <a:lnTo>
                    <a:pt x="10" y="58"/>
                  </a:lnTo>
                  <a:lnTo>
                    <a:pt x="14" y="58"/>
                  </a:lnTo>
                  <a:lnTo>
                    <a:pt x="17" y="64"/>
                  </a:lnTo>
                  <a:lnTo>
                    <a:pt x="17" y="68"/>
                  </a:lnTo>
                  <a:lnTo>
                    <a:pt x="17" y="71"/>
                  </a:lnTo>
                  <a:lnTo>
                    <a:pt x="20" y="68"/>
                  </a:lnTo>
                  <a:lnTo>
                    <a:pt x="24" y="71"/>
                  </a:lnTo>
                  <a:lnTo>
                    <a:pt x="20" y="68"/>
                  </a:lnTo>
                  <a:lnTo>
                    <a:pt x="24" y="61"/>
                  </a:lnTo>
                  <a:lnTo>
                    <a:pt x="20" y="58"/>
                  </a:lnTo>
                  <a:lnTo>
                    <a:pt x="24" y="55"/>
                  </a:lnTo>
                  <a:lnTo>
                    <a:pt x="31" y="48"/>
                  </a:lnTo>
                  <a:lnTo>
                    <a:pt x="31" y="45"/>
                  </a:lnTo>
                  <a:lnTo>
                    <a:pt x="31" y="42"/>
                  </a:lnTo>
                  <a:lnTo>
                    <a:pt x="27" y="42"/>
                  </a:lnTo>
                  <a:lnTo>
                    <a:pt x="31" y="35"/>
                  </a:lnTo>
                  <a:lnTo>
                    <a:pt x="31" y="32"/>
                  </a:lnTo>
                  <a:lnTo>
                    <a:pt x="31" y="26"/>
                  </a:lnTo>
                  <a:lnTo>
                    <a:pt x="31" y="22"/>
                  </a:lnTo>
                  <a:lnTo>
                    <a:pt x="34" y="13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6"/>
                  </a:lnTo>
                  <a:lnTo>
                    <a:pt x="31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7" name="Freeform 108"/>
            <p:cNvSpPr>
              <a:spLocks noEditPoints="1"/>
            </p:cNvSpPr>
            <p:nvPr/>
          </p:nvSpPr>
          <p:spPr bwMode="auto">
            <a:xfrm>
              <a:off x="7232651" y="4483755"/>
              <a:ext cx="328613" cy="266700"/>
            </a:xfrm>
            <a:custGeom>
              <a:avLst/>
              <a:gdLst>
                <a:gd name="T0" fmla="*/ 55 w 207"/>
                <a:gd name="T1" fmla="*/ 19 h 168"/>
                <a:gd name="T2" fmla="*/ 59 w 207"/>
                <a:gd name="T3" fmla="*/ 16 h 168"/>
                <a:gd name="T4" fmla="*/ 62 w 207"/>
                <a:gd name="T5" fmla="*/ 13 h 168"/>
                <a:gd name="T6" fmla="*/ 76 w 207"/>
                <a:gd name="T7" fmla="*/ 0 h 168"/>
                <a:gd name="T8" fmla="*/ 83 w 207"/>
                <a:gd name="T9" fmla="*/ 0 h 168"/>
                <a:gd name="T10" fmla="*/ 86 w 207"/>
                <a:gd name="T11" fmla="*/ 13 h 168"/>
                <a:gd name="T12" fmla="*/ 93 w 207"/>
                <a:gd name="T13" fmla="*/ 16 h 168"/>
                <a:gd name="T14" fmla="*/ 100 w 207"/>
                <a:gd name="T15" fmla="*/ 16 h 168"/>
                <a:gd name="T16" fmla="*/ 114 w 207"/>
                <a:gd name="T17" fmla="*/ 16 h 168"/>
                <a:gd name="T18" fmla="*/ 128 w 207"/>
                <a:gd name="T19" fmla="*/ 25 h 168"/>
                <a:gd name="T20" fmla="*/ 134 w 207"/>
                <a:gd name="T21" fmla="*/ 29 h 168"/>
                <a:gd name="T22" fmla="*/ 145 w 207"/>
                <a:gd name="T23" fmla="*/ 32 h 168"/>
                <a:gd name="T24" fmla="*/ 152 w 207"/>
                <a:gd name="T25" fmla="*/ 32 h 168"/>
                <a:gd name="T26" fmla="*/ 158 w 207"/>
                <a:gd name="T27" fmla="*/ 32 h 168"/>
                <a:gd name="T28" fmla="*/ 165 w 207"/>
                <a:gd name="T29" fmla="*/ 22 h 168"/>
                <a:gd name="T30" fmla="*/ 172 w 207"/>
                <a:gd name="T31" fmla="*/ 22 h 168"/>
                <a:gd name="T32" fmla="*/ 186 w 207"/>
                <a:gd name="T33" fmla="*/ 19 h 168"/>
                <a:gd name="T34" fmla="*/ 189 w 207"/>
                <a:gd name="T35" fmla="*/ 25 h 168"/>
                <a:gd name="T36" fmla="*/ 200 w 207"/>
                <a:gd name="T37" fmla="*/ 25 h 168"/>
                <a:gd name="T38" fmla="*/ 186 w 207"/>
                <a:gd name="T39" fmla="*/ 38 h 168"/>
                <a:gd name="T40" fmla="*/ 200 w 207"/>
                <a:gd name="T41" fmla="*/ 116 h 168"/>
                <a:gd name="T42" fmla="*/ 193 w 207"/>
                <a:gd name="T43" fmla="*/ 122 h 168"/>
                <a:gd name="T44" fmla="*/ 189 w 207"/>
                <a:gd name="T45" fmla="*/ 126 h 168"/>
                <a:gd name="T46" fmla="*/ 186 w 207"/>
                <a:gd name="T47" fmla="*/ 129 h 168"/>
                <a:gd name="T48" fmla="*/ 176 w 207"/>
                <a:gd name="T49" fmla="*/ 132 h 168"/>
                <a:gd name="T50" fmla="*/ 172 w 207"/>
                <a:gd name="T51" fmla="*/ 135 h 168"/>
                <a:gd name="T52" fmla="*/ 169 w 207"/>
                <a:gd name="T53" fmla="*/ 139 h 168"/>
                <a:gd name="T54" fmla="*/ 169 w 207"/>
                <a:gd name="T55" fmla="*/ 145 h 168"/>
                <a:gd name="T56" fmla="*/ 165 w 207"/>
                <a:gd name="T57" fmla="*/ 151 h 168"/>
                <a:gd name="T58" fmla="*/ 155 w 207"/>
                <a:gd name="T59" fmla="*/ 164 h 168"/>
                <a:gd name="T60" fmla="*/ 148 w 207"/>
                <a:gd name="T61" fmla="*/ 168 h 168"/>
                <a:gd name="T62" fmla="*/ 124 w 207"/>
                <a:gd name="T63" fmla="*/ 151 h 168"/>
                <a:gd name="T64" fmla="*/ 124 w 207"/>
                <a:gd name="T65" fmla="*/ 148 h 168"/>
                <a:gd name="T66" fmla="*/ 48 w 207"/>
                <a:gd name="T67" fmla="*/ 106 h 168"/>
                <a:gd name="T68" fmla="*/ 48 w 207"/>
                <a:gd name="T69" fmla="*/ 90 h 168"/>
                <a:gd name="T70" fmla="*/ 52 w 207"/>
                <a:gd name="T71" fmla="*/ 84 h 168"/>
                <a:gd name="T72" fmla="*/ 59 w 207"/>
                <a:gd name="T73" fmla="*/ 77 h 168"/>
                <a:gd name="T74" fmla="*/ 62 w 207"/>
                <a:gd name="T75" fmla="*/ 71 h 168"/>
                <a:gd name="T76" fmla="*/ 69 w 207"/>
                <a:gd name="T77" fmla="*/ 71 h 168"/>
                <a:gd name="T78" fmla="*/ 69 w 207"/>
                <a:gd name="T79" fmla="*/ 64 h 168"/>
                <a:gd name="T80" fmla="*/ 76 w 207"/>
                <a:gd name="T81" fmla="*/ 55 h 168"/>
                <a:gd name="T82" fmla="*/ 72 w 207"/>
                <a:gd name="T83" fmla="*/ 51 h 168"/>
                <a:gd name="T84" fmla="*/ 69 w 207"/>
                <a:gd name="T85" fmla="*/ 48 h 168"/>
                <a:gd name="T86" fmla="*/ 66 w 207"/>
                <a:gd name="T87" fmla="*/ 42 h 168"/>
                <a:gd name="T88" fmla="*/ 62 w 207"/>
                <a:gd name="T89" fmla="*/ 35 h 168"/>
                <a:gd name="T90" fmla="*/ 55 w 207"/>
                <a:gd name="T91" fmla="*/ 29 h 168"/>
                <a:gd name="T92" fmla="*/ 55 w 207"/>
                <a:gd name="T93" fmla="*/ 25 h 168"/>
                <a:gd name="T94" fmla="*/ 52 w 207"/>
                <a:gd name="T95" fmla="*/ 19 h 168"/>
                <a:gd name="T96" fmla="*/ 52 w 207"/>
                <a:gd name="T97" fmla="*/ 19 h 168"/>
                <a:gd name="T98" fmla="*/ 0 w 207"/>
                <a:gd name="T99" fmla="*/ 106 h 168"/>
                <a:gd name="T100" fmla="*/ 17 w 207"/>
                <a:gd name="T101" fmla="*/ 106 h 168"/>
                <a:gd name="T102" fmla="*/ 0 w 207"/>
                <a:gd name="T103" fmla="*/ 10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7" h="168">
                  <a:moveTo>
                    <a:pt x="52" y="19"/>
                  </a:moveTo>
                  <a:lnTo>
                    <a:pt x="55" y="19"/>
                  </a:lnTo>
                  <a:lnTo>
                    <a:pt x="55" y="16"/>
                  </a:lnTo>
                  <a:lnTo>
                    <a:pt x="59" y="16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9" y="6"/>
                  </a:lnTo>
                  <a:lnTo>
                    <a:pt x="76" y="0"/>
                  </a:lnTo>
                  <a:lnTo>
                    <a:pt x="79" y="3"/>
                  </a:lnTo>
                  <a:lnTo>
                    <a:pt x="83" y="0"/>
                  </a:lnTo>
                  <a:lnTo>
                    <a:pt x="86" y="3"/>
                  </a:lnTo>
                  <a:lnTo>
                    <a:pt x="86" y="13"/>
                  </a:lnTo>
                  <a:lnTo>
                    <a:pt x="90" y="16"/>
                  </a:lnTo>
                  <a:lnTo>
                    <a:pt x="93" y="16"/>
                  </a:lnTo>
                  <a:lnTo>
                    <a:pt x="97" y="13"/>
                  </a:lnTo>
                  <a:lnTo>
                    <a:pt x="100" y="16"/>
                  </a:lnTo>
                  <a:lnTo>
                    <a:pt x="110" y="16"/>
                  </a:lnTo>
                  <a:lnTo>
                    <a:pt x="114" y="16"/>
                  </a:lnTo>
                  <a:lnTo>
                    <a:pt x="121" y="22"/>
                  </a:lnTo>
                  <a:lnTo>
                    <a:pt x="128" y="25"/>
                  </a:lnTo>
                  <a:lnTo>
                    <a:pt x="131" y="29"/>
                  </a:lnTo>
                  <a:lnTo>
                    <a:pt x="134" y="29"/>
                  </a:lnTo>
                  <a:lnTo>
                    <a:pt x="141" y="29"/>
                  </a:lnTo>
                  <a:lnTo>
                    <a:pt x="145" y="32"/>
                  </a:lnTo>
                  <a:lnTo>
                    <a:pt x="148" y="32"/>
                  </a:lnTo>
                  <a:lnTo>
                    <a:pt x="152" y="32"/>
                  </a:lnTo>
                  <a:lnTo>
                    <a:pt x="155" y="32"/>
                  </a:lnTo>
                  <a:lnTo>
                    <a:pt x="158" y="32"/>
                  </a:lnTo>
                  <a:lnTo>
                    <a:pt x="165" y="25"/>
                  </a:lnTo>
                  <a:lnTo>
                    <a:pt x="165" y="22"/>
                  </a:lnTo>
                  <a:lnTo>
                    <a:pt x="172" y="22"/>
                  </a:lnTo>
                  <a:lnTo>
                    <a:pt x="172" y="22"/>
                  </a:lnTo>
                  <a:lnTo>
                    <a:pt x="176" y="19"/>
                  </a:lnTo>
                  <a:lnTo>
                    <a:pt x="186" y="19"/>
                  </a:lnTo>
                  <a:lnTo>
                    <a:pt x="186" y="19"/>
                  </a:lnTo>
                  <a:lnTo>
                    <a:pt x="189" y="25"/>
                  </a:lnTo>
                  <a:lnTo>
                    <a:pt x="193" y="25"/>
                  </a:lnTo>
                  <a:lnTo>
                    <a:pt x="200" y="25"/>
                  </a:lnTo>
                  <a:lnTo>
                    <a:pt x="207" y="25"/>
                  </a:lnTo>
                  <a:lnTo>
                    <a:pt x="186" y="38"/>
                  </a:lnTo>
                  <a:lnTo>
                    <a:pt x="186" y="103"/>
                  </a:lnTo>
                  <a:lnTo>
                    <a:pt x="200" y="116"/>
                  </a:lnTo>
                  <a:lnTo>
                    <a:pt x="200" y="116"/>
                  </a:lnTo>
                  <a:lnTo>
                    <a:pt x="193" y="122"/>
                  </a:lnTo>
                  <a:lnTo>
                    <a:pt x="193" y="122"/>
                  </a:lnTo>
                  <a:lnTo>
                    <a:pt x="189" y="126"/>
                  </a:lnTo>
                  <a:lnTo>
                    <a:pt x="193" y="126"/>
                  </a:lnTo>
                  <a:lnTo>
                    <a:pt x="186" y="129"/>
                  </a:lnTo>
                  <a:lnTo>
                    <a:pt x="183" y="132"/>
                  </a:lnTo>
                  <a:lnTo>
                    <a:pt x="176" y="132"/>
                  </a:lnTo>
                  <a:lnTo>
                    <a:pt x="172" y="132"/>
                  </a:lnTo>
                  <a:lnTo>
                    <a:pt x="172" y="135"/>
                  </a:lnTo>
                  <a:lnTo>
                    <a:pt x="169" y="139"/>
                  </a:lnTo>
                  <a:lnTo>
                    <a:pt x="169" y="139"/>
                  </a:lnTo>
                  <a:lnTo>
                    <a:pt x="172" y="139"/>
                  </a:lnTo>
                  <a:lnTo>
                    <a:pt x="169" y="145"/>
                  </a:lnTo>
                  <a:lnTo>
                    <a:pt x="165" y="148"/>
                  </a:lnTo>
                  <a:lnTo>
                    <a:pt x="165" y="151"/>
                  </a:lnTo>
                  <a:lnTo>
                    <a:pt x="162" y="158"/>
                  </a:lnTo>
                  <a:lnTo>
                    <a:pt x="155" y="164"/>
                  </a:lnTo>
                  <a:lnTo>
                    <a:pt x="152" y="168"/>
                  </a:lnTo>
                  <a:lnTo>
                    <a:pt x="148" y="168"/>
                  </a:lnTo>
                  <a:lnTo>
                    <a:pt x="124" y="151"/>
                  </a:lnTo>
                  <a:lnTo>
                    <a:pt x="124" y="151"/>
                  </a:lnTo>
                  <a:lnTo>
                    <a:pt x="124" y="148"/>
                  </a:lnTo>
                  <a:lnTo>
                    <a:pt x="124" y="148"/>
                  </a:lnTo>
                  <a:lnTo>
                    <a:pt x="121" y="142"/>
                  </a:lnTo>
                  <a:lnTo>
                    <a:pt x="48" y="106"/>
                  </a:lnTo>
                  <a:lnTo>
                    <a:pt x="42" y="106"/>
                  </a:lnTo>
                  <a:lnTo>
                    <a:pt x="48" y="90"/>
                  </a:lnTo>
                  <a:lnTo>
                    <a:pt x="48" y="87"/>
                  </a:lnTo>
                  <a:lnTo>
                    <a:pt x="52" y="84"/>
                  </a:lnTo>
                  <a:lnTo>
                    <a:pt x="55" y="80"/>
                  </a:lnTo>
                  <a:lnTo>
                    <a:pt x="59" y="77"/>
                  </a:lnTo>
                  <a:lnTo>
                    <a:pt x="59" y="74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9" y="71"/>
                  </a:lnTo>
                  <a:lnTo>
                    <a:pt x="69" y="67"/>
                  </a:lnTo>
                  <a:lnTo>
                    <a:pt x="69" y="64"/>
                  </a:lnTo>
                  <a:lnTo>
                    <a:pt x="76" y="58"/>
                  </a:lnTo>
                  <a:lnTo>
                    <a:pt x="76" y="55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48"/>
                  </a:lnTo>
                  <a:lnTo>
                    <a:pt x="69" y="48"/>
                  </a:lnTo>
                  <a:lnTo>
                    <a:pt x="69" y="45"/>
                  </a:lnTo>
                  <a:lnTo>
                    <a:pt x="66" y="42"/>
                  </a:lnTo>
                  <a:lnTo>
                    <a:pt x="62" y="38"/>
                  </a:lnTo>
                  <a:lnTo>
                    <a:pt x="62" y="35"/>
                  </a:lnTo>
                  <a:lnTo>
                    <a:pt x="59" y="32"/>
                  </a:lnTo>
                  <a:lnTo>
                    <a:pt x="55" y="29"/>
                  </a:lnTo>
                  <a:lnTo>
                    <a:pt x="59" y="25"/>
                  </a:lnTo>
                  <a:lnTo>
                    <a:pt x="55" y="25"/>
                  </a:lnTo>
                  <a:lnTo>
                    <a:pt x="55" y="22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close/>
                  <a:moveTo>
                    <a:pt x="0" y="106"/>
                  </a:moveTo>
                  <a:lnTo>
                    <a:pt x="11" y="106"/>
                  </a:lnTo>
                  <a:lnTo>
                    <a:pt x="17" y="106"/>
                  </a:lnTo>
                  <a:lnTo>
                    <a:pt x="4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8" name="Freeform 109"/>
            <p:cNvSpPr>
              <a:spLocks/>
            </p:cNvSpPr>
            <p:nvPr/>
          </p:nvSpPr>
          <p:spPr bwMode="auto">
            <a:xfrm>
              <a:off x="7172326" y="4513917"/>
              <a:ext cx="180975" cy="149225"/>
            </a:xfrm>
            <a:custGeom>
              <a:avLst/>
              <a:gdLst>
                <a:gd name="T0" fmla="*/ 86 w 114"/>
                <a:gd name="T1" fmla="*/ 68 h 94"/>
                <a:gd name="T2" fmla="*/ 93 w 114"/>
                <a:gd name="T3" fmla="*/ 61 h 94"/>
                <a:gd name="T4" fmla="*/ 97 w 114"/>
                <a:gd name="T5" fmla="*/ 55 h 94"/>
                <a:gd name="T6" fmla="*/ 100 w 114"/>
                <a:gd name="T7" fmla="*/ 52 h 94"/>
                <a:gd name="T8" fmla="*/ 107 w 114"/>
                <a:gd name="T9" fmla="*/ 48 h 94"/>
                <a:gd name="T10" fmla="*/ 114 w 114"/>
                <a:gd name="T11" fmla="*/ 39 h 94"/>
                <a:gd name="T12" fmla="*/ 110 w 114"/>
                <a:gd name="T13" fmla="*/ 32 h 94"/>
                <a:gd name="T14" fmla="*/ 110 w 114"/>
                <a:gd name="T15" fmla="*/ 29 h 94"/>
                <a:gd name="T16" fmla="*/ 107 w 114"/>
                <a:gd name="T17" fmla="*/ 26 h 94"/>
                <a:gd name="T18" fmla="*/ 100 w 114"/>
                <a:gd name="T19" fmla="*/ 19 h 94"/>
                <a:gd name="T20" fmla="*/ 97 w 114"/>
                <a:gd name="T21" fmla="*/ 13 h 94"/>
                <a:gd name="T22" fmla="*/ 97 w 114"/>
                <a:gd name="T23" fmla="*/ 6 h 94"/>
                <a:gd name="T24" fmla="*/ 93 w 114"/>
                <a:gd name="T25" fmla="*/ 3 h 94"/>
                <a:gd name="T26" fmla="*/ 86 w 114"/>
                <a:gd name="T27" fmla="*/ 3 h 94"/>
                <a:gd name="T28" fmla="*/ 80 w 114"/>
                <a:gd name="T29" fmla="*/ 6 h 94"/>
                <a:gd name="T30" fmla="*/ 69 w 114"/>
                <a:gd name="T31" fmla="*/ 6 h 94"/>
                <a:gd name="T32" fmla="*/ 59 w 114"/>
                <a:gd name="T33" fmla="*/ 10 h 94"/>
                <a:gd name="T34" fmla="*/ 55 w 114"/>
                <a:gd name="T35" fmla="*/ 10 h 94"/>
                <a:gd name="T36" fmla="*/ 55 w 114"/>
                <a:gd name="T37" fmla="*/ 13 h 94"/>
                <a:gd name="T38" fmla="*/ 49 w 114"/>
                <a:gd name="T39" fmla="*/ 13 h 94"/>
                <a:gd name="T40" fmla="*/ 42 w 114"/>
                <a:gd name="T41" fmla="*/ 10 h 94"/>
                <a:gd name="T42" fmla="*/ 35 w 114"/>
                <a:gd name="T43" fmla="*/ 10 h 94"/>
                <a:gd name="T44" fmla="*/ 28 w 114"/>
                <a:gd name="T45" fmla="*/ 10 h 94"/>
                <a:gd name="T46" fmla="*/ 31 w 114"/>
                <a:gd name="T47" fmla="*/ 13 h 94"/>
                <a:gd name="T48" fmla="*/ 28 w 114"/>
                <a:gd name="T49" fmla="*/ 13 h 94"/>
                <a:gd name="T50" fmla="*/ 28 w 114"/>
                <a:gd name="T51" fmla="*/ 19 h 94"/>
                <a:gd name="T52" fmla="*/ 24 w 114"/>
                <a:gd name="T53" fmla="*/ 29 h 94"/>
                <a:gd name="T54" fmla="*/ 28 w 114"/>
                <a:gd name="T55" fmla="*/ 36 h 94"/>
                <a:gd name="T56" fmla="*/ 31 w 114"/>
                <a:gd name="T57" fmla="*/ 39 h 94"/>
                <a:gd name="T58" fmla="*/ 21 w 114"/>
                <a:gd name="T59" fmla="*/ 52 h 94"/>
                <a:gd name="T60" fmla="*/ 11 w 114"/>
                <a:gd name="T61" fmla="*/ 61 h 94"/>
                <a:gd name="T62" fmla="*/ 4 w 114"/>
                <a:gd name="T63" fmla="*/ 74 h 94"/>
                <a:gd name="T64" fmla="*/ 4 w 114"/>
                <a:gd name="T65" fmla="*/ 84 h 94"/>
                <a:gd name="T66" fmla="*/ 0 w 114"/>
                <a:gd name="T67" fmla="*/ 94 h 94"/>
                <a:gd name="T68" fmla="*/ 0 w 114"/>
                <a:gd name="T69" fmla="*/ 94 h 94"/>
                <a:gd name="T70" fmla="*/ 7 w 114"/>
                <a:gd name="T71" fmla="*/ 94 h 94"/>
                <a:gd name="T72" fmla="*/ 11 w 114"/>
                <a:gd name="T73" fmla="*/ 94 h 94"/>
                <a:gd name="T74" fmla="*/ 14 w 114"/>
                <a:gd name="T75" fmla="*/ 94 h 94"/>
                <a:gd name="T76" fmla="*/ 18 w 114"/>
                <a:gd name="T77" fmla="*/ 90 h 94"/>
                <a:gd name="T78" fmla="*/ 21 w 114"/>
                <a:gd name="T79" fmla="*/ 90 h 94"/>
                <a:gd name="T80" fmla="*/ 24 w 114"/>
                <a:gd name="T81" fmla="*/ 90 h 94"/>
                <a:gd name="T82" fmla="*/ 42 w 114"/>
                <a:gd name="T83" fmla="*/ 87 h 94"/>
                <a:gd name="T84" fmla="*/ 80 w 114"/>
                <a:gd name="T85" fmla="*/ 8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4" h="94">
                  <a:moveTo>
                    <a:pt x="86" y="71"/>
                  </a:moveTo>
                  <a:lnTo>
                    <a:pt x="86" y="68"/>
                  </a:lnTo>
                  <a:lnTo>
                    <a:pt x="90" y="65"/>
                  </a:lnTo>
                  <a:lnTo>
                    <a:pt x="93" y="61"/>
                  </a:lnTo>
                  <a:lnTo>
                    <a:pt x="97" y="58"/>
                  </a:lnTo>
                  <a:lnTo>
                    <a:pt x="97" y="55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7" y="52"/>
                  </a:lnTo>
                  <a:lnTo>
                    <a:pt x="107" y="48"/>
                  </a:lnTo>
                  <a:lnTo>
                    <a:pt x="107" y="45"/>
                  </a:lnTo>
                  <a:lnTo>
                    <a:pt x="114" y="39"/>
                  </a:lnTo>
                  <a:lnTo>
                    <a:pt x="114" y="36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29"/>
                  </a:lnTo>
                  <a:lnTo>
                    <a:pt x="107" y="29"/>
                  </a:lnTo>
                  <a:lnTo>
                    <a:pt x="107" y="26"/>
                  </a:lnTo>
                  <a:lnTo>
                    <a:pt x="104" y="23"/>
                  </a:lnTo>
                  <a:lnTo>
                    <a:pt x="100" y="19"/>
                  </a:lnTo>
                  <a:lnTo>
                    <a:pt x="100" y="16"/>
                  </a:lnTo>
                  <a:lnTo>
                    <a:pt x="97" y="13"/>
                  </a:lnTo>
                  <a:lnTo>
                    <a:pt x="93" y="10"/>
                  </a:lnTo>
                  <a:lnTo>
                    <a:pt x="97" y="6"/>
                  </a:lnTo>
                  <a:lnTo>
                    <a:pt x="93" y="6"/>
                  </a:lnTo>
                  <a:lnTo>
                    <a:pt x="93" y="3"/>
                  </a:lnTo>
                  <a:lnTo>
                    <a:pt x="90" y="0"/>
                  </a:lnTo>
                  <a:lnTo>
                    <a:pt x="86" y="3"/>
                  </a:lnTo>
                  <a:lnTo>
                    <a:pt x="83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69" y="6"/>
                  </a:lnTo>
                  <a:lnTo>
                    <a:pt x="62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3"/>
                  </a:lnTo>
                  <a:lnTo>
                    <a:pt x="52" y="13"/>
                  </a:lnTo>
                  <a:lnTo>
                    <a:pt x="49" y="13"/>
                  </a:lnTo>
                  <a:lnTo>
                    <a:pt x="45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5" y="10"/>
                  </a:lnTo>
                  <a:lnTo>
                    <a:pt x="31" y="6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6"/>
                  </a:lnTo>
                  <a:lnTo>
                    <a:pt x="28" y="19"/>
                  </a:lnTo>
                  <a:lnTo>
                    <a:pt x="28" y="23"/>
                  </a:lnTo>
                  <a:lnTo>
                    <a:pt x="24" y="29"/>
                  </a:lnTo>
                  <a:lnTo>
                    <a:pt x="24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1" y="39"/>
                  </a:lnTo>
                  <a:lnTo>
                    <a:pt x="31" y="42"/>
                  </a:lnTo>
                  <a:lnTo>
                    <a:pt x="21" y="52"/>
                  </a:lnTo>
                  <a:lnTo>
                    <a:pt x="14" y="58"/>
                  </a:lnTo>
                  <a:lnTo>
                    <a:pt x="11" y="61"/>
                  </a:lnTo>
                  <a:lnTo>
                    <a:pt x="4" y="71"/>
                  </a:lnTo>
                  <a:lnTo>
                    <a:pt x="4" y="74"/>
                  </a:lnTo>
                  <a:lnTo>
                    <a:pt x="4" y="78"/>
                  </a:lnTo>
                  <a:lnTo>
                    <a:pt x="4" y="84"/>
                  </a:lnTo>
                  <a:lnTo>
                    <a:pt x="0" y="90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4" y="94"/>
                  </a:lnTo>
                  <a:lnTo>
                    <a:pt x="7" y="94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4" y="90"/>
                  </a:lnTo>
                  <a:lnTo>
                    <a:pt x="38" y="87"/>
                  </a:lnTo>
                  <a:lnTo>
                    <a:pt x="42" y="87"/>
                  </a:lnTo>
                  <a:lnTo>
                    <a:pt x="55" y="87"/>
                  </a:lnTo>
                  <a:lnTo>
                    <a:pt x="80" y="87"/>
                  </a:lnTo>
                  <a:lnTo>
                    <a:pt x="8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09" name="Freeform 110"/>
            <p:cNvSpPr>
              <a:spLocks/>
            </p:cNvSpPr>
            <p:nvPr/>
          </p:nvSpPr>
          <p:spPr bwMode="auto">
            <a:xfrm>
              <a:off x="6708776" y="4334530"/>
              <a:ext cx="404813" cy="230187"/>
            </a:xfrm>
            <a:custGeom>
              <a:avLst/>
              <a:gdLst>
                <a:gd name="T0" fmla="*/ 162 w 255"/>
                <a:gd name="T1" fmla="*/ 6 h 145"/>
                <a:gd name="T2" fmla="*/ 175 w 255"/>
                <a:gd name="T3" fmla="*/ 23 h 145"/>
                <a:gd name="T4" fmla="*/ 172 w 255"/>
                <a:gd name="T5" fmla="*/ 32 h 145"/>
                <a:gd name="T6" fmla="*/ 182 w 255"/>
                <a:gd name="T7" fmla="*/ 39 h 145"/>
                <a:gd name="T8" fmla="*/ 189 w 255"/>
                <a:gd name="T9" fmla="*/ 45 h 145"/>
                <a:gd name="T10" fmla="*/ 203 w 255"/>
                <a:gd name="T11" fmla="*/ 52 h 145"/>
                <a:gd name="T12" fmla="*/ 213 w 255"/>
                <a:gd name="T13" fmla="*/ 55 h 145"/>
                <a:gd name="T14" fmla="*/ 206 w 255"/>
                <a:gd name="T15" fmla="*/ 61 h 145"/>
                <a:gd name="T16" fmla="*/ 217 w 255"/>
                <a:gd name="T17" fmla="*/ 68 h 145"/>
                <a:gd name="T18" fmla="*/ 227 w 255"/>
                <a:gd name="T19" fmla="*/ 77 h 145"/>
                <a:gd name="T20" fmla="*/ 234 w 255"/>
                <a:gd name="T21" fmla="*/ 84 h 145"/>
                <a:gd name="T22" fmla="*/ 244 w 255"/>
                <a:gd name="T23" fmla="*/ 90 h 145"/>
                <a:gd name="T24" fmla="*/ 255 w 255"/>
                <a:gd name="T25" fmla="*/ 100 h 145"/>
                <a:gd name="T26" fmla="*/ 244 w 255"/>
                <a:gd name="T27" fmla="*/ 100 h 145"/>
                <a:gd name="T28" fmla="*/ 227 w 255"/>
                <a:gd name="T29" fmla="*/ 100 h 145"/>
                <a:gd name="T30" fmla="*/ 217 w 255"/>
                <a:gd name="T31" fmla="*/ 97 h 145"/>
                <a:gd name="T32" fmla="*/ 213 w 255"/>
                <a:gd name="T33" fmla="*/ 100 h 145"/>
                <a:gd name="T34" fmla="*/ 200 w 255"/>
                <a:gd name="T35" fmla="*/ 103 h 145"/>
                <a:gd name="T36" fmla="*/ 193 w 255"/>
                <a:gd name="T37" fmla="*/ 103 h 145"/>
                <a:gd name="T38" fmla="*/ 179 w 255"/>
                <a:gd name="T39" fmla="*/ 103 h 145"/>
                <a:gd name="T40" fmla="*/ 165 w 255"/>
                <a:gd name="T41" fmla="*/ 107 h 145"/>
                <a:gd name="T42" fmla="*/ 151 w 255"/>
                <a:gd name="T43" fmla="*/ 110 h 145"/>
                <a:gd name="T44" fmla="*/ 148 w 255"/>
                <a:gd name="T45" fmla="*/ 116 h 145"/>
                <a:gd name="T46" fmla="*/ 138 w 255"/>
                <a:gd name="T47" fmla="*/ 113 h 145"/>
                <a:gd name="T48" fmla="*/ 124 w 255"/>
                <a:gd name="T49" fmla="*/ 113 h 145"/>
                <a:gd name="T50" fmla="*/ 110 w 255"/>
                <a:gd name="T51" fmla="*/ 107 h 145"/>
                <a:gd name="T52" fmla="*/ 96 w 255"/>
                <a:gd name="T53" fmla="*/ 100 h 145"/>
                <a:gd name="T54" fmla="*/ 86 w 255"/>
                <a:gd name="T55" fmla="*/ 103 h 145"/>
                <a:gd name="T56" fmla="*/ 83 w 255"/>
                <a:gd name="T57" fmla="*/ 110 h 145"/>
                <a:gd name="T58" fmla="*/ 83 w 255"/>
                <a:gd name="T59" fmla="*/ 116 h 145"/>
                <a:gd name="T60" fmla="*/ 79 w 255"/>
                <a:gd name="T61" fmla="*/ 123 h 145"/>
                <a:gd name="T62" fmla="*/ 69 w 255"/>
                <a:gd name="T63" fmla="*/ 123 h 145"/>
                <a:gd name="T64" fmla="*/ 52 w 255"/>
                <a:gd name="T65" fmla="*/ 126 h 145"/>
                <a:gd name="T66" fmla="*/ 34 w 255"/>
                <a:gd name="T67" fmla="*/ 145 h 145"/>
                <a:gd name="T68" fmla="*/ 31 w 255"/>
                <a:gd name="T69" fmla="*/ 136 h 145"/>
                <a:gd name="T70" fmla="*/ 17 w 255"/>
                <a:gd name="T71" fmla="*/ 119 h 145"/>
                <a:gd name="T72" fmla="*/ 3 w 255"/>
                <a:gd name="T73" fmla="*/ 110 h 145"/>
                <a:gd name="T74" fmla="*/ 3 w 255"/>
                <a:gd name="T75" fmla="*/ 90 h 145"/>
                <a:gd name="T76" fmla="*/ 3 w 255"/>
                <a:gd name="T77" fmla="*/ 81 h 145"/>
                <a:gd name="T78" fmla="*/ 17 w 255"/>
                <a:gd name="T79" fmla="*/ 61 h 145"/>
                <a:gd name="T80" fmla="*/ 24 w 255"/>
                <a:gd name="T81" fmla="*/ 58 h 145"/>
                <a:gd name="T82" fmla="*/ 38 w 255"/>
                <a:gd name="T83" fmla="*/ 61 h 145"/>
                <a:gd name="T84" fmla="*/ 45 w 255"/>
                <a:gd name="T85" fmla="*/ 55 h 145"/>
                <a:gd name="T86" fmla="*/ 55 w 255"/>
                <a:gd name="T87" fmla="*/ 55 h 145"/>
                <a:gd name="T88" fmla="*/ 83 w 255"/>
                <a:gd name="T89" fmla="*/ 48 h 145"/>
                <a:gd name="T90" fmla="*/ 86 w 255"/>
                <a:gd name="T91" fmla="*/ 42 h 145"/>
                <a:gd name="T92" fmla="*/ 89 w 255"/>
                <a:gd name="T93" fmla="*/ 32 h 145"/>
                <a:gd name="T94" fmla="*/ 107 w 255"/>
                <a:gd name="T95" fmla="*/ 35 h 145"/>
                <a:gd name="T96" fmla="*/ 124 w 255"/>
                <a:gd name="T97" fmla="*/ 29 h 145"/>
                <a:gd name="T98" fmla="*/ 127 w 255"/>
                <a:gd name="T99" fmla="*/ 19 h 145"/>
                <a:gd name="T100" fmla="*/ 134 w 255"/>
                <a:gd name="T101" fmla="*/ 13 h 145"/>
                <a:gd name="T102" fmla="*/ 144 w 255"/>
                <a:gd name="T103" fmla="*/ 3 h 145"/>
                <a:gd name="T104" fmla="*/ 158 w 255"/>
                <a:gd name="T10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5" h="145">
                  <a:moveTo>
                    <a:pt x="158" y="0"/>
                  </a:moveTo>
                  <a:lnTo>
                    <a:pt x="162" y="3"/>
                  </a:lnTo>
                  <a:lnTo>
                    <a:pt x="162" y="3"/>
                  </a:lnTo>
                  <a:lnTo>
                    <a:pt x="162" y="6"/>
                  </a:lnTo>
                  <a:lnTo>
                    <a:pt x="165" y="6"/>
                  </a:lnTo>
                  <a:lnTo>
                    <a:pt x="165" y="10"/>
                  </a:lnTo>
                  <a:lnTo>
                    <a:pt x="172" y="16"/>
                  </a:lnTo>
                  <a:lnTo>
                    <a:pt x="175" y="23"/>
                  </a:lnTo>
                  <a:lnTo>
                    <a:pt x="175" y="26"/>
                  </a:lnTo>
                  <a:lnTo>
                    <a:pt x="175" y="29"/>
                  </a:lnTo>
                  <a:lnTo>
                    <a:pt x="172" y="29"/>
                  </a:lnTo>
                  <a:lnTo>
                    <a:pt x="172" y="32"/>
                  </a:lnTo>
                  <a:lnTo>
                    <a:pt x="172" y="39"/>
                  </a:lnTo>
                  <a:lnTo>
                    <a:pt x="175" y="39"/>
                  </a:lnTo>
                  <a:lnTo>
                    <a:pt x="179" y="39"/>
                  </a:lnTo>
                  <a:lnTo>
                    <a:pt x="182" y="39"/>
                  </a:lnTo>
                  <a:lnTo>
                    <a:pt x="186" y="39"/>
                  </a:lnTo>
                  <a:lnTo>
                    <a:pt x="189" y="39"/>
                  </a:lnTo>
                  <a:lnTo>
                    <a:pt x="189" y="42"/>
                  </a:lnTo>
                  <a:lnTo>
                    <a:pt x="189" y="45"/>
                  </a:lnTo>
                  <a:lnTo>
                    <a:pt x="193" y="48"/>
                  </a:lnTo>
                  <a:lnTo>
                    <a:pt x="196" y="48"/>
                  </a:lnTo>
                  <a:lnTo>
                    <a:pt x="200" y="48"/>
                  </a:lnTo>
                  <a:lnTo>
                    <a:pt x="203" y="52"/>
                  </a:lnTo>
                  <a:lnTo>
                    <a:pt x="203" y="52"/>
                  </a:lnTo>
                  <a:lnTo>
                    <a:pt x="206" y="55"/>
                  </a:lnTo>
                  <a:lnTo>
                    <a:pt x="210" y="55"/>
                  </a:lnTo>
                  <a:lnTo>
                    <a:pt x="213" y="55"/>
                  </a:lnTo>
                  <a:lnTo>
                    <a:pt x="210" y="58"/>
                  </a:lnTo>
                  <a:lnTo>
                    <a:pt x="210" y="61"/>
                  </a:lnTo>
                  <a:lnTo>
                    <a:pt x="206" y="61"/>
                  </a:lnTo>
                  <a:lnTo>
                    <a:pt x="206" y="61"/>
                  </a:lnTo>
                  <a:lnTo>
                    <a:pt x="210" y="65"/>
                  </a:lnTo>
                  <a:lnTo>
                    <a:pt x="213" y="68"/>
                  </a:lnTo>
                  <a:lnTo>
                    <a:pt x="217" y="65"/>
                  </a:lnTo>
                  <a:lnTo>
                    <a:pt x="217" y="68"/>
                  </a:lnTo>
                  <a:lnTo>
                    <a:pt x="220" y="68"/>
                  </a:lnTo>
                  <a:lnTo>
                    <a:pt x="227" y="71"/>
                  </a:lnTo>
                  <a:lnTo>
                    <a:pt x="227" y="71"/>
                  </a:lnTo>
                  <a:lnTo>
                    <a:pt x="227" y="77"/>
                  </a:lnTo>
                  <a:lnTo>
                    <a:pt x="230" y="77"/>
                  </a:lnTo>
                  <a:lnTo>
                    <a:pt x="234" y="81"/>
                  </a:lnTo>
                  <a:lnTo>
                    <a:pt x="234" y="81"/>
                  </a:lnTo>
                  <a:lnTo>
                    <a:pt x="234" y="84"/>
                  </a:lnTo>
                  <a:lnTo>
                    <a:pt x="237" y="87"/>
                  </a:lnTo>
                  <a:lnTo>
                    <a:pt x="244" y="87"/>
                  </a:lnTo>
                  <a:lnTo>
                    <a:pt x="244" y="90"/>
                  </a:lnTo>
                  <a:lnTo>
                    <a:pt x="244" y="90"/>
                  </a:lnTo>
                  <a:lnTo>
                    <a:pt x="244" y="97"/>
                  </a:lnTo>
                  <a:lnTo>
                    <a:pt x="248" y="97"/>
                  </a:lnTo>
                  <a:lnTo>
                    <a:pt x="251" y="100"/>
                  </a:lnTo>
                  <a:lnTo>
                    <a:pt x="255" y="100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48" y="100"/>
                  </a:lnTo>
                  <a:lnTo>
                    <a:pt x="244" y="100"/>
                  </a:lnTo>
                  <a:lnTo>
                    <a:pt x="237" y="100"/>
                  </a:lnTo>
                  <a:lnTo>
                    <a:pt x="237" y="100"/>
                  </a:lnTo>
                  <a:lnTo>
                    <a:pt x="230" y="100"/>
                  </a:lnTo>
                  <a:lnTo>
                    <a:pt x="227" y="100"/>
                  </a:lnTo>
                  <a:lnTo>
                    <a:pt x="224" y="100"/>
                  </a:lnTo>
                  <a:lnTo>
                    <a:pt x="224" y="97"/>
                  </a:lnTo>
                  <a:lnTo>
                    <a:pt x="220" y="97"/>
                  </a:lnTo>
                  <a:lnTo>
                    <a:pt x="217" y="97"/>
                  </a:lnTo>
                  <a:lnTo>
                    <a:pt x="213" y="97"/>
                  </a:lnTo>
                  <a:lnTo>
                    <a:pt x="210" y="97"/>
                  </a:lnTo>
                  <a:lnTo>
                    <a:pt x="210" y="97"/>
                  </a:lnTo>
                  <a:lnTo>
                    <a:pt x="213" y="100"/>
                  </a:lnTo>
                  <a:lnTo>
                    <a:pt x="210" y="103"/>
                  </a:lnTo>
                  <a:lnTo>
                    <a:pt x="206" y="103"/>
                  </a:lnTo>
                  <a:lnTo>
                    <a:pt x="203" y="103"/>
                  </a:lnTo>
                  <a:lnTo>
                    <a:pt x="200" y="103"/>
                  </a:lnTo>
                  <a:lnTo>
                    <a:pt x="196" y="103"/>
                  </a:lnTo>
                  <a:lnTo>
                    <a:pt x="196" y="103"/>
                  </a:lnTo>
                  <a:lnTo>
                    <a:pt x="196" y="103"/>
                  </a:lnTo>
                  <a:lnTo>
                    <a:pt x="193" y="103"/>
                  </a:lnTo>
                  <a:lnTo>
                    <a:pt x="193" y="100"/>
                  </a:lnTo>
                  <a:lnTo>
                    <a:pt x="189" y="100"/>
                  </a:lnTo>
                  <a:lnTo>
                    <a:pt x="182" y="103"/>
                  </a:lnTo>
                  <a:lnTo>
                    <a:pt x="179" y="103"/>
                  </a:lnTo>
                  <a:lnTo>
                    <a:pt x="179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5" y="107"/>
                  </a:lnTo>
                  <a:lnTo>
                    <a:pt x="162" y="107"/>
                  </a:lnTo>
                  <a:lnTo>
                    <a:pt x="158" y="103"/>
                  </a:lnTo>
                  <a:lnTo>
                    <a:pt x="155" y="107"/>
                  </a:lnTo>
                  <a:lnTo>
                    <a:pt x="151" y="110"/>
                  </a:lnTo>
                  <a:lnTo>
                    <a:pt x="151" y="113"/>
                  </a:lnTo>
                  <a:lnTo>
                    <a:pt x="155" y="113"/>
                  </a:lnTo>
                  <a:lnTo>
                    <a:pt x="155" y="116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41" y="113"/>
                  </a:lnTo>
                  <a:lnTo>
                    <a:pt x="138" y="113"/>
                  </a:lnTo>
                  <a:lnTo>
                    <a:pt x="138" y="113"/>
                  </a:lnTo>
                  <a:lnTo>
                    <a:pt x="134" y="113"/>
                  </a:lnTo>
                  <a:lnTo>
                    <a:pt x="131" y="113"/>
                  </a:lnTo>
                  <a:lnTo>
                    <a:pt x="127" y="113"/>
                  </a:lnTo>
                  <a:lnTo>
                    <a:pt x="124" y="113"/>
                  </a:lnTo>
                  <a:lnTo>
                    <a:pt x="117" y="113"/>
                  </a:lnTo>
                  <a:lnTo>
                    <a:pt x="117" y="110"/>
                  </a:lnTo>
                  <a:lnTo>
                    <a:pt x="114" y="107"/>
                  </a:lnTo>
                  <a:lnTo>
                    <a:pt x="110" y="107"/>
                  </a:lnTo>
                  <a:lnTo>
                    <a:pt x="103" y="103"/>
                  </a:lnTo>
                  <a:lnTo>
                    <a:pt x="100" y="103"/>
                  </a:lnTo>
                  <a:lnTo>
                    <a:pt x="100" y="100"/>
                  </a:lnTo>
                  <a:lnTo>
                    <a:pt x="96" y="100"/>
                  </a:lnTo>
                  <a:lnTo>
                    <a:pt x="96" y="100"/>
                  </a:lnTo>
                  <a:lnTo>
                    <a:pt x="93" y="100"/>
                  </a:lnTo>
                  <a:lnTo>
                    <a:pt x="89" y="103"/>
                  </a:lnTo>
                  <a:lnTo>
                    <a:pt x="86" y="103"/>
                  </a:lnTo>
                  <a:lnTo>
                    <a:pt x="86" y="103"/>
                  </a:lnTo>
                  <a:lnTo>
                    <a:pt x="86" y="107"/>
                  </a:lnTo>
                  <a:lnTo>
                    <a:pt x="83" y="110"/>
                  </a:lnTo>
                  <a:lnTo>
                    <a:pt x="83" y="110"/>
                  </a:lnTo>
                  <a:lnTo>
                    <a:pt x="83" y="113"/>
                  </a:lnTo>
                  <a:lnTo>
                    <a:pt x="79" y="113"/>
                  </a:lnTo>
                  <a:lnTo>
                    <a:pt x="79" y="113"/>
                  </a:lnTo>
                  <a:lnTo>
                    <a:pt x="83" y="116"/>
                  </a:lnTo>
                  <a:lnTo>
                    <a:pt x="83" y="119"/>
                  </a:lnTo>
                  <a:lnTo>
                    <a:pt x="79" y="11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6" y="126"/>
                  </a:lnTo>
                  <a:lnTo>
                    <a:pt x="72" y="123"/>
                  </a:lnTo>
                  <a:lnTo>
                    <a:pt x="72" y="123"/>
                  </a:lnTo>
                  <a:lnTo>
                    <a:pt x="69" y="123"/>
                  </a:lnTo>
                  <a:lnTo>
                    <a:pt x="65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52" y="126"/>
                  </a:lnTo>
                  <a:lnTo>
                    <a:pt x="52" y="126"/>
                  </a:lnTo>
                  <a:lnTo>
                    <a:pt x="48" y="129"/>
                  </a:lnTo>
                  <a:lnTo>
                    <a:pt x="41" y="132"/>
                  </a:lnTo>
                  <a:lnTo>
                    <a:pt x="34" y="145"/>
                  </a:lnTo>
                  <a:lnTo>
                    <a:pt x="34" y="145"/>
                  </a:lnTo>
                  <a:lnTo>
                    <a:pt x="31" y="142"/>
                  </a:lnTo>
                  <a:lnTo>
                    <a:pt x="31" y="139"/>
                  </a:lnTo>
                  <a:lnTo>
                    <a:pt x="31" y="136"/>
                  </a:lnTo>
                  <a:lnTo>
                    <a:pt x="24" y="132"/>
                  </a:lnTo>
                  <a:lnTo>
                    <a:pt x="24" y="132"/>
                  </a:lnTo>
                  <a:lnTo>
                    <a:pt x="21" y="126"/>
                  </a:lnTo>
                  <a:lnTo>
                    <a:pt x="17" y="119"/>
                  </a:lnTo>
                  <a:lnTo>
                    <a:pt x="14" y="116"/>
                  </a:lnTo>
                  <a:lnTo>
                    <a:pt x="10" y="113"/>
                  </a:lnTo>
                  <a:lnTo>
                    <a:pt x="7" y="110"/>
                  </a:lnTo>
                  <a:lnTo>
                    <a:pt x="3" y="110"/>
                  </a:lnTo>
                  <a:lnTo>
                    <a:pt x="3" y="103"/>
                  </a:lnTo>
                  <a:lnTo>
                    <a:pt x="3" y="100"/>
                  </a:lnTo>
                  <a:lnTo>
                    <a:pt x="3" y="97"/>
                  </a:lnTo>
                  <a:lnTo>
                    <a:pt x="3" y="90"/>
                  </a:lnTo>
                  <a:lnTo>
                    <a:pt x="0" y="87"/>
                  </a:lnTo>
                  <a:lnTo>
                    <a:pt x="0" y="84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7" y="77"/>
                  </a:lnTo>
                  <a:lnTo>
                    <a:pt x="10" y="71"/>
                  </a:lnTo>
                  <a:lnTo>
                    <a:pt x="14" y="68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4" y="58"/>
                  </a:lnTo>
                  <a:lnTo>
                    <a:pt x="24" y="61"/>
                  </a:lnTo>
                  <a:lnTo>
                    <a:pt x="28" y="61"/>
                  </a:lnTo>
                  <a:lnTo>
                    <a:pt x="31" y="61"/>
                  </a:lnTo>
                  <a:lnTo>
                    <a:pt x="38" y="61"/>
                  </a:lnTo>
                  <a:lnTo>
                    <a:pt x="38" y="58"/>
                  </a:lnTo>
                  <a:lnTo>
                    <a:pt x="38" y="55"/>
                  </a:lnTo>
                  <a:lnTo>
                    <a:pt x="41" y="52"/>
                  </a:lnTo>
                  <a:lnTo>
                    <a:pt x="45" y="55"/>
                  </a:lnTo>
                  <a:lnTo>
                    <a:pt x="45" y="58"/>
                  </a:lnTo>
                  <a:lnTo>
                    <a:pt x="48" y="58"/>
                  </a:lnTo>
                  <a:lnTo>
                    <a:pt x="52" y="58"/>
                  </a:lnTo>
                  <a:lnTo>
                    <a:pt x="55" y="55"/>
                  </a:lnTo>
                  <a:lnTo>
                    <a:pt x="62" y="55"/>
                  </a:lnTo>
                  <a:lnTo>
                    <a:pt x="65" y="52"/>
                  </a:lnTo>
                  <a:lnTo>
                    <a:pt x="76" y="48"/>
                  </a:lnTo>
                  <a:lnTo>
                    <a:pt x="83" y="48"/>
                  </a:lnTo>
                  <a:lnTo>
                    <a:pt x="86" y="45"/>
                  </a:lnTo>
                  <a:lnTo>
                    <a:pt x="89" y="42"/>
                  </a:lnTo>
                  <a:lnTo>
                    <a:pt x="89" y="42"/>
                  </a:lnTo>
                  <a:lnTo>
                    <a:pt x="86" y="42"/>
                  </a:lnTo>
                  <a:lnTo>
                    <a:pt x="83" y="39"/>
                  </a:lnTo>
                  <a:lnTo>
                    <a:pt x="86" y="35"/>
                  </a:lnTo>
                  <a:lnTo>
                    <a:pt x="86" y="32"/>
                  </a:lnTo>
                  <a:lnTo>
                    <a:pt x="89" y="32"/>
                  </a:lnTo>
                  <a:lnTo>
                    <a:pt x="93" y="32"/>
                  </a:lnTo>
                  <a:lnTo>
                    <a:pt x="96" y="35"/>
                  </a:lnTo>
                  <a:lnTo>
                    <a:pt x="103" y="35"/>
                  </a:lnTo>
                  <a:lnTo>
                    <a:pt x="107" y="35"/>
                  </a:lnTo>
                  <a:lnTo>
                    <a:pt x="117" y="32"/>
                  </a:lnTo>
                  <a:lnTo>
                    <a:pt x="120" y="32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4" y="26"/>
                  </a:lnTo>
                  <a:lnTo>
                    <a:pt x="124" y="23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4" y="13"/>
                  </a:lnTo>
                  <a:lnTo>
                    <a:pt x="138" y="10"/>
                  </a:lnTo>
                  <a:lnTo>
                    <a:pt x="138" y="10"/>
                  </a:lnTo>
                  <a:lnTo>
                    <a:pt x="138" y="6"/>
                  </a:lnTo>
                  <a:lnTo>
                    <a:pt x="144" y="3"/>
                  </a:lnTo>
                  <a:lnTo>
                    <a:pt x="148" y="3"/>
                  </a:lnTo>
                  <a:lnTo>
                    <a:pt x="151" y="3"/>
                  </a:lnTo>
                  <a:lnTo>
                    <a:pt x="155" y="3"/>
                  </a:lnTo>
                  <a:lnTo>
                    <a:pt x="158" y="0"/>
                  </a:lnTo>
                  <a:lnTo>
                    <a:pt x="1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0" name="Freeform 111"/>
            <p:cNvSpPr>
              <a:spLocks/>
            </p:cNvSpPr>
            <p:nvPr/>
          </p:nvSpPr>
          <p:spPr bwMode="auto">
            <a:xfrm>
              <a:off x="6545263" y="3729692"/>
              <a:ext cx="474663" cy="374650"/>
            </a:xfrm>
            <a:custGeom>
              <a:avLst/>
              <a:gdLst>
                <a:gd name="T0" fmla="*/ 282 w 299"/>
                <a:gd name="T1" fmla="*/ 229 h 236"/>
                <a:gd name="T2" fmla="*/ 292 w 299"/>
                <a:gd name="T3" fmla="*/ 68 h 236"/>
                <a:gd name="T4" fmla="*/ 289 w 299"/>
                <a:gd name="T5" fmla="*/ 55 h 236"/>
                <a:gd name="T6" fmla="*/ 292 w 299"/>
                <a:gd name="T7" fmla="*/ 42 h 236"/>
                <a:gd name="T8" fmla="*/ 292 w 299"/>
                <a:gd name="T9" fmla="*/ 35 h 236"/>
                <a:gd name="T10" fmla="*/ 292 w 299"/>
                <a:gd name="T11" fmla="*/ 26 h 236"/>
                <a:gd name="T12" fmla="*/ 289 w 299"/>
                <a:gd name="T13" fmla="*/ 19 h 236"/>
                <a:gd name="T14" fmla="*/ 282 w 299"/>
                <a:gd name="T15" fmla="*/ 19 h 236"/>
                <a:gd name="T16" fmla="*/ 265 w 299"/>
                <a:gd name="T17" fmla="*/ 16 h 236"/>
                <a:gd name="T18" fmla="*/ 254 w 299"/>
                <a:gd name="T19" fmla="*/ 13 h 236"/>
                <a:gd name="T20" fmla="*/ 254 w 299"/>
                <a:gd name="T21" fmla="*/ 9 h 236"/>
                <a:gd name="T22" fmla="*/ 247 w 299"/>
                <a:gd name="T23" fmla="*/ 3 h 236"/>
                <a:gd name="T24" fmla="*/ 234 w 299"/>
                <a:gd name="T25" fmla="*/ 3 h 236"/>
                <a:gd name="T26" fmla="*/ 230 w 299"/>
                <a:gd name="T27" fmla="*/ 3 h 236"/>
                <a:gd name="T28" fmla="*/ 227 w 299"/>
                <a:gd name="T29" fmla="*/ 3 h 236"/>
                <a:gd name="T30" fmla="*/ 210 w 299"/>
                <a:gd name="T31" fmla="*/ 6 h 236"/>
                <a:gd name="T32" fmla="*/ 196 w 299"/>
                <a:gd name="T33" fmla="*/ 13 h 236"/>
                <a:gd name="T34" fmla="*/ 192 w 299"/>
                <a:gd name="T35" fmla="*/ 19 h 236"/>
                <a:gd name="T36" fmla="*/ 196 w 299"/>
                <a:gd name="T37" fmla="*/ 32 h 236"/>
                <a:gd name="T38" fmla="*/ 196 w 299"/>
                <a:gd name="T39" fmla="*/ 42 h 236"/>
                <a:gd name="T40" fmla="*/ 192 w 299"/>
                <a:gd name="T41" fmla="*/ 48 h 236"/>
                <a:gd name="T42" fmla="*/ 182 w 299"/>
                <a:gd name="T43" fmla="*/ 55 h 236"/>
                <a:gd name="T44" fmla="*/ 165 w 299"/>
                <a:gd name="T45" fmla="*/ 45 h 236"/>
                <a:gd name="T46" fmla="*/ 151 w 299"/>
                <a:gd name="T47" fmla="*/ 39 h 236"/>
                <a:gd name="T48" fmla="*/ 131 w 299"/>
                <a:gd name="T49" fmla="*/ 32 h 236"/>
                <a:gd name="T50" fmla="*/ 120 w 299"/>
                <a:gd name="T51" fmla="*/ 32 h 236"/>
                <a:gd name="T52" fmla="*/ 106 w 299"/>
                <a:gd name="T53" fmla="*/ 19 h 236"/>
                <a:gd name="T54" fmla="*/ 103 w 299"/>
                <a:gd name="T55" fmla="*/ 9 h 236"/>
                <a:gd name="T56" fmla="*/ 82 w 299"/>
                <a:gd name="T57" fmla="*/ 6 h 236"/>
                <a:gd name="T58" fmla="*/ 69 w 299"/>
                <a:gd name="T59" fmla="*/ 3 h 236"/>
                <a:gd name="T60" fmla="*/ 45 w 299"/>
                <a:gd name="T61" fmla="*/ 3 h 236"/>
                <a:gd name="T62" fmla="*/ 38 w 299"/>
                <a:gd name="T63" fmla="*/ 0 h 236"/>
                <a:gd name="T64" fmla="*/ 38 w 299"/>
                <a:gd name="T65" fmla="*/ 6 h 236"/>
                <a:gd name="T66" fmla="*/ 34 w 299"/>
                <a:gd name="T67" fmla="*/ 13 h 236"/>
                <a:gd name="T68" fmla="*/ 24 w 299"/>
                <a:gd name="T69" fmla="*/ 22 h 236"/>
                <a:gd name="T70" fmla="*/ 14 w 299"/>
                <a:gd name="T71" fmla="*/ 26 h 236"/>
                <a:gd name="T72" fmla="*/ 10 w 299"/>
                <a:gd name="T73" fmla="*/ 29 h 236"/>
                <a:gd name="T74" fmla="*/ 14 w 299"/>
                <a:gd name="T75" fmla="*/ 35 h 236"/>
                <a:gd name="T76" fmla="*/ 14 w 299"/>
                <a:gd name="T77" fmla="*/ 42 h 236"/>
                <a:gd name="T78" fmla="*/ 10 w 299"/>
                <a:gd name="T79" fmla="*/ 45 h 236"/>
                <a:gd name="T80" fmla="*/ 7 w 299"/>
                <a:gd name="T81" fmla="*/ 48 h 236"/>
                <a:gd name="T82" fmla="*/ 3 w 299"/>
                <a:gd name="T83" fmla="*/ 48 h 236"/>
                <a:gd name="T84" fmla="*/ 0 w 299"/>
                <a:gd name="T85" fmla="*/ 51 h 236"/>
                <a:gd name="T86" fmla="*/ 3 w 299"/>
                <a:gd name="T87" fmla="*/ 58 h 236"/>
                <a:gd name="T88" fmla="*/ 7 w 299"/>
                <a:gd name="T89" fmla="*/ 74 h 236"/>
                <a:gd name="T90" fmla="*/ 7 w 299"/>
                <a:gd name="T91" fmla="*/ 80 h 236"/>
                <a:gd name="T92" fmla="*/ 10 w 299"/>
                <a:gd name="T93" fmla="*/ 93 h 236"/>
                <a:gd name="T94" fmla="*/ 7 w 299"/>
                <a:gd name="T95" fmla="*/ 103 h 236"/>
                <a:gd name="T96" fmla="*/ 10 w 299"/>
                <a:gd name="T97" fmla="*/ 113 h 236"/>
                <a:gd name="T98" fmla="*/ 3 w 299"/>
                <a:gd name="T99" fmla="*/ 119 h 236"/>
                <a:gd name="T100" fmla="*/ 0 w 299"/>
                <a:gd name="T101" fmla="*/ 122 h 236"/>
                <a:gd name="T102" fmla="*/ 7 w 299"/>
                <a:gd name="T103" fmla="*/ 129 h 236"/>
                <a:gd name="T104" fmla="*/ 14 w 299"/>
                <a:gd name="T105" fmla="*/ 135 h 236"/>
                <a:gd name="T106" fmla="*/ 14 w 299"/>
                <a:gd name="T107" fmla="*/ 142 h 236"/>
                <a:gd name="T108" fmla="*/ 14 w 299"/>
                <a:gd name="T109" fmla="*/ 148 h 236"/>
                <a:gd name="T110" fmla="*/ 17 w 299"/>
                <a:gd name="T111" fmla="*/ 155 h 236"/>
                <a:gd name="T112" fmla="*/ 34 w 299"/>
                <a:gd name="T113" fmla="*/ 155 h 236"/>
                <a:gd name="T114" fmla="*/ 38 w 299"/>
                <a:gd name="T115" fmla="*/ 161 h 236"/>
                <a:gd name="T116" fmla="*/ 45 w 299"/>
                <a:gd name="T117" fmla="*/ 168 h 236"/>
                <a:gd name="T118" fmla="*/ 48 w 299"/>
                <a:gd name="T119" fmla="*/ 174 h 236"/>
                <a:gd name="T120" fmla="*/ 86 w 299"/>
                <a:gd name="T121" fmla="*/ 184 h 236"/>
                <a:gd name="T122" fmla="*/ 282 w 299"/>
                <a:gd name="T123" fmla="*/ 236 h 236"/>
                <a:gd name="T124" fmla="*/ 282 w 299"/>
                <a:gd name="T125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9" h="236">
                  <a:moveTo>
                    <a:pt x="282" y="236"/>
                  </a:moveTo>
                  <a:lnTo>
                    <a:pt x="282" y="229"/>
                  </a:lnTo>
                  <a:lnTo>
                    <a:pt x="299" y="229"/>
                  </a:lnTo>
                  <a:lnTo>
                    <a:pt x="292" y="68"/>
                  </a:lnTo>
                  <a:lnTo>
                    <a:pt x="289" y="58"/>
                  </a:lnTo>
                  <a:lnTo>
                    <a:pt x="289" y="55"/>
                  </a:lnTo>
                  <a:lnTo>
                    <a:pt x="289" y="48"/>
                  </a:lnTo>
                  <a:lnTo>
                    <a:pt x="292" y="42"/>
                  </a:lnTo>
                  <a:lnTo>
                    <a:pt x="292" y="39"/>
                  </a:lnTo>
                  <a:lnTo>
                    <a:pt x="292" y="35"/>
                  </a:lnTo>
                  <a:lnTo>
                    <a:pt x="292" y="29"/>
                  </a:lnTo>
                  <a:lnTo>
                    <a:pt x="292" y="26"/>
                  </a:lnTo>
                  <a:lnTo>
                    <a:pt x="292" y="19"/>
                  </a:lnTo>
                  <a:lnTo>
                    <a:pt x="289" y="19"/>
                  </a:lnTo>
                  <a:lnTo>
                    <a:pt x="285" y="16"/>
                  </a:lnTo>
                  <a:lnTo>
                    <a:pt x="282" y="19"/>
                  </a:lnTo>
                  <a:lnTo>
                    <a:pt x="268" y="16"/>
                  </a:lnTo>
                  <a:lnTo>
                    <a:pt x="265" y="16"/>
                  </a:lnTo>
                  <a:lnTo>
                    <a:pt x="261" y="13"/>
                  </a:lnTo>
                  <a:lnTo>
                    <a:pt x="254" y="13"/>
                  </a:lnTo>
                  <a:lnTo>
                    <a:pt x="254" y="9"/>
                  </a:lnTo>
                  <a:lnTo>
                    <a:pt x="254" y="9"/>
                  </a:lnTo>
                  <a:lnTo>
                    <a:pt x="254" y="9"/>
                  </a:lnTo>
                  <a:lnTo>
                    <a:pt x="247" y="3"/>
                  </a:lnTo>
                  <a:lnTo>
                    <a:pt x="241" y="3"/>
                  </a:lnTo>
                  <a:lnTo>
                    <a:pt x="234" y="3"/>
                  </a:lnTo>
                  <a:lnTo>
                    <a:pt x="234" y="3"/>
                  </a:lnTo>
                  <a:lnTo>
                    <a:pt x="230" y="3"/>
                  </a:lnTo>
                  <a:lnTo>
                    <a:pt x="227" y="3"/>
                  </a:lnTo>
                  <a:lnTo>
                    <a:pt x="227" y="3"/>
                  </a:lnTo>
                  <a:lnTo>
                    <a:pt x="220" y="3"/>
                  </a:lnTo>
                  <a:lnTo>
                    <a:pt x="210" y="6"/>
                  </a:lnTo>
                  <a:lnTo>
                    <a:pt x="203" y="9"/>
                  </a:lnTo>
                  <a:lnTo>
                    <a:pt x="196" y="13"/>
                  </a:lnTo>
                  <a:lnTo>
                    <a:pt x="196" y="16"/>
                  </a:lnTo>
                  <a:lnTo>
                    <a:pt x="192" y="19"/>
                  </a:lnTo>
                  <a:lnTo>
                    <a:pt x="192" y="26"/>
                  </a:lnTo>
                  <a:lnTo>
                    <a:pt x="196" y="32"/>
                  </a:lnTo>
                  <a:lnTo>
                    <a:pt x="199" y="39"/>
                  </a:lnTo>
                  <a:lnTo>
                    <a:pt x="196" y="42"/>
                  </a:lnTo>
                  <a:lnTo>
                    <a:pt x="192" y="45"/>
                  </a:lnTo>
                  <a:lnTo>
                    <a:pt x="192" y="48"/>
                  </a:lnTo>
                  <a:lnTo>
                    <a:pt x="186" y="51"/>
                  </a:lnTo>
                  <a:lnTo>
                    <a:pt x="182" y="55"/>
                  </a:lnTo>
                  <a:lnTo>
                    <a:pt x="172" y="51"/>
                  </a:lnTo>
                  <a:lnTo>
                    <a:pt x="165" y="45"/>
                  </a:lnTo>
                  <a:lnTo>
                    <a:pt x="158" y="42"/>
                  </a:lnTo>
                  <a:lnTo>
                    <a:pt x="151" y="39"/>
                  </a:lnTo>
                  <a:lnTo>
                    <a:pt x="137" y="32"/>
                  </a:lnTo>
                  <a:lnTo>
                    <a:pt x="131" y="32"/>
                  </a:lnTo>
                  <a:lnTo>
                    <a:pt x="127" y="32"/>
                  </a:lnTo>
                  <a:lnTo>
                    <a:pt x="120" y="32"/>
                  </a:lnTo>
                  <a:lnTo>
                    <a:pt x="113" y="29"/>
                  </a:lnTo>
                  <a:lnTo>
                    <a:pt x="106" y="19"/>
                  </a:lnTo>
                  <a:lnTo>
                    <a:pt x="106" y="16"/>
                  </a:lnTo>
                  <a:lnTo>
                    <a:pt x="103" y="9"/>
                  </a:lnTo>
                  <a:lnTo>
                    <a:pt x="89" y="9"/>
                  </a:lnTo>
                  <a:lnTo>
                    <a:pt x="82" y="6"/>
                  </a:lnTo>
                  <a:lnTo>
                    <a:pt x="72" y="3"/>
                  </a:lnTo>
                  <a:lnTo>
                    <a:pt x="69" y="3"/>
                  </a:lnTo>
                  <a:lnTo>
                    <a:pt x="55" y="6"/>
                  </a:lnTo>
                  <a:lnTo>
                    <a:pt x="45" y="3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8" y="6"/>
                  </a:lnTo>
                  <a:lnTo>
                    <a:pt x="38" y="9"/>
                  </a:lnTo>
                  <a:lnTo>
                    <a:pt x="34" y="13"/>
                  </a:lnTo>
                  <a:lnTo>
                    <a:pt x="24" y="19"/>
                  </a:lnTo>
                  <a:lnTo>
                    <a:pt x="24" y="22"/>
                  </a:lnTo>
                  <a:lnTo>
                    <a:pt x="20" y="26"/>
                  </a:lnTo>
                  <a:lnTo>
                    <a:pt x="14" y="26"/>
                  </a:lnTo>
                  <a:lnTo>
                    <a:pt x="14" y="29"/>
                  </a:lnTo>
                  <a:lnTo>
                    <a:pt x="10" y="29"/>
                  </a:lnTo>
                  <a:lnTo>
                    <a:pt x="10" y="32"/>
                  </a:lnTo>
                  <a:lnTo>
                    <a:pt x="14" y="35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0" y="45"/>
                  </a:lnTo>
                  <a:lnTo>
                    <a:pt x="10" y="48"/>
                  </a:lnTo>
                  <a:lnTo>
                    <a:pt x="7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0" y="51"/>
                  </a:lnTo>
                  <a:lnTo>
                    <a:pt x="0" y="58"/>
                  </a:lnTo>
                  <a:lnTo>
                    <a:pt x="3" y="58"/>
                  </a:lnTo>
                  <a:lnTo>
                    <a:pt x="7" y="61"/>
                  </a:lnTo>
                  <a:lnTo>
                    <a:pt x="7" y="74"/>
                  </a:lnTo>
                  <a:lnTo>
                    <a:pt x="7" y="77"/>
                  </a:lnTo>
                  <a:lnTo>
                    <a:pt x="7" y="80"/>
                  </a:lnTo>
                  <a:lnTo>
                    <a:pt x="7" y="87"/>
                  </a:lnTo>
                  <a:lnTo>
                    <a:pt x="10" y="93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7" y="106"/>
                  </a:lnTo>
                  <a:lnTo>
                    <a:pt x="10" y="113"/>
                  </a:lnTo>
                  <a:lnTo>
                    <a:pt x="7" y="116"/>
                  </a:lnTo>
                  <a:lnTo>
                    <a:pt x="3" y="119"/>
                  </a:lnTo>
                  <a:lnTo>
                    <a:pt x="0" y="119"/>
                  </a:lnTo>
                  <a:lnTo>
                    <a:pt x="0" y="122"/>
                  </a:lnTo>
                  <a:lnTo>
                    <a:pt x="3" y="122"/>
                  </a:lnTo>
                  <a:lnTo>
                    <a:pt x="7" y="129"/>
                  </a:lnTo>
                  <a:lnTo>
                    <a:pt x="10" y="135"/>
                  </a:lnTo>
                  <a:lnTo>
                    <a:pt x="14" y="135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7" y="152"/>
                  </a:lnTo>
                  <a:lnTo>
                    <a:pt x="17" y="155"/>
                  </a:lnTo>
                  <a:lnTo>
                    <a:pt x="27" y="155"/>
                  </a:lnTo>
                  <a:lnTo>
                    <a:pt x="34" y="155"/>
                  </a:lnTo>
                  <a:lnTo>
                    <a:pt x="38" y="158"/>
                  </a:lnTo>
                  <a:lnTo>
                    <a:pt x="38" y="161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8" y="171"/>
                  </a:lnTo>
                  <a:lnTo>
                    <a:pt x="48" y="174"/>
                  </a:lnTo>
                  <a:lnTo>
                    <a:pt x="82" y="181"/>
                  </a:lnTo>
                  <a:lnTo>
                    <a:pt x="86" y="184"/>
                  </a:lnTo>
                  <a:lnTo>
                    <a:pt x="127" y="168"/>
                  </a:lnTo>
                  <a:lnTo>
                    <a:pt x="282" y="236"/>
                  </a:lnTo>
                  <a:lnTo>
                    <a:pt x="282" y="236"/>
                  </a:lnTo>
                  <a:lnTo>
                    <a:pt x="282" y="2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1" name="Freeform 112"/>
            <p:cNvSpPr>
              <a:spLocks noEditPoints="1"/>
            </p:cNvSpPr>
            <p:nvPr/>
          </p:nvSpPr>
          <p:spPr bwMode="auto">
            <a:xfrm>
              <a:off x="6484938" y="3605867"/>
              <a:ext cx="120650" cy="200025"/>
            </a:xfrm>
            <a:custGeom>
              <a:avLst/>
              <a:gdLst>
                <a:gd name="T0" fmla="*/ 41 w 76"/>
                <a:gd name="T1" fmla="*/ 126 h 126"/>
                <a:gd name="T2" fmla="*/ 48 w 76"/>
                <a:gd name="T3" fmla="*/ 126 h 126"/>
                <a:gd name="T4" fmla="*/ 52 w 76"/>
                <a:gd name="T5" fmla="*/ 120 h 126"/>
                <a:gd name="T6" fmla="*/ 52 w 76"/>
                <a:gd name="T7" fmla="*/ 120 h 126"/>
                <a:gd name="T8" fmla="*/ 48 w 76"/>
                <a:gd name="T9" fmla="*/ 110 h 126"/>
                <a:gd name="T10" fmla="*/ 52 w 76"/>
                <a:gd name="T11" fmla="*/ 107 h 126"/>
                <a:gd name="T12" fmla="*/ 58 w 76"/>
                <a:gd name="T13" fmla="*/ 104 h 126"/>
                <a:gd name="T14" fmla="*/ 62 w 76"/>
                <a:gd name="T15" fmla="*/ 97 h 126"/>
                <a:gd name="T16" fmla="*/ 76 w 76"/>
                <a:gd name="T17" fmla="*/ 87 h 126"/>
                <a:gd name="T18" fmla="*/ 72 w 76"/>
                <a:gd name="T19" fmla="*/ 78 h 126"/>
                <a:gd name="T20" fmla="*/ 72 w 76"/>
                <a:gd name="T21" fmla="*/ 78 h 126"/>
                <a:gd name="T22" fmla="*/ 65 w 76"/>
                <a:gd name="T23" fmla="*/ 71 h 126"/>
                <a:gd name="T24" fmla="*/ 62 w 76"/>
                <a:gd name="T25" fmla="*/ 68 h 126"/>
                <a:gd name="T26" fmla="*/ 62 w 76"/>
                <a:gd name="T27" fmla="*/ 71 h 126"/>
                <a:gd name="T28" fmla="*/ 58 w 76"/>
                <a:gd name="T29" fmla="*/ 71 h 126"/>
                <a:gd name="T30" fmla="*/ 55 w 76"/>
                <a:gd name="T31" fmla="*/ 68 h 126"/>
                <a:gd name="T32" fmla="*/ 45 w 76"/>
                <a:gd name="T33" fmla="*/ 62 h 126"/>
                <a:gd name="T34" fmla="*/ 55 w 76"/>
                <a:gd name="T35" fmla="*/ 49 h 126"/>
                <a:gd name="T36" fmla="*/ 62 w 76"/>
                <a:gd name="T37" fmla="*/ 42 h 126"/>
                <a:gd name="T38" fmla="*/ 62 w 76"/>
                <a:gd name="T39" fmla="*/ 39 h 126"/>
                <a:gd name="T40" fmla="*/ 62 w 76"/>
                <a:gd name="T41" fmla="*/ 36 h 126"/>
                <a:gd name="T42" fmla="*/ 55 w 76"/>
                <a:gd name="T43" fmla="*/ 29 h 126"/>
                <a:gd name="T44" fmla="*/ 52 w 76"/>
                <a:gd name="T45" fmla="*/ 20 h 126"/>
                <a:gd name="T46" fmla="*/ 58 w 76"/>
                <a:gd name="T47" fmla="*/ 13 h 126"/>
                <a:gd name="T48" fmla="*/ 62 w 76"/>
                <a:gd name="T49" fmla="*/ 7 h 126"/>
                <a:gd name="T50" fmla="*/ 52 w 76"/>
                <a:gd name="T51" fmla="*/ 10 h 126"/>
                <a:gd name="T52" fmla="*/ 48 w 76"/>
                <a:gd name="T53" fmla="*/ 10 h 126"/>
                <a:gd name="T54" fmla="*/ 45 w 76"/>
                <a:gd name="T55" fmla="*/ 3 h 126"/>
                <a:gd name="T56" fmla="*/ 41 w 76"/>
                <a:gd name="T57" fmla="*/ 0 h 126"/>
                <a:gd name="T58" fmla="*/ 38 w 76"/>
                <a:gd name="T59" fmla="*/ 3 h 126"/>
                <a:gd name="T60" fmla="*/ 31 w 76"/>
                <a:gd name="T61" fmla="*/ 0 h 126"/>
                <a:gd name="T62" fmla="*/ 17 w 76"/>
                <a:gd name="T63" fmla="*/ 7 h 126"/>
                <a:gd name="T64" fmla="*/ 17 w 76"/>
                <a:gd name="T65" fmla="*/ 10 h 126"/>
                <a:gd name="T66" fmla="*/ 17 w 76"/>
                <a:gd name="T67" fmla="*/ 16 h 126"/>
                <a:gd name="T68" fmla="*/ 14 w 76"/>
                <a:gd name="T69" fmla="*/ 29 h 126"/>
                <a:gd name="T70" fmla="*/ 17 w 76"/>
                <a:gd name="T71" fmla="*/ 36 h 126"/>
                <a:gd name="T72" fmla="*/ 17 w 76"/>
                <a:gd name="T73" fmla="*/ 39 h 126"/>
                <a:gd name="T74" fmla="*/ 17 w 76"/>
                <a:gd name="T75" fmla="*/ 42 h 126"/>
                <a:gd name="T76" fmla="*/ 14 w 76"/>
                <a:gd name="T77" fmla="*/ 52 h 126"/>
                <a:gd name="T78" fmla="*/ 10 w 76"/>
                <a:gd name="T79" fmla="*/ 55 h 126"/>
                <a:gd name="T80" fmla="*/ 3 w 76"/>
                <a:gd name="T81" fmla="*/ 58 h 126"/>
                <a:gd name="T82" fmla="*/ 0 w 76"/>
                <a:gd name="T83" fmla="*/ 68 h 126"/>
                <a:gd name="T84" fmla="*/ 3 w 76"/>
                <a:gd name="T85" fmla="*/ 75 h 126"/>
                <a:gd name="T86" fmla="*/ 7 w 76"/>
                <a:gd name="T87" fmla="*/ 78 h 126"/>
                <a:gd name="T88" fmla="*/ 14 w 76"/>
                <a:gd name="T89" fmla="*/ 87 h 126"/>
                <a:gd name="T90" fmla="*/ 21 w 76"/>
                <a:gd name="T91" fmla="*/ 91 h 126"/>
                <a:gd name="T92" fmla="*/ 27 w 76"/>
                <a:gd name="T93" fmla="*/ 94 h 126"/>
                <a:gd name="T94" fmla="*/ 41 w 76"/>
                <a:gd name="T95" fmla="*/ 126 h 126"/>
                <a:gd name="T96" fmla="*/ 58 w 76"/>
                <a:gd name="T97" fmla="*/ 65 h 126"/>
                <a:gd name="T98" fmla="*/ 62 w 76"/>
                <a:gd name="T99" fmla="*/ 65 h 126"/>
                <a:gd name="T100" fmla="*/ 58 w 76"/>
                <a:gd name="T101" fmla="*/ 6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6" h="126">
                  <a:moveTo>
                    <a:pt x="41" y="126"/>
                  </a:moveTo>
                  <a:lnTo>
                    <a:pt x="41" y="126"/>
                  </a:lnTo>
                  <a:lnTo>
                    <a:pt x="45" y="126"/>
                  </a:lnTo>
                  <a:lnTo>
                    <a:pt x="48" y="126"/>
                  </a:lnTo>
                  <a:lnTo>
                    <a:pt x="48" y="123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3"/>
                  </a:lnTo>
                  <a:lnTo>
                    <a:pt x="48" y="110"/>
                  </a:lnTo>
                  <a:lnTo>
                    <a:pt x="48" y="107"/>
                  </a:lnTo>
                  <a:lnTo>
                    <a:pt x="52" y="107"/>
                  </a:lnTo>
                  <a:lnTo>
                    <a:pt x="52" y="104"/>
                  </a:lnTo>
                  <a:lnTo>
                    <a:pt x="58" y="104"/>
                  </a:lnTo>
                  <a:lnTo>
                    <a:pt x="62" y="100"/>
                  </a:lnTo>
                  <a:lnTo>
                    <a:pt x="62" y="97"/>
                  </a:lnTo>
                  <a:lnTo>
                    <a:pt x="72" y="91"/>
                  </a:lnTo>
                  <a:lnTo>
                    <a:pt x="76" y="87"/>
                  </a:lnTo>
                  <a:lnTo>
                    <a:pt x="76" y="84"/>
                  </a:lnTo>
                  <a:lnTo>
                    <a:pt x="72" y="78"/>
                  </a:lnTo>
                  <a:lnTo>
                    <a:pt x="76" y="78"/>
                  </a:lnTo>
                  <a:lnTo>
                    <a:pt x="72" y="78"/>
                  </a:lnTo>
                  <a:lnTo>
                    <a:pt x="65" y="75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71"/>
                  </a:lnTo>
                  <a:lnTo>
                    <a:pt x="58" y="71"/>
                  </a:lnTo>
                  <a:lnTo>
                    <a:pt x="58" y="71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48" y="65"/>
                  </a:lnTo>
                  <a:lnTo>
                    <a:pt x="45" y="62"/>
                  </a:lnTo>
                  <a:lnTo>
                    <a:pt x="48" y="55"/>
                  </a:lnTo>
                  <a:lnTo>
                    <a:pt x="55" y="49"/>
                  </a:lnTo>
                  <a:lnTo>
                    <a:pt x="62" y="45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2" y="39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3"/>
                  </a:lnTo>
                  <a:lnTo>
                    <a:pt x="55" y="29"/>
                  </a:lnTo>
                  <a:lnTo>
                    <a:pt x="52" y="23"/>
                  </a:lnTo>
                  <a:lnTo>
                    <a:pt x="52" y="20"/>
                  </a:lnTo>
                  <a:lnTo>
                    <a:pt x="55" y="16"/>
                  </a:lnTo>
                  <a:lnTo>
                    <a:pt x="58" y="13"/>
                  </a:lnTo>
                  <a:lnTo>
                    <a:pt x="62" y="10"/>
                  </a:lnTo>
                  <a:lnTo>
                    <a:pt x="62" y="7"/>
                  </a:lnTo>
                  <a:lnTo>
                    <a:pt x="58" y="3"/>
                  </a:lnTo>
                  <a:lnTo>
                    <a:pt x="52" y="10"/>
                  </a:lnTo>
                  <a:lnTo>
                    <a:pt x="48" y="13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8" y="3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10"/>
                  </a:lnTo>
                  <a:lnTo>
                    <a:pt x="17" y="13"/>
                  </a:lnTo>
                  <a:lnTo>
                    <a:pt x="17" y="16"/>
                  </a:lnTo>
                  <a:lnTo>
                    <a:pt x="17" y="23"/>
                  </a:lnTo>
                  <a:lnTo>
                    <a:pt x="14" y="29"/>
                  </a:lnTo>
                  <a:lnTo>
                    <a:pt x="14" y="36"/>
                  </a:lnTo>
                  <a:lnTo>
                    <a:pt x="17" y="36"/>
                  </a:lnTo>
                  <a:lnTo>
                    <a:pt x="17" y="39"/>
                  </a:lnTo>
                  <a:lnTo>
                    <a:pt x="17" y="39"/>
                  </a:lnTo>
                  <a:lnTo>
                    <a:pt x="14" y="42"/>
                  </a:lnTo>
                  <a:lnTo>
                    <a:pt x="17" y="42"/>
                  </a:lnTo>
                  <a:lnTo>
                    <a:pt x="14" y="45"/>
                  </a:lnTo>
                  <a:lnTo>
                    <a:pt x="14" y="52"/>
                  </a:lnTo>
                  <a:lnTo>
                    <a:pt x="10" y="52"/>
                  </a:lnTo>
                  <a:lnTo>
                    <a:pt x="10" y="55"/>
                  </a:lnTo>
                  <a:lnTo>
                    <a:pt x="7" y="55"/>
                  </a:lnTo>
                  <a:lnTo>
                    <a:pt x="3" y="5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3" y="71"/>
                  </a:lnTo>
                  <a:lnTo>
                    <a:pt x="3" y="75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14" y="81"/>
                  </a:lnTo>
                  <a:lnTo>
                    <a:pt x="14" y="87"/>
                  </a:lnTo>
                  <a:lnTo>
                    <a:pt x="17" y="87"/>
                  </a:lnTo>
                  <a:lnTo>
                    <a:pt x="21" y="91"/>
                  </a:lnTo>
                  <a:lnTo>
                    <a:pt x="24" y="91"/>
                  </a:lnTo>
                  <a:lnTo>
                    <a:pt x="27" y="94"/>
                  </a:lnTo>
                  <a:lnTo>
                    <a:pt x="41" y="126"/>
                  </a:lnTo>
                  <a:lnTo>
                    <a:pt x="41" y="126"/>
                  </a:lnTo>
                  <a:close/>
                  <a:moveTo>
                    <a:pt x="58" y="65"/>
                  </a:moveTo>
                  <a:lnTo>
                    <a:pt x="58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58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2" name="Freeform 113"/>
            <p:cNvSpPr>
              <a:spLocks/>
            </p:cNvSpPr>
            <p:nvPr/>
          </p:nvSpPr>
          <p:spPr bwMode="auto">
            <a:xfrm>
              <a:off x="6010276" y="3610630"/>
              <a:ext cx="611188" cy="508000"/>
            </a:xfrm>
            <a:custGeom>
              <a:avLst/>
              <a:gdLst>
                <a:gd name="T0" fmla="*/ 382 w 385"/>
                <a:gd name="T1" fmla="*/ 243 h 320"/>
                <a:gd name="T2" fmla="*/ 375 w 385"/>
                <a:gd name="T3" fmla="*/ 233 h 320"/>
                <a:gd name="T4" fmla="*/ 354 w 385"/>
                <a:gd name="T5" fmla="*/ 230 h 320"/>
                <a:gd name="T6" fmla="*/ 351 w 385"/>
                <a:gd name="T7" fmla="*/ 223 h 320"/>
                <a:gd name="T8" fmla="*/ 351 w 385"/>
                <a:gd name="T9" fmla="*/ 210 h 320"/>
                <a:gd name="T10" fmla="*/ 340 w 385"/>
                <a:gd name="T11" fmla="*/ 197 h 320"/>
                <a:gd name="T12" fmla="*/ 340 w 385"/>
                <a:gd name="T13" fmla="*/ 194 h 320"/>
                <a:gd name="T14" fmla="*/ 344 w 385"/>
                <a:gd name="T15" fmla="*/ 181 h 320"/>
                <a:gd name="T16" fmla="*/ 347 w 385"/>
                <a:gd name="T17" fmla="*/ 168 h 320"/>
                <a:gd name="T18" fmla="*/ 344 w 385"/>
                <a:gd name="T19" fmla="*/ 152 h 320"/>
                <a:gd name="T20" fmla="*/ 340 w 385"/>
                <a:gd name="T21" fmla="*/ 133 h 320"/>
                <a:gd name="T22" fmla="*/ 340 w 385"/>
                <a:gd name="T23" fmla="*/ 123 h 320"/>
                <a:gd name="T24" fmla="*/ 320 w 385"/>
                <a:gd name="T25" fmla="*/ 88 h 320"/>
                <a:gd name="T26" fmla="*/ 313 w 385"/>
                <a:gd name="T27" fmla="*/ 78 h 320"/>
                <a:gd name="T28" fmla="*/ 302 w 385"/>
                <a:gd name="T29" fmla="*/ 72 h 320"/>
                <a:gd name="T30" fmla="*/ 299 w 385"/>
                <a:gd name="T31" fmla="*/ 65 h 320"/>
                <a:gd name="T32" fmla="*/ 309 w 385"/>
                <a:gd name="T33" fmla="*/ 52 h 320"/>
                <a:gd name="T34" fmla="*/ 313 w 385"/>
                <a:gd name="T35" fmla="*/ 42 h 320"/>
                <a:gd name="T36" fmla="*/ 316 w 385"/>
                <a:gd name="T37" fmla="*/ 36 h 320"/>
                <a:gd name="T38" fmla="*/ 313 w 385"/>
                <a:gd name="T39" fmla="*/ 33 h 320"/>
                <a:gd name="T40" fmla="*/ 316 w 385"/>
                <a:gd name="T41" fmla="*/ 13 h 320"/>
                <a:gd name="T42" fmla="*/ 316 w 385"/>
                <a:gd name="T43" fmla="*/ 4 h 320"/>
                <a:gd name="T44" fmla="*/ 306 w 385"/>
                <a:gd name="T45" fmla="*/ 4 h 320"/>
                <a:gd name="T46" fmla="*/ 289 w 385"/>
                <a:gd name="T47" fmla="*/ 0 h 320"/>
                <a:gd name="T48" fmla="*/ 278 w 385"/>
                <a:gd name="T49" fmla="*/ 7 h 320"/>
                <a:gd name="T50" fmla="*/ 271 w 385"/>
                <a:gd name="T51" fmla="*/ 4 h 320"/>
                <a:gd name="T52" fmla="*/ 265 w 385"/>
                <a:gd name="T53" fmla="*/ 7 h 320"/>
                <a:gd name="T54" fmla="*/ 258 w 385"/>
                <a:gd name="T55" fmla="*/ 10 h 320"/>
                <a:gd name="T56" fmla="*/ 244 w 385"/>
                <a:gd name="T57" fmla="*/ 7 h 320"/>
                <a:gd name="T58" fmla="*/ 234 w 385"/>
                <a:gd name="T59" fmla="*/ 4 h 320"/>
                <a:gd name="T60" fmla="*/ 223 w 385"/>
                <a:gd name="T61" fmla="*/ 4 h 320"/>
                <a:gd name="T62" fmla="*/ 213 w 385"/>
                <a:gd name="T63" fmla="*/ 7 h 320"/>
                <a:gd name="T64" fmla="*/ 203 w 385"/>
                <a:gd name="T65" fmla="*/ 10 h 320"/>
                <a:gd name="T66" fmla="*/ 185 w 385"/>
                <a:gd name="T67" fmla="*/ 10 h 320"/>
                <a:gd name="T68" fmla="*/ 168 w 385"/>
                <a:gd name="T69" fmla="*/ 17 h 320"/>
                <a:gd name="T70" fmla="*/ 161 w 385"/>
                <a:gd name="T71" fmla="*/ 23 h 320"/>
                <a:gd name="T72" fmla="*/ 154 w 385"/>
                <a:gd name="T73" fmla="*/ 23 h 320"/>
                <a:gd name="T74" fmla="*/ 148 w 385"/>
                <a:gd name="T75" fmla="*/ 26 h 320"/>
                <a:gd name="T76" fmla="*/ 141 w 385"/>
                <a:gd name="T77" fmla="*/ 33 h 320"/>
                <a:gd name="T78" fmla="*/ 124 w 385"/>
                <a:gd name="T79" fmla="*/ 36 h 320"/>
                <a:gd name="T80" fmla="*/ 130 w 385"/>
                <a:gd name="T81" fmla="*/ 42 h 320"/>
                <a:gd name="T82" fmla="*/ 130 w 385"/>
                <a:gd name="T83" fmla="*/ 52 h 320"/>
                <a:gd name="T84" fmla="*/ 134 w 385"/>
                <a:gd name="T85" fmla="*/ 75 h 320"/>
                <a:gd name="T86" fmla="*/ 141 w 385"/>
                <a:gd name="T87" fmla="*/ 84 h 320"/>
                <a:gd name="T88" fmla="*/ 144 w 385"/>
                <a:gd name="T89" fmla="*/ 84 h 320"/>
                <a:gd name="T90" fmla="*/ 141 w 385"/>
                <a:gd name="T91" fmla="*/ 94 h 320"/>
                <a:gd name="T92" fmla="*/ 110 w 385"/>
                <a:gd name="T93" fmla="*/ 101 h 320"/>
                <a:gd name="T94" fmla="*/ 103 w 385"/>
                <a:gd name="T95" fmla="*/ 114 h 320"/>
                <a:gd name="T96" fmla="*/ 68 w 385"/>
                <a:gd name="T97" fmla="*/ 136 h 320"/>
                <a:gd name="T98" fmla="*/ 38 w 385"/>
                <a:gd name="T99" fmla="*/ 143 h 320"/>
                <a:gd name="T100" fmla="*/ 17 w 385"/>
                <a:gd name="T101" fmla="*/ 146 h 320"/>
                <a:gd name="T102" fmla="*/ 0 w 385"/>
                <a:gd name="T103" fmla="*/ 159 h 320"/>
                <a:gd name="T104" fmla="*/ 0 w 385"/>
                <a:gd name="T105" fmla="*/ 178 h 320"/>
                <a:gd name="T106" fmla="*/ 68 w 385"/>
                <a:gd name="T107" fmla="*/ 217 h 320"/>
                <a:gd name="T108" fmla="*/ 196 w 385"/>
                <a:gd name="T109" fmla="*/ 298 h 320"/>
                <a:gd name="T110" fmla="*/ 213 w 385"/>
                <a:gd name="T111" fmla="*/ 301 h 320"/>
                <a:gd name="T112" fmla="*/ 227 w 385"/>
                <a:gd name="T113" fmla="*/ 311 h 320"/>
                <a:gd name="T114" fmla="*/ 227 w 385"/>
                <a:gd name="T115" fmla="*/ 320 h 320"/>
                <a:gd name="T116" fmla="*/ 247 w 385"/>
                <a:gd name="T117" fmla="*/ 317 h 320"/>
                <a:gd name="T118" fmla="*/ 275 w 385"/>
                <a:gd name="T119" fmla="*/ 314 h 320"/>
                <a:gd name="T120" fmla="*/ 385 w 385"/>
                <a:gd name="T121" fmla="*/ 24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5" h="320">
                  <a:moveTo>
                    <a:pt x="385" y="249"/>
                  </a:moveTo>
                  <a:lnTo>
                    <a:pt x="385" y="246"/>
                  </a:lnTo>
                  <a:lnTo>
                    <a:pt x="382" y="243"/>
                  </a:lnTo>
                  <a:lnTo>
                    <a:pt x="382" y="243"/>
                  </a:lnTo>
                  <a:lnTo>
                    <a:pt x="375" y="236"/>
                  </a:lnTo>
                  <a:lnTo>
                    <a:pt x="375" y="233"/>
                  </a:lnTo>
                  <a:lnTo>
                    <a:pt x="371" y="230"/>
                  </a:lnTo>
                  <a:lnTo>
                    <a:pt x="364" y="230"/>
                  </a:lnTo>
                  <a:lnTo>
                    <a:pt x="354" y="230"/>
                  </a:lnTo>
                  <a:lnTo>
                    <a:pt x="354" y="227"/>
                  </a:lnTo>
                  <a:lnTo>
                    <a:pt x="351" y="223"/>
                  </a:lnTo>
                  <a:lnTo>
                    <a:pt x="351" y="223"/>
                  </a:lnTo>
                  <a:lnTo>
                    <a:pt x="351" y="217"/>
                  </a:lnTo>
                  <a:lnTo>
                    <a:pt x="351" y="217"/>
                  </a:lnTo>
                  <a:lnTo>
                    <a:pt x="351" y="210"/>
                  </a:lnTo>
                  <a:lnTo>
                    <a:pt x="347" y="210"/>
                  </a:lnTo>
                  <a:lnTo>
                    <a:pt x="344" y="204"/>
                  </a:lnTo>
                  <a:lnTo>
                    <a:pt x="340" y="197"/>
                  </a:lnTo>
                  <a:lnTo>
                    <a:pt x="337" y="197"/>
                  </a:lnTo>
                  <a:lnTo>
                    <a:pt x="337" y="194"/>
                  </a:lnTo>
                  <a:lnTo>
                    <a:pt x="340" y="194"/>
                  </a:lnTo>
                  <a:lnTo>
                    <a:pt x="344" y="191"/>
                  </a:lnTo>
                  <a:lnTo>
                    <a:pt x="347" y="188"/>
                  </a:lnTo>
                  <a:lnTo>
                    <a:pt x="344" y="181"/>
                  </a:lnTo>
                  <a:lnTo>
                    <a:pt x="344" y="178"/>
                  </a:lnTo>
                  <a:lnTo>
                    <a:pt x="344" y="178"/>
                  </a:lnTo>
                  <a:lnTo>
                    <a:pt x="347" y="168"/>
                  </a:lnTo>
                  <a:lnTo>
                    <a:pt x="344" y="162"/>
                  </a:lnTo>
                  <a:lnTo>
                    <a:pt x="344" y="155"/>
                  </a:lnTo>
                  <a:lnTo>
                    <a:pt x="344" y="152"/>
                  </a:lnTo>
                  <a:lnTo>
                    <a:pt x="344" y="149"/>
                  </a:lnTo>
                  <a:lnTo>
                    <a:pt x="344" y="136"/>
                  </a:lnTo>
                  <a:lnTo>
                    <a:pt x="340" y="133"/>
                  </a:lnTo>
                  <a:lnTo>
                    <a:pt x="337" y="133"/>
                  </a:lnTo>
                  <a:lnTo>
                    <a:pt x="337" y="126"/>
                  </a:lnTo>
                  <a:lnTo>
                    <a:pt x="340" y="123"/>
                  </a:lnTo>
                  <a:lnTo>
                    <a:pt x="326" y="91"/>
                  </a:lnTo>
                  <a:lnTo>
                    <a:pt x="323" y="88"/>
                  </a:lnTo>
                  <a:lnTo>
                    <a:pt x="320" y="88"/>
                  </a:lnTo>
                  <a:lnTo>
                    <a:pt x="316" y="84"/>
                  </a:lnTo>
                  <a:lnTo>
                    <a:pt x="313" y="84"/>
                  </a:lnTo>
                  <a:lnTo>
                    <a:pt x="313" y="78"/>
                  </a:lnTo>
                  <a:lnTo>
                    <a:pt x="306" y="75"/>
                  </a:lnTo>
                  <a:lnTo>
                    <a:pt x="306" y="75"/>
                  </a:lnTo>
                  <a:lnTo>
                    <a:pt x="302" y="72"/>
                  </a:lnTo>
                  <a:lnTo>
                    <a:pt x="302" y="68"/>
                  </a:lnTo>
                  <a:lnTo>
                    <a:pt x="299" y="65"/>
                  </a:lnTo>
                  <a:lnTo>
                    <a:pt x="299" y="65"/>
                  </a:lnTo>
                  <a:lnTo>
                    <a:pt x="302" y="55"/>
                  </a:lnTo>
                  <a:lnTo>
                    <a:pt x="306" y="52"/>
                  </a:lnTo>
                  <a:lnTo>
                    <a:pt x="309" y="52"/>
                  </a:lnTo>
                  <a:lnTo>
                    <a:pt x="309" y="49"/>
                  </a:lnTo>
                  <a:lnTo>
                    <a:pt x="313" y="49"/>
                  </a:lnTo>
                  <a:lnTo>
                    <a:pt x="313" y="42"/>
                  </a:lnTo>
                  <a:lnTo>
                    <a:pt x="316" y="39"/>
                  </a:lnTo>
                  <a:lnTo>
                    <a:pt x="313" y="39"/>
                  </a:lnTo>
                  <a:lnTo>
                    <a:pt x="316" y="36"/>
                  </a:lnTo>
                  <a:lnTo>
                    <a:pt x="316" y="36"/>
                  </a:lnTo>
                  <a:lnTo>
                    <a:pt x="316" y="33"/>
                  </a:lnTo>
                  <a:lnTo>
                    <a:pt x="313" y="33"/>
                  </a:lnTo>
                  <a:lnTo>
                    <a:pt x="313" y="26"/>
                  </a:lnTo>
                  <a:lnTo>
                    <a:pt x="316" y="20"/>
                  </a:lnTo>
                  <a:lnTo>
                    <a:pt x="316" y="13"/>
                  </a:lnTo>
                  <a:lnTo>
                    <a:pt x="316" y="10"/>
                  </a:lnTo>
                  <a:lnTo>
                    <a:pt x="316" y="7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09" y="4"/>
                  </a:lnTo>
                  <a:lnTo>
                    <a:pt x="306" y="4"/>
                  </a:lnTo>
                  <a:lnTo>
                    <a:pt x="299" y="7"/>
                  </a:lnTo>
                  <a:lnTo>
                    <a:pt x="296" y="4"/>
                  </a:lnTo>
                  <a:lnTo>
                    <a:pt x="289" y="0"/>
                  </a:lnTo>
                  <a:lnTo>
                    <a:pt x="289" y="4"/>
                  </a:lnTo>
                  <a:lnTo>
                    <a:pt x="285" y="7"/>
                  </a:lnTo>
                  <a:lnTo>
                    <a:pt x="278" y="7"/>
                  </a:lnTo>
                  <a:lnTo>
                    <a:pt x="278" y="4"/>
                  </a:lnTo>
                  <a:lnTo>
                    <a:pt x="275" y="0"/>
                  </a:lnTo>
                  <a:lnTo>
                    <a:pt x="271" y="4"/>
                  </a:lnTo>
                  <a:lnTo>
                    <a:pt x="271" y="4"/>
                  </a:lnTo>
                  <a:lnTo>
                    <a:pt x="268" y="4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1" y="7"/>
                  </a:lnTo>
                  <a:lnTo>
                    <a:pt x="258" y="10"/>
                  </a:lnTo>
                  <a:lnTo>
                    <a:pt x="251" y="10"/>
                  </a:lnTo>
                  <a:lnTo>
                    <a:pt x="247" y="7"/>
                  </a:lnTo>
                  <a:lnTo>
                    <a:pt x="244" y="7"/>
                  </a:lnTo>
                  <a:lnTo>
                    <a:pt x="240" y="4"/>
                  </a:lnTo>
                  <a:lnTo>
                    <a:pt x="237" y="7"/>
                  </a:lnTo>
                  <a:lnTo>
                    <a:pt x="234" y="4"/>
                  </a:lnTo>
                  <a:lnTo>
                    <a:pt x="230" y="7"/>
                  </a:lnTo>
                  <a:lnTo>
                    <a:pt x="227" y="4"/>
                  </a:lnTo>
                  <a:lnTo>
                    <a:pt x="223" y="4"/>
                  </a:lnTo>
                  <a:lnTo>
                    <a:pt x="223" y="7"/>
                  </a:lnTo>
                  <a:lnTo>
                    <a:pt x="220" y="7"/>
                  </a:lnTo>
                  <a:lnTo>
                    <a:pt x="213" y="7"/>
                  </a:lnTo>
                  <a:lnTo>
                    <a:pt x="210" y="10"/>
                  </a:lnTo>
                  <a:lnTo>
                    <a:pt x="206" y="10"/>
                  </a:lnTo>
                  <a:lnTo>
                    <a:pt x="203" y="10"/>
                  </a:lnTo>
                  <a:lnTo>
                    <a:pt x="199" y="10"/>
                  </a:lnTo>
                  <a:lnTo>
                    <a:pt x="192" y="10"/>
                  </a:lnTo>
                  <a:lnTo>
                    <a:pt x="185" y="10"/>
                  </a:lnTo>
                  <a:lnTo>
                    <a:pt x="179" y="17"/>
                  </a:lnTo>
                  <a:lnTo>
                    <a:pt x="172" y="17"/>
                  </a:lnTo>
                  <a:lnTo>
                    <a:pt x="168" y="17"/>
                  </a:lnTo>
                  <a:lnTo>
                    <a:pt x="165" y="20"/>
                  </a:lnTo>
                  <a:lnTo>
                    <a:pt x="165" y="23"/>
                  </a:lnTo>
                  <a:lnTo>
                    <a:pt x="161" y="23"/>
                  </a:lnTo>
                  <a:lnTo>
                    <a:pt x="158" y="23"/>
                  </a:lnTo>
                  <a:lnTo>
                    <a:pt x="158" y="23"/>
                  </a:lnTo>
                  <a:lnTo>
                    <a:pt x="154" y="23"/>
                  </a:lnTo>
                  <a:lnTo>
                    <a:pt x="154" y="26"/>
                  </a:lnTo>
                  <a:lnTo>
                    <a:pt x="151" y="26"/>
                  </a:lnTo>
                  <a:lnTo>
                    <a:pt x="148" y="26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1" y="33"/>
                  </a:lnTo>
                  <a:lnTo>
                    <a:pt x="137" y="36"/>
                  </a:lnTo>
                  <a:lnTo>
                    <a:pt x="130" y="36"/>
                  </a:lnTo>
                  <a:lnTo>
                    <a:pt x="124" y="36"/>
                  </a:lnTo>
                  <a:lnTo>
                    <a:pt x="127" y="39"/>
                  </a:lnTo>
                  <a:lnTo>
                    <a:pt x="127" y="42"/>
                  </a:lnTo>
                  <a:lnTo>
                    <a:pt x="130" y="42"/>
                  </a:lnTo>
                  <a:lnTo>
                    <a:pt x="130" y="46"/>
                  </a:lnTo>
                  <a:lnTo>
                    <a:pt x="130" y="49"/>
                  </a:lnTo>
                  <a:lnTo>
                    <a:pt x="130" y="52"/>
                  </a:lnTo>
                  <a:lnTo>
                    <a:pt x="130" y="59"/>
                  </a:lnTo>
                  <a:lnTo>
                    <a:pt x="130" y="62"/>
                  </a:lnTo>
                  <a:lnTo>
                    <a:pt x="134" y="75"/>
                  </a:lnTo>
                  <a:lnTo>
                    <a:pt x="134" y="78"/>
                  </a:lnTo>
                  <a:lnTo>
                    <a:pt x="137" y="81"/>
                  </a:lnTo>
                  <a:lnTo>
                    <a:pt x="141" y="84"/>
                  </a:lnTo>
                  <a:lnTo>
                    <a:pt x="141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91"/>
                  </a:lnTo>
                  <a:lnTo>
                    <a:pt x="144" y="91"/>
                  </a:lnTo>
                  <a:lnTo>
                    <a:pt x="141" y="94"/>
                  </a:lnTo>
                  <a:lnTo>
                    <a:pt x="117" y="94"/>
                  </a:lnTo>
                  <a:lnTo>
                    <a:pt x="113" y="94"/>
                  </a:lnTo>
                  <a:lnTo>
                    <a:pt x="110" y="101"/>
                  </a:lnTo>
                  <a:lnTo>
                    <a:pt x="103" y="104"/>
                  </a:lnTo>
                  <a:lnTo>
                    <a:pt x="103" y="107"/>
                  </a:lnTo>
                  <a:lnTo>
                    <a:pt x="103" y="114"/>
                  </a:lnTo>
                  <a:lnTo>
                    <a:pt x="103" y="117"/>
                  </a:lnTo>
                  <a:lnTo>
                    <a:pt x="89" y="123"/>
                  </a:lnTo>
                  <a:lnTo>
                    <a:pt x="68" y="136"/>
                  </a:lnTo>
                  <a:lnTo>
                    <a:pt x="51" y="143"/>
                  </a:lnTo>
                  <a:lnTo>
                    <a:pt x="44" y="143"/>
                  </a:lnTo>
                  <a:lnTo>
                    <a:pt x="38" y="143"/>
                  </a:lnTo>
                  <a:lnTo>
                    <a:pt x="34" y="146"/>
                  </a:lnTo>
                  <a:lnTo>
                    <a:pt x="27" y="146"/>
                  </a:lnTo>
                  <a:lnTo>
                    <a:pt x="17" y="146"/>
                  </a:lnTo>
                  <a:lnTo>
                    <a:pt x="10" y="149"/>
                  </a:lnTo>
                  <a:lnTo>
                    <a:pt x="7" y="155"/>
                  </a:lnTo>
                  <a:lnTo>
                    <a:pt x="0" y="15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68" y="217"/>
                  </a:lnTo>
                  <a:lnTo>
                    <a:pt x="68" y="217"/>
                  </a:lnTo>
                  <a:lnTo>
                    <a:pt x="196" y="291"/>
                  </a:lnTo>
                  <a:lnTo>
                    <a:pt x="196" y="298"/>
                  </a:lnTo>
                  <a:lnTo>
                    <a:pt x="203" y="301"/>
                  </a:lnTo>
                  <a:lnTo>
                    <a:pt x="210" y="301"/>
                  </a:lnTo>
                  <a:lnTo>
                    <a:pt x="213" y="301"/>
                  </a:lnTo>
                  <a:lnTo>
                    <a:pt x="216" y="304"/>
                  </a:lnTo>
                  <a:lnTo>
                    <a:pt x="223" y="307"/>
                  </a:lnTo>
                  <a:lnTo>
                    <a:pt x="227" y="311"/>
                  </a:lnTo>
                  <a:lnTo>
                    <a:pt x="227" y="311"/>
                  </a:lnTo>
                  <a:lnTo>
                    <a:pt x="223" y="317"/>
                  </a:lnTo>
                  <a:lnTo>
                    <a:pt x="227" y="320"/>
                  </a:lnTo>
                  <a:lnTo>
                    <a:pt x="230" y="320"/>
                  </a:lnTo>
                  <a:lnTo>
                    <a:pt x="240" y="320"/>
                  </a:lnTo>
                  <a:lnTo>
                    <a:pt x="247" y="317"/>
                  </a:lnTo>
                  <a:lnTo>
                    <a:pt x="247" y="317"/>
                  </a:lnTo>
                  <a:lnTo>
                    <a:pt x="247" y="317"/>
                  </a:lnTo>
                  <a:lnTo>
                    <a:pt x="275" y="314"/>
                  </a:lnTo>
                  <a:lnTo>
                    <a:pt x="299" y="294"/>
                  </a:lnTo>
                  <a:lnTo>
                    <a:pt x="385" y="249"/>
                  </a:lnTo>
                  <a:lnTo>
                    <a:pt x="385" y="2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3" name="Freeform 114"/>
            <p:cNvSpPr>
              <a:spLocks/>
            </p:cNvSpPr>
            <p:nvPr/>
          </p:nvSpPr>
          <p:spPr bwMode="auto">
            <a:xfrm>
              <a:off x="5884863" y="3647142"/>
              <a:ext cx="354013" cy="241300"/>
            </a:xfrm>
            <a:custGeom>
              <a:avLst/>
              <a:gdLst>
                <a:gd name="T0" fmla="*/ 79 w 223"/>
                <a:gd name="T1" fmla="*/ 136 h 152"/>
                <a:gd name="T2" fmla="*/ 89 w 223"/>
                <a:gd name="T3" fmla="*/ 126 h 152"/>
                <a:gd name="T4" fmla="*/ 106 w 223"/>
                <a:gd name="T5" fmla="*/ 123 h 152"/>
                <a:gd name="T6" fmla="*/ 117 w 223"/>
                <a:gd name="T7" fmla="*/ 120 h 152"/>
                <a:gd name="T8" fmla="*/ 130 w 223"/>
                <a:gd name="T9" fmla="*/ 120 h 152"/>
                <a:gd name="T10" fmla="*/ 168 w 223"/>
                <a:gd name="T11" fmla="*/ 100 h 152"/>
                <a:gd name="T12" fmla="*/ 182 w 223"/>
                <a:gd name="T13" fmla="*/ 91 h 152"/>
                <a:gd name="T14" fmla="*/ 182 w 223"/>
                <a:gd name="T15" fmla="*/ 81 h 152"/>
                <a:gd name="T16" fmla="*/ 192 w 223"/>
                <a:gd name="T17" fmla="*/ 71 h 152"/>
                <a:gd name="T18" fmla="*/ 220 w 223"/>
                <a:gd name="T19" fmla="*/ 71 h 152"/>
                <a:gd name="T20" fmla="*/ 223 w 223"/>
                <a:gd name="T21" fmla="*/ 68 h 152"/>
                <a:gd name="T22" fmla="*/ 223 w 223"/>
                <a:gd name="T23" fmla="*/ 61 h 152"/>
                <a:gd name="T24" fmla="*/ 220 w 223"/>
                <a:gd name="T25" fmla="*/ 61 h 152"/>
                <a:gd name="T26" fmla="*/ 213 w 223"/>
                <a:gd name="T27" fmla="*/ 55 h 152"/>
                <a:gd name="T28" fmla="*/ 209 w 223"/>
                <a:gd name="T29" fmla="*/ 39 h 152"/>
                <a:gd name="T30" fmla="*/ 209 w 223"/>
                <a:gd name="T31" fmla="*/ 29 h 152"/>
                <a:gd name="T32" fmla="*/ 209 w 223"/>
                <a:gd name="T33" fmla="*/ 23 h 152"/>
                <a:gd name="T34" fmla="*/ 206 w 223"/>
                <a:gd name="T35" fmla="*/ 19 h 152"/>
                <a:gd name="T36" fmla="*/ 203 w 223"/>
                <a:gd name="T37" fmla="*/ 13 h 152"/>
                <a:gd name="T38" fmla="*/ 189 w 223"/>
                <a:gd name="T39" fmla="*/ 13 h 152"/>
                <a:gd name="T40" fmla="*/ 185 w 223"/>
                <a:gd name="T41" fmla="*/ 10 h 152"/>
                <a:gd name="T42" fmla="*/ 185 w 223"/>
                <a:gd name="T43" fmla="*/ 10 h 152"/>
                <a:gd name="T44" fmla="*/ 175 w 223"/>
                <a:gd name="T45" fmla="*/ 13 h 152"/>
                <a:gd name="T46" fmla="*/ 165 w 223"/>
                <a:gd name="T47" fmla="*/ 10 h 152"/>
                <a:gd name="T48" fmla="*/ 154 w 223"/>
                <a:gd name="T49" fmla="*/ 13 h 152"/>
                <a:gd name="T50" fmla="*/ 147 w 223"/>
                <a:gd name="T51" fmla="*/ 7 h 152"/>
                <a:gd name="T52" fmla="*/ 144 w 223"/>
                <a:gd name="T53" fmla="*/ 3 h 152"/>
                <a:gd name="T54" fmla="*/ 144 w 223"/>
                <a:gd name="T55" fmla="*/ 0 h 152"/>
                <a:gd name="T56" fmla="*/ 141 w 223"/>
                <a:gd name="T57" fmla="*/ 0 h 152"/>
                <a:gd name="T58" fmla="*/ 134 w 223"/>
                <a:gd name="T59" fmla="*/ 3 h 152"/>
                <a:gd name="T60" fmla="*/ 130 w 223"/>
                <a:gd name="T61" fmla="*/ 13 h 152"/>
                <a:gd name="T62" fmla="*/ 123 w 223"/>
                <a:gd name="T63" fmla="*/ 26 h 152"/>
                <a:gd name="T64" fmla="*/ 113 w 223"/>
                <a:gd name="T65" fmla="*/ 36 h 152"/>
                <a:gd name="T66" fmla="*/ 106 w 223"/>
                <a:gd name="T67" fmla="*/ 39 h 152"/>
                <a:gd name="T68" fmla="*/ 96 w 223"/>
                <a:gd name="T69" fmla="*/ 45 h 152"/>
                <a:gd name="T70" fmla="*/ 86 w 223"/>
                <a:gd name="T71" fmla="*/ 52 h 152"/>
                <a:gd name="T72" fmla="*/ 79 w 223"/>
                <a:gd name="T73" fmla="*/ 55 h 152"/>
                <a:gd name="T74" fmla="*/ 72 w 223"/>
                <a:gd name="T75" fmla="*/ 68 h 152"/>
                <a:gd name="T76" fmla="*/ 65 w 223"/>
                <a:gd name="T77" fmla="*/ 78 h 152"/>
                <a:gd name="T78" fmla="*/ 58 w 223"/>
                <a:gd name="T79" fmla="*/ 91 h 152"/>
                <a:gd name="T80" fmla="*/ 58 w 223"/>
                <a:gd name="T81" fmla="*/ 100 h 152"/>
                <a:gd name="T82" fmla="*/ 61 w 223"/>
                <a:gd name="T83" fmla="*/ 103 h 152"/>
                <a:gd name="T84" fmla="*/ 48 w 223"/>
                <a:gd name="T85" fmla="*/ 120 h 152"/>
                <a:gd name="T86" fmla="*/ 41 w 223"/>
                <a:gd name="T87" fmla="*/ 129 h 152"/>
                <a:gd name="T88" fmla="*/ 24 w 223"/>
                <a:gd name="T89" fmla="*/ 142 h 152"/>
                <a:gd name="T90" fmla="*/ 0 w 223"/>
                <a:gd name="T91" fmla="*/ 149 h 152"/>
                <a:gd name="T92" fmla="*/ 79 w 223"/>
                <a:gd name="T93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3" h="152">
                  <a:moveTo>
                    <a:pt x="79" y="152"/>
                  </a:moveTo>
                  <a:lnTo>
                    <a:pt x="79" y="136"/>
                  </a:lnTo>
                  <a:lnTo>
                    <a:pt x="86" y="132"/>
                  </a:lnTo>
                  <a:lnTo>
                    <a:pt x="89" y="126"/>
                  </a:lnTo>
                  <a:lnTo>
                    <a:pt x="96" y="123"/>
                  </a:lnTo>
                  <a:lnTo>
                    <a:pt x="106" y="123"/>
                  </a:lnTo>
                  <a:lnTo>
                    <a:pt x="113" y="123"/>
                  </a:lnTo>
                  <a:lnTo>
                    <a:pt x="117" y="120"/>
                  </a:lnTo>
                  <a:lnTo>
                    <a:pt x="123" y="120"/>
                  </a:lnTo>
                  <a:lnTo>
                    <a:pt x="130" y="120"/>
                  </a:lnTo>
                  <a:lnTo>
                    <a:pt x="147" y="113"/>
                  </a:lnTo>
                  <a:lnTo>
                    <a:pt x="168" y="100"/>
                  </a:lnTo>
                  <a:lnTo>
                    <a:pt x="182" y="94"/>
                  </a:lnTo>
                  <a:lnTo>
                    <a:pt x="182" y="91"/>
                  </a:lnTo>
                  <a:lnTo>
                    <a:pt x="182" y="84"/>
                  </a:lnTo>
                  <a:lnTo>
                    <a:pt x="182" y="81"/>
                  </a:lnTo>
                  <a:lnTo>
                    <a:pt x="189" y="78"/>
                  </a:lnTo>
                  <a:lnTo>
                    <a:pt x="192" y="71"/>
                  </a:lnTo>
                  <a:lnTo>
                    <a:pt x="196" y="71"/>
                  </a:lnTo>
                  <a:lnTo>
                    <a:pt x="220" y="71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61"/>
                  </a:lnTo>
                  <a:lnTo>
                    <a:pt x="223" y="61"/>
                  </a:lnTo>
                  <a:lnTo>
                    <a:pt x="220" y="61"/>
                  </a:lnTo>
                  <a:lnTo>
                    <a:pt x="220" y="61"/>
                  </a:lnTo>
                  <a:lnTo>
                    <a:pt x="216" y="58"/>
                  </a:lnTo>
                  <a:lnTo>
                    <a:pt x="213" y="55"/>
                  </a:lnTo>
                  <a:lnTo>
                    <a:pt x="213" y="52"/>
                  </a:lnTo>
                  <a:lnTo>
                    <a:pt x="209" y="39"/>
                  </a:lnTo>
                  <a:lnTo>
                    <a:pt x="209" y="36"/>
                  </a:lnTo>
                  <a:lnTo>
                    <a:pt x="209" y="29"/>
                  </a:lnTo>
                  <a:lnTo>
                    <a:pt x="209" y="26"/>
                  </a:lnTo>
                  <a:lnTo>
                    <a:pt x="209" y="23"/>
                  </a:lnTo>
                  <a:lnTo>
                    <a:pt x="209" y="19"/>
                  </a:lnTo>
                  <a:lnTo>
                    <a:pt x="206" y="19"/>
                  </a:lnTo>
                  <a:lnTo>
                    <a:pt x="206" y="16"/>
                  </a:lnTo>
                  <a:lnTo>
                    <a:pt x="203" y="13"/>
                  </a:lnTo>
                  <a:lnTo>
                    <a:pt x="199" y="13"/>
                  </a:lnTo>
                  <a:lnTo>
                    <a:pt x="189" y="13"/>
                  </a:lnTo>
                  <a:lnTo>
                    <a:pt x="189" y="13"/>
                  </a:lnTo>
                  <a:lnTo>
                    <a:pt x="185" y="10"/>
                  </a:lnTo>
                  <a:lnTo>
                    <a:pt x="185" y="10"/>
                  </a:lnTo>
                  <a:lnTo>
                    <a:pt x="185" y="10"/>
                  </a:lnTo>
                  <a:lnTo>
                    <a:pt x="182" y="13"/>
                  </a:lnTo>
                  <a:lnTo>
                    <a:pt x="175" y="13"/>
                  </a:lnTo>
                  <a:lnTo>
                    <a:pt x="168" y="10"/>
                  </a:lnTo>
                  <a:lnTo>
                    <a:pt x="165" y="10"/>
                  </a:lnTo>
                  <a:lnTo>
                    <a:pt x="161" y="13"/>
                  </a:lnTo>
                  <a:lnTo>
                    <a:pt x="154" y="13"/>
                  </a:lnTo>
                  <a:lnTo>
                    <a:pt x="151" y="13"/>
                  </a:lnTo>
                  <a:lnTo>
                    <a:pt x="147" y="7"/>
                  </a:lnTo>
                  <a:lnTo>
                    <a:pt x="144" y="7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1" y="0"/>
                  </a:lnTo>
                  <a:lnTo>
                    <a:pt x="137" y="3"/>
                  </a:lnTo>
                  <a:lnTo>
                    <a:pt x="134" y="3"/>
                  </a:lnTo>
                  <a:lnTo>
                    <a:pt x="130" y="7"/>
                  </a:lnTo>
                  <a:lnTo>
                    <a:pt x="130" y="13"/>
                  </a:lnTo>
                  <a:lnTo>
                    <a:pt x="127" y="19"/>
                  </a:lnTo>
                  <a:lnTo>
                    <a:pt x="123" y="26"/>
                  </a:lnTo>
                  <a:lnTo>
                    <a:pt x="123" y="29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06" y="39"/>
                  </a:lnTo>
                  <a:lnTo>
                    <a:pt x="99" y="42"/>
                  </a:lnTo>
                  <a:lnTo>
                    <a:pt x="96" y="45"/>
                  </a:lnTo>
                  <a:lnTo>
                    <a:pt x="92" y="45"/>
                  </a:lnTo>
                  <a:lnTo>
                    <a:pt x="86" y="52"/>
                  </a:lnTo>
                  <a:lnTo>
                    <a:pt x="79" y="52"/>
                  </a:lnTo>
                  <a:lnTo>
                    <a:pt x="79" y="55"/>
                  </a:lnTo>
                  <a:lnTo>
                    <a:pt x="68" y="61"/>
                  </a:lnTo>
                  <a:lnTo>
                    <a:pt x="72" y="68"/>
                  </a:lnTo>
                  <a:lnTo>
                    <a:pt x="72" y="71"/>
                  </a:lnTo>
                  <a:lnTo>
                    <a:pt x="65" y="78"/>
                  </a:lnTo>
                  <a:lnTo>
                    <a:pt x="58" y="84"/>
                  </a:lnTo>
                  <a:lnTo>
                    <a:pt x="58" y="91"/>
                  </a:lnTo>
                  <a:lnTo>
                    <a:pt x="61" y="94"/>
                  </a:lnTo>
                  <a:lnTo>
                    <a:pt x="58" y="100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10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41" y="129"/>
                  </a:lnTo>
                  <a:lnTo>
                    <a:pt x="37" y="132"/>
                  </a:lnTo>
                  <a:lnTo>
                    <a:pt x="24" y="142"/>
                  </a:lnTo>
                  <a:lnTo>
                    <a:pt x="3" y="145"/>
                  </a:lnTo>
                  <a:lnTo>
                    <a:pt x="0" y="149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79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4" name="Freeform 115"/>
            <p:cNvSpPr>
              <a:spLocks/>
            </p:cNvSpPr>
            <p:nvPr/>
          </p:nvSpPr>
          <p:spPr bwMode="auto">
            <a:xfrm>
              <a:off x="5757863" y="3883680"/>
              <a:ext cx="252413" cy="173037"/>
            </a:xfrm>
            <a:custGeom>
              <a:avLst/>
              <a:gdLst>
                <a:gd name="T0" fmla="*/ 159 w 159"/>
                <a:gd name="T1" fmla="*/ 6 h 109"/>
                <a:gd name="T2" fmla="*/ 159 w 159"/>
                <a:gd name="T3" fmla="*/ 3 h 109"/>
                <a:gd name="T4" fmla="*/ 80 w 159"/>
                <a:gd name="T5" fmla="*/ 0 h 109"/>
                <a:gd name="T6" fmla="*/ 73 w 159"/>
                <a:gd name="T7" fmla="*/ 9 h 109"/>
                <a:gd name="T8" fmla="*/ 73 w 159"/>
                <a:gd name="T9" fmla="*/ 16 h 109"/>
                <a:gd name="T10" fmla="*/ 69 w 159"/>
                <a:gd name="T11" fmla="*/ 16 h 109"/>
                <a:gd name="T12" fmla="*/ 55 w 159"/>
                <a:gd name="T13" fmla="*/ 22 h 109"/>
                <a:gd name="T14" fmla="*/ 52 w 159"/>
                <a:gd name="T15" fmla="*/ 25 h 109"/>
                <a:gd name="T16" fmla="*/ 49 w 159"/>
                <a:gd name="T17" fmla="*/ 29 h 109"/>
                <a:gd name="T18" fmla="*/ 49 w 159"/>
                <a:gd name="T19" fmla="*/ 32 h 109"/>
                <a:gd name="T20" fmla="*/ 38 w 159"/>
                <a:gd name="T21" fmla="*/ 48 h 109"/>
                <a:gd name="T22" fmla="*/ 38 w 159"/>
                <a:gd name="T23" fmla="*/ 51 h 109"/>
                <a:gd name="T24" fmla="*/ 28 w 159"/>
                <a:gd name="T25" fmla="*/ 58 h 109"/>
                <a:gd name="T26" fmla="*/ 25 w 159"/>
                <a:gd name="T27" fmla="*/ 61 h 109"/>
                <a:gd name="T28" fmla="*/ 21 w 159"/>
                <a:gd name="T29" fmla="*/ 67 h 109"/>
                <a:gd name="T30" fmla="*/ 21 w 159"/>
                <a:gd name="T31" fmla="*/ 71 h 109"/>
                <a:gd name="T32" fmla="*/ 14 w 159"/>
                <a:gd name="T33" fmla="*/ 80 h 109"/>
                <a:gd name="T34" fmla="*/ 14 w 159"/>
                <a:gd name="T35" fmla="*/ 80 h 109"/>
                <a:gd name="T36" fmla="*/ 14 w 159"/>
                <a:gd name="T37" fmla="*/ 84 h 109"/>
                <a:gd name="T38" fmla="*/ 11 w 159"/>
                <a:gd name="T39" fmla="*/ 84 h 109"/>
                <a:gd name="T40" fmla="*/ 7 w 159"/>
                <a:gd name="T41" fmla="*/ 93 h 109"/>
                <a:gd name="T42" fmla="*/ 4 w 159"/>
                <a:gd name="T43" fmla="*/ 93 h 109"/>
                <a:gd name="T44" fmla="*/ 0 w 159"/>
                <a:gd name="T45" fmla="*/ 97 h 109"/>
                <a:gd name="T46" fmla="*/ 0 w 159"/>
                <a:gd name="T47" fmla="*/ 100 h 109"/>
                <a:gd name="T48" fmla="*/ 0 w 159"/>
                <a:gd name="T49" fmla="*/ 103 h 109"/>
                <a:gd name="T50" fmla="*/ 0 w 159"/>
                <a:gd name="T51" fmla="*/ 109 h 109"/>
                <a:gd name="T52" fmla="*/ 76 w 159"/>
                <a:gd name="T53" fmla="*/ 109 h 109"/>
                <a:gd name="T54" fmla="*/ 76 w 159"/>
                <a:gd name="T55" fmla="*/ 80 h 109"/>
                <a:gd name="T56" fmla="*/ 80 w 159"/>
                <a:gd name="T57" fmla="*/ 74 h 109"/>
                <a:gd name="T58" fmla="*/ 83 w 159"/>
                <a:gd name="T59" fmla="*/ 74 h 109"/>
                <a:gd name="T60" fmla="*/ 86 w 159"/>
                <a:gd name="T61" fmla="*/ 71 h 109"/>
                <a:gd name="T62" fmla="*/ 93 w 159"/>
                <a:gd name="T63" fmla="*/ 71 h 109"/>
                <a:gd name="T64" fmla="*/ 97 w 159"/>
                <a:gd name="T65" fmla="*/ 29 h 109"/>
                <a:gd name="T66" fmla="*/ 155 w 159"/>
                <a:gd name="T67" fmla="*/ 29 h 109"/>
                <a:gd name="T68" fmla="*/ 159 w 159"/>
                <a:gd name="T69" fmla="*/ 6 h 109"/>
                <a:gd name="T70" fmla="*/ 159 w 159"/>
                <a:gd name="T71" fmla="*/ 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9" h="109">
                  <a:moveTo>
                    <a:pt x="159" y="6"/>
                  </a:moveTo>
                  <a:lnTo>
                    <a:pt x="159" y="3"/>
                  </a:lnTo>
                  <a:lnTo>
                    <a:pt x="80" y="0"/>
                  </a:lnTo>
                  <a:lnTo>
                    <a:pt x="73" y="9"/>
                  </a:lnTo>
                  <a:lnTo>
                    <a:pt x="73" y="16"/>
                  </a:lnTo>
                  <a:lnTo>
                    <a:pt x="69" y="16"/>
                  </a:lnTo>
                  <a:lnTo>
                    <a:pt x="55" y="22"/>
                  </a:lnTo>
                  <a:lnTo>
                    <a:pt x="52" y="25"/>
                  </a:lnTo>
                  <a:lnTo>
                    <a:pt x="49" y="29"/>
                  </a:lnTo>
                  <a:lnTo>
                    <a:pt x="49" y="32"/>
                  </a:lnTo>
                  <a:lnTo>
                    <a:pt x="38" y="48"/>
                  </a:lnTo>
                  <a:lnTo>
                    <a:pt x="38" y="51"/>
                  </a:lnTo>
                  <a:lnTo>
                    <a:pt x="28" y="58"/>
                  </a:lnTo>
                  <a:lnTo>
                    <a:pt x="25" y="61"/>
                  </a:lnTo>
                  <a:lnTo>
                    <a:pt x="21" y="67"/>
                  </a:lnTo>
                  <a:lnTo>
                    <a:pt x="21" y="71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84"/>
                  </a:lnTo>
                  <a:lnTo>
                    <a:pt x="11" y="84"/>
                  </a:lnTo>
                  <a:lnTo>
                    <a:pt x="7" y="93"/>
                  </a:lnTo>
                  <a:lnTo>
                    <a:pt x="4" y="93"/>
                  </a:lnTo>
                  <a:lnTo>
                    <a:pt x="0" y="97"/>
                  </a:lnTo>
                  <a:lnTo>
                    <a:pt x="0" y="100"/>
                  </a:lnTo>
                  <a:lnTo>
                    <a:pt x="0" y="103"/>
                  </a:lnTo>
                  <a:lnTo>
                    <a:pt x="0" y="109"/>
                  </a:lnTo>
                  <a:lnTo>
                    <a:pt x="76" y="109"/>
                  </a:lnTo>
                  <a:lnTo>
                    <a:pt x="76" y="80"/>
                  </a:lnTo>
                  <a:lnTo>
                    <a:pt x="80" y="74"/>
                  </a:lnTo>
                  <a:lnTo>
                    <a:pt x="83" y="74"/>
                  </a:lnTo>
                  <a:lnTo>
                    <a:pt x="86" y="71"/>
                  </a:lnTo>
                  <a:lnTo>
                    <a:pt x="93" y="71"/>
                  </a:lnTo>
                  <a:lnTo>
                    <a:pt x="97" y="29"/>
                  </a:lnTo>
                  <a:lnTo>
                    <a:pt x="155" y="29"/>
                  </a:lnTo>
                  <a:lnTo>
                    <a:pt x="159" y="6"/>
                  </a:lnTo>
                  <a:lnTo>
                    <a:pt x="15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5" name="Freeform 116"/>
            <p:cNvSpPr>
              <a:spLocks/>
            </p:cNvSpPr>
            <p:nvPr/>
          </p:nvSpPr>
          <p:spPr bwMode="auto">
            <a:xfrm>
              <a:off x="5753101" y="3893205"/>
              <a:ext cx="365125" cy="338137"/>
            </a:xfrm>
            <a:custGeom>
              <a:avLst/>
              <a:gdLst>
                <a:gd name="T0" fmla="*/ 79 w 230"/>
                <a:gd name="T1" fmla="*/ 103 h 213"/>
                <a:gd name="T2" fmla="*/ 83 w 230"/>
                <a:gd name="T3" fmla="*/ 68 h 213"/>
                <a:gd name="T4" fmla="*/ 89 w 230"/>
                <a:gd name="T5" fmla="*/ 65 h 213"/>
                <a:gd name="T6" fmla="*/ 100 w 230"/>
                <a:gd name="T7" fmla="*/ 23 h 213"/>
                <a:gd name="T8" fmla="*/ 162 w 230"/>
                <a:gd name="T9" fmla="*/ 0 h 213"/>
                <a:gd name="T10" fmla="*/ 230 w 230"/>
                <a:gd name="T11" fmla="*/ 39 h 213"/>
                <a:gd name="T12" fmla="*/ 206 w 230"/>
                <a:gd name="T13" fmla="*/ 42 h 213"/>
                <a:gd name="T14" fmla="*/ 227 w 230"/>
                <a:gd name="T15" fmla="*/ 187 h 213"/>
                <a:gd name="T16" fmla="*/ 151 w 230"/>
                <a:gd name="T17" fmla="*/ 204 h 213"/>
                <a:gd name="T18" fmla="*/ 148 w 230"/>
                <a:gd name="T19" fmla="*/ 200 h 213"/>
                <a:gd name="T20" fmla="*/ 141 w 230"/>
                <a:gd name="T21" fmla="*/ 204 h 213"/>
                <a:gd name="T22" fmla="*/ 141 w 230"/>
                <a:gd name="T23" fmla="*/ 197 h 213"/>
                <a:gd name="T24" fmla="*/ 127 w 230"/>
                <a:gd name="T25" fmla="*/ 200 h 213"/>
                <a:gd name="T26" fmla="*/ 120 w 230"/>
                <a:gd name="T27" fmla="*/ 207 h 213"/>
                <a:gd name="T28" fmla="*/ 114 w 230"/>
                <a:gd name="T29" fmla="*/ 197 h 213"/>
                <a:gd name="T30" fmla="*/ 103 w 230"/>
                <a:gd name="T31" fmla="*/ 197 h 213"/>
                <a:gd name="T32" fmla="*/ 103 w 230"/>
                <a:gd name="T33" fmla="*/ 207 h 213"/>
                <a:gd name="T34" fmla="*/ 96 w 230"/>
                <a:gd name="T35" fmla="*/ 210 h 213"/>
                <a:gd name="T36" fmla="*/ 93 w 230"/>
                <a:gd name="T37" fmla="*/ 213 h 213"/>
                <a:gd name="T38" fmla="*/ 86 w 230"/>
                <a:gd name="T39" fmla="*/ 210 h 213"/>
                <a:gd name="T40" fmla="*/ 83 w 230"/>
                <a:gd name="T41" fmla="*/ 204 h 213"/>
                <a:gd name="T42" fmla="*/ 76 w 230"/>
                <a:gd name="T43" fmla="*/ 200 h 213"/>
                <a:gd name="T44" fmla="*/ 72 w 230"/>
                <a:gd name="T45" fmla="*/ 194 h 213"/>
                <a:gd name="T46" fmla="*/ 69 w 230"/>
                <a:gd name="T47" fmla="*/ 191 h 213"/>
                <a:gd name="T48" fmla="*/ 62 w 230"/>
                <a:gd name="T49" fmla="*/ 194 h 213"/>
                <a:gd name="T50" fmla="*/ 58 w 230"/>
                <a:gd name="T51" fmla="*/ 191 h 213"/>
                <a:gd name="T52" fmla="*/ 52 w 230"/>
                <a:gd name="T53" fmla="*/ 184 h 213"/>
                <a:gd name="T54" fmla="*/ 38 w 230"/>
                <a:gd name="T55" fmla="*/ 181 h 213"/>
                <a:gd name="T56" fmla="*/ 17 w 230"/>
                <a:gd name="T57" fmla="*/ 187 h 213"/>
                <a:gd name="T58" fmla="*/ 10 w 230"/>
                <a:gd name="T59" fmla="*/ 191 h 213"/>
                <a:gd name="T60" fmla="*/ 10 w 230"/>
                <a:gd name="T61" fmla="*/ 184 h 213"/>
                <a:gd name="T62" fmla="*/ 17 w 230"/>
                <a:gd name="T63" fmla="*/ 168 h 213"/>
                <a:gd name="T64" fmla="*/ 14 w 230"/>
                <a:gd name="T65" fmla="*/ 139 h 213"/>
                <a:gd name="T66" fmla="*/ 10 w 230"/>
                <a:gd name="T67" fmla="*/ 133 h 213"/>
                <a:gd name="T68" fmla="*/ 14 w 230"/>
                <a:gd name="T69" fmla="*/ 126 h 213"/>
                <a:gd name="T70" fmla="*/ 17 w 230"/>
                <a:gd name="T71" fmla="*/ 120 h 213"/>
                <a:gd name="T72" fmla="*/ 7 w 230"/>
                <a:gd name="T73" fmla="*/ 116 h 213"/>
                <a:gd name="T74" fmla="*/ 3 w 230"/>
                <a:gd name="T75" fmla="*/ 110 h 213"/>
                <a:gd name="T76" fmla="*/ 0 w 230"/>
                <a:gd name="T77" fmla="*/ 107 h 213"/>
                <a:gd name="T78" fmla="*/ 3 w 230"/>
                <a:gd name="T79" fmla="*/ 10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0" h="213">
                  <a:moveTo>
                    <a:pt x="3" y="103"/>
                  </a:moveTo>
                  <a:lnTo>
                    <a:pt x="79" y="103"/>
                  </a:lnTo>
                  <a:lnTo>
                    <a:pt x="79" y="74"/>
                  </a:lnTo>
                  <a:lnTo>
                    <a:pt x="83" y="68"/>
                  </a:lnTo>
                  <a:lnTo>
                    <a:pt x="86" y="68"/>
                  </a:lnTo>
                  <a:lnTo>
                    <a:pt x="89" y="65"/>
                  </a:lnTo>
                  <a:lnTo>
                    <a:pt x="96" y="65"/>
                  </a:lnTo>
                  <a:lnTo>
                    <a:pt x="100" y="23"/>
                  </a:lnTo>
                  <a:lnTo>
                    <a:pt x="158" y="23"/>
                  </a:lnTo>
                  <a:lnTo>
                    <a:pt x="162" y="0"/>
                  </a:lnTo>
                  <a:lnTo>
                    <a:pt x="230" y="39"/>
                  </a:lnTo>
                  <a:lnTo>
                    <a:pt x="230" y="39"/>
                  </a:lnTo>
                  <a:lnTo>
                    <a:pt x="230" y="39"/>
                  </a:lnTo>
                  <a:lnTo>
                    <a:pt x="206" y="42"/>
                  </a:lnTo>
                  <a:lnTo>
                    <a:pt x="220" y="184"/>
                  </a:lnTo>
                  <a:lnTo>
                    <a:pt x="227" y="187"/>
                  </a:lnTo>
                  <a:lnTo>
                    <a:pt x="220" y="204"/>
                  </a:lnTo>
                  <a:lnTo>
                    <a:pt x="151" y="204"/>
                  </a:lnTo>
                  <a:lnTo>
                    <a:pt x="151" y="204"/>
                  </a:lnTo>
                  <a:lnTo>
                    <a:pt x="148" y="200"/>
                  </a:lnTo>
                  <a:lnTo>
                    <a:pt x="144" y="200"/>
                  </a:lnTo>
                  <a:lnTo>
                    <a:pt x="141" y="204"/>
                  </a:lnTo>
                  <a:lnTo>
                    <a:pt x="141" y="200"/>
                  </a:lnTo>
                  <a:lnTo>
                    <a:pt x="141" y="197"/>
                  </a:lnTo>
                  <a:lnTo>
                    <a:pt x="134" y="197"/>
                  </a:lnTo>
                  <a:lnTo>
                    <a:pt x="127" y="200"/>
                  </a:lnTo>
                  <a:lnTo>
                    <a:pt x="120" y="207"/>
                  </a:lnTo>
                  <a:lnTo>
                    <a:pt x="120" y="207"/>
                  </a:lnTo>
                  <a:lnTo>
                    <a:pt x="117" y="200"/>
                  </a:lnTo>
                  <a:lnTo>
                    <a:pt x="114" y="197"/>
                  </a:lnTo>
                  <a:lnTo>
                    <a:pt x="110" y="197"/>
                  </a:lnTo>
                  <a:lnTo>
                    <a:pt x="103" y="197"/>
                  </a:lnTo>
                  <a:lnTo>
                    <a:pt x="103" y="204"/>
                  </a:lnTo>
                  <a:lnTo>
                    <a:pt x="103" y="207"/>
                  </a:lnTo>
                  <a:lnTo>
                    <a:pt x="103" y="210"/>
                  </a:lnTo>
                  <a:lnTo>
                    <a:pt x="96" y="210"/>
                  </a:lnTo>
                  <a:lnTo>
                    <a:pt x="93" y="213"/>
                  </a:lnTo>
                  <a:lnTo>
                    <a:pt x="93" y="213"/>
                  </a:lnTo>
                  <a:lnTo>
                    <a:pt x="89" y="213"/>
                  </a:lnTo>
                  <a:lnTo>
                    <a:pt x="86" y="210"/>
                  </a:lnTo>
                  <a:lnTo>
                    <a:pt x="83" y="207"/>
                  </a:lnTo>
                  <a:lnTo>
                    <a:pt x="83" y="204"/>
                  </a:lnTo>
                  <a:lnTo>
                    <a:pt x="76" y="204"/>
                  </a:lnTo>
                  <a:lnTo>
                    <a:pt x="76" y="200"/>
                  </a:lnTo>
                  <a:lnTo>
                    <a:pt x="72" y="197"/>
                  </a:lnTo>
                  <a:lnTo>
                    <a:pt x="72" y="194"/>
                  </a:lnTo>
                  <a:lnTo>
                    <a:pt x="72" y="191"/>
                  </a:lnTo>
                  <a:lnTo>
                    <a:pt x="69" y="191"/>
                  </a:lnTo>
                  <a:lnTo>
                    <a:pt x="65" y="191"/>
                  </a:lnTo>
                  <a:lnTo>
                    <a:pt x="62" y="194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5" y="184"/>
                  </a:lnTo>
                  <a:lnTo>
                    <a:pt x="52" y="184"/>
                  </a:lnTo>
                  <a:lnTo>
                    <a:pt x="41" y="181"/>
                  </a:lnTo>
                  <a:lnTo>
                    <a:pt x="38" y="181"/>
                  </a:lnTo>
                  <a:lnTo>
                    <a:pt x="28" y="184"/>
                  </a:lnTo>
                  <a:lnTo>
                    <a:pt x="17" y="187"/>
                  </a:lnTo>
                  <a:lnTo>
                    <a:pt x="14" y="191"/>
                  </a:lnTo>
                  <a:lnTo>
                    <a:pt x="10" y="191"/>
                  </a:lnTo>
                  <a:lnTo>
                    <a:pt x="7" y="191"/>
                  </a:lnTo>
                  <a:lnTo>
                    <a:pt x="10" y="184"/>
                  </a:lnTo>
                  <a:lnTo>
                    <a:pt x="14" y="175"/>
                  </a:lnTo>
                  <a:lnTo>
                    <a:pt x="17" y="168"/>
                  </a:lnTo>
                  <a:lnTo>
                    <a:pt x="17" y="158"/>
                  </a:lnTo>
                  <a:lnTo>
                    <a:pt x="14" y="139"/>
                  </a:lnTo>
                  <a:lnTo>
                    <a:pt x="10" y="133"/>
                  </a:lnTo>
                  <a:lnTo>
                    <a:pt x="10" y="133"/>
                  </a:lnTo>
                  <a:lnTo>
                    <a:pt x="14" y="133"/>
                  </a:lnTo>
                  <a:lnTo>
                    <a:pt x="14" y="126"/>
                  </a:lnTo>
                  <a:lnTo>
                    <a:pt x="14" y="123"/>
                  </a:lnTo>
                  <a:lnTo>
                    <a:pt x="17" y="120"/>
                  </a:lnTo>
                  <a:lnTo>
                    <a:pt x="10" y="113"/>
                  </a:lnTo>
                  <a:lnTo>
                    <a:pt x="7" y="116"/>
                  </a:lnTo>
                  <a:lnTo>
                    <a:pt x="7" y="113"/>
                  </a:lnTo>
                  <a:lnTo>
                    <a:pt x="3" y="110"/>
                  </a:lnTo>
                  <a:lnTo>
                    <a:pt x="0" y="113"/>
                  </a:lnTo>
                  <a:lnTo>
                    <a:pt x="0" y="107"/>
                  </a:lnTo>
                  <a:lnTo>
                    <a:pt x="3" y="103"/>
                  </a:lnTo>
                  <a:lnTo>
                    <a:pt x="3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6" name="Freeform 117"/>
            <p:cNvSpPr>
              <a:spLocks/>
            </p:cNvSpPr>
            <p:nvPr/>
          </p:nvSpPr>
          <p:spPr bwMode="auto">
            <a:xfrm>
              <a:off x="5900738" y="3955117"/>
              <a:ext cx="501650" cy="400050"/>
            </a:xfrm>
            <a:custGeom>
              <a:avLst/>
              <a:gdLst>
                <a:gd name="T0" fmla="*/ 10 w 316"/>
                <a:gd name="T1" fmla="*/ 171 h 252"/>
                <a:gd name="T2" fmla="*/ 10 w 316"/>
                <a:gd name="T3" fmla="*/ 158 h 252"/>
                <a:gd name="T4" fmla="*/ 24 w 316"/>
                <a:gd name="T5" fmla="*/ 161 h 252"/>
                <a:gd name="T6" fmla="*/ 34 w 316"/>
                <a:gd name="T7" fmla="*/ 161 h 252"/>
                <a:gd name="T8" fmla="*/ 48 w 316"/>
                <a:gd name="T9" fmla="*/ 161 h 252"/>
                <a:gd name="T10" fmla="*/ 55 w 316"/>
                <a:gd name="T11" fmla="*/ 161 h 252"/>
                <a:gd name="T12" fmla="*/ 127 w 316"/>
                <a:gd name="T13" fmla="*/ 165 h 252"/>
                <a:gd name="T14" fmla="*/ 113 w 316"/>
                <a:gd name="T15" fmla="*/ 3 h 252"/>
                <a:gd name="T16" fmla="*/ 265 w 316"/>
                <a:gd name="T17" fmla="*/ 81 h 252"/>
                <a:gd name="T18" fmla="*/ 282 w 316"/>
                <a:gd name="T19" fmla="*/ 84 h 252"/>
                <a:gd name="T20" fmla="*/ 296 w 316"/>
                <a:gd name="T21" fmla="*/ 94 h 252"/>
                <a:gd name="T22" fmla="*/ 296 w 316"/>
                <a:gd name="T23" fmla="*/ 103 h 252"/>
                <a:gd name="T24" fmla="*/ 316 w 316"/>
                <a:gd name="T25" fmla="*/ 100 h 252"/>
                <a:gd name="T26" fmla="*/ 313 w 316"/>
                <a:gd name="T27" fmla="*/ 148 h 252"/>
                <a:gd name="T28" fmla="*/ 309 w 316"/>
                <a:gd name="T29" fmla="*/ 158 h 252"/>
                <a:gd name="T30" fmla="*/ 285 w 316"/>
                <a:gd name="T31" fmla="*/ 165 h 252"/>
                <a:gd name="T32" fmla="*/ 268 w 316"/>
                <a:gd name="T33" fmla="*/ 168 h 252"/>
                <a:gd name="T34" fmla="*/ 248 w 316"/>
                <a:gd name="T35" fmla="*/ 171 h 252"/>
                <a:gd name="T36" fmla="*/ 241 w 316"/>
                <a:gd name="T37" fmla="*/ 171 h 252"/>
                <a:gd name="T38" fmla="*/ 227 w 316"/>
                <a:gd name="T39" fmla="*/ 171 h 252"/>
                <a:gd name="T40" fmla="*/ 206 w 316"/>
                <a:gd name="T41" fmla="*/ 178 h 252"/>
                <a:gd name="T42" fmla="*/ 179 w 316"/>
                <a:gd name="T43" fmla="*/ 194 h 252"/>
                <a:gd name="T44" fmla="*/ 162 w 316"/>
                <a:gd name="T45" fmla="*/ 197 h 252"/>
                <a:gd name="T46" fmla="*/ 151 w 316"/>
                <a:gd name="T47" fmla="*/ 207 h 252"/>
                <a:gd name="T48" fmla="*/ 144 w 316"/>
                <a:gd name="T49" fmla="*/ 220 h 252"/>
                <a:gd name="T50" fmla="*/ 134 w 316"/>
                <a:gd name="T51" fmla="*/ 229 h 252"/>
                <a:gd name="T52" fmla="*/ 131 w 316"/>
                <a:gd name="T53" fmla="*/ 239 h 252"/>
                <a:gd name="T54" fmla="*/ 131 w 316"/>
                <a:gd name="T55" fmla="*/ 245 h 252"/>
                <a:gd name="T56" fmla="*/ 120 w 316"/>
                <a:gd name="T57" fmla="*/ 249 h 252"/>
                <a:gd name="T58" fmla="*/ 110 w 316"/>
                <a:gd name="T59" fmla="*/ 245 h 252"/>
                <a:gd name="T60" fmla="*/ 100 w 316"/>
                <a:gd name="T61" fmla="*/ 249 h 252"/>
                <a:gd name="T62" fmla="*/ 86 w 316"/>
                <a:gd name="T63" fmla="*/ 249 h 252"/>
                <a:gd name="T64" fmla="*/ 79 w 316"/>
                <a:gd name="T65" fmla="*/ 245 h 252"/>
                <a:gd name="T66" fmla="*/ 79 w 316"/>
                <a:gd name="T67" fmla="*/ 239 h 252"/>
                <a:gd name="T68" fmla="*/ 69 w 316"/>
                <a:gd name="T69" fmla="*/ 242 h 252"/>
                <a:gd name="T70" fmla="*/ 76 w 316"/>
                <a:gd name="T71" fmla="*/ 229 h 252"/>
                <a:gd name="T72" fmla="*/ 69 w 316"/>
                <a:gd name="T73" fmla="*/ 223 h 252"/>
                <a:gd name="T74" fmla="*/ 65 w 316"/>
                <a:gd name="T75" fmla="*/ 216 h 252"/>
                <a:gd name="T76" fmla="*/ 55 w 316"/>
                <a:gd name="T77" fmla="*/ 216 h 252"/>
                <a:gd name="T78" fmla="*/ 45 w 316"/>
                <a:gd name="T79" fmla="*/ 220 h 252"/>
                <a:gd name="T80" fmla="*/ 31 w 316"/>
                <a:gd name="T81" fmla="*/ 220 h 252"/>
                <a:gd name="T82" fmla="*/ 21 w 316"/>
                <a:gd name="T83" fmla="*/ 220 h 252"/>
                <a:gd name="T84" fmla="*/ 21 w 316"/>
                <a:gd name="T85" fmla="*/ 216 h 252"/>
                <a:gd name="T86" fmla="*/ 17 w 316"/>
                <a:gd name="T87" fmla="*/ 210 h 252"/>
                <a:gd name="T88" fmla="*/ 14 w 316"/>
                <a:gd name="T89" fmla="*/ 203 h 252"/>
                <a:gd name="T90" fmla="*/ 7 w 316"/>
                <a:gd name="T91" fmla="*/ 200 h 252"/>
                <a:gd name="T92" fmla="*/ 0 w 316"/>
                <a:gd name="T93" fmla="*/ 190 h 252"/>
                <a:gd name="T94" fmla="*/ 0 w 316"/>
                <a:gd name="T95" fmla="*/ 17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6" h="252">
                  <a:moveTo>
                    <a:pt x="0" y="174"/>
                  </a:moveTo>
                  <a:lnTo>
                    <a:pt x="3" y="171"/>
                  </a:lnTo>
                  <a:lnTo>
                    <a:pt x="10" y="171"/>
                  </a:lnTo>
                  <a:lnTo>
                    <a:pt x="10" y="168"/>
                  </a:lnTo>
                  <a:lnTo>
                    <a:pt x="10" y="165"/>
                  </a:lnTo>
                  <a:lnTo>
                    <a:pt x="10" y="158"/>
                  </a:lnTo>
                  <a:lnTo>
                    <a:pt x="17" y="158"/>
                  </a:lnTo>
                  <a:lnTo>
                    <a:pt x="21" y="158"/>
                  </a:lnTo>
                  <a:lnTo>
                    <a:pt x="24" y="161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34" y="161"/>
                  </a:lnTo>
                  <a:lnTo>
                    <a:pt x="41" y="158"/>
                  </a:lnTo>
                  <a:lnTo>
                    <a:pt x="48" y="158"/>
                  </a:lnTo>
                  <a:lnTo>
                    <a:pt x="48" y="161"/>
                  </a:lnTo>
                  <a:lnTo>
                    <a:pt x="48" y="165"/>
                  </a:lnTo>
                  <a:lnTo>
                    <a:pt x="51" y="161"/>
                  </a:lnTo>
                  <a:lnTo>
                    <a:pt x="55" y="161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127" y="165"/>
                  </a:lnTo>
                  <a:lnTo>
                    <a:pt x="134" y="148"/>
                  </a:lnTo>
                  <a:lnTo>
                    <a:pt x="127" y="145"/>
                  </a:lnTo>
                  <a:lnTo>
                    <a:pt x="113" y="3"/>
                  </a:lnTo>
                  <a:lnTo>
                    <a:pt x="137" y="0"/>
                  </a:lnTo>
                  <a:lnTo>
                    <a:pt x="265" y="74"/>
                  </a:lnTo>
                  <a:lnTo>
                    <a:pt x="265" y="81"/>
                  </a:lnTo>
                  <a:lnTo>
                    <a:pt x="272" y="84"/>
                  </a:lnTo>
                  <a:lnTo>
                    <a:pt x="279" y="84"/>
                  </a:lnTo>
                  <a:lnTo>
                    <a:pt x="282" y="84"/>
                  </a:lnTo>
                  <a:lnTo>
                    <a:pt x="285" y="87"/>
                  </a:lnTo>
                  <a:lnTo>
                    <a:pt x="292" y="90"/>
                  </a:lnTo>
                  <a:lnTo>
                    <a:pt x="296" y="94"/>
                  </a:lnTo>
                  <a:lnTo>
                    <a:pt x="296" y="94"/>
                  </a:lnTo>
                  <a:lnTo>
                    <a:pt x="292" y="100"/>
                  </a:lnTo>
                  <a:lnTo>
                    <a:pt x="296" y="103"/>
                  </a:lnTo>
                  <a:lnTo>
                    <a:pt x="299" y="103"/>
                  </a:lnTo>
                  <a:lnTo>
                    <a:pt x="309" y="103"/>
                  </a:lnTo>
                  <a:lnTo>
                    <a:pt x="316" y="100"/>
                  </a:lnTo>
                  <a:lnTo>
                    <a:pt x="316" y="100"/>
                  </a:lnTo>
                  <a:lnTo>
                    <a:pt x="313" y="132"/>
                  </a:lnTo>
                  <a:lnTo>
                    <a:pt x="313" y="148"/>
                  </a:lnTo>
                  <a:lnTo>
                    <a:pt x="309" y="148"/>
                  </a:lnTo>
                  <a:lnTo>
                    <a:pt x="309" y="155"/>
                  </a:lnTo>
                  <a:lnTo>
                    <a:pt x="309" y="158"/>
                  </a:lnTo>
                  <a:lnTo>
                    <a:pt x="299" y="165"/>
                  </a:lnTo>
                  <a:lnTo>
                    <a:pt x="292" y="165"/>
                  </a:lnTo>
                  <a:lnTo>
                    <a:pt x="285" y="165"/>
                  </a:lnTo>
                  <a:lnTo>
                    <a:pt x="282" y="168"/>
                  </a:lnTo>
                  <a:lnTo>
                    <a:pt x="279" y="168"/>
                  </a:lnTo>
                  <a:lnTo>
                    <a:pt x="268" y="168"/>
                  </a:lnTo>
                  <a:lnTo>
                    <a:pt x="265" y="171"/>
                  </a:lnTo>
                  <a:lnTo>
                    <a:pt x="258" y="171"/>
                  </a:lnTo>
                  <a:lnTo>
                    <a:pt x="248" y="171"/>
                  </a:lnTo>
                  <a:lnTo>
                    <a:pt x="241" y="171"/>
                  </a:lnTo>
                  <a:lnTo>
                    <a:pt x="241" y="171"/>
                  </a:lnTo>
                  <a:lnTo>
                    <a:pt x="241" y="171"/>
                  </a:lnTo>
                  <a:lnTo>
                    <a:pt x="237" y="171"/>
                  </a:lnTo>
                  <a:lnTo>
                    <a:pt x="230" y="168"/>
                  </a:lnTo>
                  <a:lnTo>
                    <a:pt x="227" y="171"/>
                  </a:lnTo>
                  <a:lnTo>
                    <a:pt x="217" y="171"/>
                  </a:lnTo>
                  <a:lnTo>
                    <a:pt x="210" y="174"/>
                  </a:lnTo>
                  <a:lnTo>
                    <a:pt x="206" y="178"/>
                  </a:lnTo>
                  <a:lnTo>
                    <a:pt x="189" y="184"/>
                  </a:lnTo>
                  <a:lnTo>
                    <a:pt x="179" y="190"/>
                  </a:lnTo>
                  <a:lnTo>
                    <a:pt x="179" y="194"/>
                  </a:lnTo>
                  <a:lnTo>
                    <a:pt x="168" y="197"/>
                  </a:lnTo>
                  <a:lnTo>
                    <a:pt x="165" y="197"/>
                  </a:lnTo>
                  <a:lnTo>
                    <a:pt x="162" y="197"/>
                  </a:lnTo>
                  <a:lnTo>
                    <a:pt x="158" y="197"/>
                  </a:lnTo>
                  <a:lnTo>
                    <a:pt x="158" y="200"/>
                  </a:lnTo>
                  <a:lnTo>
                    <a:pt x="151" y="207"/>
                  </a:lnTo>
                  <a:lnTo>
                    <a:pt x="151" y="207"/>
                  </a:lnTo>
                  <a:lnTo>
                    <a:pt x="148" y="213"/>
                  </a:lnTo>
                  <a:lnTo>
                    <a:pt x="144" y="220"/>
                  </a:lnTo>
                  <a:lnTo>
                    <a:pt x="137" y="223"/>
                  </a:lnTo>
                  <a:lnTo>
                    <a:pt x="134" y="226"/>
                  </a:lnTo>
                  <a:lnTo>
                    <a:pt x="134" y="229"/>
                  </a:lnTo>
                  <a:lnTo>
                    <a:pt x="137" y="236"/>
                  </a:lnTo>
                  <a:lnTo>
                    <a:pt x="134" y="236"/>
                  </a:lnTo>
                  <a:lnTo>
                    <a:pt x="131" y="239"/>
                  </a:lnTo>
                  <a:lnTo>
                    <a:pt x="134" y="242"/>
                  </a:lnTo>
                  <a:lnTo>
                    <a:pt x="134" y="245"/>
                  </a:lnTo>
                  <a:lnTo>
                    <a:pt x="131" y="245"/>
                  </a:lnTo>
                  <a:lnTo>
                    <a:pt x="127" y="252"/>
                  </a:lnTo>
                  <a:lnTo>
                    <a:pt x="120" y="249"/>
                  </a:lnTo>
                  <a:lnTo>
                    <a:pt x="120" y="249"/>
                  </a:lnTo>
                  <a:lnTo>
                    <a:pt x="120" y="245"/>
                  </a:lnTo>
                  <a:lnTo>
                    <a:pt x="117" y="245"/>
                  </a:lnTo>
                  <a:lnTo>
                    <a:pt x="110" y="245"/>
                  </a:lnTo>
                  <a:lnTo>
                    <a:pt x="110" y="249"/>
                  </a:lnTo>
                  <a:lnTo>
                    <a:pt x="107" y="249"/>
                  </a:lnTo>
                  <a:lnTo>
                    <a:pt x="100" y="249"/>
                  </a:lnTo>
                  <a:lnTo>
                    <a:pt x="96" y="245"/>
                  </a:lnTo>
                  <a:lnTo>
                    <a:pt x="93" y="245"/>
                  </a:lnTo>
                  <a:lnTo>
                    <a:pt x="86" y="249"/>
                  </a:lnTo>
                  <a:lnTo>
                    <a:pt x="86" y="249"/>
                  </a:lnTo>
                  <a:lnTo>
                    <a:pt x="86" y="245"/>
                  </a:lnTo>
                  <a:lnTo>
                    <a:pt x="79" y="245"/>
                  </a:lnTo>
                  <a:lnTo>
                    <a:pt x="79" y="242"/>
                  </a:lnTo>
                  <a:lnTo>
                    <a:pt x="79" y="242"/>
                  </a:lnTo>
                  <a:lnTo>
                    <a:pt x="79" y="239"/>
                  </a:lnTo>
                  <a:lnTo>
                    <a:pt x="76" y="239"/>
                  </a:lnTo>
                  <a:lnTo>
                    <a:pt x="72" y="242"/>
                  </a:lnTo>
                  <a:lnTo>
                    <a:pt x="69" y="242"/>
                  </a:lnTo>
                  <a:lnTo>
                    <a:pt x="72" y="236"/>
                  </a:lnTo>
                  <a:lnTo>
                    <a:pt x="76" y="232"/>
                  </a:lnTo>
                  <a:lnTo>
                    <a:pt x="76" y="229"/>
                  </a:lnTo>
                  <a:lnTo>
                    <a:pt x="72" y="229"/>
                  </a:lnTo>
                  <a:lnTo>
                    <a:pt x="69" y="229"/>
                  </a:lnTo>
                  <a:lnTo>
                    <a:pt x="69" y="223"/>
                  </a:lnTo>
                  <a:lnTo>
                    <a:pt x="69" y="220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2" y="216"/>
                  </a:lnTo>
                  <a:lnTo>
                    <a:pt x="58" y="220"/>
                  </a:lnTo>
                  <a:lnTo>
                    <a:pt x="55" y="216"/>
                  </a:lnTo>
                  <a:lnTo>
                    <a:pt x="48" y="216"/>
                  </a:lnTo>
                  <a:lnTo>
                    <a:pt x="45" y="220"/>
                  </a:lnTo>
                  <a:lnTo>
                    <a:pt x="45" y="220"/>
                  </a:lnTo>
                  <a:lnTo>
                    <a:pt x="38" y="223"/>
                  </a:lnTo>
                  <a:lnTo>
                    <a:pt x="34" y="223"/>
                  </a:lnTo>
                  <a:lnTo>
                    <a:pt x="31" y="220"/>
                  </a:lnTo>
                  <a:lnTo>
                    <a:pt x="27" y="220"/>
                  </a:lnTo>
                  <a:lnTo>
                    <a:pt x="24" y="223"/>
                  </a:lnTo>
                  <a:lnTo>
                    <a:pt x="21" y="220"/>
                  </a:lnTo>
                  <a:lnTo>
                    <a:pt x="21" y="220"/>
                  </a:lnTo>
                  <a:lnTo>
                    <a:pt x="21" y="220"/>
                  </a:lnTo>
                  <a:lnTo>
                    <a:pt x="21" y="216"/>
                  </a:lnTo>
                  <a:lnTo>
                    <a:pt x="17" y="213"/>
                  </a:lnTo>
                  <a:lnTo>
                    <a:pt x="17" y="210"/>
                  </a:lnTo>
                  <a:lnTo>
                    <a:pt x="17" y="210"/>
                  </a:lnTo>
                  <a:lnTo>
                    <a:pt x="17" y="207"/>
                  </a:lnTo>
                  <a:lnTo>
                    <a:pt x="17" y="203"/>
                  </a:lnTo>
                  <a:lnTo>
                    <a:pt x="14" y="203"/>
                  </a:lnTo>
                  <a:lnTo>
                    <a:pt x="14" y="200"/>
                  </a:lnTo>
                  <a:lnTo>
                    <a:pt x="10" y="200"/>
                  </a:lnTo>
                  <a:lnTo>
                    <a:pt x="7" y="200"/>
                  </a:lnTo>
                  <a:lnTo>
                    <a:pt x="7" y="194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3" y="184"/>
                  </a:lnTo>
                  <a:lnTo>
                    <a:pt x="0" y="181"/>
                  </a:lnTo>
                  <a:lnTo>
                    <a:pt x="0" y="178"/>
                  </a:lnTo>
                  <a:lnTo>
                    <a:pt x="0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7" name="Freeform 118"/>
            <p:cNvSpPr>
              <a:spLocks/>
            </p:cNvSpPr>
            <p:nvPr/>
          </p:nvSpPr>
          <p:spPr bwMode="auto">
            <a:xfrm>
              <a:off x="6108701" y="4221817"/>
              <a:ext cx="234950" cy="142875"/>
            </a:xfrm>
            <a:custGeom>
              <a:avLst/>
              <a:gdLst>
                <a:gd name="T0" fmla="*/ 3 w 148"/>
                <a:gd name="T1" fmla="*/ 74 h 90"/>
                <a:gd name="T2" fmla="*/ 3 w 148"/>
                <a:gd name="T3" fmla="*/ 68 h 90"/>
                <a:gd name="T4" fmla="*/ 3 w 148"/>
                <a:gd name="T5" fmla="*/ 61 h 90"/>
                <a:gd name="T6" fmla="*/ 6 w 148"/>
                <a:gd name="T7" fmla="*/ 55 h 90"/>
                <a:gd name="T8" fmla="*/ 17 w 148"/>
                <a:gd name="T9" fmla="*/ 45 h 90"/>
                <a:gd name="T10" fmla="*/ 20 w 148"/>
                <a:gd name="T11" fmla="*/ 39 h 90"/>
                <a:gd name="T12" fmla="*/ 27 w 148"/>
                <a:gd name="T13" fmla="*/ 29 h 90"/>
                <a:gd name="T14" fmla="*/ 34 w 148"/>
                <a:gd name="T15" fmla="*/ 29 h 90"/>
                <a:gd name="T16" fmla="*/ 48 w 148"/>
                <a:gd name="T17" fmla="*/ 26 h 90"/>
                <a:gd name="T18" fmla="*/ 58 w 148"/>
                <a:gd name="T19" fmla="*/ 16 h 90"/>
                <a:gd name="T20" fmla="*/ 79 w 148"/>
                <a:gd name="T21" fmla="*/ 6 h 90"/>
                <a:gd name="T22" fmla="*/ 96 w 148"/>
                <a:gd name="T23" fmla="*/ 3 h 90"/>
                <a:gd name="T24" fmla="*/ 106 w 148"/>
                <a:gd name="T25" fmla="*/ 3 h 90"/>
                <a:gd name="T26" fmla="*/ 110 w 148"/>
                <a:gd name="T27" fmla="*/ 3 h 90"/>
                <a:gd name="T28" fmla="*/ 110 w 148"/>
                <a:gd name="T29" fmla="*/ 10 h 90"/>
                <a:gd name="T30" fmla="*/ 106 w 148"/>
                <a:gd name="T31" fmla="*/ 19 h 90"/>
                <a:gd name="T32" fmla="*/ 123 w 148"/>
                <a:gd name="T33" fmla="*/ 35 h 90"/>
                <a:gd name="T34" fmla="*/ 141 w 148"/>
                <a:gd name="T35" fmla="*/ 35 h 90"/>
                <a:gd name="T36" fmla="*/ 144 w 148"/>
                <a:gd name="T37" fmla="*/ 39 h 90"/>
                <a:gd name="T38" fmla="*/ 144 w 148"/>
                <a:gd name="T39" fmla="*/ 42 h 90"/>
                <a:gd name="T40" fmla="*/ 148 w 148"/>
                <a:gd name="T41" fmla="*/ 52 h 90"/>
                <a:gd name="T42" fmla="*/ 148 w 148"/>
                <a:gd name="T43" fmla="*/ 52 h 90"/>
                <a:gd name="T44" fmla="*/ 141 w 148"/>
                <a:gd name="T45" fmla="*/ 58 h 90"/>
                <a:gd name="T46" fmla="*/ 130 w 148"/>
                <a:gd name="T47" fmla="*/ 58 h 90"/>
                <a:gd name="T48" fmla="*/ 127 w 148"/>
                <a:gd name="T49" fmla="*/ 64 h 90"/>
                <a:gd name="T50" fmla="*/ 127 w 148"/>
                <a:gd name="T51" fmla="*/ 68 h 90"/>
                <a:gd name="T52" fmla="*/ 120 w 148"/>
                <a:gd name="T53" fmla="*/ 71 h 90"/>
                <a:gd name="T54" fmla="*/ 99 w 148"/>
                <a:gd name="T55" fmla="*/ 68 h 90"/>
                <a:gd name="T56" fmla="*/ 96 w 148"/>
                <a:gd name="T57" fmla="*/ 68 h 90"/>
                <a:gd name="T58" fmla="*/ 89 w 148"/>
                <a:gd name="T59" fmla="*/ 68 h 90"/>
                <a:gd name="T60" fmla="*/ 72 w 148"/>
                <a:gd name="T61" fmla="*/ 71 h 90"/>
                <a:gd name="T62" fmla="*/ 55 w 148"/>
                <a:gd name="T63" fmla="*/ 71 h 90"/>
                <a:gd name="T64" fmla="*/ 48 w 148"/>
                <a:gd name="T65" fmla="*/ 74 h 90"/>
                <a:gd name="T66" fmla="*/ 51 w 148"/>
                <a:gd name="T67" fmla="*/ 81 h 90"/>
                <a:gd name="T68" fmla="*/ 55 w 148"/>
                <a:gd name="T69" fmla="*/ 90 h 90"/>
                <a:gd name="T70" fmla="*/ 48 w 148"/>
                <a:gd name="T71" fmla="*/ 87 h 90"/>
                <a:gd name="T72" fmla="*/ 41 w 148"/>
                <a:gd name="T73" fmla="*/ 90 h 90"/>
                <a:gd name="T74" fmla="*/ 31 w 148"/>
                <a:gd name="T75" fmla="*/ 90 h 90"/>
                <a:gd name="T76" fmla="*/ 24 w 148"/>
                <a:gd name="T77" fmla="*/ 84 h 90"/>
                <a:gd name="T78" fmla="*/ 17 w 148"/>
                <a:gd name="T79" fmla="*/ 84 h 90"/>
                <a:gd name="T80" fmla="*/ 6 w 148"/>
                <a:gd name="T81" fmla="*/ 81 h 90"/>
                <a:gd name="T82" fmla="*/ 3 w 148"/>
                <a:gd name="T83" fmla="*/ 7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8" h="90">
                  <a:moveTo>
                    <a:pt x="3" y="77"/>
                  </a:moveTo>
                  <a:lnTo>
                    <a:pt x="3" y="74"/>
                  </a:lnTo>
                  <a:lnTo>
                    <a:pt x="0" y="71"/>
                  </a:lnTo>
                  <a:lnTo>
                    <a:pt x="3" y="68"/>
                  </a:lnTo>
                  <a:lnTo>
                    <a:pt x="6" y="68"/>
                  </a:lnTo>
                  <a:lnTo>
                    <a:pt x="3" y="61"/>
                  </a:lnTo>
                  <a:lnTo>
                    <a:pt x="3" y="58"/>
                  </a:lnTo>
                  <a:lnTo>
                    <a:pt x="6" y="55"/>
                  </a:lnTo>
                  <a:lnTo>
                    <a:pt x="13" y="52"/>
                  </a:lnTo>
                  <a:lnTo>
                    <a:pt x="17" y="45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7" y="32"/>
                  </a:lnTo>
                  <a:lnTo>
                    <a:pt x="27" y="29"/>
                  </a:lnTo>
                  <a:lnTo>
                    <a:pt x="31" y="29"/>
                  </a:lnTo>
                  <a:lnTo>
                    <a:pt x="34" y="29"/>
                  </a:lnTo>
                  <a:lnTo>
                    <a:pt x="37" y="29"/>
                  </a:lnTo>
                  <a:lnTo>
                    <a:pt x="48" y="26"/>
                  </a:lnTo>
                  <a:lnTo>
                    <a:pt x="48" y="22"/>
                  </a:lnTo>
                  <a:lnTo>
                    <a:pt x="58" y="16"/>
                  </a:lnTo>
                  <a:lnTo>
                    <a:pt x="75" y="10"/>
                  </a:lnTo>
                  <a:lnTo>
                    <a:pt x="79" y="6"/>
                  </a:lnTo>
                  <a:lnTo>
                    <a:pt x="86" y="3"/>
                  </a:lnTo>
                  <a:lnTo>
                    <a:pt x="96" y="3"/>
                  </a:lnTo>
                  <a:lnTo>
                    <a:pt x="99" y="0"/>
                  </a:lnTo>
                  <a:lnTo>
                    <a:pt x="106" y="3"/>
                  </a:lnTo>
                  <a:lnTo>
                    <a:pt x="110" y="3"/>
                  </a:lnTo>
                  <a:lnTo>
                    <a:pt x="110" y="3"/>
                  </a:lnTo>
                  <a:lnTo>
                    <a:pt x="110" y="6"/>
                  </a:lnTo>
                  <a:lnTo>
                    <a:pt x="110" y="10"/>
                  </a:lnTo>
                  <a:lnTo>
                    <a:pt x="106" y="13"/>
                  </a:lnTo>
                  <a:lnTo>
                    <a:pt x="106" y="19"/>
                  </a:lnTo>
                  <a:lnTo>
                    <a:pt x="123" y="29"/>
                  </a:lnTo>
                  <a:lnTo>
                    <a:pt x="123" y="35"/>
                  </a:lnTo>
                  <a:lnTo>
                    <a:pt x="130" y="39"/>
                  </a:lnTo>
                  <a:lnTo>
                    <a:pt x="141" y="35"/>
                  </a:lnTo>
                  <a:lnTo>
                    <a:pt x="141" y="35"/>
                  </a:lnTo>
                  <a:lnTo>
                    <a:pt x="144" y="39"/>
                  </a:lnTo>
                  <a:lnTo>
                    <a:pt x="144" y="39"/>
                  </a:lnTo>
                  <a:lnTo>
                    <a:pt x="144" y="42"/>
                  </a:lnTo>
                  <a:lnTo>
                    <a:pt x="141" y="45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4" y="58"/>
                  </a:lnTo>
                  <a:lnTo>
                    <a:pt x="141" y="58"/>
                  </a:lnTo>
                  <a:lnTo>
                    <a:pt x="134" y="61"/>
                  </a:lnTo>
                  <a:lnTo>
                    <a:pt x="130" y="58"/>
                  </a:lnTo>
                  <a:lnTo>
                    <a:pt x="127" y="61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20" y="71"/>
                  </a:lnTo>
                  <a:lnTo>
                    <a:pt x="120" y="71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6" y="68"/>
                  </a:lnTo>
                  <a:lnTo>
                    <a:pt x="92" y="68"/>
                  </a:lnTo>
                  <a:lnTo>
                    <a:pt x="89" y="68"/>
                  </a:lnTo>
                  <a:lnTo>
                    <a:pt x="82" y="71"/>
                  </a:lnTo>
                  <a:lnTo>
                    <a:pt x="72" y="71"/>
                  </a:lnTo>
                  <a:lnTo>
                    <a:pt x="68" y="71"/>
                  </a:lnTo>
                  <a:lnTo>
                    <a:pt x="55" y="71"/>
                  </a:lnTo>
                  <a:lnTo>
                    <a:pt x="48" y="71"/>
                  </a:lnTo>
                  <a:lnTo>
                    <a:pt x="48" y="74"/>
                  </a:lnTo>
                  <a:lnTo>
                    <a:pt x="48" y="81"/>
                  </a:lnTo>
                  <a:lnTo>
                    <a:pt x="51" y="81"/>
                  </a:lnTo>
                  <a:lnTo>
                    <a:pt x="55" y="87"/>
                  </a:lnTo>
                  <a:lnTo>
                    <a:pt x="55" y="90"/>
                  </a:lnTo>
                  <a:lnTo>
                    <a:pt x="48" y="90"/>
                  </a:lnTo>
                  <a:lnTo>
                    <a:pt x="48" y="87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4" y="90"/>
                  </a:lnTo>
                  <a:lnTo>
                    <a:pt x="31" y="90"/>
                  </a:lnTo>
                  <a:lnTo>
                    <a:pt x="27" y="87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6" y="81"/>
                  </a:lnTo>
                  <a:lnTo>
                    <a:pt x="3" y="77"/>
                  </a:lnTo>
                  <a:lnTo>
                    <a:pt x="3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8" name="Freeform 119"/>
            <p:cNvSpPr>
              <a:spLocks/>
            </p:cNvSpPr>
            <p:nvPr/>
          </p:nvSpPr>
          <p:spPr bwMode="auto">
            <a:xfrm>
              <a:off x="5737226" y="4180542"/>
              <a:ext cx="196850" cy="123825"/>
            </a:xfrm>
            <a:custGeom>
              <a:avLst/>
              <a:gdLst>
                <a:gd name="T0" fmla="*/ 20 w 124"/>
                <a:gd name="T1" fmla="*/ 10 h 78"/>
                <a:gd name="T2" fmla="*/ 27 w 124"/>
                <a:gd name="T3" fmla="*/ 6 h 78"/>
                <a:gd name="T4" fmla="*/ 48 w 124"/>
                <a:gd name="T5" fmla="*/ 0 h 78"/>
                <a:gd name="T6" fmla="*/ 62 w 124"/>
                <a:gd name="T7" fmla="*/ 3 h 78"/>
                <a:gd name="T8" fmla="*/ 68 w 124"/>
                <a:gd name="T9" fmla="*/ 10 h 78"/>
                <a:gd name="T10" fmla="*/ 72 w 124"/>
                <a:gd name="T11" fmla="*/ 13 h 78"/>
                <a:gd name="T12" fmla="*/ 79 w 124"/>
                <a:gd name="T13" fmla="*/ 10 h 78"/>
                <a:gd name="T14" fmla="*/ 82 w 124"/>
                <a:gd name="T15" fmla="*/ 13 h 78"/>
                <a:gd name="T16" fmla="*/ 86 w 124"/>
                <a:gd name="T17" fmla="*/ 19 h 78"/>
                <a:gd name="T18" fmla="*/ 93 w 124"/>
                <a:gd name="T19" fmla="*/ 23 h 78"/>
                <a:gd name="T20" fmla="*/ 96 w 124"/>
                <a:gd name="T21" fmla="*/ 29 h 78"/>
                <a:gd name="T22" fmla="*/ 103 w 124"/>
                <a:gd name="T23" fmla="*/ 32 h 78"/>
                <a:gd name="T24" fmla="*/ 103 w 124"/>
                <a:gd name="T25" fmla="*/ 39 h 78"/>
                <a:gd name="T26" fmla="*/ 103 w 124"/>
                <a:gd name="T27" fmla="*/ 48 h 78"/>
                <a:gd name="T28" fmla="*/ 110 w 124"/>
                <a:gd name="T29" fmla="*/ 52 h 78"/>
                <a:gd name="T30" fmla="*/ 113 w 124"/>
                <a:gd name="T31" fmla="*/ 58 h 78"/>
                <a:gd name="T32" fmla="*/ 117 w 124"/>
                <a:gd name="T33" fmla="*/ 61 h 78"/>
                <a:gd name="T34" fmla="*/ 120 w 124"/>
                <a:gd name="T35" fmla="*/ 65 h 78"/>
                <a:gd name="T36" fmla="*/ 120 w 124"/>
                <a:gd name="T37" fmla="*/ 68 h 78"/>
                <a:gd name="T38" fmla="*/ 124 w 124"/>
                <a:gd name="T39" fmla="*/ 74 h 78"/>
                <a:gd name="T40" fmla="*/ 124 w 124"/>
                <a:gd name="T41" fmla="*/ 78 h 78"/>
                <a:gd name="T42" fmla="*/ 120 w 124"/>
                <a:gd name="T43" fmla="*/ 74 h 78"/>
                <a:gd name="T44" fmla="*/ 113 w 124"/>
                <a:gd name="T45" fmla="*/ 74 h 78"/>
                <a:gd name="T46" fmla="*/ 106 w 124"/>
                <a:gd name="T47" fmla="*/ 74 h 78"/>
                <a:gd name="T48" fmla="*/ 96 w 124"/>
                <a:gd name="T49" fmla="*/ 71 h 78"/>
                <a:gd name="T50" fmla="*/ 75 w 124"/>
                <a:gd name="T51" fmla="*/ 68 h 78"/>
                <a:gd name="T52" fmla="*/ 72 w 124"/>
                <a:gd name="T53" fmla="*/ 68 h 78"/>
                <a:gd name="T54" fmla="*/ 48 w 124"/>
                <a:gd name="T55" fmla="*/ 68 h 78"/>
                <a:gd name="T56" fmla="*/ 38 w 124"/>
                <a:gd name="T57" fmla="*/ 74 h 78"/>
                <a:gd name="T58" fmla="*/ 20 w 124"/>
                <a:gd name="T59" fmla="*/ 74 h 78"/>
                <a:gd name="T60" fmla="*/ 13 w 124"/>
                <a:gd name="T61" fmla="*/ 71 h 78"/>
                <a:gd name="T62" fmla="*/ 17 w 124"/>
                <a:gd name="T63" fmla="*/ 71 h 78"/>
                <a:gd name="T64" fmla="*/ 24 w 124"/>
                <a:gd name="T65" fmla="*/ 68 h 78"/>
                <a:gd name="T66" fmla="*/ 13 w 124"/>
                <a:gd name="T67" fmla="*/ 68 h 78"/>
                <a:gd name="T68" fmla="*/ 13 w 124"/>
                <a:gd name="T69" fmla="*/ 65 h 78"/>
                <a:gd name="T70" fmla="*/ 13 w 124"/>
                <a:gd name="T71" fmla="*/ 61 h 78"/>
                <a:gd name="T72" fmla="*/ 31 w 124"/>
                <a:gd name="T73" fmla="*/ 58 h 78"/>
                <a:gd name="T74" fmla="*/ 38 w 124"/>
                <a:gd name="T75" fmla="*/ 55 h 78"/>
                <a:gd name="T76" fmla="*/ 41 w 124"/>
                <a:gd name="T77" fmla="*/ 55 h 78"/>
                <a:gd name="T78" fmla="*/ 48 w 124"/>
                <a:gd name="T79" fmla="*/ 52 h 78"/>
                <a:gd name="T80" fmla="*/ 55 w 124"/>
                <a:gd name="T81" fmla="*/ 55 h 78"/>
                <a:gd name="T82" fmla="*/ 65 w 124"/>
                <a:gd name="T83" fmla="*/ 58 h 78"/>
                <a:gd name="T84" fmla="*/ 72 w 124"/>
                <a:gd name="T85" fmla="*/ 58 h 78"/>
                <a:gd name="T86" fmla="*/ 68 w 124"/>
                <a:gd name="T87" fmla="*/ 55 h 78"/>
                <a:gd name="T88" fmla="*/ 58 w 124"/>
                <a:gd name="T89" fmla="*/ 52 h 78"/>
                <a:gd name="T90" fmla="*/ 44 w 124"/>
                <a:gd name="T91" fmla="*/ 48 h 78"/>
                <a:gd name="T92" fmla="*/ 38 w 124"/>
                <a:gd name="T93" fmla="*/ 48 h 78"/>
                <a:gd name="T94" fmla="*/ 27 w 124"/>
                <a:gd name="T95" fmla="*/ 52 h 78"/>
                <a:gd name="T96" fmla="*/ 17 w 124"/>
                <a:gd name="T97" fmla="*/ 55 h 78"/>
                <a:gd name="T98" fmla="*/ 17 w 124"/>
                <a:gd name="T99" fmla="*/ 52 h 78"/>
                <a:gd name="T100" fmla="*/ 13 w 124"/>
                <a:gd name="T101" fmla="*/ 48 h 78"/>
                <a:gd name="T102" fmla="*/ 10 w 124"/>
                <a:gd name="T103" fmla="*/ 45 h 78"/>
                <a:gd name="T104" fmla="*/ 0 w 124"/>
                <a:gd name="T105" fmla="*/ 32 h 78"/>
                <a:gd name="T106" fmla="*/ 17 w 124"/>
                <a:gd name="T107" fmla="*/ 1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4" h="78">
                  <a:moveTo>
                    <a:pt x="17" y="10"/>
                  </a:moveTo>
                  <a:lnTo>
                    <a:pt x="20" y="10"/>
                  </a:lnTo>
                  <a:lnTo>
                    <a:pt x="24" y="10"/>
                  </a:lnTo>
                  <a:lnTo>
                    <a:pt x="27" y="6"/>
                  </a:lnTo>
                  <a:lnTo>
                    <a:pt x="38" y="3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62" y="3"/>
                  </a:lnTo>
                  <a:lnTo>
                    <a:pt x="65" y="3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72" y="13"/>
                  </a:lnTo>
                  <a:lnTo>
                    <a:pt x="75" y="10"/>
                  </a:lnTo>
                  <a:lnTo>
                    <a:pt x="79" y="10"/>
                  </a:lnTo>
                  <a:lnTo>
                    <a:pt x="82" y="10"/>
                  </a:lnTo>
                  <a:lnTo>
                    <a:pt x="82" y="13"/>
                  </a:lnTo>
                  <a:lnTo>
                    <a:pt x="82" y="16"/>
                  </a:lnTo>
                  <a:lnTo>
                    <a:pt x="86" y="19"/>
                  </a:lnTo>
                  <a:lnTo>
                    <a:pt x="86" y="23"/>
                  </a:lnTo>
                  <a:lnTo>
                    <a:pt x="93" y="23"/>
                  </a:lnTo>
                  <a:lnTo>
                    <a:pt x="93" y="26"/>
                  </a:lnTo>
                  <a:lnTo>
                    <a:pt x="96" y="29"/>
                  </a:lnTo>
                  <a:lnTo>
                    <a:pt x="99" y="32"/>
                  </a:lnTo>
                  <a:lnTo>
                    <a:pt x="103" y="32"/>
                  </a:lnTo>
                  <a:lnTo>
                    <a:pt x="103" y="36"/>
                  </a:lnTo>
                  <a:lnTo>
                    <a:pt x="103" y="39"/>
                  </a:lnTo>
                  <a:lnTo>
                    <a:pt x="106" y="42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110" y="52"/>
                  </a:lnTo>
                  <a:lnTo>
                    <a:pt x="110" y="58"/>
                  </a:lnTo>
                  <a:lnTo>
                    <a:pt x="113" y="58"/>
                  </a:lnTo>
                  <a:lnTo>
                    <a:pt x="117" y="58"/>
                  </a:lnTo>
                  <a:lnTo>
                    <a:pt x="117" y="61"/>
                  </a:lnTo>
                  <a:lnTo>
                    <a:pt x="120" y="61"/>
                  </a:lnTo>
                  <a:lnTo>
                    <a:pt x="120" y="65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1"/>
                  </a:lnTo>
                  <a:lnTo>
                    <a:pt x="124" y="74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74"/>
                  </a:lnTo>
                  <a:lnTo>
                    <a:pt x="120" y="74"/>
                  </a:lnTo>
                  <a:lnTo>
                    <a:pt x="117" y="74"/>
                  </a:lnTo>
                  <a:lnTo>
                    <a:pt x="113" y="74"/>
                  </a:lnTo>
                  <a:lnTo>
                    <a:pt x="110" y="74"/>
                  </a:lnTo>
                  <a:lnTo>
                    <a:pt x="106" y="74"/>
                  </a:lnTo>
                  <a:lnTo>
                    <a:pt x="99" y="74"/>
                  </a:lnTo>
                  <a:lnTo>
                    <a:pt x="96" y="71"/>
                  </a:lnTo>
                  <a:lnTo>
                    <a:pt x="89" y="68"/>
                  </a:lnTo>
                  <a:lnTo>
                    <a:pt x="75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48" y="68"/>
                  </a:lnTo>
                  <a:lnTo>
                    <a:pt x="41" y="71"/>
                  </a:lnTo>
                  <a:lnTo>
                    <a:pt x="38" y="74"/>
                  </a:lnTo>
                  <a:lnTo>
                    <a:pt x="27" y="71"/>
                  </a:lnTo>
                  <a:lnTo>
                    <a:pt x="20" y="74"/>
                  </a:lnTo>
                  <a:lnTo>
                    <a:pt x="13" y="74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7" y="71"/>
                  </a:lnTo>
                  <a:lnTo>
                    <a:pt x="20" y="71"/>
                  </a:lnTo>
                  <a:lnTo>
                    <a:pt x="24" y="68"/>
                  </a:lnTo>
                  <a:lnTo>
                    <a:pt x="17" y="68"/>
                  </a:lnTo>
                  <a:lnTo>
                    <a:pt x="13" y="68"/>
                  </a:lnTo>
                  <a:lnTo>
                    <a:pt x="10" y="68"/>
                  </a:lnTo>
                  <a:lnTo>
                    <a:pt x="13" y="65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27" y="61"/>
                  </a:lnTo>
                  <a:lnTo>
                    <a:pt x="31" y="58"/>
                  </a:lnTo>
                  <a:lnTo>
                    <a:pt x="34" y="55"/>
                  </a:lnTo>
                  <a:lnTo>
                    <a:pt x="38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4" y="55"/>
                  </a:lnTo>
                  <a:lnTo>
                    <a:pt x="48" y="52"/>
                  </a:lnTo>
                  <a:lnTo>
                    <a:pt x="51" y="55"/>
                  </a:lnTo>
                  <a:lnTo>
                    <a:pt x="55" y="55"/>
                  </a:lnTo>
                  <a:lnTo>
                    <a:pt x="62" y="58"/>
                  </a:lnTo>
                  <a:lnTo>
                    <a:pt x="65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2" y="55"/>
                  </a:lnTo>
                  <a:lnTo>
                    <a:pt x="68" y="55"/>
                  </a:lnTo>
                  <a:lnTo>
                    <a:pt x="62" y="52"/>
                  </a:lnTo>
                  <a:lnTo>
                    <a:pt x="58" y="52"/>
                  </a:lnTo>
                  <a:lnTo>
                    <a:pt x="51" y="48"/>
                  </a:lnTo>
                  <a:lnTo>
                    <a:pt x="44" y="48"/>
                  </a:lnTo>
                  <a:lnTo>
                    <a:pt x="41" y="45"/>
                  </a:lnTo>
                  <a:lnTo>
                    <a:pt x="38" y="48"/>
                  </a:lnTo>
                  <a:lnTo>
                    <a:pt x="31" y="52"/>
                  </a:lnTo>
                  <a:lnTo>
                    <a:pt x="27" y="52"/>
                  </a:lnTo>
                  <a:lnTo>
                    <a:pt x="24" y="55"/>
                  </a:lnTo>
                  <a:lnTo>
                    <a:pt x="17" y="55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5"/>
                  </a:lnTo>
                  <a:lnTo>
                    <a:pt x="10" y="45"/>
                  </a:lnTo>
                  <a:lnTo>
                    <a:pt x="7" y="39"/>
                  </a:lnTo>
                  <a:lnTo>
                    <a:pt x="0" y="32"/>
                  </a:lnTo>
                  <a:lnTo>
                    <a:pt x="13" y="23"/>
                  </a:lnTo>
                  <a:lnTo>
                    <a:pt x="17" y="16"/>
                  </a:lnTo>
                  <a:lnTo>
                    <a:pt x="17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9" name="Freeform 120"/>
            <p:cNvSpPr>
              <a:spLocks/>
            </p:cNvSpPr>
            <p:nvPr/>
          </p:nvSpPr>
          <p:spPr bwMode="auto">
            <a:xfrm>
              <a:off x="5753101" y="4251980"/>
              <a:ext cx="98425" cy="25400"/>
            </a:xfrm>
            <a:custGeom>
              <a:avLst/>
              <a:gdLst>
                <a:gd name="T0" fmla="*/ 3 w 62"/>
                <a:gd name="T1" fmla="*/ 16 h 16"/>
                <a:gd name="T2" fmla="*/ 3 w 62"/>
                <a:gd name="T3" fmla="*/ 16 h 16"/>
                <a:gd name="T4" fmla="*/ 17 w 62"/>
                <a:gd name="T5" fmla="*/ 16 h 16"/>
                <a:gd name="T6" fmla="*/ 21 w 62"/>
                <a:gd name="T7" fmla="*/ 13 h 16"/>
                <a:gd name="T8" fmla="*/ 24 w 62"/>
                <a:gd name="T9" fmla="*/ 10 h 16"/>
                <a:gd name="T10" fmla="*/ 28 w 62"/>
                <a:gd name="T11" fmla="*/ 10 h 16"/>
                <a:gd name="T12" fmla="*/ 31 w 62"/>
                <a:gd name="T13" fmla="*/ 10 h 16"/>
                <a:gd name="T14" fmla="*/ 31 w 62"/>
                <a:gd name="T15" fmla="*/ 10 h 16"/>
                <a:gd name="T16" fmla="*/ 34 w 62"/>
                <a:gd name="T17" fmla="*/ 10 h 16"/>
                <a:gd name="T18" fmla="*/ 38 w 62"/>
                <a:gd name="T19" fmla="*/ 7 h 16"/>
                <a:gd name="T20" fmla="*/ 41 w 62"/>
                <a:gd name="T21" fmla="*/ 10 h 16"/>
                <a:gd name="T22" fmla="*/ 45 w 62"/>
                <a:gd name="T23" fmla="*/ 10 h 16"/>
                <a:gd name="T24" fmla="*/ 52 w 62"/>
                <a:gd name="T25" fmla="*/ 13 h 16"/>
                <a:gd name="T26" fmla="*/ 55 w 62"/>
                <a:gd name="T27" fmla="*/ 13 h 16"/>
                <a:gd name="T28" fmla="*/ 62 w 62"/>
                <a:gd name="T29" fmla="*/ 13 h 16"/>
                <a:gd name="T30" fmla="*/ 62 w 62"/>
                <a:gd name="T31" fmla="*/ 13 h 16"/>
                <a:gd name="T32" fmla="*/ 62 w 62"/>
                <a:gd name="T33" fmla="*/ 10 h 16"/>
                <a:gd name="T34" fmla="*/ 58 w 62"/>
                <a:gd name="T35" fmla="*/ 10 h 16"/>
                <a:gd name="T36" fmla="*/ 52 w 62"/>
                <a:gd name="T37" fmla="*/ 7 h 16"/>
                <a:gd name="T38" fmla="*/ 48 w 62"/>
                <a:gd name="T39" fmla="*/ 7 h 16"/>
                <a:gd name="T40" fmla="*/ 41 w 62"/>
                <a:gd name="T41" fmla="*/ 3 h 16"/>
                <a:gd name="T42" fmla="*/ 34 w 62"/>
                <a:gd name="T43" fmla="*/ 3 h 16"/>
                <a:gd name="T44" fmla="*/ 31 w 62"/>
                <a:gd name="T45" fmla="*/ 0 h 16"/>
                <a:gd name="T46" fmla="*/ 28 w 62"/>
                <a:gd name="T47" fmla="*/ 3 h 16"/>
                <a:gd name="T48" fmla="*/ 21 w 62"/>
                <a:gd name="T49" fmla="*/ 7 h 16"/>
                <a:gd name="T50" fmla="*/ 17 w 62"/>
                <a:gd name="T51" fmla="*/ 7 h 16"/>
                <a:gd name="T52" fmla="*/ 14 w 62"/>
                <a:gd name="T53" fmla="*/ 10 h 16"/>
                <a:gd name="T54" fmla="*/ 7 w 62"/>
                <a:gd name="T55" fmla="*/ 10 h 16"/>
                <a:gd name="T56" fmla="*/ 7 w 62"/>
                <a:gd name="T57" fmla="*/ 10 h 16"/>
                <a:gd name="T58" fmla="*/ 10 w 62"/>
                <a:gd name="T59" fmla="*/ 13 h 16"/>
                <a:gd name="T60" fmla="*/ 17 w 62"/>
                <a:gd name="T61" fmla="*/ 13 h 16"/>
                <a:gd name="T62" fmla="*/ 14 w 62"/>
                <a:gd name="T63" fmla="*/ 13 h 16"/>
                <a:gd name="T64" fmla="*/ 7 w 62"/>
                <a:gd name="T65" fmla="*/ 16 h 16"/>
                <a:gd name="T66" fmla="*/ 3 w 62"/>
                <a:gd name="T67" fmla="*/ 10 h 16"/>
                <a:gd name="T68" fmla="*/ 0 w 62"/>
                <a:gd name="T69" fmla="*/ 13 h 16"/>
                <a:gd name="T70" fmla="*/ 3 w 62"/>
                <a:gd name="T71" fmla="*/ 16 h 16"/>
                <a:gd name="T72" fmla="*/ 3 w 62"/>
                <a:gd name="T7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2" h="16">
                  <a:moveTo>
                    <a:pt x="3" y="16"/>
                  </a:moveTo>
                  <a:lnTo>
                    <a:pt x="3" y="16"/>
                  </a:lnTo>
                  <a:lnTo>
                    <a:pt x="17" y="16"/>
                  </a:lnTo>
                  <a:lnTo>
                    <a:pt x="21" y="13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4" y="10"/>
                  </a:lnTo>
                  <a:lnTo>
                    <a:pt x="38" y="7"/>
                  </a:lnTo>
                  <a:lnTo>
                    <a:pt x="41" y="10"/>
                  </a:lnTo>
                  <a:lnTo>
                    <a:pt x="45" y="10"/>
                  </a:lnTo>
                  <a:lnTo>
                    <a:pt x="52" y="13"/>
                  </a:lnTo>
                  <a:lnTo>
                    <a:pt x="55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58" y="10"/>
                  </a:lnTo>
                  <a:lnTo>
                    <a:pt x="52" y="7"/>
                  </a:lnTo>
                  <a:lnTo>
                    <a:pt x="48" y="7"/>
                  </a:lnTo>
                  <a:lnTo>
                    <a:pt x="41" y="3"/>
                  </a:lnTo>
                  <a:lnTo>
                    <a:pt x="34" y="3"/>
                  </a:lnTo>
                  <a:lnTo>
                    <a:pt x="31" y="0"/>
                  </a:lnTo>
                  <a:lnTo>
                    <a:pt x="28" y="3"/>
                  </a:lnTo>
                  <a:lnTo>
                    <a:pt x="21" y="7"/>
                  </a:lnTo>
                  <a:lnTo>
                    <a:pt x="17" y="7"/>
                  </a:lnTo>
                  <a:lnTo>
                    <a:pt x="14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10" y="13"/>
                  </a:lnTo>
                  <a:lnTo>
                    <a:pt x="17" y="13"/>
                  </a:lnTo>
                  <a:lnTo>
                    <a:pt x="14" y="13"/>
                  </a:lnTo>
                  <a:lnTo>
                    <a:pt x="7" y="16"/>
                  </a:lnTo>
                  <a:lnTo>
                    <a:pt x="3" y="10"/>
                  </a:lnTo>
                  <a:lnTo>
                    <a:pt x="0" y="13"/>
                  </a:lnTo>
                  <a:lnTo>
                    <a:pt x="3" y="16"/>
                  </a:lnTo>
                  <a:lnTo>
                    <a:pt x="3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0" name="Freeform 121"/>
            <p:cNvSpPr>
              <a:spLocks/>
            </p:cNvSpPr>
            <p:nvPr/>
          </p:nvSpPr>
          <p:spPr bwMode="auto">
            <a:xfrm>
              <a:off x="5757863" y="4288492"/>
              <a:ext cx="98425" cy="46037"/>
            </a:xfrm>
            <a:custGeom>
              <a:avLst/>
              <a:gdLst>
                <a:gd name="T0" fmla="*/ 0 w 62"/>
                <a:gd name="T1" fmla="*/ 6 h 29"/>
                <a:gd name="T2" fmla="*/ 7 w 62"/>
                <a:gd name="T3" fmla="*/ 6 h 29"/>
                <a:gd name="T4" fmla="*/ 14 w 62"/>
                <a:gd name="T5" fmla="*/ 3 h 29"/>
                <a:gd name="T6" fmla="*/ 25 w 62"/>
                <a:gd name="T7" fmla="*/ 6 h 29"/>
                <a:gd name="T8" fmla="*/ 28 w 62"/>
                <a:gd name="T9" fmla="*/ 3 h 29"/>
                <a:gd name="T10" fmla="*/ 35 w 62"/>
                <a:gd name="T11" fmla="*/ 0 h 29"/>
                <a:gd name="T12" fmla="*/ 55 w 62"/>
                <a:gd name="T13" fmla="*/ 0 h 29"/>
                <a:gd name="T14" fmla="*/ 59 w 62"/>
                <a:gd name="T15" fmla="*/ 0 h 29"/>
                <a:gd name="T16" fmla="*/ 59 w 62"/>
                <a:gd name="T17" fmla="*/ 6 h 29"/>
                <a:gd name="T18" fmla="*/ 59 w 62"/>
                <a:gd name="T19" fmla="*/ 10 h 29"/>
                <a:gd name="T20" fmla="*/ 59 w 62"/>
                <a:gd name="T21" fmla="*/ 13 h 29"/>
                <a:gd name="T22" fmla="*/ 62 w 62"/>
                <a:gd name="T23" fmla="*/ 16 h 29"/>
                <a:gd name="T24" fmla="*/ 59 w 62"/>
                <a:gd name="T25" fmla="*/ 19 h 29"/>
                <a:gd name="T26" fmla="*/ 59 w 62"/>
                <a:gd name="T27" fmla="*/ 19 h 29"/>
                <a:gd name="T28" fmla="*/ 52 w 62"/>
                <a:gd name="T29" fmla="*/ 22 h 29"/>
                <a:gd name="T30" fmla="*/ 45 w 62"/>
                <a:gd name="T31" fmla="*/ 26 h 29"/>
                <a:gd name="T32" fmla="*/ 42 w 62"/>
                <a:gd name="T33" fmla="*/ 26 h 29"/>
                <a:gd name="T34" fmla="*/ 38 w 62"/>
                <a:gd name="T35" fmla="*/ 29 h 29"/>
                <a:gd name="T36" fmla="*/ 35 w 62"/>
                <a:gd name="T37" fmla="*/ 29 h 29"/>
                <a:gd name="T38" fmla="*/ 35 w 62"/>
                <a:gd name="T39" fmla="*/ 29 h 29"/>
                <a:gd name="T40" fmla="*/ 35 w 62"/>
                <a:gd name="T41" fmla="*/ 26 h 29"/>
                <a:gd name="T42" fmla="*/ 25 w 62"/>
                <a:gd name="T43" fmla="*/ 26 h 29"/>
                <a:gd name="T44" fmla="*/ 31 w 62"/>
                <a:gd name="T45" fmla="*/ 22 h 29"/>
                <a:gd name="T46" fmla="*/ 28 w 62"/>
                <a:gd name="T47" fmla="*/ 22 h 29"/>
                <a:gd name="T48" fmla="*/ 28 w 62"/>
                <a:gd name="T49" fmla="*/ 22 h 29"/>
                <a:gd name="T50" fmla="*/ 28 w 62"/>
                <a:gd name="T51" fmla="*/ 19 h 29"/>
                <a:gd name="T52" fmla="*/ 25 w 62"/>
                <a:gd name="T53" fmla="*/ 19 h 29"/>
                <a:gd name="T54" fmla="*/ 25 w 62"/>
                <a:gd name="T55" fmla="*/ 19 h 29"/>
                <a:gd name="T56" fmla="*/ 31 w 62"/>
                <a:gd name="T57" fmla="*/ 19 h 29"/>
                <a:gd name="T58" fmla="*/ 35 w 62"/>
                <a:gd name="T59" fmla="*/ 16 h 29"/>
                <a:gd name="T60" fmla="*/ 28 w 62"/>
                <a:gd name="T61" fmla="*/ 13 h 29"/>
                <a:gd name="T62" fmla="*/ 25 w 62"/>
                <a:gd name="T63" fmla="*/ 16 h 29"/>
                <a:gd name="T64" fmla="*/ 21 w 62"/>
                <a:gd name="T65" fmla="*/ 16 h 29"/>
                <a:gd name="T66" fmla="*/ 18 w 62"/>
                <a:gd name="T67" fmla="*/ 16 h 29"/>
                <a:gd name="T68" fmla="*/ 18 w 62"/>
                <a:gd name="T69" fmla="*/ 16 h 29"/>
                <a:gd name="T70" fmla="*/ 11 w 62"/>
                <a:gd name="T71" fmla="*/ 13 h 29"/>
                <a:gd name="T72" fmla="*/ 7 w 62"/>
                <a:gd name="T73" fmla="*/ 13 h 29"/>
                <a:gd name="T74" fmla="*/ 11 w 62"/>
                <a:gd name="T75" fmla="*/ 10 h 29"/>
                <a:gd name="T76" fmla="*/ 11 w 62"/>
                <a:gd name="T77" fmla="*/ 10 h 29"/>
                <a:gd name="T78" fmla="*/ 4 w 62"/>
                <a:gd name="T79" fmla="*/ 10 h 29"/>
                <a:gd name="T80" fmla="*/ 0 w 62"/>
                <a:gd name="T81" fmla="*/ 6 h 29"/>
                <a:gd name="T82" fmla="*/ 0 w 62"/>
                <a:gd name="T83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" h="29">
                  <a:moveTo>
                    <a:pt x="0" y="6"/>
                  </a:moveTo>
                  <a:lnTo>
                    <a:pt x="7" y="6"/>
                  </a:lnTo>
                  <a:lnTo>
                    <a:pt x="14" y="3"/>
                  </a:lnTo>
                  <a:lnTo>
                    <a:pt x="25" y="6"/>
                  </a:lnTo>
                  <a:lnTo>
                    <a:pt x="28" y="3"/>
                  </a:lnTo>
                  <a:lnTo>
                    <a:pt x="35" y="0"/>
                  </a:lnTo>
                  <a:lnTo>
                    <a:pt x="55" y="0"/>
                  </a:lnTo>
                  <a:lnTo>
                    <a:pt x="59" y="0"/>
                  </a:lnTo>
                  <a:lnTo>
                    <a:pt x="59" y="6"/>
                  </a:lnTo>
                  <a:lnTo>
                    <a:pt x="59" y="10"/>
                  </a:lnTo>
                  <a:lnTo>
                    <a:pt x="59" y="13"/>
                  </a:lnTo>
                  <a:lnTo>
                    <a:pt x="62" y="16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2" y="22"/>
                  </a:lnTo>
                  <a:lnTo>
                    <a:pt x="45" y="26"/>
                  </a:lnTo>
                  <a:lnTo>
                    <a:pt x="42" y="26"/>
                  </a:lnTo>
                  <a:lnTo>
                    <a:pt x="38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6"/>
                  </a:lnTo>
                  <a:lnTo>
                    <a:pt x="25" y="26"/>
                  </a:lnTo>
                  <a:lnTo>
                    <a:pt x="31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31" y="19"/>
                  </a:lnTo>
                  <a:lnTo>
                    <a:pt x="35" y="16"/>
                  </a:lnTo>
                  <a:lnTo>
                    <a:pt x="28" y="13"/>
                  </a:lnTo>
                  <a:lnTo>
                    <a:pt x="25" y="16"/>
                  </a:lnTo>
                  <a:lnTo>
                    <a:pt x="21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1" y="13"/>
                  </a:lnTo>
                  <a:lnTo>
                    <a:pt x="7" y="13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4" y="1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1" name="Freeform 122"/>
            <p:cNvSpPr>
              <a:spLocks/>
            </p:cNvSpPr>
            <p:nvPr/>
          </p:nvSpPr>
          <p:spPr bwMode="auto">
            <a:xfrm>
              <a:off x="5818188" y="4288492"/>
              <a:ext cx="219075" cy="184150"/>
            </a:xfrm>
            <a:custGeom>
              <a:avLst/>
              <a:gdLst>
                <a:gd name="T0" fmla="*/ 4 w 138"/>
                <a:gd name="T1" fmla="*/ 26 h 116"/>
                <a:gd name="T2" fmla="*/ 14 w 138"/>
                <a:gd name="T3" fmla="*/ 22 h 116"/>
                <a:gd name="T4" fmla="*/ 21 w 138"/>
                <a:gd name="T5" fmla="*/ 19 h 116"/>
                <a:gd name="T6" fmla="*/ 21 w 138"/>
                <a:gd name="T7" fmla="*/ 13 h 116"/>
                <a:gd name="T8" fmla="*/ 21 w 138"/>
                <a:gd name="T9" fmla="*/ 6 h 116"/>
                <a:gd name="T10" fmla="*/ 24 w 138"/>
                <a:gd name="T11" fmla="*/ 0 h 116"/>
                <a:gd name="T12" fmla="*/ 45 w 138"/>
                <a:gd name="T13" fmla="*/ 3 h 116"/>
                <a:gd name="T14" fmla="*/ 55 w 138"/>
                <a:gd name="T15" fmla="*/ 6 h 116"/>
                <a:gd name="T16" fmla="*/ 62 w 138"/>
                <a:gd name="T17" fmla="*/ 6 h 116"/>
                <a:gd name="T18" fmla="*/ 69 w 138"/>
                <a:gd name="T19" fmla="*/ 6 h 116"/>
                <a:gd name="T20" fmla="*/ 73 w 138"/>
                <a:gd name="T21" fmla="*/ 10 h 116"/>
                <a:gd name="T22" fmla="*/ 79 w 138"/>
                <a:gd name="T23" fmla="*/ 10 h 116"/>
                <a:gd name="T24" fmla="*/ 86 w 138"/>
                <a:gd name="T25" fmla="*/ 13 h 116"/>
                <a:gd name="T26" fmla="*/ 97 w 138"/>
                <a:gd name="T27" fmla="*/ 10 h 116"/>
                <a:gd name="T28" fmla="*/ 100 w 138"/>
                <a:gd name="T29" fmla="*/ 6 h 116"/>
                <a:gd name="T30" fmla="*/ 110 w 138"/>
                <a:gd name="T31" fmla="*/ 10 h 116"/>
                <a:gd name="T32" fmla="*/ 117 w 138"/>
                <a:gd name="T33" fmla="*/ 6 h 116"/>
                <a:gd name="T34" fmla="*/ 121 w 138"/>
                <a:gd name="T35" fmla="*/ 10 h 116"/>
                <a:gd name="T36" fmla="*/ 121 w 138"/>
                <a:gd name="T37" fmla="*/ 19 h 116"/>
                <a:gd name="T38" fmla="*/ 128 w 138"/>
                <a:gd name="T39" fmla="*/ 19 h 116"/>
                <a:gd name="T40" fmla="*/ 124 w 138"/>
                <a:gd name="T41" fmla="*/ 26 h 116"/>
                <a:gd name="T42" fmla="*/ 124 w 138"/>
                <a:gd name="T43" fmla="*/ 32 h 116"/>
                <a:gd name="T44" fmla="*/ 131 w 138"/>
                <a:gd name="T45" fmla="*/ 29 h 116"/>
                <a:gd name="T46" fmla="*/ 131 w 138"/>
                <a:gd name="T47" fmla="*/ 32 h 116"/>
                <a:gd name="T48" fmla="*/ 138 w 138"/>
                <a:gd name="T49" fmla="*/ 35 h 116"/>
                <a:gd name="T50" fmla="*/ 138 w 138"/>
                <a:gd name="T51" fmla="*/ 39 h 116"/>
                <a:gd name="T52" fmla="*/ 131 w 138"/>
                <a:gd name="T53" fmla="*/ 42 h 116"/>
                <a:gd name="T54" fmla="*/ 131 w 138"/>
                <a:gd name="T55" fmla="*/ 48 h 116"/>
                <a:gd name="T56" fmla="*/ 131 w 138"/>
                <a:gd name="T57" fmla="*/ 58 h 116"/>
                <a:gd name="T58" fmla="*/ 134 w 138"/>
                <a:gd name="T59" fmla="*/ 64 h 116"/>
                <a:gd name="T60" fmla="*/ 134 w 138"/>
                <a:gd name="T61" fmla="*/ 71 h 116"/>
                <a:gd name="T62" fmla="*/ 131 w 138"/>
                <a:gd name="T63" fmla="*/ 71 h 116"/>
                <a:gd name="T64" fmla="*/ 134 w 138"/>
                <a:gd name="T65" fmla="*/ 77 h 116"/>
                <a:gd name="T66" fmla="*/ 134 w 138"/>
                <a:gd name="T67" fmla="*/ 81 h 116"/>
                <a:gd name="T68" fmla="*/ 128 w 138"/>
                <a:gd name="T69" fmla="*/ 90 h 116"/>
                <a:gd name="T70" fmla="*/ 128 w 138"/>
                <a:gd name="T71" fmla="*/ 97 h 116"/>
                <a:gd name="T72" fmla="*/ 121 w 138"/>
                <a:gd name="T73" fmla="*/ 106 h 116"/>
                <a:gd name="T74" fmla="*/ 90 w 138"/>
                <a:gd name="T75" fmla="*/ 116 h 116"/>
                <a:gd name="T76" fmla="*/ 79 w 138"/>
                <a:gd name="T77" fmla="*/ 110 h 116"/>
                <a:gd name="T78" fmla="*/ 73 w 138"/>
                <a:gd name="T79" fmla="*/ 103 h 116"/>
                <a:gd name="T80" fmla="*/ 73 w 138"/>
                <a:gd name="T81" fmla="*/ 100 h 116"/>
                <a:gd name="T82" fmla="*/ 83 w 138"/>
                <a:gd name="T83" fmla="*/ 74 h 116"/>
                <a:gd name="T84" fmla="*/ 83 w 138"/>
                <a:gd name="T85" fmla="*/ 71 h 116"/>
                <a:gd name="T86" fmla="*/ 86 w 138"/>
                <a:gd name="T87" fmla="*/ 68 h 116"/>
                <a:gd name="T88" fmla="*/ 79 w 138"/>
                <a:gd name="T89" fmla="*/ 61 h 116"/>
                <a:gd name="T90" fmla="*/ 76 w 138"/>
                <a:gd name="T91" fmla="*/ 52 h 116"/>
                <a:gd name="T92" fmla="*/ 73 w 138"/>
                <a:gd name="T93" fmla="*/ 45 h 116"/>
                <a:gd name="T94" fmla="*/ 52 w 138"/>
                <a:gd name="T95" fmla="*/ 45 h 116"/>
                <a:gd name="T96" fmla="*/ 42 w 138"/>
                <a:gd name="T97" fmla="*/ 52 h 116"/>
                <a:gd name="T98" fmla="*/ 38 w 138"/>
                <a:gd name="T99" fmla="*/ 58 h 116"/>
                <a:gd name="T100" fmla="*/ 31 w 138"/>
                <a:gd name="T101" fmla="*/ 55 h 116"/>
                <a:gd name="T102" fmla="*/ 24 w 138"/>
                <a:gd name="T103" fmla="*/ 48 h 116"/>
                <a:gd name="T104" fmla="*/ 17 w 138"/>
                <a:gd name="T105" fmla="*/ 48 h 116"/>
                <a:gd name="T106" fmla="*/ 21 w 138"/>
                <a:gd name="T107" fmla="*/ 42 h 116"/>
                <a:gd name="T108" fmla="*/ 14 w 138"/>
                <a:gd name="T109" fmla="*/ 45 h 116"/>
                <a:gd name="T110" fmla="*/ 7 w 138"/>
                <a:gd name="T111" fmla="*/ 42 h 116"/>
                <a:gd name="T112" fmla="*/ 4 w 138"/>
                <a:gd name="T113" fmla="*/ 32 h 116"/>
                <a:gd name="T114" fmla="*/ 0 w 138"/>
                <a:gd name="T115" fmla="*/ 2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16">
                  <a:moveTo>
                    <a:pt x="0" y="29"/>
                  </a:moveTo>
                  <a:lnTo>
                    <a:pt x="4" y="26"/>
                  </a:lnTo>
                  <a:lnTo>
                    <a:pt x="7" y="26"/>
                  </a:lnTo>
                  <a:lnTo>
                    <a:pt x="14" y="22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4" y="16"/>
                  </a:lnTo>
                  <a:lnTo>
                    <a:pt x="21" y="13"/>
                  </a:lnTo>
                  <a:lnTo>
                    <a:pt x="21" y="10"/>
                  </a:lnTo>
                  <a:lnTo>
                    <a:pt x="21" y="6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38" y="0"/>
                  </a:lnTo>
                  <a:lnTo>
                    <a:pt x="45" y="3"/>
                  </a:lnTo>
                  <a:lnTo>
                    <a:pt x="48" y="6"/>
                  </a:lnTo>
                  <a:lnTo>
                    <a:pt x="55" y="6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6" y="6"/>
                  </a:lnTo>
                  <a:lnTo>
                    <a:pt x="69" y="6"/>
                  </a:lnTo>
                  <a:lnTo>
                    <a:pt x="73" y="6"/>
                  </a:lnTo>
                  <a:lnTo>
                    <a:pt x="73" y="10"/>
                  </a:lnTo>
                  <a:lnTo>
                    <a:pt x="76" y="13"/>
                  </a:lnTo>
                  <a:lnTo>
                    <a:pt x="79" y="10"/>
                  </a:lnTo>
                  <a:lnTo>
                    <a:pt x="83" y="10"/>
                  </a:lnTo>
                  <a:lnTo>
                    <a:pt x="86" y="13"/>
                  </a:lnTo>
                  <a:lnTo>
                    <a:pt x="90" y="13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100" y="6"/>
                  </a:lnTo>
                  <a:lnTo>
                    <a:pt x="107" y="6"/>
                  </a:lnTo>
                  <a:lnTo>
                    <a:pt x="110" y="10"/>
                  </a:lnTo>
                  <a:lnTo>
                    <a:pt x="114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21" y="10"/>
                  </a:lnTo>
                  <a:lnTo>
                    <a:pt x="121" y="13"/>
                  </a:lnTo>
                  <a:lnTo>
                    <a:pt x="121" y="19"/>
                  </a:lnTo>
                  <a:lnTo>
                    <a:pt x="124" y="19"/>
                  </a:lnTo>
                  <a:lnTo>
                    <a:pt x="128" y="19"/>
                  </a:lnTo>
                  <a:lnTo>
                    <a:pt x="128" y="22"/>
                  </a:lnTo>
                  <a:lnTo>
                    <a:pt x="124" y="26"/>
                  </a:lnTo>
                  <a:lnTo>
                    <a:pt x="121" y="32"/>
                  </a:lnTo>
                  <a:lnTo>
                    <a:pt x="124" y="32"/>
                  </a:lnTo>
                  <a:lnTo>
                    <a:pt x="128" y="29"/>
                  </a:lnTo>
                  <a:lnTo>
                    <a:pt x="131" y="29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5"/>
                  </a:lnTo>
                  <a:lnTo>
                    <a:pt x="138" y="35"/>
                  </a:lnTo>
                  <a:lnTo>
                    <a:pt x="138" y="39"/>
                  </a:lnTo>
                  <a:lnTo>
                    <a:pt x="138" y="39"/>
                  </a:lnTo>
                  <a:lnTo>
                    <a:pt x="138" y="42"/>
                  </a:lnTo>
                  <a:lnTo>
                    <a:pt x="131" y="42"/>
                  </a:lnTo>
                  <a:lnTo>
                    <a:pt x="131" y="45"/>
                  </a:lnTo>
                  <a:lnTo>
                    <a:pt x="131" y="48"/>
                  </a:lnTo>
                  <a:lnTo>
                    <a:pt x="131" y="55"/>
                  </a:lnTo>
                  <a:lnTo>
                    <a:pt x="131" y="58"/>
                  </a:lnTo>
                  <a:lnTo>
                    <a:pt x="131" y="61"/>
                  </a:lnTo>
                  <a:lnTo>
                    <a:pt x="134" y="64"/>
                  </a:lnTo>
                  <a:lnTo>
                    <a:pt x="134" y="68"/>
                  </a:lnTo>
                  <a:lnTo>
                    <a:pt x="134" y="71"/>
                  </a:lnTo>
                  <a:lnTo>
                    <a:pt x="131" y="68"/>
                  </a:lnTo>
                  <a:lnTo>
                    <a:pt x="131" y="71"/>
                  </a:lnTo>
                  <a:lnTo>
                    <a:pt x="131" y="71"/>
                  </a:lnTo>
                  <a:lnTo>
                    <a:pt x="134" y="77"/>
                  </a:lnTo>
                  <a:lnTo>
                    <a:pt x="134" y="77"/>
                  </a:lnTo>
                  <a:lnTo>
                    <a:pt x="134" y="81"/>
                  </a:lnTo>
                  <a:lnTo>
                    <a:pt x="128" y="90"/>
                  </a:lnTo>
                  <a:lnTo>
                    <a:pt x="128" y="90"/>
                  </a:lnTo>
                  <a:lnTo>
                    <a:pt x="124" y="94"/>
                  </a:lnTo>
                  <a:lnTo>
                    <a:pt x="128" y="97"/>
                  </a:lnTo>
                  <a:lnTo>
                    <a:pt x="124" y="103"/>
                  </a:lnTo>
                  <a:lnTo>
                    <a:pt x="121" y="106"/>
                  </a:lnTo>
                  <a:lnTo>
                    <a:pt x="121" y="106"/>
                  </a:lnTo>
                  <a:lnTo>
                    <a:pt x="90" y="116"/>
                  </a:lnTo>
                  <a:lnTo>
                    <a:pt x="83" y="110"/>
                  </a:lnTo>
                  <a:lnTo>
                    <a:pt x="79" y="110"/>
                  </a:lnTo>
                  <a:lnTo>
                    <a:pt x="76" y="103"/>
                  </a:lnTo>
                  <a:lnTo>
                    <a:pt x="73" y="103"/>
                  </a:lnTo>
                  <a:lnTo>
                    <a:pt x="76" y="100"/>
                  </a:lnTo>
                  <a:lnTo>
                    <a:pt x="73" y="100"/>
                  </a:lnTo>
                  <a:lnTo>
                    <a:pt x="83" y="97"/>
                  </a:lnTo>
                  <a:lnTo>
                    <a:pt x="83" y="74"/>
                  </a:lnTo>
                  <a:lnTo>
                    <a:pt x="83" y="71"/>
                  </a:lnTo>
                  <a:lnTo>
                    <a:pt x="83" y="71"/>
                  </a:lnTo>
                  <a:lnTo>
                    <a:pt x="83" y="68"/>
                  </a:lnTo>
                  <a:lnTo>
                    <a:pt x="86" y="68"/>
                  </a:lnTo>
                  <a:lnTo>
                    <a:pt x="86" y="64"/>
                  </a:lnTo>
                  <a:lnTo>
                    <a:pt x="79" y="61"/>
                  </a:lnTo>
                  <a:lnTo>
                    <a:pt x="83" y="58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73" y="45"/>
                  </a:lnTo>
                  <a:lnTo>
                    <a:pt x="55" y="45"/>
                  </a:lnTo>
                  <a:lnTo>
                    <a:pt x="52" y="45"/>
                  </a:lnTo>
                  <a:lnTo>
                    <a:pt x="48" y="48"/>
                  </a:lnTo>
                  <a:lnTo>
                    <a:pt x="42" y="52"/>
                  </a:lnTo>
                  <a:lnTo>
                    <a:pt x="42" y="55"/>
                  </a:lnTo>
                  <a:lnTo>
                    <a:pt x="38" y="58"/>
                  </a:lnTo>
                  <a:lnTo>
                    <a:pt x="35" y="58"/>
                  </a:lnTo>
                  <a:lnTo>
                    <a:pt x="31" y="55"/>
                  </a:lnTo>
                  <a:lnTo>
                    <a:pt x="24" y="55"/>
                  </a:lnTo>
                  <a:lnTo>
                    <a:pt x="24" y="48"/>
                  </a:lnTo>
                  <a:lnTo>
                    <a:pt x="21" y="48"/>
                  </a:lnTo>
                  <a:lnTo>
                    <a:pt x="17" y="48"/>
                  </a:lnTo>
                  <a:lnTo>
                    <a:pt x="17" y="45"/>
                  </a:lnTo>
                  <a:lnTo>
                    <a:pt x="21" y="42"/>
                  </a:lnTo>
                  <a:lnTo>
                    <a:pt x="17" y="42"/>
                  </a:lnTo>
                  <a:lnTo>
                    <a:pt x="14" y="45"/>
                  </a:lnTo>
                  <a:lnTo>
                    <a:pt x="11" y="42"/>
                  </a:lnTo>
                  <a:lnTo>
                    <a:pt x="7" y="42"/>
                  </a:lnTo>
                  <a:lnTo>
                    <a:pt x="4" y="39"/>
                  </a:lnTo>
                  <a:lnTo>
                    <a:pt x="4" y="32"/>
                  </a:lnTo>
                  <a:lnTo>
                    <a:pt x="0" y="29"/>
                  </a:ln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2" name="Freeform 123"/>
            <p:cNvSpPr>
              <a:spLocks noEditPoints="1"/>
            </p:cNvSpPr>
            <p:nvPr/>
          </p:nvSpPr>
          <p:spPr bwMode="auto">
            <a:xfrm>
              <a:off x="5867401" y="4359930"/>
              <a:ext cx="87313" cy="87312"/>
            </a:xfrm>
            <a:custGeom>
              <a:avLst/>
              <a:gdLst>
                <a:gd name="T0" fmla="*/ 14 w 55"/>
                <a:gd name="T1" fmla="*/ 49 h 55"/>
                <a:gd name="T2" fmla="*/ 14 w 55"/>
                <a:gd name="T3" fmla="*/ 45 h 55"/>
                <a:gd name="T4" fmla="*/ 14 w 55"/>
                <a:gd name="T5" fmla="*/ 42 h 55"/>
                <a:gd name="T6" fmla="*/ 11 w 55"/>
                <a:gd name="T7" fmla="*/ 42 h 55"/>
                <a:gd name="T8" fmla="*/ 11 w 55"/>
                <a:gd name="T9" fmla="*/ 45 h 55"/>
                <a:gd name="T10" fmla="*/ 11 w 55"/>
                <a:gd name="T11" fmla="*/ 45 h 55"/>
                <a:gd name="T12" fmla="*/ 14 w 55"/>
                <a:gd name="T13" fmla="*/ 49 h 55"/>
                <a:gd name="T14" fmla="*/ 14 w 55"/>
                <a:gd name="T15" fmla="*/ 49 h 55"/>
                <a:gd name="T16" fmla="*/ 14 w 55"/>
                <a:gd name="T17" fmla="*/ 49 h 55"/>
                <a:gd name="T18" fmla="*/ 4 w 55"/>
                <a:gd name="T19" fmla="*/ 13 h 55"/>
                <a:gd name="T20" fmla="*/ 7 w 55"/>
                <a:gd name="T21" fmla="*/ 13 h 55"/>
                <a:gd name="T22" fmla="*/ 11 w 55"/>
                <a:gd name="T23" fmla="*/ 10 h 55"/>
                <a:gd name="T24" fmla="*/ 11 w 55"/>
                <a:gd name="T25" fmla="*/ 7 h 55"/>
                <a:gd name="T26" fmla="*/ 17 w 55"/>
                <a:gd name="T27" fmla="*/ 3 h 55"/>
                <a:gd name="T28" fmla="*/ 21 w 55"/>
                <a:gd name="T29" fmla="*/ 0 h 55"/>
                <a:gd name="T30" fmla="*/ 24 w 55"/>
                <a:gd name="T31" fmla="*/ 0 h 55"/>
                <a:gd name="T32" fmla="*/ 42 w 55"/>
                <a:gd name="T33" fmla="*/ 0 h 55"/>
                <a:gd name="T34" fmla="*/ 45 w 55"/>
                <a:gd name="T35" fmla="*/ 3 h 55"/>
                <a:gd name="T36" fmla="*/ 45 w 55"/>
                <a:gd name="T37" fmla="*/ 7 h 55"/>
                <a:gd name="T38" fmla="*/ 52 w 55"/>
                <a:gd name="T39" fmla="*/ 13 h 55"/>
                <a:gd name="T40" fmla="*/ 48 w 55"/>
                <a:gd name="T41" fmla="*/ 16 h 55"/>
                <a:gd name="T42" fmla="*/ 55 w 55"/>
                <a:gd name="T43" fmla="*/ 19 h 55"/>
                <a:gd name="T44" fmla="*/ 55 w 55"/>
                <a:gd name="T45" fmla="*/ 23 h 55"/>
                <a:gd name="T46" fmla="*/ 52 w 55"/>
                <a:gd name="T47" fmla="*/ 23 h 55"/>
                <a:gd name="T48" fmla="*/ 52 w 55"/>
                <a:gd name="T49" fmla="*/ 26 h 55"/>
                <a:gd name="T50" fmla="*/ 52 w 55"/>
                <a:gd name="T51" fmla="*/ 26 h 55"/>
                <a:gd name="T52" fmla="*/ 52 w 55"/>
                <a:gd name="T53" fmla="*/ 29 h 55"/>
                <a:gd name="T54" fmla="*/ 52 w 55"/>
                <a:gd name="T55" fmla="*/ 52 h 55"/>
                <a:gd name="T56" fmla="*/ 42 w 55"/>
                <a:gd name="T57" fmla="*/ 55 h 55"/>
                <a:gd name="T58" fmla="*/ 42 w 55"/>
                <a:gd name="T59" fmla="*/ 55 h 55"/>
                <a:gd name="T60" fmla="*/ 35 w 55"/>
                <a:gd name="T61" fmla="*/ 55 h 55"/>
                <a:gd name="T62" fmla="*/ 24 w 55"/>
                <a:gd name="T63" fmla="*/ 49 h 55"/>
                <a:gd name="T64" fmla="*/ 17 w 55"/>
                <a:gd name="T65" fmla="*/ 49 h 55"/>
                <a:gd name="T66" fmla="*/ 21 w 55"/>
                <a:gd name="T67" fmla="*/ 49 h 55"/>
                <a:gd name="T68" fmla="*/ 17 w 55"/>
                <a:gd name="T69" fmla="*/ 45 h 55"/>
                <a:gd name="T70" fmla="*/ 14 w 55"/>
                <a:gd name="T71" fmla="*/ 42 h 55"/>
                <a:gd name="T72" fmla="*/ 17 w 55"/>
                <a:gd name="T73" fmla="*/ 39 h 55"/>
                <a:gd name="T74" fmla="*/ 17 w 55"/>
                <a:gd name="T75" fmla="*/ 39 h 55"/>
                <a:gd name="T76" fmla="*/ 11 w 55"/>
                <a:gd name="T77" fmla="*/ 39 h 55"/>
                <a:gd name="T78" fmla="*/ 7 w 55"/>
                <a:gd name="T79" fmla="*/ 36 h 55"/>
                <a:gd name="T80" fmla="*/ 7 w 55"/>
                <a:gd name="T81" fmla="*/ 32 h 55"/>
                <a:gd name="T82" fmla="*/ 7 w 55"/>
                <a:gd name="T83" fmla="*/ 26 h 55"/>
                <a:gd name="T84" fmla="*/ 0 w 55"/>
                <a:gd name="T85" fmla="*/ 26 h 55"/>
                <a:gd name="T86" fmla="*/ 0 w 55"/>
                <a:gd name="T87" fmla="*/ 23 h 55"/>
                <a:gd name="T88" fmla="*/ 4 w 55"/>
                <a:gd name="T89" fmla="*/ 19 h 55"/>
                <a:gd name="T90" fmla="*/ 0 w 55"/>
                <a:gd name="T91" fmla="*/ 19 h 55"/>
                <a:gd name="T92" fmla="*/ 0 w 55"/>
                <a:gd name="T93" fmla="*/ 16 h 55"/>
                <a:gd name="T94" fmla="*/ 4 w 55"/>
                <a:gd name="T95" fmla="*/ 13 h 55"/>
                <a:gd name="T96" fmla="*/ 4 w 55"/>
                <a:gd name="T97" fmla="*/ 1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" h="55">
                  <a:moveTo>
                    <a:pt x="14" y="49"/>
                  </a:moveTo>
                  <a:lnTo>
                    <a:pt x="14" y="45"/>
                  </a:lnTo>
                  <a:lnTo>
                    <a:pt x="14" y="42"/>
                  </a:lnTo>
                  <a:lnTo>
                    <a:pt x="11" y="42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close/>
                  <a:moveTo>
                    <a:pt x="4" y="13"/>
                  </a:moveTo>
                  <a:lnTo>
                    <a:pt x="7" y="13"/>
                  </a:lnTo>
                  <a:lnTo>
                    <a:pt x="11" y="10"/>
                  </a:lnTo>
                  <a:lnTo>
                    <a:pt x="11" y="7"/>
                  </a:lnTo>
                  <a:lnTo>
                    <a:pt x="17" y="3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42" y="0"/>
                  </a:lnTo>
                  <a:lnTo>
                    <a:pt x="45" y="3"/>
                  </a:lnTo>
                  <a:lnTo>
                    <a:pt x="45" y="7"/>
                  </a:lnTo>
                  <a:lnTo>
                    <a:pt x="52" y="13"/>
                  </a:lnTo>
                  <a:lnTo>
                    <a:pt x="48" y="16"/>
                  </a:lnTo>
                  <a:lnTo>
                    <a:pt x="55" y="19"/>
                  </a:lnTo>
                  <a:lnTo>
                    <a:pt x="55" y="23"/>
                  </a:lnTo>
                  <a:lnTo>
                    <a:pt x="52" y="23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9"/>
                  </a:lnTo>
                  <a:lnTo>
                    <a:pt x="52" y="52"/>
                  </a:lnTo>
                  <a:lnTo>
                    <a:pt x="42" y="55"/>
                  </a:lnTo>
                  <a:lnTo>
                    <a:pt x="42" y="55"/>
                  </a:lnTo>
                  <a:lnTo>
                    <a:pt x="35" y="55"/>
                  </a:lnTo>
                  <a:lnTo>
                    <a:pt x="24" y="49"/>
                  </a:lnTo>
                  <a:lnTo>
                    <a:pt x="17" y="49"/>
                  </a:lnTo>
                  <a:lnTo>
                    <a:pt x="21" y="49"/>
                  </a:lnTo>
                  <a:lnTo>
                    <a:pt x="17" y="45"/>
                  </a:lnTo>
                  <a:lnTo>
                    <a:pt x="14" y="42"/>
                  </a:lnTo>
                  <a:lnTo>
                    <a:pt x="17" y="39"/>
                  </a:lnTo>
                  <a:lnTo>
                    <a:pt x="17" y="39"/>
                  </a:lnTo>
                  <a:lnTo>
                    <a:pt x="11" y="39"/>
                  </a:lnTo>
                  <a:lnTo>
                    <a:pt x="7" y="36"/>
                  </a:lnTo>
                  <a:lnTo>
                    <a:pt x="7" y="32"/>
                  </a:lnTo>
                  <a:lnTo>
                    <a:pt x="7" y="26"/>
                  </a:lnTo>
                  <a:lnTo>
                    <a:pt x="0" y="26"/>
                  </a:lnTo>
                  <a:lnTo>
                    <a:pt x="0" y="23"/>
                  </a:lnTo>
                  <a:lnTo>
                    <a:pt x="4" y="19"/>
                  </a:lnTo>
                  <a:lnTo>
                    <a:pt x="0" y="19"/>
                  </a:lnTo>
                  <a:lnTo>
                    <a:pt x="0" y="16"/>
                  </a:lnTo>
                  <a:lnTo>
                    <a:pt x="4" y="13"/>
                  </a:lnTo>
                  <a:lnTo>
                    <a:pt x="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3" name="Freeform 124"/>
            <p:cNvSpPr>
              <a:spLocks/>
            </p:cNvSpPr>
            <p:nvPr/>
          </p:nvSpPr>
          <p:spPr bwMode="auto">
            <a:xfrm>
              <a:off x="5922963" y="4401205"/>
              <a:ext cx="125413" cy="112712"/>
            </a:xfrm>
            <a:custGeom>
              <a:avLst/>
              <a:gdLst>
                <a:gd name="T0" fmla="*/ 0 w 79"/>
                <a:gd name="T1" fmla="*/ 29 h 71"/>
                <a:gd name="T2" fmla="*/ 0 w 79"/>
                <a:gd name="T3" fmla="*/ 26 h 71"/>
                <a:gd name="T4" fmla="*/ 3 w 79"/>
                <a:gd name="T5" fmla="*/ 23 h 71"/>
                <a:gd name="T6" fmla="*/ 7 w 79"/>
                <a:gd name="T7" fmla="*/ 19 h 71"/>
                <a:gd name="T8" fmla="*/ 13 w 79"/>
                <a:gd name="T9" fmla="*/ 16 h 71"/>
                <a:gd name="T10" fmla="*/ 10 w 79"/>
                <a:gd name="T11" fmla="*/ 13 h 71"/>
                <a:gd name="T12" fmla="*/ 13 w 79"/>
                <a:gd name="T13" fmla="*/ 10 h 71"/>
                <a:gd name="T14" fmla="*/ 17 w 79"/>
                <a:gd name="T15" fmla="*/ 6 h 71"/>
                <a:gd name="T16" fmla="*/ 17 w 79"/>
                <a:gd name="T17" fmla="*/ 6 h 71"/>
                <a:gd name="T18" fmla="*/ 17 w 79"/>
                <a:gd name="T19" fmla="*/ 3 h 71"/>
                <a:gd name="T20" fmla="*/ 24 w 79"/>
                <a:gd name="T21" fmla="*/ 0 h 71"/>
                <a:gd name="T22" fmla="*/ 24 w 79"/>
                <a:gd name="T23" fmla="*/ 0 h 71"/>
                <a:gd name="T24" fmla="*/ 31 w 79"/>
                <a:gd name="T25" fmla="*/ 0 h 71"/>
                <a:gd name="T26" fmla="*/ 34 w 79"/>
                <a:gd name="T27" fmla="*/ 0 h 71"/>
                <a:gd name="T28" fmla="*/ 37 w 79"/>
                <a:gd name="T29" fmla="*/ 3 h 71"/>
                <a:gd name="T30" fmla="*/ 41 w 79"/>
                <a:gd name="T31" fmla="*/ 6 h 71"/>
                <a:gd name="T32" fmla="*/ 41 w 79"/>
                <a:gd name="T33" fmla="*/ 13 h 71"/>
                <a:gd name="T34" fmla="*/ 41 w 79"/>
                <a:gd name="T35" fmla="*/ 16 h 71"/>
                <a:gd name="T36" fmla="*/ 44 w 79"/>
                <a:gd name="T37" fmla="*/ 19 h 71"/>
                <a:gd name="T38" fmla="*/ 48 w 79"/>
                <a:gd name="T39" fmla="*/ 19 h 71"/>
                <a:gd name="T40" fmla="*/ 55 w 79"/>
                <a:gd name="T41" fmla="*/ 16 h 71"/>
                <a:gd name="T42" fmla="*/ 55 w 79"/>
                <a:gd name="T43" fmla="*/ 16 h 71"/>
                <a:gd name="T44" fmla="*/ 58 w 79"/>
                <a:gd name="T45" fmla="*/ 19 h 71"/>
                <a:gd name="T46" fmla="*/ 58 w 79"/>
                <a:gd name="T47" fmla="*/ 19 h 71"/>
                <a:gd name="T48" fmla="*/ 58 w 79"/>
                <a:gd name="T49" fmla="*/ 23 h 71"/>
                <a:gd name="T50" fmla="*/ 62 w 79"/>
                <a:gd name="T51" fmla="*/ 26 h 71"/>
                <a:gd name="T52" fmla="*/ 58 w 79"/>
                <a:gd name="T53" fmla="*/ 32 h 71"/>
                <a:gd name="T54" fmla="*/ 55 w 79"/>
                <a:gd name="T55" fmla="*/ 35 h 71"/>
                <a:gd name="T56" fmla="*/ 55 w 79"/>
                <a:gd name="T57" fmla="*/ 39 h 71"/>
                <a:gd name="T58" fmla="*/ 58 w 79"/>
                <a:gd name="T59" fmla="*/ 39 h 71"/>
                <a:gd name="T60" fmla="*/ 62 w 79"/>
                <a:gd name="T61" fmla="*/ 39 h 71"/>
                <a:gd name="T62" fmla="*/ 65 w 79"/>
                <a:gd name="T63" fmla="*/ 39 h 71"/>
                <a:gd name="T64" fmla="*/ 65 w 79"/>
                <a:gd name="T65" fmla="*/ 39 h 71"/>
                <a:gd name="T66" fmla="*/ 68 w 79"/>
                <a:gd name="T67" fmla="*/ 39 h 71"/>
                <a:gd name="T68" fmla="*/ 72 w 79"/>
                <a:gd name="T69" fmla="*/ 39 h 71"/>
                <a:gd name="T70" fmla="*/ 72 w 79"/>
                <a:gd name="T71" fmla="*/ 42 h 71"/>
                <a:gd name="T72" fmla="*/ 75 w 79"/>
                <a:gd name="T73" fmla="*/ 45 h 71"/>
                <a:gd name="T74" fmla="*/ 79 w 79"/>
                <a:gd name="T75" fmla="*/ 45 h 71"/>
                <a:gd name="T76" fmla="*/ 79 w 79"/>
                <a:gd name="T77" fmla="*/ 48 h 71"/>
                <a:gd name="T78" fmla="*/ 75 w 79"/>
                <a:gd name="T79" fmla="*/ 52 h 71"/>
                <a:gd name="T80" fmla="*/ 75 w 79"/>
                <a:gd name="T81" fmla="*/ 52 h 71"/>
                <a:gd name="T82" fmla="*/ 75 w 79"/>
                <a:gd name="T83" fmla="*/ 55 h 71"/>
                <a:gd name="T84" fmla="*/ 75 w 79"/>
                <a:gd name="T85" fmla="*/ 58 h 71"/>
                <a:gd name="T86" fmla="*/ 75 w 79"/>
                <a:gd name="T87" fmla="*/ 61 h 71"/>
                <a:gd name="T88" fmla="*/ 75 w 79"/>
                <a:gd name="T89" fmla="*/ 65 h 71"/>
                <a:gd name="T90" fmla="*/ 75 w 79"/>
                <a:gd name="T91" fmla="*/ 68 h 71"/>
                <a:gd name="T92" fmla="*/ 75 w 79"/>
                <a:gd name="T93" fmla="*/ 71 h 71"/>
                <a:gd name="T94" fmla="*/ 58 w 79"/>
                <a:gd name="T95" fmla="*/ 65 h 71"/>
                <a:gd name="T96" fmla="*/ 41 w 79"/>
                <a:gd name="T97" fmla="*/ 55 h 71"/>
                <a:gd name="T98" fmla="*/ 37 w 79"/>
                <a:gd name="T99" fmla="*/ 55 h 71"/>
                <a:gd name="T100" fmla="*/ 27 w 79"/>
                <a:gd name="T101" fmla="*/ 45 h 71"/>
                <a:gd name="T102" fmla="*/ 17 w 79"/>
                <a:gd name="T103" fmla="*/ 39 h 71"/>
                <a:gd name="T104" fmla="*/ 13 w 79"/>
                <a:gd name="T105" fmla="*/ 39 h 71"/>
                <a:gd name="T106" fmla="*/ 10 w 79"/>
                <a:gd name="T107" fmla="*/ 32 h 71"/>
                <a:gd name="T108" fmla="*/ 7 w 79"/>
                <a:gd name="T109" fmla="*/ 32 h 71"/>
                <a:gd name="T110" fmla="*/ 10 w 79"/>
                <a:gd name="T111" fmla="*/ 29 h 71"/>
                <a:gd name="T112" fmla="*/ 7 w 79"/>
                <a:gd name="T113" fmla="*/ 29 h 71"/>
                <a:gd name="T114" fmla="*/ 0 w 79"/>
                <a:gd name="T115" fmla="*/ 2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" h="71">
                  <a:moveTo>
                    <a:pt x="0" y="29"/>
                  </a:moveTo>
                  <a:lnTo>
                    <a:pt x="0" y="26"/>
                  </a:lnTo>
                  <a:lnTo>
                    <a:pt x="3" y="23"/>
                  </a:lnTo>
                  <a:lnTo>
                    <a:pt x="7" y="19"/>
                  </a:lnTo>
                  <a:lnTo>
                    <a:pt x="13" y="16"/>
                  </a:lnTo>
                  <a:lnTo>
                    <a:pt x="10" y="13"/>
                  </a:lnTo>
                  <a:lnTo>
                    <a:pt x="13" y="10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1" y="0"/>
                  </a:lnTo>
                  <a:lnTo>
                    <a:pt x="34" y="0"/>
                  </a:lnTo>
                  <a:lnTo>
                    <a:pt x="37" y="3"/>
                  </a:lnTo>
                  <a:lnTo>
                    <a:pt x="41" y="6"/>
                  </a:lnTo>
                  <a:lnTo>
                    <a:pt x="41" y="13"/>
                  </a:lnTo>
                  <a:lnTo>
                    <a:pt x="41" y="16"/>
                  </a:lnTo>
                  <a:lnTo>
                    <a:pt x="44" y="19"/>
                  </a:lnTo>
                  <a:lnTo>
                    <a:pt x="48" y="19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23"/>
                  </a:lnTo>
                  <a:lnTo>
                    <a:pt x="62" y="26"/>
                  </a:lnTo>
                  <a:lnTo>
                    <a:pt x="58" y="32"/>
                  </a:lnTo>
                  <a:lnTo>
                    <a:pt x="55" y="35"/>
                  </a:lnTo>
                  <a:lnTo>
                    <a:pt x="55" y="39"/>
                  </a:lnTo>
                  <a:lnTo>
                    <a:pt x="58" y="39"/>
                  </a:lnTo>
                  <a:lnTo>
                    <a:pt x="62" y="39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8" y="39"/>
                  </a:lnTo>
                  <a:lnTo>
                    <a:pt x="72" y="39"/>
                  </a:lnTo>
                  <a:lnTo>
                    <a:pt x="72" y="42"/>
                  </a:lnTo>
                  <a:lnTo>
                    <a:pt x="75" y="45"/>
                  </a:lnTo>
                  <a:lnTo>
                    <a:pt x="79" y="45"/>
                  </a:lnTo>
                  <a:lnTo>
                    <a:pt x="79" y="48"/>
                  </a:lnTo>
                  <a:lnTo>
                    <a:pt x="75" y="52"/>
                  </a:lnTo>
                  <a:lnTo>
                    <a:pt x="75" y="52"/>
                  </a:lnTo>
                  <a:lnTo>
                    <a:pt x="75" y="55"/>
                  </a:lnTo>
                  <a:lnTo>
                    <a:pt x="75" y="58"/>
                  </a:lnTo>
                  <a:lnTo>
                    <a:pt x="75" y="61"/>
                  </a:lnTo>
                  <a:lnTo>
                    <a:pt x="75" y="65"/>
                  </a:lnTo>
                  <a:lnTo>
                    <a:pt x="75" y="68"/>
                  </a:lnTo>
                  <a:lnTo>
                    <a:pt x="75" y="71"/>
                  </a:lnTo>
                  <a:lnTo>
                    <a:pt x="58" y="65"/>
                  </a:lnTo>
                  <a:lnTo>
                    <a:pt x="41" y="55"/>
                  </a:lnTo>
                  <a:lnTo>
                    <a:pt x="37" y="55"/>
                  </a:lnTo>
                  <a:lnTo>
                    <a:pt x="27" y="45"/>
                  </a:lnTo>
                  <a:lnTo>
                    <a:pt x="17" y="39"/>
                  </a:lnTo>
                  <a:lnTo>
                    <a:pt x="13" y="39"/>
                  </a:lnTo>
                  <a:lnTo>
                    <a:pt x="10" y="32"/>
                  </a:lnTo>
                  <a:lnTo>
                    <a:pt x="7" y="32"/>
                  </a:lnTo>
                  <a:lnTo>
                    <a:pt x="10" y="29"/>
                  </a:lnTo>
                  <a:lnTo>
                    <a:pt x="7" y="29"/>
                  </a:ln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4" name="Freeform 125"/>
            <p:cNvSpPr>
              <a:spLocks/>
            </p:cNvSpPr>
            <p:nvPr/>
          </p:nvSpPr>
          <p:spPr bwMode="auto">
            <a:xfrm>
              <a:off x="6010276" y="4344055"/>
              <a:ext cx="190500" cy="169862"/>
            </a:xfrm>
            <a:custGeom>
              <a:avLst/>
              <a:gdLst>
                <a:gd name="T0" fmla="*/ 20 w 120"/>
                <a:gd name="T1" fmla="*/ 104 h 107"/>
                <a:gd name="T2" fmla="*/ 20 w 120"/>
                <a:gd name="T3" fmla="*/ 97 h 107"/>
                <a:gd name="T4" fmla="*/ 20 w 120"/>
                <a:gd name="T5" fmla="*/ 91 h 107"/>
                <a:gd name="T6" fmla="*/ 20 w 120"/>
                <a:gd name="T7" fmla="*/ 88 h 107"/>
                <a:gd name="T8" fmla="*/ 24 w 120"/>
                <a:gd name="T9" fmla="*/ 81 h 107"/>
                <a:gd name="T10" fmla="*/ 17 w 120"/>
                <a:gd name="T11" fmla="*/ 78 h 107"/>
                <a:gd name="T12" fmla="*/ 13 w 120"/>
                <a:gd name="T13" fmla="*/ 75 h 107"/>
                <a:gd name="T14" fmla="*/ 10 w 120"/>
                <a:gd name="T15" fmla="*/ 75 h 107"/>
                <a:gd name="T16" fmla="*/ 3 w 120"/>
                <a:gd name="T17" fmla="*/ 75 h 107"/>
                <a:gd name="T18" fmla="*/ 0 w 120"/>
                <a:gd name="T19" fmla="*/ 71 h 107"/>
                <a:gd name="T20" fmla="*/ 7 w 120"/>
                <a:gd name="T21" fmla="*/ 62 h 107"/>
                <a:gd name="T22" fmla="*/ 7 w 120"/>
                <a:gd name="T23" fmla="*/ 55 h 107"/>
                <a:gd name="T24" fmla="*/ 13 w 120"/>
                <a:gd name="T25" fmla="*/ 46 h 107"/>
                <a:gd name="T26" fmla="*/ 13 w 120"/>
                <a:gd name="T27" fmla="*/ 42 h 107"/>
                <a:gd name="T28" fmla="*/ 10 w 120"/>
                <a:gd name="T29" fmla="*/ 36 h 107"/>
                <a:gd name="T30" fmla="*/ 13 w 120"/>
                <a:gd name="T31" fmla="*/ 36 h 107"/>
                <a:gd name="T32" fmla="*/ 13 w 120"/>
                <a:gd name="T33" fmla="*/ 29 h 107"/>
                <a:gd name="T34" fmla="*/ 10 w 120"/>
                <a:gd name="T35" fmla="*/ 23 h 107"/>
                <a:gd name="T36" fmla="*/ 10 w 120"/>
                <a:gd name="T37" fmla="*/ 13 h 107"/>
                <a:gd name="T38" fmla="*/ 10 w 120"/>
                <a:gd name="T39" fmla="*/ 7 h 107"/>
                <a:gd name="T40" fmla="*/ 24 w 120"/>
                <a:gd name="T41" fmla="*/ 0 h 107"/>
                <a:gd name="T42" fmla="*/ 31 w 120"/>
                <a:gd name="T43" fmla="*/ 4 h 107"/>
                <a:gd name="T44" fmla="*/ 41 w 120"/>
                <a:gd name="T45" fmla="*/ 4 h 107"/>
                <a:gd name="T46" fmla="*/ 48 w 120"/>
                <a:gd name="T47" fmla="*/ 0 h 107"/>
                <a:gd name="T48" fmla="*/ 51 w 120"/>
                <a:gd name="T49" fmla="*/ 4 h 107"/>
                <a:gd name="T50" fmla="*/ 58 w 120"/>
                <a:gd name="T51" fmla="*/ 7 h 107"/>
                <a:gd name="T52" fmla="*/ 65 w 120"/>
                <a:gd name="T53" fmla="*/ 0 h 107"/>
                <a:gd name="T54" fmla="*/ 79 w 120"/>
                <a:gd name="T55" fmla="*/ 7 h 107"/>
                <a:gd name="T56" fmla="*/ 82 w 120"/>
                <a:gd name="T57" fmla="*/ 7 h 107"/>
                <a:gd name="T58" fmla="*/ 89 w 120"/>
                <a:gd name="T59" fmla="*/ 10 h 107"/>
                <a:gd name="T60" fmla="*/ 96 w 120"/>
                <a:gd name="T61" fmla="*/ 13 h 107"/>
                <a:gd name="T62" fmla="*/ 106 w 120"/>
                <a:gd name="T63" fmla="*/ 10 h 107"/>
                <a:gd name="T64" fmla="*/ 110 w 120"/>
                <a:gd name="T65" fmla="*/ 13 h 107"/>
                <a:gd name="T66" fmla="*/ 117 w 120"/>
                <a:gd name="T67" fmla="*/ 17 h 107"/>
                <a:gd name="T68" fmla="*/ 117 w 120"/>
                <a:gd name="T69" fmla="*/ 23 h 107"/>
                <a:gd name="T70" fmla="*/ 117 w 120"/>
                <a:gd name="T71" fmla="*/ 29 h 107"/>
                <a:gd name="T72" fmla="*/ 117 w 120"/>
                <a:gd name="T73" fmla="*/ 36 h 107"/>
                <a:gd name="T74" fmla="*/ 113 w 120"/>
                <a:gd name="T75" fmla="*/ 42 h 107"/>
                <a:gd name="T76" fmla="*/ 110 w 120"/>
                <a:gd name="T77" fmla="*/ 52 h 107"/>
                <a:gd name="T78" fmla="*/ 106 w 120"/>
                <a:gd name="T79" fmla="*/ 59 h 107"/>
                <a:gd name="T80" fmla="*/ 106 w 120"/>
                <a:gd name="T81" fmla="*/ 68 h 107"/>
                <a:gd name="T82" fmla="*/ 103 w 120"/>
                <a:gd name="T83" fmla="*/ 71 h 107"/>
                <a:gd name="T84" fmla="*/ 110 w 120"/>
                <a:gd name="T85" fmla="*/ 78 h 107"/>
                <a:gd name="T86" fmla="*/ 113 w 120"/>
                <a:gd name="T87" fmla="*/ 84 h 107"/>
                <a:gd name="T88" fmla="*/ 117 w 120"/>
                <a:gd name="T89" fmla="*/ 91 h 107"/>
                <a:gd name="T90" fmla="*/ 110 w 120"/>
                <a:gd name="T91" fmla="*/ 94 h 107"/>
                <a:gd name="T92" fmla="*/ 106 w 120"/>
                <a:gd name="T93" fmla="*/ 91 h 107"/>
                <a:gd name="T94" fmla="*/ 99 w 120"/>
                <a:gd name="T95" fmla="*/ 94 h 107"/>
                <a:gd name="T96" fmla="*/ 82 w 120"/>
                <a:gd name="T97" fmla="*/ 94 h 107"/>
                <a:gd name="T98" fmla="*/ 48 w 120"/>
                <a:gd name="T99" fmla="*/ 94 h 107"/>
                <a:gd name="T100" fmla="*/ 34 w 120"/>
                <a:gd name="T101" fmla="*/ 101 h 107"/>
                <a:gd name="T102" fmla="*/ 31 w 120"/>
                <a:gd name="T103" fmla="*/ 101 h 107"/>
                <a:gd name="T104" fmla="*/ 20 w 120"/>
                <a:gd name="T105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" h="107">
                  <a:moveTo>
                    <a:pt x="20" y="107"/>
                  </a:moveTo>
                  <a:lnTo>
                    <a:pt x="20" y="104"/>
                  </a:lnTo>
                  <a:lnTo>
                    <a:pt x="20" y="101"/>
                  </a:lnTo>
                  <a:lnTo>
                    <a:pt x="20" y="97"/>
                  </a:lnTo>
                  <a:lnTo>
                    <a:pt x="20" y="94"/>
                  </a:lnTo>
                  <a:lnTo>
                    <a:pt x="20" y="91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4" y="84"/>
                  </a:lnTo>
                  <a:lnTo>
                    <a:pt x="24" y="81"/>
                  </a:lnTo>
                  <a:lnTo>
                    <a:pt x="20" y="81"/>
                  </a:lnTo>
                  <a:lnTo>
                    <a:pt x="17" y="78"/>
                  </a:lnTo>
                  <a:lnTo>
                    <a:pt x="17" y="75"/>
                  </a:lnTo>
                  <a:lnTo>
                    <a:pt x="13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7" y="75"/>
                  </a:lnTo>
                  <a:lnTo>
                    <a:pt x="3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3" y="68"/>
                  </a:lnTo>
                  <a:lnTo>
                    <a:pt x="7" y="62"/>
                  </a:lnTo>
                  <a:lnTo>
                    <a:pt x="3" y="59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13" y="46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3"/>
                  </a:lnTo>
                  <a:lnTo>
                    <a:pt x="13" y="36"/>
                  </a:lnTo>
                  <a:lnTo>
                    <a:pt x="13" y="33"/>
                  </a:lnTo>
                  <a:lnTo>
                    <a:pt x="13" y="29"/>
                  </a:lnTo>
                  <a:lnTo>
                    <a:pt x="10" y="26"/>
                  </a:lnTo>
                  <a:lnTo>
                    <a:pt x="10" y="23"/>
                  </a:lnTo>
                  <a:lnTo>
                    <a:pt x="10" y="20"/>
                  </a:lnTo>
                  <a:lnTo>
                    <a:pt x="10" y="13"/>
                  </a:lnTo>
                  <a:lnTo>
                    <a:pt x="10" y="10"/>
                  </a:lnTo>
                  <a:lnTo>
                    <a:pt x="10" y="7"/>
                  </a:lnTo>
                  <a:lnTo>
                    <a:pt x="17" y="7"/>
                  </a:lnTo>
                  <a:lnTo>
                    <a:pt x="24" y="0"/>
                  </a:lnTo>
                  <a:lnTo>
                    <a:pt x="27" y="0"/>
                  </a:lnTo>
                  <a:lnTo>
                    <a:pt x="31" y="4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8" y="7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8" y="4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82" y="7"/>
                  </a:lnTo>
                  <a:lnTo>
                    <a:pt x="86" y="7"/>
                  </a:lnTo>
                  <a:lnTo>
                    <a:pt x="89" y="10"/>
                  </a:lnTo>
                  <a:lnTo>
                    <a:pt x="93" y="13"/>
                  </a:lnTo>
                  <a:lnTo>
                    <a:pt x="96" y="13"/>
                  </a:lnTo>
                  <a:lnTo>
                    <a:pt x="103" y="13"/>
                  </a:lnTo>
                  <a:lnTo>
                    <a:pt x="106" y="10"/>
                  </a:lnTo>
                  <a:lnTo>
                    <a:pt x="110" y="10"/>
                  </a:lnTo>
                  <a:lnTo>
                    <a:pt x="110" y="13"/>
                  </a:lnTo>
                  <a:lnTo>
                    <a:pt x="117" y="13"/>
                  </a:lnTo>
                  <a:lnTo>
                    <a:pt x="117" y="17"/>
                  </a:lnTo>
                  <a:lnTo>
                    <a:pt x="113" y="20"/>
                  </a:lnTo>
                  <a:lnTo>
                    <a:pt x="117" y="23"/>
                  </a:lnTo>
                  <a:lnTo>
                    <a:pt x="117" y="26"/>
                  </a:lnTo>
                  <a:lnTo>
                    <a:pt x="117" y="29"/>
                  </a:lnTo>
                  <a:lnTo>
                    <a:pt x="120" y="33"/>
                  </a:lnTo>
                  <a:lnTo>
                    <a:pt x="117" y="36"/>
                  </a:lnTo>
                  <a:lnTo>
                    <a:pt x="117" y="39"/>
                  </a:lnTo>
                  <a:lnTo>
                    <a:pt x="113" y="42"/>
                  </a:lnTo>
                  <a:lnTo>
                    <a:pt x="110" y="49"/>
                  </a:lnTo>
                  <a:lnTo>
                    <a:pt x="110" y="52"/>
                  </a:lnTo>
                  <a:lnTo>
                    <a:pt x="106" y="55"/>
                  </a:lnTo>
                  <a:lnTo>
                    <a:pt x="106" y="59"/>
                  </a:lnTo>
                  <a:lnTo>
                    <a:pt x="106" y="62"/>
                  </a:lnTo>
                  <a:lnTo>
                    <a:pt x="106" y="68"/>
                  </a:lnTo>
                  <a:lnTo>
                    <a:pt x="103" y="68"/>
                  </a:lnTo>
                  <a:lnTo>
                    <a:pt x="103" y="71"/>
                  </a:lnTo>
                  <a:lnTo>
                    <a:pt x="106" y="75"/>
                  </a:lnTo>
                  <a:lnTo>
                    <a:pt x="110" y="78"/>
                  </a:lnTo>
                  <a:lnTo>
                    <a:pt x="110" y="84"/>
                  </a:lnTo>
                  <a:lnTo>
                    <a:pt x="113" y="84"/>
                  </a:lnTo>
                  <a:lnTo>
                    <a:pt x="117" y="88"/>
                  </a:lnTo>
                  <a:lnTo>
                    <a:pt x="117" y="91"/>
                  </a:lnTo>
                  <a:lnTo>
                    <a:pt x="113" y="91"/>
                  </a:lnTo>
                  <a:lnTo>
                    <a:pt x="110" y="94"/>
                  </a:lnTo>
                  <a:lnTo>
                    <a:pt x="106" y="94"/>
                  </a:lnTo>
                  <a:lnTo>
                    <a:pt x="106" y="91"/>
                  </a:lnTo>
                  <a:lnTo>
                    <a:pt x="103" y="91"/>
                  </a:lnTo>
                  <a:lnTo>
                    <a:pt x="99" y="94"/>
                  </a:lnTo>
                  <a:lnTo>
                    <a:pt x="93" y="91"/>
                  </a:lnTo>
                  <a:lnTo>
                    <a:pt x="82" y="94"/>
                  </a:lnTo>
                  <a:lnTo>
                    <a:pt x="55" y="94"/>
                  </a:lnTo>
                  <a:lnTo>
                    <a:pt x="48" y="94"/>
                  </a:lnTo>
                  <a:lnTo>
                    <a:pt x="48" y="97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1" y="101"/>
                  </a:lnTo>
                  <a:lnTo>
                    <a:pt x="24" y="107"/>
                  </a:lnTo>
                  <a:lnTo>
                    <a:pt x="20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5" name="Freeform 126"/>
            <p:cNvSpPr>
              <a:spLocks/>
            </p:cNvSpPr>
            <p:nvPr/>
          </p:nvSpPr>
          <p:spPr bwMode="auto">
            <a:xfrm>
              <a:off x="6173788" y="4329767"/>
              <a:ext cx="130175" cy="174625"/>
            </a:xfrm>
            <a:custGeom>
              <a:avLst/>
              <a:gdLst>
                <a:gd name="T0" fmla="*/ 7 w 82"/>
                <a:gd name="T1" fmla="*/ 103 h 110"/>
                <a:gd name="T2" fmla="*/ 14 w 82"/>
                <a:gd name="T3" fmla="*/ 100 h 110"/>
                <a:gd name="T4" fmla="*/ 10 w 82"/>
                <a:gd name="T5" fmla="*/ 93 h 110"/>
                <a:gd name="T6" fmla="*/ 7 w 82"/>
                <a:gd name="T7" fmla="*/ 87 h 110"/>
                <a:gd name="T8" fmla="*/ 0 w 82"/>
                <a:gd name="T9" fmla="*/ 80 h 110"/>
                <a:gd name="T10" fmla="*/ 3 w 82"/>
                <a:gd name="T11" fmla="*/ 77 h 110"/>
                <a:gd name="T12" fmla="*/ 3 w 82"/>
                <a:gd name="T13" fmla="*/ 68 h 110"/>
                <a:gd name="T14" fmla="*/ 7 w 82"/>
                <a:gd name="T15" fmla="*/ 61 h 110"/>
                <a:gd name="T16" fmla="*/ 10 w 82"/>
                <a:gd name="T17" fmla="*/ 51 h 110"/>
                <a:gd name="T18" fmla="*/ 14 w 82"/>
                <a:gd name="T19" fmla="*/ 45 h 110"/>
                <a:gd name="T20" fmla="*/ 14 w 82"/>
                <a:gd name="T21" fmla="*/ 38 h 110"/>
                <a:gd name="T22" fmla="*/ 14 w 82"/>
                <a:gd name="T23" fmla="*/ 32 h 110"/>
                <a:gd name="T24" fmla="*/ 14 w 82"/>
                <a:gd name="T25" fmla="*/ 26 h 110"/>
                <a:gd name="T26" fmla="*/ 10 w 82"/>
                <a:gd name="T27" fmla="*/ 13 h 110"/>
                <a:gd name="T28" fmla="*/ 7 w 82"/>
                <a:gd name="T29" fmla="*/ 6 h 110"/>
                <a:gd name="T30" fmla="*/ 14 w 82"/>
                <a:gd name="T31" fmla="*/ 3 h 110"/>
                <a:gd name="T32" fmla="*/ 31 w 82"/>
                <a:gd name="T33" fmla="*/ 3 h 110"/>
                <a:gd name="T34" fmla="*/ 48 w 82"/>
                <a:gd name="T35" fmla="*/ 0 h 110"/>
                <a:gd name="T36" fmla="*/ 55 w 82"/>
                <a:gd name="T37" fmla="*/ 0 h 110"/>
                <a:gd name="T38" fmla="*/ 58 w 82"/>
                <a:gd name="T39" fmla="*/ 3 h 110"/>
                <a:gd name="T40" fmla="*/ 62 w 82"/>
                <a:gd name="T41" fmla="*/ 9 h 110"/>
                <a:gd name="T42" fmla="*/ 69 w 82"/>
                <a:gd name="T43" fmla="*/ 13 h 110"/>
                <a:gd name="T44" fmla="*/ 69 w 82"/>
                <a:gd name="T45" fmla="*/ 19 h 110"/>
                <a:gd name="T46" fmla="*/ 72 w 82"/>
                <a:gd name="T47" fmla="*/ 29 h 110"/>
                <a:gd name="T48" fmla="*/ 76 w 82"/>
                <a:gd name="T49" fmla="*/ 35 h 110"/>
                <a:gd name="T50" fmla="*/ 72 w 82"/>
                <a:gd name="T51" fmla="*/ 38 h 110"/>
                <a:gd name="T52" fmla="*/ 76 w 82"/>
                <a:gd name="T53" fmla="*/ 42 h 110"/>
                <a:gd name="T54" fmla="*/ 76 w 82"/>
                <a:gd name="T55" fmla="*/ 48 h 110"/>
                <a:gd name="T56" fmla="*/ 76 w 82"/>
                <a:gd name="T57" fmla="*/ 55 h 110"/>
                <a:gd name="T58" fmla="*/ 76 w 82"/>
                <a:gd name="T59" fmla="*/ 68 h 110"/>
                <a:gd name="T60" fmla="*/ 72 w 82"/>
                <a:gd name="T61" fmla="*/ 74 h 110"/>
                <a:gd name="T62" fmla="*/ 76 w 82"/>
                <a:gd name="T63" fmla="*/ 84 h 110"/>
                <a:gd name="T64" fmla="*/ 79 w 82"/>
                <a:gd name="T65" fmla="*/ 87 h 110"/>
                <a:gd name="T66" fmla="*/ 72 w 82"/>
                <a:gd name="T67" fmla="*/ 90 h 110"/>
                <a:gd name="T68" fmla="*/ 51 w 82"/>
                <a:gd name="T69" fmla="*/ 100 h 110"/>
                <a:gd name="T70" fmla="*/ 24 w 82"/>
                <a:gd name="T71" fmla="*/ 110 h 110"/>
                <a:gd name="T72" fmla="*/ 7 w 82"/>
                <a:gd name="T73" fmla="*/ 10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2" h="110">
                  <a:moveTo>
                    <a:pt x="3" y="103"/>
                  </a:moveTo>
                  <a:lnTo>
                    <a:pt x="7" y="103"/>
                  </a:lnTo>
                  <a:lnTo>
                    <a:pt x="10" y="100"/>
                  </a:lnTo>
                  <a:lnTo>
                    <a:pt x="14" y="100"/>
                  </a:lnTo>
                  <a:lnTo>
                    <a:pt x="14" y="97"/>
                  </a:lnTo>
                  <a:lnTo>
                    <a:pt x="10" y="93"/>
                  </a:lnTo>
                  <a:lnTo>
                    <a:pt x="7" y="93"/>
                  </a:lnTo>
                  <a:lnTo>
                    <a:pt x="7" y="87"/>
                  </a:lnTo>
                  <a:lnTo>
                    <a:pt x="3" y="84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3" y="77"/>
                  </a:lnTo>
                  <a:lnTo>
                    <a:pt x="3" y="71"/>
                  </a:lnTo>
                  <a:lnTo>
                    <a:pt x="3" y="68"/>
                  </a:lnTo>
                  <a:lnTo>
                    <a:pt x="3" y="64"/>
                  </a:lnTo>
                  <a:lnTo>
                    <a:pt x="7" y="61"/>
                  </a:lnTo>
                  <a:lnTo>
                    <a:pt x="7" y="58"/>
                  </a:lnTo>
                  <a:lnTo>
                    <a:pt x="10" y="51"/>
                  </a:lnTo>
                  <a:lnTo>
                    <a:pt x="14" y="48"/>
                  </a:lnTo>
                  <a:lnTo>
                    <a:pt x="14" y="45"/>
                  </a:lnTo>
                  <a:lnTo>
                    <a:pt x="17" y="42"/>
                  </a:lnTo>
                  <a:lnTo>
                    <a:pt x="14" y="38"/>
                  </a:lnTo>
                  <a:lnTo>
                    <a:pt x="14" y="35"/>
                  </a:lnTo>
                  <a:lnTo>
                    <a:pt x="14" y="32"/>
                  </a:lnTo>
                  <a:lnTo>
                    <a:pt x="10" y="29"/>
                  </a:lnTo>
                  <a:lnTo>
                    <a:pt x="14" y="26"/>
                  </a:lnTo>
                  <a:lnTo>
                    <a:pt x="14" y="19"/>
                  </a:lnTo>
                  <a:lnTo>
                    <a:pt x="10" y="13"/>
                  </a:lnTo>
                  <a:lnTo>
                    <a:pt x="7" y="13"/>
                  </a:lnTo>
                  <a:lnTo>
                    <a:pt x="7" y="6"/>
                  </a:lnTo>
                  <a:lnTo>
                    <a:pt x="7" y="3"/>
                  </a:lnTo>
                  <a:lnTo>
                    <a:pt x="14" y="3"/>
                  </a:lnTo>
                  <a:lnTo>
                    <a:pt x="27" y="3"/>
                  </a:lnTo>
                  <a:lnTo>
                    <a:pt x="31" y="3"/>
                  </a:lnTo>
                  <a:lnTo>
                    <a:pt x="41" y="3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55" y="0"/>
                  </a:lnTo>
                  <a:lnTo>
                    <a:pt x="58" y="0"/>
                  </a:lnTo>
                  <a:lnTo>
                    <a:pt x="58" y="3"/>
                  </a:lnTo>
                  <a:lnTo>
                    <a:pt x="62" y="6"/>
                  </a:lnTo>
                  <a:lnTo>
                    <a:pt x="62" y="9"/>
                  </a:lnTo>
                  <a:lnTo>
                    <a:pt x="65" y="13"/>
                  </a:lnTo>
                  <a:lnTo>
                    <a:pt x="69" y="13"/>
                  </a:lnTo>
                  <a:lnTo>
                    <a:pt x="72" y="16"/>
                  </a:lnTo>
                  <a:lnTo>
                    <a:pt x="69" y="19"/>
                  </a:lnTo>
                  <a:lnTo>
                    <a:pt x="69" y="26"/>
                  </a:lnTo>
                  <a:lnTo>
                    <a:pt x="72" y="29"/>
                  </a:lnTo>
                  <a:lnTo>
                    <a:pt x="76" y="29"/>
                  </a:lnTo>
                  <a:lnTo>
                    <a:pt x="76" y="35"/>
                  </a:lnTo>
                  <a:lnTo>
                    <a:pt x="72" y="35"/>
                  </a:lnTo>
                  <a:lnTo>
                    <a:pt x="72" y="38"/>
                  </a:lnTo>
                  <a:lnTo>
                    <a:pt x="76" y="38"/>
                  </a:lnTo>
                  <a:lnTo>
                    <a:pt x="76" y="42"/>
                  </a:lnTo>
                  <a:lnTo>
                    <a:pt x="72" y="45"/>
                  </a:lnTo>
                  <a:lnTo>
                    <a:pt x="76" y="48"/>
                  </a:lnTo>
                  <a:lnTo>
                    <a:pt x="76" y="51"/>
                  </a:lnTo>
                  <a:lnTo>
                    <a:pt x="76" y="55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2" y="71"/>
                  </a:lnTo>
                  <a:lnTo>
                    <a:pt x="72" y="74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9" y="84"/>
                  </a:lnTo>
                  <a:lnTo>
                    <a:pt x="79" y="87"/>
                  </a:lnTo>
                  <a:lnTo>
                    <a:pt x="82" y="87"/>
                  </a:lnTo>
                  <a:lnTo>
                    <a:pt x="72" y="90"/>
                  </a:lnTo>
                  <a:lnTo>
                    <a:pt x="62" y="93"/>
                  </a:lnTo>
                  <a:lnTo>
                    <a:pt x="51" y="100"/>
                  </a:lnTo>
                  <a:lnTo>
                    <a:pt x="41" y="103"/>
                  </a:lnTo>
                  <a:lnTo>
                    <a:pt x="24" y="110"/>
                  </a:lnTo>
                  <a:lnTo>
                    <a:pt x="17" y="106"/>
                  </a:lnTo>
                  <a:lnTo>
                    <a:pt x="7" y="103"/>
                  </a:lnTo>
                  <a:lnTo>
                    <a:pt x="3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6" name="Freeform 127"/>
            <p:cNvSpPr>
              <a:spLocks/>
            </p:cNvSpPr>
            <p:nvPr/>
          </p:nvSpPr>
          <p:spPr bwMode="auto">
            <a:xfrm>
              <a:off x="6265863" y="4329767"/>
              <a:ext cx="60325" cy="138112"/>
            </a:xfrm>
            <a:custGeom>
              <a:avLst/>
              <a:gdLst>
                <a:gd name="T0" fmla="*/ 21 w 38"/>
                <a:gd name="T1" fmla="*/ 3 h 87"/>
                <a:gd name="T2" fmla="*/ 0 w 38"/>
                <a:gd name="T3" fmla="*/ 0 h 87"/>
                <a:gd name="T4" fmla="*/ 0 w 38"/>
                <a:gd name="T5" fmla="*/ 0 h 87"/>
                <a:gd name="T6" fmla="*/ 0 w 38"/>
                <a:gd name="T7" fmla="*/ 3 h 87"/>
                <a:gd name="T8" fmla="*/ 4 w 38"/>
                <a:gd name="T9" fmla="*/ 6 h 87"/>
                <a:gd name="T10" fmla="*/ 4 w 38"/>
                <a:gd name="T11" fmla="*/ 9 h 87"/>
                <a:gd name="T12" fmla="*/ 7 w 38"/>
                <a:gd name="T13" fmla="*/ 13 h 87"/>
                <a:gd name="T14" fmla="*/ 11 w 38"/>
                <a:gd name="T15" fmla="*/ 13 h 87"/>
                <a:gd name="T16" fmla="*/ 14 w 38"/>
                <a:gd name="T17" fmla="*/ 16 h 87"/>
                <a:gd name="T18" fmla="*/ 11 w 38"/>
                <a:gd name="T19" fmla="*/ 19 h 87"/>
                <a:gd name="T20" fmla="*/ 11 w 38"/>
                <a:gd name="T21" fmla="*/ 26 h 87"/>
                <a:gd name="T22" fmla="*/ 14 w 38"/>
                <a:gd name="T23" fmla="*/ 29 h 87"/>
                <a:gd name="T24" fmla="*/ 18 w 38"/>
                <a:gd name="T25" fmla="*/ 29 h 87"/>
                <a:gd name="T26" fmla="*/ 18 w 38"/>
                <a:gd name="T27" fmla="*/ 35 h 87"/>
                <a:gd name="T28" fmla="*/ 14 w 38"/>
                <a:gd name="T29" fmla="*/ 35 h 87"/>
                <a:gd name="T30" fmla="*/ 14 w 38"/>
                <a:gd name="T31" fmla="*/ 38 h 87"/>
                <a:gd name="T32" fmla="*/ 18 w 38"/>
                <a:gd name="T33" fmla="*/ 38 h 87"/>
                <a:gd name="T34" fmla="*/ 18 w 38"/>
                <a:gd name="T35" fmla="*/ 42 h 87"/>
                <a:gd name="T36" fmla="*/ 14 w 38"/>
                <a:gd name="T37" fmla="*/ 45 h 87"/>
                <a:gd name="T38" fmla="*/ 18 w 38"/>
                <a:gd name="T39" fmla="*/ 48 h 87"/>
                <a:gd name="T40" fmla="*/ 18 w 38"/>
                <a:gd name="T41" fmla="*/ 51 h 87"/>
                <a:gd name="T42" fmla="*/ 18 w 38"/>
                <a:gd name="T43" fmla="*/ 55 h 87"/>
                <a:gd name="T44" fmla="*/ 18 w 38"/>
                <a:gd name="T45" fmla="*/ 64 h 87"/>
                <a:gd name="T46" fmla="*/ 18 w 38"/>
                <a:gd name="T47" fmla="*/ 68 h 87"/>
                <a:gd name="T48" fmla="*/ 14 w 38"/>
                <a:gd name="T49" fmla="*/ 71 h 87"/>
                <a:gd name="T50" fmla="*/ 14 w 38"/>
                <a:gd name="T51" fmla="*/ 74 h 87"/>
                <a:gd name="T52" fmla="*/ 18 w 38"/>
                <a:gd name="T53" fmla="*/ 80 h 87"/>
                <a:gd name="T54" fmla="*/ 18 w 38"/>
                <a:gd name="T55" fmla="*/ 84 h 87"/>
                <a:gd name="T56" fmla="*/ 21 w 38"/>
                <a:gd name="T57" fmla="*/ 84 h 87"/>
                <a:gd name="T58" fmla="*/ 21 w 38"/>
                <a:gd name="T59" fmla="*/ 87 h 87"/>
                <a:gd name="T60" fmla="*/ 24 w 38"/>
                <a:gd name="T61" fmla="*/ 87 h 87"/>
                <a:gd name="T62" fmla="*/ 24 w 38"/>
                <a:gd name="T63" fmla="*/ 87 h 87"/>
                <a:gd name="T64" fmla="*/ 35 w 38"/>
                <a:gd name="T65" fmla="*/ 84 h 87"/>
                <a:gd name="T66" fmla="*/ 38 w 38"/>
                <a:gd name="T67" fmla="*/ 84 h 87"/>
                <a:gd name="T68" fmla="*/ 38 w 38"/>
                <a:gd name="T69" fmla="*/ 80 h 87"/>
                <a:gd name="T70" fmla="*/ 35 w 38"/>
                <a:gd name="T71" fmla="*/ 77 h 87"/>
                <a:gd name="T72" fmla="*/ 35 w 38"/>
                <a:gd name="T73" fmla="*/ 71 h 87"/>
                <a:gd name="T74" fmla="*/ 35 w 38"/>
                <a:gd name="T75" fmla="*/ 68 h 87"/>
                <a:gd name="T76" fmla="*/ 35 w 38"/>
                <a:gd name="T77" fmla="*/ 48 h 87"/>
                <a:gd name="T78" fmla="*/ 35 w 38"/>
                <a:gd name="T79" fmla="*/ 45 h 87"/>
                <a:gd name="T80" fmla="*/ 38 w 38"/>
                <a:gd name="T81" fmla="*/ 42 h 87"/>
                <a:gd name="T82" fmla="*/ 38 w 38"/>
                <a:gd name="T83" fmla="*/ 38 h 87"/>
                <a:gd name="T84" fmla="*/ 35 w 38"/>
                <a:gd name="T85" fmla="*/ 35 h 87"/>
                <a:gd name="T86" fmla="*/ 35 w 38"/>
                <a:gd name="T87" fmla="*/ 32 h 87"/>
                <a:gd name="T88" fmla="*/ 35 w 38"/>
                <a:gd name="T89" fmla="*/ 26 h 87"/>
                <a:gd name="T90" fmla="*/ 31 w 38"/>
                <a:gd name="T91" fmla="*/ 16 h 87"/>
                <a:gd name="T92" fmla="*/ 28 w 38"/>
                <a:gd name="T93" fmla="*/ 16 h 87"/>
                <a:gd name="T94" fmla="*/ 24 w 38"/>
                <a:gd name="T95" fmla="*/ 13 h 87"/>
                <a:gd name="T96" fmla="*/ 21 w 38"/>
                <a:gd name="T97" fmla="*/ 9 h 87"/>
                <a:gd name="T98" fmla="*/ 21 w 38"/>
                <a:gd name="T99" fmla="*/ 6 h 87"/>
                <a:gd name="T100" fmla="*/ 21 w 38"/>
                <a:gd name="T101" fmla="*/ 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" h="87">
                  <a:moveTo>
                    <a:pt x="21" y="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4" y="9"/>
                  </a:lnTo>
                  <a:lnTo>
                    <a:pt x="7" y="13"/>
                  </a:lnTo>
                  <a:lnTo>
                    <a:pt x="11" y="13"/>
                  </a:lnTo>
                  <a:lnTo>
                    <a:pt x="14" y="16"/>
                  </a:lnTo>
                  <a:lnTo>
                    <a:pt x="11" y="19"/>
                  </a:lnTo>
                  <a:lnTo>
                    <a:pt x="11" y="26"/>
                  </a:lnTo>
                  <a:lnTo>
                    <a:pt x="14" y="29"/>
                  </a:lnTo>
                  <a:lnTo>
                    <a:pt x="18" y="29"/>
                  </a:lnTo>
                  <a:lnTo>
                    <a:pt x="18" y="35"/>
                  </a:lnTo>
                  <a:lnTo>
                    <a:pt x="14" y="35"/>
                  </a:lnTo>
                  <a:lnTo>
                    <a:pt x="14" y="38"/>
                  </a:lnTo>
                  <a:lnTo>
                    <a:pt x="18" y="38"/>
                  </a:lnTo>
                  <a:lnTo>
                    <a:pt x="18" y="42"/>
                  </a:lnTo>
                  <a:lnTo>
                    <a:pt x="14" y="45"/>
                  </a:lnTo>
                  <a:lnTo>
                    <a:pt x="18" y="48"/>
                  </a:lnTo>
                  <a:lnTo>
                    <a:pt x="18" y="51"/>
                  </a:lnTo>
                  <a:lnTo>
                    <a:pt x="18" y="55"/>
                  </a:lnTo>
                  <a:lnTo>
                    <a:pt x="18" y="64"/>
                  </a:lnTo>
                  <a:lnTo>
                    <a:pt x="18" y="68"/>
                  </a:lnTo>
                  <a:lnTo>
                    <a:pt x="14" y="71"/>
                  </a:lnTo>
                  <a:lnTo>
                    <a:pt x="14" y="74"/>
                  </a:lnTo>
                  <a:lnTo>
                    <a:pt x="18" y="80"/>
                  </a:lnTo>
                  <a:lnTo>
                    <a:pt x="18" y="84"/>
                  </a:lnTo>
                  <a:lnTo>
                    <a:pt x="21" y="84"/>
                  </a:lnTo>
                  <a:lnTo>
                    <a:pt x="21" y="87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35" y="84"/>
                  </a:lnTo>
                  <a:lnTo>
                    <a:pt x="38" y="84"/>
                  </a:lnTo>
                  <a:lnTo>
                    <a:pt x="38" y="80"/>
                  </a:lnTo>
                  <a:lnTo>
                    <a:pt x="35" y="77"/>
                  </a:lnTo>
                  <a:lnTo>
                    <a:pt x="35" y="71"/>
                  </a:lnTo>
                  <a:lnTo>
                    <a:pt x="35" y="68"/>
                  </a:lnTo>
                  <a:lnTo>
                    <a:pt x="35" y="48"/>
                  </a:lnTo>
                  <a:lnTo>
                    <a:pt x="35" y="45"/>
                  </a:lnTo>
                  <a:lnTo>
                    <a:pt x="38" y="42"/>
                  </a:lnTo>
                  <a:lnTo>
                    <a:pt x="38" y="38"/>
                  </a:lnTo>
                  <a:lnTo>
                    <a:pt x="35" y="35"/>
                  </a:lnTo>
                  <a:lnTo>
                    <a:pt x="35" y="32"/>
                  </a:lnTo>
                  <a:lnTo>
                    <a:pt x="35" y="26"/>
                  </a:lnTo>
                  <a:lnTo>
                    <a:pt x="31" y="16"/>
                  </a:lnTo>
                  <a:lnTo>
                    <a:pt x="28" y="16"/>
                  </a:lnTo>
                  <a:lnTo>
                    <a:pt x="24" y="13"/>
                  </a:lnTo>
                  <a:lnTo>
                    <a:pt x="21" y="9"/>
                  </a:lnTo>
                  <a:lnTo>
                    <a:pt x="21" y="6"/>
                  </a:lnTo>
                  <a:lnTo>
                    <a:pt x="21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7" name="Freeform 128"/>
            <p:cNvSpPr>
              <a:spLocks/>
            </p:cNvSpPr>
            <p:nvPr/>
          </p:nvSpPr>
          <p:spPr bwMode="auto">
            <a:xfrm>
              <a:off x="6299201" y="4293255"/>
              <a:ext cx="92075" cy="169862"/>
            </a:xfrm>
            <a:custGeom>
              <a:avLst/>
              <a:gdLst>
                <a:gd name="T0" fmla="*/ 28 w 58"/>
                <a:gd name="T1" fmla="*/ 7 h 107"/>
                <a:gd name="T2" fmla="*/ 21 w 58"/>
                <a:gd name="T3" fmla="*/ 13 h 107"/>
                <a:gd name="T4" fmla="*/ 10 w 58"/>
                <a:gd name="T5" fmla="*/ 13 h 107"/>
                <a:gd name="T6" fmla="*/ 7 w 58"/>
                <a:gd name="T7" fmla="*/ 19 h 107"/>
                <a:gd name="T8" fmla="*/ 7 w 58"/>
                <a:gd name="T9" fmla="*/ 23 h 107"/>
                <a:gd name="T10" fmla="*/ 0 w 58"/>
                <a:gd name="T11" fmla="*/ 29 h 107"/>
                <a:gd name="T12" fmla="*/ 3 w 58"/>
                <a:gd name="T13" fmla="*/ 36 h 107"/>
                <a:gd name="T14" fmla="*/ 10 w 58"/>
                <a:gd name="T15" fmla="*/ 39 h 107"/>
                <a:gd name="T16" fmla="*/ 14 w 58"/>
                <a:gd name="T17" fmla="*/ 55 h 107"/>
                <a:gd name="T18" fmla="*/ 17 w 58"/>
                <a:gd name="T19" fmla="*/ 61 h 107"/>
                <a:gd name="T20" fmla="*/ 14 w 58"/>
                <a:gd name="T21" fmla="*/ 68 h 107"/>
                <a:gd name="T22" fmla="*/ 14 w 58"/>
                <a:gd name="T23" fmla="*/ 91 h 107"/>
                <a:gd name="T24" fmla="*/ 14 w 58"/>
                <a:gd name="T25" fmla="*/ 100 h 107"/>
                <a:gd name="T26" fmla="*/ 17 w 58"/>
                <a:gd name="T27" fmla="*/ 107 h 107"/>
                <a:gd name="T28" fmla="*/ 38 w 58"/>
                <a:gd name="T29" fmla="*/ 103 h 107"/>
                <a:gd name="T30" fmla="*/ 38 w 58"/>
                <a:gd name="T31" fmla="*/ 100 h 107"/>
                <a:gd name="T32" fmla="*/ 38 w 58"/>
                <a:gd name="T33" fmla="*/ 87 h 107"/>
                <a:gd name="T34" fmla="*/ 38 w 58"/>
                <a:gd name="T35" fmla="*/ 81 h 107"/>
                <a:gd name="T36" fmla="*/ 38 w 58"/>
                <a:gd name="T37" fmla="*/ 74 h 107"/>
                <a:gd name="T38" fmla="*/ 38 w 58"/>
                <a:gd name="T39" fmla="*/ 74 h 107"/>
                <a:gd name="T40" fmla="*/ 38 w 58"/>
                <a:gd name="T41" fmla="*/ 68 h 107"/>
                <a:gd name="T42" fmla="*/ 38 w 58"/>
                <a:gd name="T43" fmla="*/ 61 h 107"/>
                <a:gd name="T44" fmla="*/ 38 w 58"/>
                <a:gd name="T45" fmla="*/ 58 h 107"/>
                <a:gd name="T46" fmla="*/ 45 w 58"/>
                <a:gd name="T47" fmla="*/ 58 h 107"/>
                <a:gd name="T48" fmla="*/ 48 w 58"/>
                <a:gd name="T49" fmla="*/ 52 h 107"/>
                <a:gd name="T50" fmla="*/ 52 w 58"/>
                <a:gd name="T51" fmla="*/ 45 h 107"/>
                <a:gd name="T52" fmla="*/ 55 w 58"/>
                <a:gd name="T53" fmla="*/ 45 h 107"/>
                <a:gd name="T54" fmla="*/ 52 w 58"/>
                <a:gd name="T55" fmla="*/ 39 h 107"/>
                <a:gd name="T56" fmla="*/ 55 w 58"/>
                <a:gd name="T57" fmla="*/ 36 h 107"/>
                <a:gd name="T58" fmla="*/ 58 w 58"/>
                <a:gd name="T59" fmla="*/ 32 h 107"/>
                <a:gd name="T60" fmla="*/ 58 w 58"/>
                <a:gd name="T61" fmla="*/ 23 h 107"/>
                <a:gd name="T62" fmla="*/ 52 w 58"/>
                <a:gd name="T63" fmla="*/ 16 h 107"/>
                <a:gd name="T64" fmla="*/ 52 w 58"/>
                <a:gd name="T65" fmla="*/ 13 h 107"/>
                <a:gd name="T66" fmla="*/ 45 w 58"/>
                <a:gd name="T67" fmla="*/ 7 h 107"/>
                <a:gd name="T68" fmla="*/ 34 w 58"/>
                <a:gd name="T69" fmla="*/ 0 h 107"/>
                <a:gd name="T70" fmla="*/ 34 w 58"/>
                <a:gd name="T71" fmla="*/ 3 h 107"/>
                <a:gd name="T72" fmla="*/ 28 w 58"/>
                <a:gd name="T73" fmla="*/ 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8" h="107">
                  <a:moveTo>
                    <a:pt x="28" y="7"/>
                  </a:moveTo>
                  <a:lnTo>
                    <a:pt x="28" y="7"/>
                  </a:lnTo>
                  <a:lnTo>
                    <a:pt x="24" y="13"/>
                  </a:lnTo>
                  <a:lnTo>
                    <a:pt x="21" y="13"/>
                  </a:lnTo>
                  <a:lnTo>
                    <a:pt x="14" y="16"/>
                  </a:lnTo>
                  <a:lnTo>
                    <a:pt x="10" y="13"/>
                  </a:lnTo>
                  <a:lnTo>
                    <a:pt x="7" y="16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36"/>
                  </a:lnTo>
                  <a:lnTo>
                    <a:pt x="7" y="39"/>
                  </a:lnTo>
                  <a:lnTo>
                    <a:pt x="10" y="39"/>
                  </a:lnTo>
                  <a:lnTo>
                    <a:pt x="14" y="49"/>
                  </a:lnTo>
                  <a:lnTo>
                    <a:pt x="14" y="55"/>
                  </a:lnTo>
                  <a:lnTo>
                    <a:pt x="14" y="58"/>
                  </a:lnTo>
                  <a:lnTo>
                    <a:pt x="17" y="61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4" y="71"/>
                  </a:lnTo>
                  <a:lnTo>
                    <a:pt x="14" y="91"/>
                  </a:lnTo>
                  <a:lnTo>
                    <a:pt x="14" y="94"/>
                  </a:lnTo>
                  <a:lnTo>
                    <a:pt x="14" y="100"/>
                  </a:lnTo>
                  <a:lnTo>
                    <a:pt x="17" y="103"/>
                  </a:lnTo>
                  <a:lnTo>
                    <a:pt x="17" y="107"/>
                  </a:lnTo>
                  <a:lnTo>
                    <a:pt x="24" y="107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0"/>
                  </a:lnTo>
                  <a:lnTo>
                    <a:pt x="38" y="91"/>
                  </a:lnTo>
                  <a:lnTo>
                    <a:pt x="38" y="87"/>
                  </a:lnTo>
                  <a:lnTo>
                    <a:pt x="38" y="87"/>
                  </a:lnTo>
                  <a:lnTo>
                    <a:pt x="38" y="81"/>
                  </a:lnTo>
                  <a:lnTo>
                    <a:pt x="38" y="78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1"/>
                  </a:lnTo>
                  <a:lnTo>
                    <a:pt x="38" y="68"/>
                  </a:lnTo>
                  <a:lnTo>
                    <a:pt x="38" y="65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58"/>
                  </a:lnTo>
                  <a:lnTo>
                    <a:pt x="41" y="58"/>
                  </a:lnTo>
                  <a:lnTo>
                    <a:pt x="45" y="58"/>
                  </a:lnTo>
                  <a:lnTo>
                    <a:pt x="45" y="55"/>
                  </a:lnTo>
                  <a:lnTo>
                    <a:pt x="48" y="52"/>
                  </a:lnTo>
                  <a:lnTo>
                    <a:pt x="48" y="49"/>
                  </a:lnTo>
                  <a:lnTo>
                    <a:pt x="52" y="45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8" y="42"/>
                  </a:lnTo>
                  <a:lnTo>
                    <a:pt x="52" y="39"/>
                  </a:lnTo>
                  <a:lnTo>
                    <a:pt x="55" y="39"/>
                  </a:lnTo>
                  <a:lnTo>
                    <a:pt x="55" y="36"/>
                  </a:lnTo>
                  <a:lnTo>
                    <a:pt x="58" y="36"/>
                  </a:lnTo>
                  <a:lnTo>
                    <a:pt x="58" y="32"/>
                  </a:lnTo>
                  <a:lnTo>
                    <a:pt x="58" y="26"/>
                  </a:lnTo>
                  <a:lnTo>
                    <a:pt x="58" y="23"/>
                  </a:lnTo>
                  <a:lnTo>
                    <a:pt x="52" y="19"/>
                  </a:lnTo>
                  <a:lnTo>
                    <a:pt x="52" y="16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1" y="3"/>
                  </a:lnTo>
                  <a:lnTo>
                    <a:pt x="34" y="0"/>
                  </a:lnTo>
                  <a:lnTo>
                    <a:pt x="31" y="3"/>
                  </a:lnTo>
                  <a:lnTo>
                    <a:pt x="34" y="3"/>
                  </a:lnTo>
                  <a:lnTo>
                    <a:pt x="31" y="7"/>
                  </a:lnTo>
                  <a:lnTo>
                    <a:pt x="28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8" name="Freeform 129"/>
            <p:cNvSpPr>
              <a:spLocks noEditPoints="1"/>
            </p:cNvSpPr>
            <p:nvPr/>
          </p:nvSpPr>
          <p:spPr bwMode="auto">
            <a:xfrm>
              <a:off x="6637338" y="3996392"/>
              <a:ext cx="355600" cy="434975"/>
            </a:xfrm>
            <a:custGeom>
              <a:avLst/>
              <a:gdLst>
                <a:gd name="T0" fmla="*/ 224 w 224"/>
                <a:gd name="T1" fmla="*/ 68 h 274"/>
                <a:gd name="T2" fmla="*/ 220 w 224"/>
                <a:gd name="T3" fmla="*/ 135 h 274"/>
                <a:gd name="T4" fmla="*/ 207 w 224"/>
                <a:gd name="T5" fmla="*/ 135 h 274"/>
                <a:gd name="T6" fmla="*/ 207 w 224"/>
                <a:gd name="T7" fmla="*/ 148 h 274"/>
                <a:gd name="T8" fmla="*/ 196 w 224"/>
                <a:gd name="T9" fmla="*/ 158 h 274"/>
                <a:gd name="T10" fmla="*/ 196 w 224"/>
                <a:gd name="T11" fmla="*/ 164 h 274"/>
                <a:gd name="T12" fmla="*/ 193 w 224"/>
                <a:gd name="T13" fmla="*/ 171 h 274"/>
                <a:gd name="T14" fmla="*/ 186 w 224"/>
                <a:gd name="T15" fmla="*/ 181 h 274"/>
                <a:gd name="T16" fmla="*/ 193 w 224"/>
                <a:gd name="T17" fmla="*/ 184 h 274"/>
                <a:gd name="T18" fmla="*/ 193 w 224"/>
                <a:gd name="T19" fmla="*/ 190 h 274"/>
                <a:gd name="T20" fmla="*/ 196 w 224"/>
                <a:gd name="T21" fmla="*/ 197 h 274"/>
                <a:gd name="T22" fmla="*/ 207 w 224"/>
                <a:gd name="T23" fmla="*/ 203 h 274"/>
                <a:gd name="T24" fmla="*/ 207 w 224"/>
                <a:gd name="T25" fmla="*/ 213 h 274"/>
                <a:gd name="T26" fmla="*/ 196 w 224"/>
                <a:gd name="T27" fmla="*/ 216 h 274"/>
                <a:gd name="T28" fmla="*/ 183 w 224"/>
                <a:gd name="T29" fmla="*/ 219 h 274"/>
                <a:gd name="T30" fmla="*/ 179 w 224"/>
                <a:gd name="T31" fmla="*/ 226 h 274"/>
                <a:gd name="T32" fmla="*/ 172 w 224"/>
                <a:gd name="T33" fmla="*/ 229 h 274"/>
                <a:gd name="T34" fmla="*/ 169 w 224"/>
                <a:gd name="T35" fmla="*/ 236 h 274"/>
                <a:gd name="T36" fmla="*/ 169 w 224"/>
                <a:gd name="T37" fmla="*/ 242 h 274"/>
                <a:gd name="T38" fmla="*/ 152 w 224"/>
                <a:gd name="T39" fmla="*/ 248 h 274"/>
                <a:gd name="T40" fmla="*/ 138 w 224"/>
                <a:gd name="T41" fmla="*/ 245 h 274"/>
                <a:gd name="T42" fmla="*/ 131 w 224"/>
                <a:gd name="T43" fmla="*/ 248 h 274"/>
                <a:gd name="T44" fmla="*/ 134 w 224"/>
                <a:gd name="T45" fmla="*/ 255 h 274"/>
                <a:gd name="T46" fmla="*/ 128 w 224"/>
                <a:gd name="T47" fmla="*/ 261 h 274"/>
                <a:gd name="T48" fmla="*/ 107 w 224"/>
                <a:gd name="T49" fmla="*/ 268 h 274"/>
                <a:gd name="T50" fmla="*/ 93 w 224"/>
                <a:gd name="T51" fmla="*/ 271 h 274"/>
                <a:gd name="T52" fmla="*/ 86 w 224"/>
                <a:gd name="T53" fmla="*/ 265 h 274"/>
                <a:gd name="T54" fmla="*/ 83 w 224"/>
                <a:gd name="T55" fmla="*/ 274 h 274"/>
                <a:gd name="T56" fmla="*/ 69 w 224"/>
                <a:gd name="T57" fmla="*/ 274 h 274"/>
                <a:gd name="T58" fmla="*/ 66 w 224"/>
                <a:gd name="T59" fmla="*/ 268 h 274"/>
                <a:gd name="T60" fmla="*/ 59 w 224"/>
                <a:gd name="T61" fmla="*/ 255 h 274"/>
                <a:gd name="T62" fmla="*/ 42 w 224"/>
                <a:gd name="T63" fmla="*/ 242 h 274"/>
                <a:gd name="T64" fmla="*/ 38 w 224"/>
                <a:gd name="T65" fmla="*/ 239 h 274"/>
                <a:gd name="T66" fmla="*/ 38 w 224"/>
                <a:gd name="T67" fmla="*/ 232 h 274"/>
                <a:gd name="T68" fmla="*/ 45 w 224"/>
                <a:gd name="T69" fmla="*/ 232 h 274"/>
                <a:gd name="T70" fmla="*/ 55 w 224"/>
                <a:gd name="T71" fmla="*/ 232 h 274"/>
                <a:gd name="T72" fmla="*/ 66 w 224"/>
                <a:gd name="T73" fmla="*/ 232 h 274"/>
                <a:gd name="T74" fmla="*/ 59 w 224"/>
                <a:gd name="T75" fmla="*/ 229 h 274"/>
                <a:gd name="T76" fmla="*/ 52 w 224"/>
                <a:gd name="T77" fmla="*/ 219 h 274"/>
                <a:gd name="T78" fmla="*/ 55 w 224"/>
                <a:gd name="T79" fmla="*/ 210 h 274"/>
                <a:gd name="T80" fmla="*/ 55 w 224"/>
                <a:gd name="T81" fmla="*/ 203 h 274"/>
                <a:gd name="T82" fmla="*/ 52 w 224"/>
                <a:gd name="T83" fmla="*/ 194 h 274"/>
                <a:gd name="T84" fmla="*/ 45 w 224"/>
                <a:gd name="T85" fmla="*/ 184 h 274"/>
                <a:gd name="T86" fmla="*/ 31 w 224"/>
                <a:gd name="T87" fmla="*/ 177 h 274"/>
                <a:gd name="T88" fmla="*/ 24 w 224"/>
                <a:gd name="T89" fmla="*/ 148 h 274"/>
                <a:gd name="T90" fmla="*/ 28 w 224"/>
                <a:gd name="T91" fmla="*/ 145 h 274"/>
                <a:gd name="T92" fmla="*/ 59 w 224"/>
                <a:gd name="T93" fmla="*/ 93 h 274"/>
                <a:gd name="T94" fmla="*/ 69 w 224"/>
                <a:gd name="T95" fmla="*/ 55 h 274"/>
                <a:gd name="T96" fmla="*/ 59 w 224"/>
                <a:gd name="T97" fmla="*/ 35 h 274"/>
                <a:gd name="T98" fmla="*/ 45 w 224"/>
                <a:gd name="T99" fmla="*/ 9 h 274"/>
                <a:gd name="T100" fmla="*/ 0 w 224"/>
                <a:gd name="T101" fmla="*/ 181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4" h="274">
                  <a:moveTo>
                    <a:pt x="45" y="9"/>
                  </a:moveTo>
                  <a:lnTo>
                    <a:pt x="69" y="0"/>
                  </a:lnTo>
                  <a:lnTo>
                    <a:pt x="224" y="68"/>
                  </a:lnTo>
                  <a:lnTo>
                    <a:pt x="224" y="132"/>
                  </a:lnTo>
                  <a:lnTo>
                    <a:pt x="224" y="135"/>
                  </a:lnTo>
                  <a:lnTo>
                    <a:pt x="220" y="135"/>
                  </a:lnTo>
                  <a:lnTo>
                    <a:pt x="217" y="135"/>
                  </a:lnTo>
                  <a:lnTo>
                    <a:pt x="210" y="135"/>
                  </a:lnTo>
                  <a:lnTo>
                    <a:pt x="207" y="135"/>
                  </a:lnTo>
                  <a:lnTo>
                    <a:pt x="207" y="142"/>
                  </a:lnTo>
                  <a:lnTo>
                    <a:pt x="210" y="142"/>
                  </a:lnTo>
                  <a:lnTo>
                    <a:pt x="207" y="148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196" y="158"/>
                  </a:lnTo>
                  <a:lnTo>
                    <a:pt x="196" y="158"/>
                  </a:lnTo>
                  <a:lnTo>
                    <a:pt x="196" y="161"/>
                  </a:lnTo>
                  <a:lnTo>
                    <a:pt x="196" y="164"/>
                  </a:lnTo>
                  <a:lnTo>
                    <a:pt x="193" y="168"/>
                  </a:lnTo>
                  <a:lnTo>
                    <a:pt x="189" y="168"/>
                  </a:lnTo>
                  <a:lnTo>
                    <a:pt x="193" y="171"/>
                  </a:lnTo>
                  <a:lnTo>
                    <a:pt x="196" y="174"/>
                  </a:lnTo>
                  <a:lnTo>
                    <a:pt x="193" y="177"/>
                  </a:lnTo>
                  <a:lnTo>
                    <a:pt x="186" y="181"/>
                  </a:lnTo>
                  <a:lnTo>
                    <a:pt x="186" y="187"/>
                  </a:lnTo>
                  <a:lnTo>
                    <a:pt x="189" y="187"/>
                  </a:lnTo>
                  <a:lnTo>
                    <a:pt x="193" y="184"/>
                  </a:lnTo>
                  <a:lnTo>
                    <a:pt x="196" y="187"/>
                  </a:lnTo>
                  <a:lnTo>
                    <a:pt x="196" y="187"/>
                  </a:lnTo>
                  <a:lnTo>
                    <a:pt x="193" y="190"/>
                  </a:lnTo>
                  <a:lnTo>
                    <a:pt x="196" y="190"/>
                  </a:lnTo>
                  <a:lnTo>
                    <a:pt x="196" y="194"/>
                  </a:lnTo>
                  <a:lnTo>
                    <a:pt x="196" y="197"/>
                  </a:lnTo>
                  <a:lnTo>
                    <a:pt x="196" y="200"/>
                  </a:lnTo>
                  <a:lnTo>
                    <a:pt x="196" y="203"/>
                  </a:lnTo>
                  <a:lnTo>
                    <a:pt x="207" y="203"/>
                  </a:lnTo>
                  <a:lnTo>
                    <a:pt x="207" y="206"/>
                  </a:lnTo>
                  <a:lnTo>
                    <a:pt x="207" y="210"/>
                  </a:lnTo>
                  <a:lnTo>
                    <a:pt x="207" y="213"/>
                  </a:lnTo>
                  <a:lnTo>
                    <a:pt x="203" y="213"/>
                  </a:lnTo>
                  <a:lnTo>
                    <a:pt x="200" y="216"/>
                  </a:lnTo>
                  <a:lnTo>
                    <a:pt x="196" y="216"/>
                  </a:lnTo>
                  <a:lnTo>
                    <a:pt x="193" y="216"/>
                  </a:lnTo>
                  <a:lnTo>
                    <a:pt x="189" y="216"/>
                  </a:lnTo>
                  <a:lnTo>
                    <a:pt x="183" y="219"/>
                  </a:lnTo>
                  <a:lnTo>
                    <a:pt x="183" y="223"/>
                  </a:lnTo>
                  <a:lnTo>
                    <a:pt x="183" y="223"/>
                  </a:lnTo>
                  <a:lnTo>
                    <a:pt x="179" y="226"/>
                  </a:lnTo>
                  <a:lnTo>
                    <a:pt x="176" y="229"/>
                  </a:lnTo>
                  <a:lnTo>
                    <a:pt x="176" y="229"/>
                  </a:lnTo>
                  <a:lnTo>
                    <a:pt x="172" y="229"/>
                  </a:lnTo>
                  <a:lnTo>
                    <a:pt x="172" y="232"/>
                  </a:lnTo>
                  <a:lnTo>
                    <a:pt x="172" y="232"/>
                  </a:lnTo>
                  <a:lnTo>
                    <a:pt x="169" y="236"/>
                  </a:lnTo>
                  <a:lnTo>
                    <a:pt x="169" y="239"/>
                  </a:lnTo>
                  <a:lnTo>
                    <a:pt x="169" y="242"/>
                  </a:lnTo>
                  <a:lnTo>
                    <a:pt x="169" y="242"/>
                  </a:lnTo>
                  <a:lnTo>
                    <a:pt x="165" y="245"/>
                  </a:lnTo>
                  <a:lnTo>
                    <a:pt x="162" y="245"/>
                  </a:lnTo>
                  <a:lnTo>
                    <a:pt x="152" y="248"/>
                  </a:lnTo>
                  <a:lnTo>
                    <a:pt x="148" y="248"/>
                  </a:lnTo>
                  <a:lnTo>
                    <a:pt x="141" y="248"/>
                  </a:lnTo>
                  <a:lnTo>
                    <a:pt x="138" y="245"/>
                  </a:lnTo>
                  <a:lnTo>
                    <a:pt x="134" y="245"/>
                  </a:lnTo>
                  <a:lnTo>
                    <a:pt x="131" y="245"/>
                  </a:lnTo>
                  <a:lnTo>
                    <a:pt x="131" y="248"/>
                  </a:lnTo>
                  <a:lnTo>
                    <a:pt x="128" y="252"/>
                  </a:lnTo>
                  <a:lnTo>
                    <a:pt x="131" y="255"/>
                  </a:lnTo>
                  <a:lnTo>
                    <a:pt x="134" y="255"/>
                  </a:lnTo>
                  <a:lnTo>
                    <a:pt x="134" y="255"/>
                  </a:lnTo>
                  <a:lnTo>
                    <a:pt x="131" y="258"/>
                  </a:lnTo>
                  <a:lnTo>
                    <a:pt x="128" y="261"/>
                  </a:lnTo>
                  <a:lnTo>
                    <a:pt x="121" y="261"/>
                  </a:lnTo>
                  <a:lnTo>
                    <a:pt x="110" y="265"/>
                  </a:lnTo>
                  <a:lnTo>
                    <a:pt x="107" y="268"/>
                  </a:lnTo>
                  <a:lnTo>
                    <a:pt x="100" y="268"/>
                  </a:lnTo>
                  <a:lnTo>
                    <a:pt x="97" y="271"/>
                  </a:lnTo>
                  <a:lnTo>
                    <a:pt x="93" y="271"/>
                  </a:lnTo>
                  <a:lnTo>
                    <a:pt x="90" y="271"/>
                  </a:lnTo>
                  <a:lnTo>
                    <a:pt x="90" y="268"/>
                  </a:lnTo>
                  <a:lnTo>
                    <a:pt x="86" y="265"/>
                  </a:lnTo>
                  <a:lnTo>
                    <a:pt x="83" y="268"/>
                  </a:lnTo>
                  <a:lnTo>
                    <a:pt x="83" y="271"/>
                  </a:lnTo>
                  <a:lnTo>
                    <a:pt x="83" y="274"/>
                  </a:lnTo>
                  <a:lnTo>
                    <a:pt x="76" y="274"/>
                  </a:lnTo>
                  <a:lnTo>
                    <a:pt x="73" y="274"/>
                  </a:lnTo>
                  <a:lnTo>
                    <a:pt x="69" y="274"/>
                  </a:lnTo>
                  <a:lnTo>
                    <a:pt x="69" y="271"/>
                  </a:lnTo>
                  <a:lnTo>
                    <a:pt x="66" y="271"/>
                  </a:lnTo>
                  <a:lnTo>
                    <a:pt x="66" y="268"/>
                  </a:lnTo>
                  <a:lnTo>
                    <a:pt x="62" y="261"/>
                  </a:lnTo>
                  <a:lnTo>
                    <a:pt x="62" y="258"/>
                  </a:lnTo>
                  <a:lnTo>
                    <a:pt x="59" y="255"/>
                  </a:lnTo>
                  <a:lnTo>
                    <a:pt x="52" y="248"/>
                  </a:lnTo>
                  <a:lnTo>
                    <a:pt x="45" y="245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38" y="242"/>
                  </a:lnTo>
                  <a:lnTo>
                    <a:pt x="38" y="239"/>
                  </a:lnTo>
                  <a:lnTo>
                    <a:pt x="38" y="236"/>
                  </a:lnTo>
                  <a:lnTo>
                    <a:pt x="38" y="236"/>
                  </a:lnTo>
                  <a:lnTo>
                    <a:pt x="38" y="232"/>
                  </a:lnTo>
                  <a:lnTo>
                    <a:pt x="42" y="232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8" y="232"/>
                  </a:lnTo>
                  <a:lnTo>
                    <a:pt x="52" y="232"/>
                  </a:lnTo>
                  <a:lnTo>
                    <a:pt x="55" y="232"/>
                  </a:lnTo>
                  <a:lnTo>
                    <a:pt x="59" y="232"/>
                  </a:lnTo>
                  <a:lnTo>
                    <a:pt x="62" y="232"/>
                  </a:lnTo>
                  <a:lnTo>
                    <a:pt x="66" y="232"/>
                  </a:lnTo>
                  <a:lnTo>
                    <a:pt x="66" y="232"/>
                  </a:lnTo>
                  <a:lnTo>
                    <a:pt x="66" y="232"/>
                  </a:lnTo>
                  <a:lnTo>
                    <a:pt x="59" y="229"/>
                  </a:lnTo>
                  <a:lnTo>
                    <a:pt x="59" y="223"/>
                  </a:lnTo>
                  <a:lnTo>
                    <a:pt x="55" y="223"/>
                  </a:lnTo>
                  <a:lnTo>
                    <a:pt x="52" y="219"/>
                  </a:lnTo>
                  <a:lnTo>
                    <a:pt x="52" y="216"/>
                  </a:lnTo>
                  <a:lnTo>
                    <a:pt x="55" y="213"/>
                  </a:lnTo>
                  <a:lnTo>
                    <a:pt x="55" y="210"/>
                  </a:lnTo>
                  <a:lnTo>
                    <a:pt x="55" y="206"/>
                  </a:lnTo>
                  <a:lnTo>
                    <a:pt x="55" y="206"/>
                  </a:lnTo>
                  <a:lnTo>
                    <a:pt x="55" y="203"/>
                  </a:lnTo>
                  <a:lnTo>
                    <a:pt x="55" y="203"/>
                  </a:lnTo>
                  <a:lnTo>
                    <a:pt x="52" y="197"/>
                  </a:lnTo>
                  <a:lnTo>
                    <a:pt x="52" y="194"/>
                  </a:lnTo>
                  <a:lnTo>
                    <a:pt x="52" y="194"/>
                  </a:lnTo>
                  <a:lnTo>
                    <a:pt x="48" y="187"/>
                  </a:lnTo>
                  <a:lnTo>
                    <a:pt x="45" y="184"/>
                  </a:lnTo>
                  <a:lnTo>
                    <a:pt x="35" y="181"/>
                  </a:lnTo>
                  <a:lnTo>
                    <a:pt x="35" y="181"/>
                  </a:lnTo>
                  <a:lnTo>
                    <a:pt x="31" y="177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48"/>
                  </a:lnTo>
                  <a:lnTo>
                    <a:pt x="24" y="148"/>
                  </a:lnTo>
                  <a:lnTo>
                    <a:pt x="24" y="148"/>
                  </a:lnTo>
                  <a:lnTo>
                    <a:pt x="28" y="145"/>
                  </a:lnTo>
                  <a:lnTo>
                    <a:pt x="28" y="145"/>
                  </a:lnTo>
                  <a:lnTo>
                    <a:pt x="62" y="116"/>
                  </a:lnTo>
                  <a:lnTo>
                    <a:pt x="59" y="93"/>
                  </a:lnTo>
                  <a:lnTo>
                    <a:pt x="66" y="61"/>
                  </a:lnTo>
                  <a:lnTo>
                    <a:pt x="69" y="58"/>
                  </a:lnTo>
                  <a:lnTo>
                    <a:pt x="69" y="55"/>
                  </a:lnTo>
                  <a:lnTo>
                    <a:pt x="55" y="38"/>
                  </a:lnTo>
                  <a:lnTo>
                    <a:pt x="59" y="38"/>
                  </a:lnTo>
                  <a:lnTo>
                    <a:pt x="59" y="35"/>
                  </a:lnTo>
                  <a:lnTo>
                    <a:pt x="48" y="9"/>
                  </a:lnTo>
                  <a:lnTo>
                    <a:pt x="45" y="9"/>
                  </a:lnTo>
                  <a:lnTo>
                    <a:pt x="45" y="9"/>
                  </a:lnTo>
                  <a:close/>
                  <a:moveTo>
                    <a:pt x="4" y="177"/>
                  </a:moveTo>
                  <a:lnTo>
                    <a:pt x="4" y="181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4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9" name="Freeform 130"/>
            <p:cNvSpPr>
              <a:spLocks/>
            </p:cNvSpPr>
            <p:nvPr/>
          </p:nvSpPr>
          <p:spPr bwMode="auto">
            <a:xfrm>
              <a:off x="6276976" y="4005917"/>
              <a:ext cx="469900" cy="307975"/>
            </a:xfrm>
            <a:custGeom>
              <a:avLst/>
              <a:gdLst>
                <a:gd name="T0" fmla="*/ 62 w 296"/>
                <a:gd name="T1" fmla="*/ 191 h 194"/>
                <a:gd name="T2" fmla="*/ 55 w 296"/>
                <a:gd name="T3" fmla="*/ 184 h 194"/>
                <a:gd name="T4" fmla="*/ 45 w 296"/>
                <a:gd name="T5" fmla="*/ 184 h 194"/>
                <a:gd name="T6" fmla="*/ 45 w 296"/>
                <a:gd name="T7" fmla="*/ 188 h 194"/>
                <a:gd name="T8" fmla="*/ 35 w 296"/>
                <a:gd name="T9" fmla="*/ 181 h 194"/>
                <a:gd name="T10" fmla="*/ 38 w 296"/>
                <a:gd name="T11" fmla="*/ 175 h 194"/>
                <a:gd name="T12" fmla="*/ 35 w 296"/>
                <a:gd name="T13" fmla="*/ 171 h 194"/>
                <a:gd name="T14" fmla="*/ 24 w 296"/>
                <a:gd name="T15" fmla="*/ 175 h 194"/>
                <a:gd name="T16" fmla="*/ 17 w 296"/>
                <a:gd name="T17" fmla="*/ 165 h 194"/>
                <a:gd name="T18" fmla="*/ 0 w 296"/>
                <a:gd name="T19" fmla="*/ 149 h 194"/>
                <a:gd name="T20" fmla="*/ 4 w 296"/>
                <a:gd name="T21" fmla="*/ 142 h 194"/>
                <a:gd name="T22" fmla="*/ 11 w 296"/>
                <a:gd name="T23" fmla="*/ 139 h 194"/>
                <a:gd name="T24" fmla="*/ 28 w 296"/>
                <a:gd name="T25" fmla="*/ 139 h 194"/>
                <a:gd name="T26" fmla="*/ 42 w 296"/>
                <a:gd name="T27" fmla="*/ 136 h 194"/>
                <a:gd name="T28" fmla="*/ 48 w 296"/>
                <a:gd name="T29" fmla="*/ 133 h 194"/>
                <a:gd name="T30" fmla="*/ 62 w 296"/>
                <a:gd name="T31" fmla="*/ 133 h 194"/>
                <a:gd name="T32" fmla="*/ 72 w 296"/>
                <a:gd name="T33" fmla="*/ 123 h 194"/>
                <a:gd name="T34" fmla="*/ 76 w 296"/>
                <a:gd name="T35" fmla="*/ 116 h 194"/>
                <a:gd name="T36" fmla="*/ 79 w 296"/>
                <a:gd name="T37" fmla="*/ 68 h 194"/>
                <a:gd name="T38" fmla="*/ 131 w 296"/>
                <a:gd name="T39" fmla="*/ 45 h 194"/>
                <a:gd name="T40" fmla="*/ 251 w 296"/>
                <a:gd name="T41" fmla="*/ 7 h 194"/>
                <a:gd name="T42" fmla="*/ 272 w 296"/>
                <a:gd name="T43" fmla="*/ 3 h 194"/>
                <a:gd name="T44" fmla="*/ 286 w 296"/>
                <a:gd name="T45" fmla="*/ 29 h 194"/>
                <a:gd name="T46" fmla="*/ 282 w 296"/>
                <a:gd name="T47" fmla="*/ 32 h 194"/>
                <a:gd name="T48" fmla="*/ 296 w 296"/>
                <a:gd name="T49" fmla="*/ 52 h 194"/>
                <a:gd name="T50" fmla="*/ 286 w 296"/>
                <a:gd name="T51" fmla="*/ 87 h 194"/>
                <a:gd name="T52" fmla="*/ 255 w 296"/>
                <a:gd name="T53" fmla="*/ 139 h 194"/>
                <a:gd name="T54" fmla="*/ 251 w 296"/>
                <a:gd name="T55" fmla="*/ 142 h 194"/>
                <a:gd name="T56" fmla="*/ 251 w 296"/>
                <a:gd name="T57" fmla="*/ 142 h 194"/>
                <a:gd name="T58" fmla="*/ 248 w 296"/>
                <a:gd name="T59" fmla="*/ 162 h 194"/>
                <a:gd name="T60" fmla="*/ 244 w 296"/>
                <a:gd name="T61" fmla="*/ 168 h 194"/>
                <a:gd name="T62" fmla="*/ 241 w 296"/>
                <a:gd name="T63" fmla="*/ 168 h 194"/>
                <a:gd name="T64" fmla="*/ 238 w 296"/>
                <a:gd name="T65" fmla="*/ 171 h 194"/>
                <a:gd name="T66" fmla="*/ 231 w 296"/>
                <a:gd name="T67" fmla="*/ 171 h 194"/>
                <a:gd name="T68" fmla="*/ 224 w 296"/>
                <a:gd name="T69" fmla="*/ 171 h 194"/>
                <a:gd name="T70" fmla="*/ 214 w 296"/>
                <a:gd name="T71" fmla="*/ 171 h 194"/>
                <a:gd name="T72" fmla="*/ 200 w 296"/>
                <a:gd name="T73" fmla="*/ 171 h 194"/>
                <a:gd name="T74" fmla="*/ 186 w 296"/>
                <a:gd name="T75" fmla="*/ 171 h 194"/>
                <a:gd name="T76" fmla="*/ 176 w 296"/>
                <a:gd name="T77" fmla="*/ 181 h 194"/>
                <a:gd name="T78" fmla="*/ 165 w 296"/>
                <a:gd name="T79" fmla="*/ 178 h 194"/>
                <a:gd name="T80" fmla="*/ 155 w 296"/>
                <a:gd name="T81" fmla="*/ 175 h 194"/>
                <a:gd name="T82" fmla="*/ 152 w 296"/>
                <a:gd name="T83" fmla="*/ 171 h 194"/>
                <a:gd name="T84" fmla="*/ 145 w 296"/>
                <a:gd name="T85" fmla="*/ 168 h 194"/>
                <a:gd name="T86" fmla="*/ 138 w 296"/>
                <a:gd name="T87" fmla="*/ 171 h 194"/>
                <a:gd name="T88" fmla="*/ 131 w 296"/>
                <a:gd name="T89" fmla="*/ 171 h 194"/>
                <a:gd name="T90" fmla="*/ 128 w 296"/>
                <a:gd name="T91" fmla="*/ 175 h 194"/>
                <a:gd name="T92" fmla="*/ 121 w 296"/>
                <a:gd name="T93" fmla="*/ 168 h 194"/>
                <a:gd name="T94" fmla="*/ 110 w 296"/>
                <a:gd name="T95" fmla="*/ 162 h 194"/>
                <a:gd name="T96" fmla="*/ 107 w 296"/>
                <a:gd name="T97" fmla="*/ 162 h 194"/>
                <a:gd name="T98" fmla="*/ 100 w 296"/>
                <a:gd name="T99" fmla="*/ 162 h 194"/>
                <a:gd name="T100" fmla="*/ 93 w 296"/>
                <a:gd name="T101" fmla="*/ 162 h 194"/>
                <a:gd name="T102" fmla="*/ 86 w 296"/>
                <a:gd name="T103" fmla="*/ 162 h 194"/>
                <a:gd name="T104" fmla="*/ 79 w 296"/>
                <a:gd name="T105" fmla="*/ 162 h 194"/>
                <a:gd name="T106" fmla="*/ 76 w 296"/>
                <a:gd name="T107" fmla="*/ 165 h 194"/>
                <a:gd name="T108" fmla="*/ 72 w 296"/>
                <a:gd name="T109" fmla="*/ 168 h 194"/>
                <a:gd name="T110" fmla="*/ 72 w 296"/>
                <a:gd name="T111" fmla="*/ 171 h 194"/>
                <a:gd name="T112" fmla="*/ 72 w 296"/>
                <a:gd name="T113" fmla="*/ 175 h 194"/>
                <a:gd name="T114" fmla="*/ 72 w 296"/>
                <a:gd name="T115" fmla="*/ 178 h 194"/>
                <a:gd name="T116" fmla="*/ 66 w 296"/>
                <a:gd name="T117" fmla="*/ 181 h 194"/>
                <a:gd name="T118" fmla="*/ 66 w 296"/>
                <a:gd name="T119" fmla="*/ 184 h 194"/>
                <a:gd name="T120" fmla="*/ 69 w 296"/>
                <a:gd name="T121" fmla="*/ 191 h 194"/>
                <a:gd name="T122" fmla="*/ 66 w 296"/>
                <a:gd name="T123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6" h="194">
                  <a:moveTo>
                    <a:pt x="66" y="194"/>
                  </a:moveTo>
                  <a:lnTo>
                    <a:pt x="62" y="191"/>
                  </a:lnTo>
                  <a:lnTo>
                    <a:pt x="59" y="188"/>
                  </a:lnTo>
                  <a:lnTo>
                    <a:pt x="55" y="184"/>
                  </a:lnTo>
                  <a:lnTo>
                    <a:pt x="48" y="181"/>
                  </a:lnTo>
                  <a:lnTo>
                    <a:pt x="45" y="184"/>
                  </a:lnTo>
                  <a:lnTo>
                    <a:pt x="48" y="184"/>
                  </a:lnTo>
                  <a:lnTo>
                    <a:pt x="45" y="188"/>
                  </a:lnTo>
                  <a:lnTo>
                    <a:pt x="42" y="188"/>
                  </a:lnTo>
                  <a:lnTo>
                    <a:pt x="35" y="181"/>
                  </a:lnTo>
                  <a:lnTo>
                    <a:pt x="38" y="178"/>
                  </a:lnTo>
                  <a:lnTo>
                    <a:pt x="38" y="175"/>
                  </a:lnTo>
                  <a:lnTo>
                    <a:pt x="38" y="175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24" y="175"/>
                  </a:lnTo>
                  <a:lnTo>
                    <a:pt x="17" y="171"/>
                  </a:lnTo>
                  <a:lnTo>
                    <a:pt x="17" y="165"/>
                  </a:lnTo>
                  <a:lnTo>
                    <a:pt x="0" y="155"/>
                  </a:lnTo>
                  <a:lnTo>
                    <a:pt x="0" y="149"/>
                  </a:lnTo>
                  <a:lnTo>
                    <a:pt x="4" y="146"/>
                  </a:lnTo>
                  <a:lnTo>
                    <a:pt x="4" y="142"/>
                  </a:lnTo>
                  <a:lnTo>
                    <a:pt x="4" y="139"/>
                  </a:lnTo>
                  <a:lnTo>
                    <a:pt x="11" y="139"/>
                  </a:lnTo>
                  <a:lnTo>
                    <a:pt x="21" y="139"/>
                  </a:lnTo>
                  <a:lnTo>
                    <a:pt x="28" y="139"/>
                  </a:lnTo>
                  <a:lnTo>
                    <a:pt x="31" y="136"/>
                  </a:lnTo>
                  <a:lnTo>
                    <a:pt x="42" y="136"/>
                  </a:lnTo>
                  <a:lnTo>
                    <a:pt x="45" y="136"/>
                  </a:lnTo>
                  <a:lnTo>
                    <a:pt x="48" y="133"/>
                  </a:lnTo>
                  <a:lnTo>
                    <a:pt x="55" y="133"/>
                  </a:lnTo>
                  <a:lnTo>
                    <a:pt x="62" y="133"/>
                  </a:lnTo>
                  <a:lnTo>
                    <a:pt x="72" y="126"/>
                  </a:lnTo>
                  <a:lnTo>
                    <a:pt x="72" y="123"/>
                  </a:lnTo>
                  <a:lnTo>
                    <a:pt x="72" y="116"/>
                  </a:lnTo>
                  <a:lnTo>
                    <a:pt x="76" y="116"/>
                  </a:lnTo>
                  <a:lnTo>
                    <a:pt x="76" y="100"/>
                  </a:lnTo>
                  <a:lnTo>
                    <a:pt x="79" y="68"/>
                  </a:lnTo>
                  <a:lnTo>
                    <a:pt x="107" y="65"/>
                  </a:lnTo>
                  <a:lnTo>
                    <a:pt x="131" y="45"/>
                  </a:lnTo>
                  <a:lnTo>
                    <a:pt x="217" y="0"/>
                  </a:lnTo>
                  <a:lnTo>
                    <a:pt x="251" y="7"/>
                  </a:lnTo>
                  <a:lnTo>
                    <a:pt x="255" y="10"/>
                  </a:lnTo>
                  <a:lnTo>
                    <a:pt x="272" y="3"/>
                  </a:lnTo>
                  <a:lnTo>
                    <a:pt x="275" y="3"/>
                  </a:lnTo>
                  <a:lnTo>
                    <a:pt x="286" y="29"/>
                  </a:lnTo>
                  <a:lnTo>
                    <a:pt x="286" y="32"/>
                  </a:lnTo>
                  <a:lnTo>
                    <a:pt x="282" y="32"/>
                  </a:lnTo>
                  <a:lnTo>
                    <a:pt x="296" y="49"/>
                  </a:lnTo>
                  <a:lnTo>
                    <a:pt x="296" y="52"/>
                  </a:lnTo>
                  <a:lnTo>
                    <a:pt x="293" y="55"/>
                  </a:lnTo>
                  <a:lnTo>
                    <a:pt x="286" y="87"/>
                  </a:lnTo>
                  <a:lnTo>
                    <a:pt x="289" y="110"/>
                  </a:lnTo>
                  <a:lnTo>
                    <a:pt x="255" y="139"/>
                  </a:lnTo>
                  <a:lnTo>
                    <a:pt x="255" y="139"/>
                  </a:lnTo>
                  <a:lnTo>
                    <a:pt x="251" y="142"/>
                  </a:lnTo>
                  <a:lnTo>
                    <a:pt x="251" y="142"/>
                  </a:lnTo>
                  <a:lnTo>
                    <a:pt x="251" y="142"/>
                  </a:lnTo>
                  <a:lnTo>
                    <a:pt x="251" y="165"/>
                  </a:lnTo>
                  <a:lnTo>
                    <a:pt x="248" y="162"/>
                  </a:lnTo>
                  <a:lnTo>
                    <a:pt x="244" y="165"/>
                  </a:lnTo>
                  <a:lnTo>
                    <a:pt x="244" y="168"/>
                  </a:lnTo>
                  <a:lnTo>
                    <a:pt x="244" y="168"/>
                  </a:lnTo>
                  <a:lnTo>
                    <a:pt x="241" y="168"/>
                  </a:lnTo>
                  <a:lnTo>
                    <a:pt x="238" y="168"/>
                  </a:lnTo>
                  <a:lnTo>
                    <a:pt x="238" y="171"/>
                  </a:lnTo>
                  <a:lnTo>
                    <a:pt x="234" y="171"/>
                  </a:lnTo>
                  <a:lnTo>
                    <a:pt x="231" y="171"/>
                  </a:lnTo>
                  <a:lnTo>
                    <a:pt x="227" y="175"/>
                  </a:lnTo>
                  <a:lnTo>
                    <a:pt x="224" y="171"/>
                  </a:lnTo>
                  <a:lnTo>
                    <a:pt x="217" y="171"/>
                  </a:lnTo>
                  <a:lnTo>
                    <a:pt x="214" y="171"/>
                  </a:lnTo>
                  <a:lnTo>
                    <a:pt x="203" y="168"/>
                  </a:lnTo>
                  <a:lnTo>
                    <a:pt x="200" y="171"/>
                  </a:lnTo>
                  <a:lnTo>
                    <a:pt x="189" y="171"/>
                  </a:lnTo>
                  <a:lnTo>
                    <a:pt x="186" y="171"/>
                  </a:lnTo>
                  <a:lnTo>
                    <a:pt x="179" y="178"/>
                  </a:lnTo>
                  <a:lnTo>
                    <a:pt x="176" y="181"/>
                  </a:lnTo>
                  <a:lnTo>
                    <a:pt x="172" y="178"/>
                  </a:lnTo>
                  <a:lnTo>
                    <a:pt x="165" y="178"/>
                  </a:lnTo>
                  <a:lnTo>
                    <a:pt x="162" y="175"/>
                  </a:lnTo>
                  <a:lnTo>
                    <a:pt x="155" y="175"/>
                  </a:lnTo>
                  <a:lnTo>
                    <a:pt x="152" y="171"/>
                  </a:lnTo>
                  <a:lnTo>
                    <a:pt x="152" y="171"/>
                  </a:lnTo>
                  <a:lnTo>
                    <a:pt x="148" y="168"/>
                  </a:lnTo>
                  <a:lnTo>
                    <a:pt x="145" y="168"/>
                  </a:lnTo>
                  <a:lnTo>
                    <a:pt x="141" y="168"/>
                  </a:lnTo>
                  <a:lnTo>
                    <a:pt x="138" y="171"/>
                  </a:lnTo>
                  <a:lnTo>
                    <a:pt x="134" y="171"/>
                  </a:lnTo>
                  <a:lnTo>
                    <a:pt x="131" y="171"/>
                  </a:lnTo>
                  <a:lnTo>
                    <a:pt x="131" y="175"/>
                  </a:lnTo>
                  <a:lnTo>
                    <a:pt x="128" y="175"/>
                  </a:lnTo>
                  <a:lnTo>
                    <a:pt x="124" y="171"/>
                  </a:lnTo>
                  <a:lnTo>
                    <a:pt x="121" y="168"/>
                  </a:lnTo>
                  <a:lnTo>
                    <a:pt x="117" y="165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07" y="162"/>
                  </a:lnTo>
                  <a:lnTo>
                    <a:pt x="100" y="162"/>
                  </a:lnTo>
                  <a:lnTo>
                    <a:pt x="100" y="162"/>
                  </a:lnTo>
                  <a:lnTo>
                    <a:pt x="97" y="162"/>
                  </a:lnTo>
                  <a:lnTo>
                    <a:pt x="93" y="162"/>
                  </a:lnTo>
                  <a:lnTo>
                    <a:pt x="90" y="162"/>
                  </a:lnTo>
                  <a:lnTo>
                    <a:pt x="86" y="162"/>
                  </a:lnTo>
                  <a:lnTo>
                    <a:pt x="83" y="162"/>
                  </a:lnTo>
                  <a:lnTo>
                    <a:pt x="79" y="162"/>
                  </a:lnTo>
                  <a:lnTo>
                    <a:pt x="79" y="162"/>
                  </a:lnTo>
                  <a:lnTo>
                    <a:pt x="76" y="165"/>
                  </a:lnTo>
                  <a:lnTo>
                    <a:pt x="72" y="168"/>
                  </a:lnTo>
                  <a:lnTo>
                    <a:pt x="72" y="168"/>
                  </a:lnTo>
                  <a:lnTo>
                    <a:pt x="72" y="171"/>
                  </a:lnTo>
                  <a:lnTo>
                    <a:pt x="72" y="171"/>
                  </a:lnTo>
                  <a:lnTo>
                    <a:pt x="72" y="171"/>
                  </a:lnTo>
                  <a:lnTo>
                    <a:pt x="72" y="175"/>
                  </a:lnTo>
                  <a:lnTo>
                    <a:pt x="72" y="178"/>
                  </a:lnTo>
                  <a:lnTo>
                    <a:pt x="72" y="178"/>
                  </a:lnTo>
                  <a:lnTo>
                    <a:pt x="69" y="178"/>
                  </a:lnTo>
                  <a:lnTo>
                    <a:pt x="66" y="181"/>
                  </a:lnTo>
                  <a:lnTo>
                    <a:pt x="66" y="184"/>
                  </a:lnTo>
                  <a:lnTo>
                    <a:pt x="66" y="184"/>
                  </a:lnTo>
                  <a:lnTo>
                    <a:pt x="69" y="191"/>
                  </a:lnTo>
                  <a:lnTo>
                    <a:pt x="69" y="191"/>
                  </a:lnTo>
                  <a:lnTo>
                    <a:pt x="69" y="191"/>
                  </a:lnTo>
                  <a:lnTo>
                    <a:pt x="66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30" name="Freeform 131"/>
            <p:cNvSpPr>
              <a:spLocks/>
            </p:cNvSpPr>
            <p:nvPr/>
          </p:nvSpPr>
          <p:spPr bwMode="auto">
            <a:xfrm>
              <a:off x="6359526" y="4263092"/>
              <a:ext cx="349250" cy="255587"/>
            </a:xfrm>
            <a:custGeom>
              <a:avLst/>
              <a:gdLst>
                <a:gd name="T0" fmla="*/ 206 w 220"/>
                <a:gd name="T1" fmla="*/ 9 h 161"/>
                <a:gd name="T2" fmla="*/ 192 w 220"/>
                <a:gd name="T3" fmla="*/ 3 h 161"/>
                <a:gd name="T4" fmla="*/ 189 w 220"/>
                <a:gd name="T5" fmla="*/ 6 h 161"/>
                <a:gd name="T6" fmla="*/ 182 w 220"/>
                <a:gd name="T7" fmla="*/ 9 h 161"/>
                <a:gd name="T8" fmla="*/ 172 w 220"/>
                <a:gd name="T9" fmla="*/ 9 h 161"/>
                <a:gd name="T10" fmla="*/ 151 w 220"/>
                <a:gd name="T11" fmla="*/ 6 h 161"/>
                <a:gd name="T12" fmla="*/ 134 w 220"/>
                <a:gd name="T13" fmla="*/ 9 h 161"/>
                <a:gd name="T14" fmla="*/ 120 w 220"/>
                <a:gd name="T15" fmla="*/ 16 h 161"/>
                <a:gd name="T16" fmla="*/ 103 w 220"/>
                <a:gd name="T17" fmla="*/ 13 h 161"/>
                <a:gd name="T18" fmla="*/ 96 w 220"/>
                <a:gd name="T19" fmla="*/ 6 h 161"/>
                <a:gd name="T20" fmla="*/ 86 w 220"/>
                <a:gd name="T21" fmla="*/ 9 h 161"/>
                <a:gd name="T22" fmla="*/ 79 w 220"/>
                <a:gd name="T23" fmla="*/ 13 h 161"/>
                <a:gd name="T24" fmla="*/ 69 w 220"/>
                <a:gd name="T25" fmla="*/ 6 h 161"/>
                <a:gd name="T26" fmla="*/ 58 w 220"/>
                <a:gd name="T27" fmla="*/ 0 h 161"/>
                <a:gd name="T28" fmla="*/ 48 w 220"/>
                <a:gd name="T29" fmla="*/ 0 h 161"/>
                <a:gd name="T30" fmla="*/ 38 w 220"/>
                <a:gd name="T31" fmla="*/ 0 h 161"/>
                <a:gd name="T32" fmla="*/ 27 w 220"/>
                <a:gd name="T33" fmla="*/ 0 h 161"/>
                <a:gd name="T34" fmla="*/ 20 w 220"/>
                <a:gd name="T35" fmla="*/ 6 h 161"/>
                <a:gd name="T36" fmla="*/ 20 w 220"/>
                <a:gd name="T37" fmla="*/ 9 h 161"/>
                <a:gd name="T38" fmla="*/ 20 w 220"/>
                <a:gd name="T39" fmla="*/ 16 h 161"/>
                <a:gd name="T40" fmla="*/ 14 w 220"/>
                <a:gd name="T41" fmla="*/ 19 h 161"/>
                <a:gd name="T42" fmla="*/ 17 w 220"/>
                <a:gd name="T43" fmla="*/ 29 h 161"/>
                <a:gd name="T44" fmla="*/ 14 w 220"/>
                <a:gd name="T45" fmla="*/ 32 h 161"/>
                <a:gd name="T46" fmla="*/ 20 w 220"/>
                <a:gd name="T47" fmla="*/ 42 h 161"/>
                <a:gd name="T48" fmla="*/ 20 w 220"/>
                <a:gd name="T49" fmla="*/ 55 h 161"/>
                <a:gd name="T50" fmla="*/ 14 w 220"/>
                <a:gd name="T51" fmla="*/ 58 h 161"/>
                <a:gd name="T52" fmla="*/ 17 w 220"/>
                <a:gd name="T53" fmla="*/ 64 h 161"/>
                <a:gd name="T54" fmla="*/ 10 w 220"/>
                <a:gd name="T55" fmla="*/ 71 h 161"/>
                <a:gd name="T56" fmla="*/ 3 w 220"/>
                <a:gd name="T57" fmla="*/ 77 h 161"/>
                <a:gd name="T58" fmla="*/ 0 w 220"/>
                <a:gd name="T59" fmla="*/ 80 h 161"/>
                <a:gd name="T60" fmla="*/ 0 w 220"/>
                <a:gd name="T61" fmla="*/ 90 h 161"/>
                <a:gd name="T62" fmla="*/ 0 w 220"/>
                <a:gd name="T63" fmla="*/ 93 h 161"/>
                <a:gd name="T64" fmla="*/ 0 w 220"/>
                <a:gd name="T65" fmla="*/ 106 h 161"/>
                <a:gd name="T66" fmla="*/ 0 w 220"/>
                <a:gd name="T67" fmla="*/ 119 h 161"/>
                <a:gd name="T68" fmla="*/ 14 w 220"/>
                <a:gd name="T69" fmla="*/ 122 h 161"/>
                <a:gd name="T70" fmla="*/ 41 w 220"/>
                <a:gd name="T71" fmla="*/ 142 h 161"/>
                <a:gd name="T72" fmla="*/ 45 w 220"/>
                <a:gd name="T73" fmla="*/ 155 h 161"/>
                <a:gd name="T74" fmla="*/ 76 w 220"/>
                <a:gd name="T75" fmla="*/ 158 h 161"/>
                <a:gd name="T76" fmla="*/ 93 w 220"/>
                <a:gd name="T77" fmla="*/ 155 h 161"/>
                <a:gd name="T78" fmla="*/ 103 w 220"/>
                <a:gd name="T79" fmla="*/ 152 h 161"/>
                <a:gd name="T80" fmla="*/ 106 w 220"/>
                <a:gd name="T81" fmla="*/ 155 h 161"/>
                <a:gd name="T82" fmla="*/ 113 w 220"/>
                <a:gd name="T83" fmla="*/ 142 h 161"/>
                <a:gd name="T84" fmla="*/ 113 w 220"/>
                <a:gd name="T85" fmla="*/ 132 h 161"/>
                <a:gd name="T86" fmla="*/ 120 w 220"/>
                <a:gd name="T87" fmla="*/ 126 h 161"/>
                <a:gd name="T88" fmla="*/ 127 w 220"/>
                <a:gd name="T89" fmla="*/ 119 h 161"/>
                <a:gd name="T90" fmla="*/ 134 w 220"/>
                <a:gd name="T91" fmla="*/ 113 h 161"/>
                <a:gd name="T92" fmla="*/ 144 w 220"/>
                <a:gd name="T93" fmla="*/ 116 h 161"/>
                <a:gd name="T94" fmla="*/ 155 w 220"/>
                <a:gd name="T95" fmla="*/ 122 h 161"/>
                <a:gd name="T96" fmla="*/ 162 w 220"/>
                <a:gd name="T97" fmla="*/ 119 h 161"/>
                <a:gd name="T98" fmla="*/ 165 w 220"/>
                <a:gd name="T99" fmla="*/ 113 h 161"/>
                <a:gd name="T100" fmla="*/ 168 w 220"/>
                <a:gd name="T101" fmla="*/ 106 h 161"/>
                <a:gd name="T102" fmla="*/ 175 w 220"/>
                <a:gd name="T103" fmla="*/ 93 h 161"/>
                <a:gd name="T104" fmla="*/ 186 w 220"/>
                <a:gd name="T105" fmla="*/ 87 h 161"/>
                <a:gd name="T106" fmla="*/ 189 w 220"/>
                <a:gd name="T107" fmla="*/ 74 h 161"/>
                <a:gd name="T108" fmla="*/ 199 w 220"/>
                <a:gd name="T109" fmla="*/ 68 h 161"/>
                <a:gd name="T110" fmla="*/ 199 w 220"/>
                <a:gd name="T111" fmla="*/ 58 h 161"/>
                <a:gd name="T112" fmla="*/ 206 w 220"/>
                <a:gd name="T113" fmla="*/ 48 h 161"/>
                <a:gd name="T114" fmla="*/ 213 w 220"/>
                <a:gd name="T115" fmla="*/ 42 h 161"/>
                <a:gd name="T116" fmla="*/ 220 w 220"/>
                <a:gd name="T117" fmla="*/ 35 h 161"/>
                <a:gd name="T118" fmla="*/ 217 w 220"/>
                <a:gd name="T119" fmla="*/ 29 h 161"/>
                <a:gd name="T120" fmla="*/ 213 w 220"/>
                <a:gd name="T121" fmla="*/ 19 h 161"/>
                <a:gd name="T122" fmla="*/ 210 w 220"/>
                <a:gd name="T123" fmla="*/ 1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0" h="161">
                  <a:moveTo>
                    <a:pt x="210" y="13"/>
                  </a:moveTo>
                  <a:lnTo>
                    <a:pt x="210" y="13"/>
                  </a:lnTo>
                  <a:lnTo>
                    <a:pt x="206" y="9"/>
                  </a:lnTo>
                  <a:lnTo>
                    <a:pt x="203" y="3"/>
                  </a:lnTo>
                  <a:lnTo>
                    <a:pt x="196" y="0"/>
                  </a:lnTo>
                  <a:lnTo>
                    <a:pt x="192" y="3"/>
                  </a:lnTo>
                  <a:lnTo>
                    <a:pt x="192" y="6"/>
                  </a:lnTo>
                  <a:lnTo>
                    <a:pt x="192" y="6"/>
                  </a:lnTo>
                  <a:lnTo>
                    <a:pt x="189" y="6"/>
                  </a:lnTo>
                  <a:lnTo>
                    <a:pt x="186" y="6"/>
                  </a:lnTo>
                  <a:lnTo>
                    <a:pt x="186" y="9"/>
                  </a:lnTo>
                  <a:lnTo>
                    <a:pt x="182" y="9"/>
                  </a:lnTo>
                  <a:lnTo>
                    <a:pt x="179" y="13"/>
                  </a:lnTo>
                  <a:lnTo>
                    <a:pt x="175" y="13"/>
                  </a:lnTo>
                  <a:lnTo>
                    <a:pt x="172" y="9"/>
                  </a:lnTo>
                  <a:lnTo>
                    <a:pt x="165" y="9"/>
                  </a:lnTo>
                  <a:lnTo>
                    <a:pt x="162" y="9"/>
                  </a:lnTo>
                  <a:lnTo>
                    <a:pt x="151" y="6"/>
                  </a:lnTo>
                  <a:lnTo>
                    <a:pt x="148" y="9"/>
                  </a:lnTo>
                  <a:lnTo>
                    <a:pt x="137" y="9"/>
                  </a:lnTo>
                  <a:lnTo>
                    <a:pt x="134" y="9"/>
                  </a:lnTo>
                  <a:lnTo>
                    <a:pt x="127" y="16"/>
                  </a:lnTo>
                  <a:lnTo>
                    <a:pt x="124" y="19"/>
                  </a:lnTo>
                  <a:lnTo>
                    <a:pt x="120" y="16"/>
                  </a:lnTo>
                  <a:lnTo>
                    <a:pt x="113" y="16"/>
                  </a:lnTo>
                  <a:lnTo>
                    <a:pt x="110" y="13"/>
                  </a:lnTo>
                  <a:lnTo>
                    <a:pt x="103" y="13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96" y="6"/>
                  </a:lnTo>
                  <a:lnTo>
                    <a:pt x="93" y="6"/>
                  </a:lnTo>
                  <a:lnTo>
                    <a:pt x="89" y="6"/>
                  </a:lnTo>
                  <a:lnTo>
                    <a:pt x="86" y="9"/>
                  </a:lnTo>
                  <a:lnTo>
                    <a:pt x="82" y="9"/>
                  </a:lnTo>
                  <a:lnTo>
                    <a:pt x="79" y="9"/>
                  </a:lnTo>
                  <a:lnTo>
                    <a:pt x="79" y="13"/>
                  </a:lnTo>
                  <a:lnTo>
                    <a:pt x="76" y="13"/>
                  </a:lnTo>
                  <a:lnTo>
                    <a:pt x="72" y="9"/>
                  </a:lnTo>
                  <a:lnTo>
                    <a:pt x="69" y="6"/>
                  </a:lnTo>
                  <a:lnTo>
                    <a:pt x="65" y="3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4" y="3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13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7" y="16"/>
                  </a:lnTo>
                  <a:lnTo>
                    <a:pt x="14" y="19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4" y="32"/>
                  </a:lnTo>
                  <a:lnTo>
                    <a:pt x="14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0" y="45"/>
                  </a:lnTo>
                  <a:lnTo>
                    <a:pt x="20" y="51"/>
                  </a:lnTo>
                  <a:lnTo>
                    <a:pt x="20" y="55"/>
                  </a:lnTo>
                  <a:lnTo>
                    <a:pt x="17" y="55"/>
                  </a:lnTo>
                  <a:lnTo>
                    <a:pt x="17" y="58"/>
                  </a:lnTo>
                  <a:lnTo>
                    <a:pt x="14" y="58"/>
                  </a:lnTo>
                  <a:lnTo>
                    <a:pt x="20" y="61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4" y="64"/>
                  </a:lnTo>
                  <a:lnTo>
                    <a:pt x="10" y="68"/>
                  </a:lnTo>
                  <a:lnTo>
                    <a:pt x="10" y="71"/>
                  </a:lnTo>
                  <a:lnTo>
                    <a:pt x="7" y="74"/>
                  </a:lnTo>
                  <a:lnTo>
                    <a:pt x="7" y="77"/>
                  </a:lnTo>
                  <a:lnTo>
                    <a:pt x="3" y="77"/>
                  </a:lnTo>
                  <a:lnTo>
                    <a:pt x="0" y="77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4"/>
                  </a:lnTo>
                  <a:lnTo>
                    <a:pt x="0" y="87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7"/>
                  </a:lnTo>
                  <a:lnTo>
                    <a:pt x="0" y="10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0" y="119"/>
                  </a:lnTo>
                  <a:lnTo>
                    <a:pt x="0" y="122"/>
                  </a:lnTo>
                  <a:lnTo>
                    <a:pt x="7" y="122"/>
                  </a:lnTo>
                  <a:lnTo>
                    <a:pt x="14" y="122"/>
                  </a:lnTo>
                  <a:lnTo>
                    <a:pt x="27" y="129"/>
                  </a:lnTo>
                  <a:lnTo>
                    <a:pt x="34" y="135"/>
                  </a:lnTo>
                  <a:lnTo>
                    <a:pt x="41" y="142"/>
                  </a:lnTo>
                  <a:lnTo>
                    <a:pt x="41" y="148"/>
                  </a:lnTo>
                  <a:lnTo>
                    <a:pt x="45" y="148"/>
                  </a:lnTo>
                  <a:lnTo>
                    <a:pt x="45" y="155"/>
                  </a:lnTo>
                  <a:lnTo>
                    <a:pt x="51" y="158"/>
                  </a:lnTo>
                  <a:lnTo>
                    <a:pt x="58" y="161"/>
                  </a:lnTo>
                  <a:lnTo>
                    <a:pt x="76" y="158"/>
                  </a:lnTo>
                  <a:lnTo>
                    <a:pt x="79" y="158"/>
                  </a:lnTo>
                  <a:lnTo>
                    <a:pt x="82" y="158"/>
                  </a:lnTo>
                  <a:lnTo>
                    <a:pt x="93" y="155"/>
                  </a:lnTo>
                  <a:lnTo>
                    <a:pt x="96" y="155"/>
                  </a:lnTo>
                  <a:lnTo>
                    <a:pt x="100" y="155"/>
                  </a:lnTo>
                  <a:lnTo>
                    <a:pt x="103" y="152"/>
                  </a:lnTo>
                  <a:lnTo>
                    <a:pt x="106" y="155"/>
                  </a:lnTo>
                  <a:lnTo>
                    <a:pt x="106" y="155"/>
                  </a:lnTo>
                  <a:lnTo>
                    <a:pt x="106" y="155"/>
                  </a:lnTo>
                  <a:lnTo>
                    <a:pt x="106" y="152"/>
                  </a:lnTo>
                  <a:lnTo>
                    <a:pt x="110" y="145"/>
                  </a:lnTo>
                  <a:lnTo>
                    <a:pt x="113" y="142"/>
                  </a:lnTo>
                  <a:lnTo>
                    <a:pt x="113" y="139"/>
                  </a:lnTo>
                  <a:lnTo>
                    <a:pt x="113" y="135"/>
                  </a:lnTo>
                  <a:lnTo>
                    <a:pt x="113" y="132"/>
                  </a:lnTo>
                  <a:lnTo>
                    <a:pt x="113" y="132"/>
                  </a:lnTo>
                  <a:lnTo>
                    <a:pt x="117" y="129"/>
                  </a:lnTo>
                  <a:lnTo>
                    <a:pt x="120" y="126"/>
                  </a:lnTo>
                  <a:lnTo>
                    <a:pt x="124" y="126"/>
                  </a:lnTo>
                  <a:lnTo>
                    <a:pt x="131" y="122"/>
                  </a:lnTo>
                  <a:lnTo>
                    <a:pt x="127" y="119"/>
                  </a:lnTo>
                  <a:lnTo>
                    <a:pt x="131" y="116"/>
                  </a:lnTo>
                  <a:lnTo>
                    <a:pt x="134" y="116"/>
                  </a:lnTo>
                  <a:lnTo>
                    <a:pt x="134" y="113"/>
                  </a:lnTo>
                  <a:lnTo>
                    <a:pt x="137" y="116"/>
                  </a:lnTo>
                  <a:lnTo>
                    <a:pt x="141" y="116"/>
                  </a:lnTo>
                  <a:lnTo>
                    <a:pt x="144" y="116"/>
                  </a:lnTo>
                  <a:lnTo>
                    <a:pt x="148" y="119"/>
                  </a:lnTo>
                  <a:lnTo>
                    <a:pt x="151" y="122"/>
                  </a:lnTo>
                  <a:lnTo>
                    <a:pt x="155" y="122"/>
                  </a:lnTo>
                  <a:lnTo>
                    <a:pt x="155" y="122"/>
                  </a:lnTo>
                  <a:lnTo>
                    <a:pt x="158" y="122"/>
                  </a:lnTo>
                  <a:lnTo>
                    <a:pt x="162" y="119"/>
                  </a:lnTo>
                  <a:lnTo>
                    <a:pt x="162" y="116"/>
                  </a:lnTo>
                  <a:lnTo>
                    <a:pt x="165" y="116"/>
                  </a:lnTo>
                  <a:lnTo>
                    <a:pt x="165" y="113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8" y="106"/>
                  </a:lnTo>
                  <a:lnTo>
                    <a:pt x="175" y="100"/>
                  </a:lnTo>
                  <a:lnTo>
                    <a:pt x="175" y="97"/>
                  </a:lnTo>
                  <a:lnTo>
                    <a:pt x="175" y="93"/>
                  </a:lnTo>
                  <a:lnTo>
                    <a:pt x="179" y="93"/>
                  </a:lnTo>
                  <a:lnTo>
                    <a:pt x="182" y="87"/>
                  </a:lnTo>
                  <a:lnTo>
                    <a:pt x="186" y="87"/>
                  </a:lnTo>
                  <a:lnTo>
                    <a:pt x="186" y="80"/>
                  </a:lnTo>
                  <a:lnTo>
                    <a:pt x="189" y="80"/>
                  </a:lnTo>
                  <a:lnTo>
                    <a:pt x="189" y="74"/>
                  </a:lnTo>
                  <a:lnTo>
                    <a:pt x="189" y="71"/>
                  </a:lnTo>
                  <a:lnTo>
                    <a:pt x="196" y="71"/>
                  </a:lnTo>
                  <a:lnTo>
                    <a:pt x="199" y="68"/>
                  </a:lnTo>
                  <a:lnTo>
                    <a:pt x="199" y="64"/>
                  </a:lnTo>
                  <a:lnTo>
                    <a:pt x="199" y="58"/>
                  </a:lnTo>
                  <a:lnTo>
                    <a:pt x="199" y="58"/>
                  </a:lnTo>
                  <a:lnTo>
                    <a:pt x="203" y="55"/>
                  </a:lnTo>
                  <a:lnTo>
                    <a:pt x="203" y="48"/>
                  </a:lnTo>
                  <a:lnTo>
                    <a:pt x="206" y="48"/>
                  </a:lnTo>
                  <a:lnTo>
                    <a:pt x="206" y="45"/>
                  </a:lnTo>
                  <a:lnTo>
                    <a:pt x="210" y="42"/>
                  </a:lnTo>
                  <a:lnTo>
                    <a:pt x="213" y="42"/>
                  </a:lnTo>
                  <a:lnTo>
                    <a:pt x="217" y="42"/>
                  </a:lnTo>
                  <a:lnTo>
                    <a:pt x="220" y="38"/>
                  </a:lnTo>
                  <a:lnTo>
                    <a:pt x="220" y="35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17" y="29"/>
                  </a:lnTo>
                  <a:lnTo>
                    <a:pt x="213" y="26"/>
                  </a:lnTo>
                  <a:lnTo>
                    <a:pt x="213" y="26"/>
                  </a:lnTo>
                  <a:lnTo>
                    <a:pt x="213" y="19"/>
                  </a:lnTo>
                  <a:lnTo>
                    <a:pt x="213" y="16"/>
                  </a:lnTo>
                  <a:lnTo>
                    <a:pt x="210" y="13"/>
                  </a:lnTo>
                  <a:lnTo>
                    <a:pt x="21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31" name="Freeform 132"/>
            <p:cNvSpPr>
              <a:spLocks/>
            </p:cNvSpPr>
            <p:nvPr/>
          </p:nvSpPr>
          <p:spPr bwMode="auto">
            <a:xfrm>
              <a:off x="6462713" y="4617105"/>
              <a:ext cx="6350" cy="9525"/>
            </a:xfrm>
            <a:custGeom>
              <a:avLst/>
              <a:gdLst>
                <a:gd name="T0" fmla="*/ 0 w 4"/>
                <a:gd name="T1" fmla="*/ 6 h 6"/>
                <a:gd name="T2" fmla="*/ 0 w 4"/>
                <a:gd name="T3" fmla="*/ 3 h 6"/>
                <a:gd name="T4" fmla="*/ 0 w 4"/>
                <a:gd name="T5" fmla="*/ 0 h 6"/>
                <a:gd name="T6" fmla="*/ 4 w 4"/>
                <a:gd name="T7" fmla="*/ 3 h 6"/>
                <a:gd name="T8" fmla="*/ 4 w 4"/>
                <a:gd name="T9" fmla="*/ 6 h 6"/>
                <a:gd name="T10" fmla="*/ 0 w 4"/>
                <a:gd name="T11" fmla="*/ 6 h 6"/>
                <a:gd name="T12" fmla="*/ 0 w 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4" y="3"/>
                  </a:lnTo>
                  <a:lnTo>
                    <a:pt x="4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32" name="Freeform 133"/>
            <p:cNvSpPr>
              <a:spLocks/>
            </p:cNvSpPr>
            <p:nvPr/>
          </p:nvSpPr>
          <p:spPr bwMode="auto">
            <a:xfrm>
              <a:off x="6518276" y="4523442"/>
              <a:ext cx="15875" cy="20637"/>
            </a:xfrm>
            <a:custGeom>
              <a:avLst/>
              <a:gdLst>
                <a:gd name="T0" fmla="*/ 0 w 10"/>
                <a:gd name="T1" fmla="*/ 10 h 13"/>
                <a:gd name="T2" fmla="*/ 0 w 10"/>
                <a:gd name="T3" fmla="*/ 10 h 13"/>
                <a:gd name="T4" fmla="*/ 3 w 10"/>
                <a:gd name="T5" fmla="*/ 10 h 13"/>
                <a:gd name="T6" fmla="*/ 6 w 10"/>
                <a:gd name="T7" fmla="*/ 4 h 13"/>
                <a:gd name="T8" fmla="*/ 10 w 10"/>
                <a:gd name="T9" fmla="*/ 0 h 13"/>
                <a:gd name="T10" fmla="*/ 10 w 10"/>
                <a:gd name="T11" fmla="*/ 4 h 13"/>
                <a:gd name="T12" fmla="*/ 10 w 10"/>
                <a:gd name="T13" fmla="*/ 7 h 13"/>
                <a:gd name="T14" fmla="*/ 10 w 10"/>
                <a:gd name="T15" fmla="*/ 13 h 13"/>
                <a:gd name="T16" fmla="*/ 3 w 10"/>
                <a:gd name="T17" fmla="*/ 13 h 13"/>
                <a:gd name="T18" fmla="*/ 0 w 10"/>
                <a:gd name="T19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3">
                  <a:moveTo>
                    <a:pt x="0" y="10"/>
                  </a:moveTo>
                  <a:lnTo>
                    <a:pt x="0" y="10"/>
                  </a:lnTo>
                  <a:lnTo>
                    <a:pt x="3" y="10"/>
                  </a:lnTo>
                  <a:lnTo>
                    <a:pt x="6" y="4"/>
                  </a:lnTo>
                  <a:lnTo>
                    <a:pt x="10" y="0"/>
                  </a:lnTo>
                  <a:lnTo>
                    <a:pt x="10" y="4"/>
                  </a:lnTo>
                  <a:lnTo>
                    <a:pt x="10" y="7"/>
                  </a:lnTo>
                  <a:lnTo>
                    <a:pt x="10" y="13"/>
                  </a:lnTo>
                  <a:lnTo>
                    <a:pt x="3" y="13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33" name="Freeform 134"/>
            <p:cNvSpPr>
              <a:spLocks/>
            </p:cNvSpPr>
            <p:nvPr/>
          </p:nvSpPr>
          <p:spPr bwMode="auto">
            <a:xfrm>
              <a:off x="6527801" y="4283730"/>
              <a:ext cx="234950" cy="296862"/>
            </a:xfrm>
            <a:custGeom>
              <a:avLst/>
              <a:gdLst>
                <a:gd name="T0" fmla="*/ 4 w 148"/>
                <a:gd name="T1" fmla="*/ 132 h 187"/>
                <a:gd name="T2" fmla="*/ 7 w 148"/>
                <a:gd name="T3" fmla="*/ 122 h 187"/>
                <a:gd name="T4" fmla="*/ 11 w 148"/>
                <a:gd name="T5" fmla="*/ 116 h 187"/>
                <a:gd name="T6" fmla="*/ 25 w 148"/>
                <a:gd name="T7" fmla="*/ 109 h 187"/>
                <a:gd name="T8" fmla="*/ 28 w 148"/>
                <a:gd name="T9" fmla="*/ 103 h 187"/>
                <a:gd name="T10" fmla="*/ 35 w 148"/>
                <a:gd name="T11" fmla="*/ 103 h 187"/>
                <a:gd name="T12" fmla="*/ 45 w 148"/>
                <a:gd name="T13" fmla="*/ 109 h 187"/>
                <a:gd name="T14" fmla="*/ 52 w 148"/>
                <a:gd name="T15" fmla="*/ 109 h 187"/>
                <a:gd name="T16" fmla="*/ 59 w 148"/>
                <a:gd name="T17" fmla="*/ 103 h 187"/>
                <a:gd name="T18" fmla="*/ 62 w 148"/>
                <a:gd name="T19" fmla="*/ 97 h 187"/>
                <a:gd name="T20" fmla="*/ 69 w 148"/>
                <a:gd name="T21" fmla="*/ 84 h 187"/>
                <a:gd name="T22" fmla="*/ 76 w 148"/>
                <a:gd name="T23" fmla="*/ 74 h 187"/>
                <a:gd name="T24" fmla="*/ 83 w 148"/>
                <a:gd name="T25" fmla="*/ 67 h 187"/>
                <a:gd name="T26" fmla="*/ 90 w 148"/>
                <a:gd name="T27" fmla="*/ 58 h 187"/>
                <a:gd name="T28" fmla="*/ 93 w 148"/>
                <a:gd name="T29" fmla="*/ 45 h 187"/>
                <a:gd name="T30" fmla="*/ 97 w 148"/>
                <a:gd name="T31" fmla="*/ 35 h 187"/>
                <a:gd name="T32" fmla="*/ 104 w 148"/>
                <a:gd name="T33" fmla="*/ 29 h 187"/>
                <a:gd name="T34" fmla="*/ 114 w 148"/>
                <a:gd name="T35" fmla="*/ 25 h 187"/>
                <a:gd name="T36" fmla="*/ 114 w 148"/>
                <a:gd name="T37" fmla="*/ 19 h 187"/>
                <a:gd name="T38" fmla="*/ 107 w 148"/>
                <a:gd name="T39" fmla="*/ 13 h 187"/>
                <a:gd name="T40" fmla="*/ 104 w 148"/>
                <a:gd name="T41" fmla="*/ 0 h 187"/>
                <a:gd name="T42" fmla="*/ 121 w 148"/>
                <a:gd name="T43" fmla="*/ 13 h 187"/>
                <a:gd name="T44" fmla="*/ 124 w 148"/>
                <a:gd name="T45" fmla="*/ 22 h 187"/>
                <a:gd name="T46" fmla="*/ 124 w 148"/>
                <a:gd name="T47" fmla="*/ 25 h 187"/>
                <a:gd name="T48" fmla="*/ 121 w 148"/>
                <a:gd name="T49" fmla="*/ 35 h 187"/>
                <a:gd name="T50" fmla="*/ 128 w 148"/>
                <a:gd name="T51" fmla="*/ 42 h 187"/>
                <a:gd name="T52" fmla="*/ 135 w 148"/>
                <a:gd name="T53" fmla="*/ 51 h 187"/>
                <a:gd name="T54" fmla="*/ 128 w 148"/>
                <a:gd name="T55" fmla="*/ 51 h 187"/>
                <a:gd name="T56" fmla="*/ 117 w 148"/>
                <a:gd name="T57" fmla="*/ 51 h 187"/>
                <a:gd name="T58" fmla="*/ 111 w 148"/>
                <a:gd name="T59" fmla="*/ 51 h 187"/>
                <a:gd name="T60" fmla="*/ 107 w 148"/>
                <a:gd name="T61" fmla="*/ 55 h 187"/>
                <a:gd name="T62" fmla="*/ 111 w 148"/>
                <a:gd name="T63" fmla="*/ 61 h 187"/>
                <a:gd name="T64" fmla="*/ 121 w 148"/>
                <a:gd name="T65" fmla="*/ 67 h 187"/>
                <a:gd name="T66" fmla="*/ 131 w 148"/>
                <a:gd name="T67" fmla="*/ 80 h 187"/>
                <a:gd name="T68" fmla="*/ 131 w 148"/>
                <a:gd name="T69" fmla="*/ 93 h 187"/>
                <a:gd name="T70" fmla="*/ 124 w 148"/>
                <a:gd name="T71" fmla="*/ 103 h 187"/>
                <a:gd name="T72" fmla="*/ 117 w 148"/>
                <a:gd name="T73" fmla="*/ 113 h 187"/>
                <a:gd name="T74" fmla="*/ 117 w 148"/>
                <a:gd name="T75" fmla="*/ 122 h 187"/>
                <a:gd name="T76" fmla="*/ 117 w 148"/>
                <a:gd name="T77" fmla="*/ 135 h 187"/>
                <a:gd name="T78" fmla="*/ 124 w 148"/>
                <a:gd name="T79" fmla="*/ 145 h 187"/>
                <a:gd name="T80" fmla="*/ 135 w 148"/>
                <a:gd name="T81" fmla="*/ 158 h 187"/>
                <a:gd name="T82" fmla="*/ 145 w 148"/>
                <a:gd name="T83" fmla="*/ 168 h 187"/>
                <a:gd name="T84" fmla="*/ 148 w 148"/>
                <a:gd name="T85" fmla="*/ 177 h 187"/>
                <a:gd name="T86" fmla="*/ 145 w 148"/>
                <a:gd name="T87" fmla="*/ 181 h 187"/>
                <a:gd name="T88" fmla="*/ 145 w 148"/>
                <a:gd name="T89" fmla="*/ 187 h 187"/>
                <a:gd name="T90" fmla="*/ 142 w 148"/>
                <a:gd name="T91" fmla="*/ 187 h 187"/>
                <a:gd name="T92" fmla="*/ 138 w 148"/>
                <a:gd name="T93" fmla="*/ 187 h 187"/>
                <a:gd name="T94" fmla="*/ 128 w 148"/>
                <a:gd name="T95" fmla="*/ 184 h 187"/>
                <a:gd name="T96" fmla="*/ 124 w 148"/>
                <a:gd name="T97" fmla="*/ 187 h 187"/>
                <a:gd name="T98" fmla="*/ 117 w 148"/>
                <a:gd name="T99" fmla="*/ 184 h 187"/>
                <a:gd name="T100" fmla="*/ 114 w 148"/>
                <a:gd name="T101" fmla="*/ 184 h 187"/>
                <a:gd name="T102" fmla="*/ 86 w 148"/>
                <a:gd name="T103" fmla="*/ 181 h 187"/>
                <a:gd name="T104" fmla="*/ 80 w 148"/>
                <a:gd name="T105" fmla="*/ 181 h 187"/>
                <a:gd name="T106" fmla="*/ 73 w 148"/>
                <a:gd name="T107" fmla="*/ 181 h 187"/>
                <a:gd name="T108" fmla="*/ 62 w 148"/>
                <a:gd name="T109" fmla="*/ 181 h 187"/>
                <a:gd name="T110" fmla="*/ 52 w 148"/>
                <a:gd name="T111" fmla="*/ 181 h 187"/>
                <a:gd name="T112" fmla="*/ 52 w 148"/>
                <a:gd name="T113" fmla="*/ 184 h 187"/>
                <a:gd name="T114" fmla="*/ 25 w 148"/>
                <a:gd name="T115" fmla="*/ 181 h 187"/>
                <a:gd name="T116" fmla="*/ 21 w 148"/>
                <a:gd name="T117" fmla="*/ 177 h 187"/>
                <a:gd name="T118" fmla="*/ 21 w 148"/>
                <a:gd name="T119" fmla="*/ 161 h 187"/>
                <a:gd name="T120" fmla="*/ 21 w 148"/>
                <a:gd name="T121" fmla="*/ 151 h 187"/>
                <a:gd name="T122" fmla="*/ 7 w 148"/>
                <a:gd name="T123" fmla="*/ 151 h 187"/>
                <a:gd name="T124" fmla="*/ 0 w 148"/>
                <a:gd name="T125" fmla="*/ 14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8" h="187">
                  <a:moveTo>
                    <a:pt x="0" y="142"/>
                  </a:moveTo>
                  <a:lnTo>
                    <a:pt x="0" y="139"/>
                  </a:lnTo>
                  <a:lnTo>
                    <a:pt x="4" y="132"/>
                  </a:lnTo>
                  <a:lnTo>
                    <a:pt x="7" y="129"/>
                  </a:lnTo>
                  <a:lnTo>
                    <a:pt x="7" y="126"/>
                  </a:lnTo>
                  <a:lnTo>
                    <a:pt x="7" y="122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11" y="116"/>
                  </a:lnTo>
                  <a:lnTo>
                    <a:pt x="14" y="113"/>
                  </a:lnTo>
                  <a:lnTo>
                    <a:pt x="18" y="113"/>
                  </a:lnTo>
                  <a:lnTo>
                    <a:pt x="25" y="109"/>
                  </a:lnTo>
                  <a:lnTo>
                    <a:pt x="21" y="106"/>
                  </a:lnTo>
                  <a:lnTo>
                    <a:pt x="25" y="103"/>
                  </a:lnTo>
                  <a:lnTo>
                    <a:pt x="28" y="103"/>
                  </a:lnTo>
                  <a:lnTo>
                    <a:pt x="28" y="100"/>
                  </a:lnTo>
                  <a:lnTo>
                    <a:pt x="31" y="103"/>
                  </a:lnTo>
                  <a:lnTo>
                    <a:pt x="35" y="103"/>
                  </a:lnTo>
                  <a:lnTo>
                    <a:pt x="38" y="103"/>
                  </a:lnTo>
                  <a:lnTo>
                    <a:pt x="42" y="106"/>
                  </a:lnTo>
                  <a:lnTo>
                    <a:pt x="45" y="109"/>
                  </a:lnTo>
                  <a:lnTo>
                    <a:pt x="49" y="109"/>
                  </a:lnTo>
                  <a:lnTo>
                    <a:pt x="49" y="109"/>
                  </a:lnTo>
                  <a:lnTo>
                    <a:pt x="52" y="109"/>
                  </a:lnTo>
                  <a:lnTo>
                    <a:pt x="56" y="106"/>
                  </a:lnTo>
                  <a:lnTo>
                    <a:pt x="56" y="103"/>
                  </a:lnTo>
                  <a:lnTo>
                    <a:pt x="59" y="103"/>
                  </a:lnTo>
                  <a:lnTo>
                    <a:pt x="59" y="100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93"/>
                  </a:lnTo>
                  <a:lnTo>
                    <a:pt x="69" y="87"/>
                  </a:lnTo>
                  <a:lnTo>
                    <a:pt x="69" y="84"/>
                  </a:lnTo>
                  <a:lnTo>
                    <a:pt x="69" y="80"/>
                  </a:lnTo>
                  <a:lnTo>
                    <a:pt x="73" y="80"/>
                  </a:lnTo>
                  <a:lnTo>
                    <a:pt x="76" y="74"/>
                  </a:lnTo>
                  <a:lnTo>
                    <a:pt x="80" y="74"/>
                  </a:lnTo>
                  <a:lnTo>
                    <a:pt x="80" y="67"/>
                  </a:lnTo>
                  <a:lnTo>
                    <a:pt x="83" y="67"/>
                  </a:lnTo>
                  <a:lnTo>
                    <a:pt x="83" y="61"/>
                  </a:lnTo>
                  <a:lnTo>
                    <a:pt x="83" y="58"/>
                  </a:lnTo>
                  <a:lnTo>
                    <a:pt x="90" y="58"/>
                  </a:lnTo>
                  <a:lnTo>
                    <a:pt x="93" y="55"/>
                  </a:lnTo>
                  <a:lnTo>
                    <a:pt x="93" y="51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7" y="42"/>
                  </a:lnTo>
                  <a:lnTo>
                    <a:pt x="97" y="35"/>
                  </a:lnTo>
                  <a:lnTo>
                    <a:pt x="100" y="35"/>
                  </a:lnTo>
                  <a:lnTo>
                    <a:pt x="100" y="32"/>
                  </a:lnTo>
                  <a:lnTo>
                    <a:pt x="104" y="29"/>
                  </a:lnTo>
                  <a:lnTo>
                    <a:pt x="107" y="29"/>
                  </a:lnTo>
                  <a:lnTo>
                    <a:pt x="111" y="29"/>
                  </a:lnTo>
                  <a:lnTo>
                    <a:pt x="114" y="25"/>
                  </a:lnTo>
                  <a:lnTo>
                    <a:pt x="114" y="22"/>
                  </a:lnTo>
                  <a:lnTo>
                    <a:pt x="114" y="19"/>
                  </a:lnTo>
                  <a:lnTo>
                    <a:pt x="114" y="19"/>
                  </a:lnTo>
                  <a:lnTo>
                    <a:pt x="111" y="16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7" y="6"/>
                  </a:lnTo>
                  <a:lnTo>
                    <a:pt x="107" y="3"/>
                  </a:lnTo>
                  <a:lnTo>
                    <a:pt x="104" y="0"/>
                  </a:lnTo>
                  <a:lnTo>
                    <a:pt x="114" y="3"/>
                  </a:lnTo>
                  <a:lnTo>
                    <a:pt x="117" y="6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6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4" y="29"/>
                  </a:lnTo>
                  <a:lnTo>
                    <a:pt x="124" y="32"/>
                  </a:lnTo>
                  <a:lnTo>
                    <a:pt x="121" y="35"/>
                  </a:lnTo>
                  <a:lnTo>
                    <a:pt x="121" y="38"/>
                  </a:lnTo>
                  <a:lnTo>
                    <a:pt x="124" y="42"/>
                  </a:lnTo>
                  <a:lnTo>
                    <a:pt x="128" y="42"/>
                  </a:lnTo>
                  <a:lnTo>
                    <a:pt x="128" y="48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31" y="51"/>
                  </a:lnTo>
                  <a:lnTo>
                    <a:pt x="128" y="51"/>
                  </a:lnTo>
                  <a:lnTo>
                    <a:pt x="124" y="51"/>
                  </a:lnTo>
                  <a:lnTo>
                    <a:pt x="121" y="51"/>
                  </a:lnTo>
                  <a:lnTo>
                    <a:pt x="117" y="51"/>
                  </a:lnTo>
                  <a:lnTo>
                    <a:pt x="114" y="51"/>
                  </a:lnTo>
                  <a:lnTo>
                    <a:pt x="114" y="51"/>
                  </a:lnTo>
                  <a:lnTo>
                    <a:pt x="111" y="51"/>
                  </a:lnTo>
                  <a:lnTo>
                    <a:pt x="107" y="51"/>
                  </a:lnTo>
                  <a:lnTo>
                    <a:pt x="107" y="55"/>
                  </a:lnTo>
                  <a:lnTo>
                    <a:pt x="107" y="55"/>
                  </a:lnTo>
                  <a:lnTo>
                    <a:pt x="107" y="58"/>
                  </a:lnTo>
                  <a:lnTo>
                    <a:pt x="107" y="61"/>
                  </a:lnTo>
                  <a:lnTo>
                    <a:pt x="111" y="61"/>
                  </a:lnTo>
                  <a:lnTo>
                    <a:pt x="111" y="61"/>
                  </a:lnTo>
                  <a:lnTo>
                    <a:pt x="114" y="64"/>
                  </a:lnTo>
                  <a:lnTo>
                    <a:pt x="121" y="67"/>
                  </a:lnTo>
                  <a:lnTo>
                    <a:pt x="128" y="74"/>
                  </a:lnTo>
                  <a:lnTo>
                    <a:pt x="131" y="77"/>
                  </a:lnTo>
                  <a:lnTo>
                    <a:pt x="131" y="80"/>
                  </a:lnTo>
                  <a:lnTo>
                    <a:pt x="135" y="87"/>
                  </a:lnTo>
                  <a:lnTo>
                    <a:pt x="135" y="90"/>
                  </a:lnTo>
                  <a:lnTo>
                    <a:pt x="131" y="93"/>
                  </a:lnTo>
                  <a:lnTo>
                    <a:pt x="131" y="93"/>
                  </a:lnTo>
                  <a:lnTo>
                    <a:pt x="128" y="100"/>
                  </a:lnTo>
                  <a:lnTo>
                    <a:pt x="124" y="103"/>
                  </a:lnTo>
                  <a:lnTo>
                    <a:pt x="121" y="109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4" y="116"/>
                  </a:lnTo>
                  <a:lnTo>
                    <a:pt x="114" y="119"/>
                  </a:lnTo>
                  <a:lnTo>
                    <a:pt x="117" y="122"/>
                  </a:lnTo>
                  <a:lnTo>
                    <a:pt x="117" y="129"/>
                  </a:lnTo>
                  <a:lnTo>
                    <a:pt x="117" y="132"/>
                  </a:lnTo>
                  <a:lnTo>
                    <a:pt x="117" y="135"/>
                  </a:lnTo>
                  <a:lnTo>
                    <a:pt x="117" y="142"/>
                  </a:lnTo>
                  <a:lnTo>
                    <a:pt x="121" y="142"/>
                  </a:lnTo>
                  <a:lnTo>
                    <a:pt x="124" y="145"/>
                  </a:lnTo>
                  <a:lnTo>
                    <a:pt x="128" y="148"/>
                  </a:lnTo>
                  <a:lnTo>
                    <a:pt x="131" y="151"/>
                  </a:lnTo>
                  <a:lnTo>
                    <a:pt x="135" y="158"/>
                  </a:lnTo>
                  <a:lnTo>
                    <a:pt x="138" y="164"/>
                  </a:lnTo>
                  <a:lnTo>
                    <a:pt x="138" y="164"/>
                  </a:lnTo>
                  <a:lnTo>
                    <a:pt x="145" y="168"/>
                  </a:lnTo>
                  <a:lnTo>
                    <a:pt x="145" y="171"/>
                  </a:lnTo>
                  <a:lnTo>
                    <a:pt x="145" y="174"/>
                  </a:lnTo>
                  <a:lnTo>
                    <a:pt x="148" y="177"/>
                  </a:lnTo>
                  <a:lnTo>
                    <a:pt x="148" y="177"/>
                  </a:lnTo>
                  <a:lnTo>
                    <a:pt x="148" y="177"/>
                  </a:lnTo>
                  <a:lnTo>
                    <a:pt x="145" y="181"/>
                  </a:lnTo>
                  <a:lnTo>
                    <a:pt x="145" y="181"/>
                  </a:lnTo>
                  <a:lnTo>
                    <a:pt x="142" y="184"/>
                  </a:lnTo>
                  <a:lnTo>
                    <a:pt x="145" y="187"/>
                  </a:lnTo>
                  <a:lnTo>
                    <a:pt x="145" y="187"/>
                  </a:lnTo>
                  <a:lnTo>
                    <a:pt x="142" y="187"/>
                  </a:lnTo>
                  <a:lnTo>
                    <a:pt x="142" y="187"/>
                  </a:lnTo>
                  <a:lnTo>
                    <a:pt x="142" y="187"/>
                  </a:lnTo>
                  <a:lnTo>
                    <a:pt x="138" y="187"/>
                  </a:lnTo>
                  <a:lnTo>
                    <a:pt x="138" y="187"/>
                  </a:lnTo>
                  <a:lnTo>
                    <a:pt x="131" y="187"/>
                  </a:lnTo>
                  <a:lnTo>
                    <a:pt x="131" y="187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4" y="187"/>
                  </a:lnTo>
                  <a:lnTo>
                    <a:pt x="124" y="184"/>
                  </a:lnTo>
                  <a:lnTo>
                    <a:pt x="121" y="184"/>
                  </a:lnTo>
                  <a:lnTo>
                    <a:pt x="117" y="184"/>
                  </a:lnTo>
                  <a:lnTo>
                    <a:pt x="117" y="184"/>
                  </a:lnTo>
                  <a:lnTo>
                    <a:pt x="114" y="184"/>
                  </a:lnTo>
                  <a:lnTo>
                    <a:pt x="114" y="184"/>
                  </a:lnTo>
                  <a:lnTo>
                    <a:pt x="111" y="184"/>
                  </a:lnTo>
                  <a:lnTo>
                    <a:pt x="86" y="181"/>
                  </a:lnTo>
                  <a:lnTo>
                    <a:pt x="86" y="181"/>
                  </a:lnTo>
                  <a:lnTo>
                    <a:pt x="83" y="181"/>
                  </a:lnTo>
                  <a:lnTo>
                    <a:pt x="83" y="181"/>
                  </a:lnTo>
                  <a:lnTo>
                    <a:pt x="80" y="181"/>
                  </a:lnTo>
                  <a:lnTo>
                    <a:pt x="80" y="181"/>
                  </a:lnTo>
                  <a:lnTo>
                    <a:pt x="76" y="181"/>
                  </a:lnTo>
                  <a:lnTo>
                    <a:pt x="73" y="181"/>
                  </a:lnTo>
                  <a:lnTo>
                    <a:pt x="69" y="181"/>
                  </a:lnTo>
                  <a:lnTo>
                    <a:pt x="66" y="181"/>
                  </a:lnTo>
                  <a:lnTo>
                    <a:pt x="62" y="181"/>
                  </a:lnTo>
                  <a:lnTo>
                    <a:pt x="59" y="181"/>
                  </a:lnTo>
                  <a:lnTo>
                    <a:pt x="56" y="181"/>
                  </a:lnTo>
                  <a:lnTo>
                    <a:pt x="52" y="181"/>
                  </a:lnTo>
                  <a:lnTo>
                    <a:pt x="52" y="181"/>
                  </a:lnTo>
                  <a:lnTo>
                    <a:pt x="52" y="184"/>
                  </a:lnTo>
                  <a:lnTo>
                    <a:pt x="52" y="184"/>
                  </a:lnTo>
                  <a:lnTo>
                    <a:pt x="28" y="184"/>
                  </a:lnTo>
                  <a:lnTo>
                    <a:pt x="28" y="181"/>
                  </a:lnTo>
                  <a:lnTo>
                    <a:pt x="25" y="181"/>
                  </a:lnTo>
                  <a:lnTo>
                    <a:pt x="21" y="181"/>
                  </a:lnTo>
                  <a:lnTo>
                    <a:pt x="25" y="181"/>
                  </a:lnTo>
                  <a:lnTo>
                    <a:pt x="21" y="177"/>
                  </a:lnTo>
                  <a:lnTo>
                    <a:pt x="25" y="171"/>
                  </a:lnTo>
                  <a:lnTo>
                    <a:pt x="25" y="164"/>
                  </a:lnTo>
                  <a:lnTo>
                    <a:pt x="21" y="161"/>
                  </a:lnTo>
                  <a:lnTo>
                    <a:pt x="21" y="155"/>
                  </a:lnTo>
                  <a:lnTo>
                    <a:pt x="21" y="155"/>
                  </a:lnTo>
                  <a:lnTo>
                    <a:pt x="21" y="151"/>
                  </a:lnTo>
                  <a:lnTo>
                    <a:pt x="14" y="151"/>
                  </a:lnTo>
                  <a:lnTo>
                    <a:pt x="11" y="151"/>
                  </a:lnTo>
                  <a:lnTo>
                    <a:pt x="7" y="151"/>
                  </a:lnTo>
                  <a:lnTo>
                    <a:pt x="7" y="139"/>
                  </a:lnTo>
                  <a:lnTo>
                    <a:pt x="4" y="142"/>
                  </a:lnTo>
                  <a:lnTo>
                    <a:pt x="0" y="1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34" name="Freeform 135"/>
            <p:cNvSpPr>
              <a:spLocks/>
            </p:cNvSpPr>
            <p:nvPr/>
          </p:nvSpPr>
          <p:spPr bwMode="auto">
            <a:xfrm>
              <a:off x="6527801" y="4571067"/>
              <a:ext cx="176213" cy="158750"/>
            </a:xfrm>
            <a:custGeom>
              <a:avLst/>
              <a:gdLst>
                <a:gd name="T0" fmla="*/ 52 w 111"/>
                <a:gd name="T1" fmla="*/ 0 h 100"/>
                <a:gd name="T2" fmla="*/ 56 w 111"/>
                <a:gd name="T3" fmla="*/ 0 h 100"/>
                <a:gd name="T4" fmla="*/ 62 w 111"/>
                <a:gd name="T5" fmla="*/ 0 h 100"/>
                <a:gd name="T6" fmla="*/ 69 w 111"/>
                <a:gd name="T7" fmla="*/ 0 h 100"/>
                <a:gd name="T8" fmla="*/ 76 w 111"/>
                <a:gd name="T9" fmla="*/ 0 h 100"/>
                <a:gd name="T10" fmla="*/ 80 w 111"/>
                <a:gd name="T11" fmla="*/ 0 h 100"/>
                <a:gd name="T12" fmla="*/ 83 w 111"/>
                <a:gd name="T13" fmla="*/ 0 h 100"/>
                <a:gd name="T14" fmla="*/ 86 w 111"/>
                <a:gd name="T15" fmla="*/ 0 h 100"/>
                <a:gd name="T16" fmla="*/ 86 w 111"/>
                <a:gd name="T17" fmla="*/ 3 h 100"/>
                <a:gd name="T18" fmla="*/ 86 w 111"/>
                <a:gd name="T19" fmla="*/ 12 h 100"/>
                <a:gd name="T20" fmla="*/ 86 w 111"/>
                <a:gd name="T21" fmla="*/ 16 h 100"/>
                <a:gd name="T22" fmla="*/ 93 w 111"/>
                <a:gd name="T23" fmla="*/ 16 h 100"/>
                <a:gd name="T24" fmla="*/ 100 w 111"/>
                <a:gd name="T25" fmla="*/ 16 h 100"/>
                <a:gd name="T26" fmla="*/ 111 w 111"/>
                <a:gd name="T27" fmla="*/ 16 h 100"/>
                <a:gd name="T28" fmla="*/ 111 w 111"/>
                <a:gd name="T29" fmla="*/ 19 h 100"/>
                <a:gd name="T30" fmla="*/ 111 w 111"/>
                <a:gd name="T31" fmla="*/ 25 h 100"/>
                <a:gd name="T32" fmla="*/ 107 w 111"/>
                <a:gd name="T33" fmla="*/ 29 h 100"/>
                <a:gd name="T34" fmla="*/ 104 w 111"/>
                <a:gd name="T35" fmla="*/ 32 h 100"/>
                <a:gd name="T36" fmla="*/ 107 w 111"/>
                <a:gd name="T37" fmla="*/ 35 h 100"/>
                <a:gd name="T38" fmla="*/ 104 w 111"/>
                <a:gd name="T39" fmla="*/ 35 h 100"/>
                <a:gd name="T40" fmla="*/ 100 w 111"/>
                <a:gd name="T41" fmla="*/ 38 h 100"/>
                <a:gd name="T42" fmla="*/ 104 w 111"/>
                <a:gd name="T43" fmla="*/ 42 h 100"/>
                <a:gd name="T44" fmla="*/ 107 w 111"/>
                <a:gd name="T45" fmla="*/ 45 h 100"/>
                <a:gd name="T46" fmla="*/ 111 w 111"/>
                <a:gd name="T47" fmla="*/ 48 h 100"/>
                <a:gd name="T48" fmla="*/ 111 w 111"/>
                <a:gd name="T49" fmla="*/ 51 h 100"/>
                <a:gd name="T50" fmla="*/ 104 w 111"/>
                <a:gd name="T51" fmla="*/ 71 h 100"/>
                <a:gd name="T52" fmla="*/ 107 w 111"/>
                <a:gd name="T53" fmla="*/ 77 h 100"/>
                <a:gd name="T54" fmla="*/ 104 w 111"/>
                <a:gd name="T55" fmla="*/ 74 h 100"/>
                <a:gd name="T56" fmla="*/ 93 w 111"/>
                <a:gd name="T57" fmla="*/ 74 h 100"/>
                <a:gd name="T58" fmla="*/ 90 w 111"/>
                <a:gd name="T59" fmla="*/ 74 h 100"/>
                <a:gd name="T60" fmla="*/ 83 w 111"/>
                <a:gd name="T61" fmla="*/ 74 h 100"/>
                <a:gd name="T62" fmla="*/ 76 w 111"/>
                <a:gd name="T63" fmla="*/ 67 h 100"/>
                <a:gd name="T64" fmla="*/ 76 w 111"/>
                <a:gd name="T65" fmla="*/ 71 h 100"/>
                <a:gd name="T66" fmla="*/ 66 w 111"/>
                <a:gd name="T67" fmla="*/ 74 h 100"/>
                <a:gd name="T68" fmla="*/ 62 w 111"/>
                <a:gd name="T69" fmla="*/ 77 h 100"/>
                <a:gd name="T70" fmla="*/ 59 w 111"/>
                <a:gd name="T71" fmla="*/ 77 h 100"/>
                <a:gd name="T72" fmla="*/ 52 w 111"/>
                <a:gd name="T73" fmla="*/ 77 h 100"/>
                <a:gd name="T74" fmla="*/ 52 w 111"/>
                <a:gd name="T75" fmla="*/ 84 h 100"/>
                <a:gd name="T76" fmla="*/ 59 w 111"/>
                <a:gd name="T77" fmla="*/ 84 h 100"/>
                <a:gd name="T78" fmla="*/ 62 w 111"/>
                <a:gd name="T79" fmla="*/ 87 h 100"/>
                <a:gd name="T80" fmla="*/ 62 w 111"/>
                <a:gd name="T81" fmla="*/ 96 h 100"/>
                <a:gd name="T82" fmla="*/ 56 w 111"/>
                <a:gd name="T83" fmla="*/ 93 h 100"/>
                <a:gd name="T84" fmla="*/ 52 w 111"/>
                <a:gd name="T85" fmla="*/ 96 h 100"/>
                <a:gd name="T86" fmla="*/ 49 w 111"/>
                <a:gd name="T87" fmla="*/ 96 h 100"/>
                <a:gd name="T88" fmla="*/ 45 w 111"/>
                <a:gd name="T89" fmla="*/ 100 h 100"/>
                <a:gd name="T90" fmla="*/ 42 w 111"/>
                <a:gd name="T91" fmla="*/ 96 h 100"/>
                <a:gd name="T92" fmla="*/ 35 w 111"/>
                <a:gd name="T93" fmla="*/ 90 h 100"/>
                <a:gd name="T94" fmla="*/ 21 w 111"/>
                <a:gd name="T95" fmla="*/ 80 h 100"/>
                <a:gd name="T96" fmla="*/ 18 w 111"/>
                <a:gd name="T97" fmla="*/ 74 h 100"/>
                <a:gd name="T98" fmla="*/ 11 w 111"/>
                <a:gd name="T99" fmla="*/ 67 h 100"/>
                <a:gd name="T100" fmla="*/ 7 w 111"/>
                <a:gd name="T101" fmla="*/ 61 h 100"/>
                <a:gd name="T102" fmla="*/ 4 w 111"/>
                <a:gd name="T103" fmla="*/ 54 h 100"/>
                <a:gd name="T104" fmla="*/ 0 w 111"/>
                <a:gd name="T105" fmla="*/ 48 h 100"/>
                <a:gd name="T106" fmla="*/ 11 w 111"/>
                <a:gd name="T107" fmla="*/ 45 h 100"/>
                <a:gd name="T108" fmla="*/ 11 w 111"/>
                <a:gd name="T109" fmla="*/ 32 h 100"/>
                <a:gd name="T110" fmla="*/ 21 w 111"/>
                <a:gd name="T111" fmla="*/ 32 h 100"/>
                <a:gd name="T112" fmla="*/ 11 w 111"/>
                <a:gd name="T113" fmla="*/ 25 h 100"/>
                <a:gd name="T114" fmla="*/ 18 w 111"/>
                <a:gd name="T115" fmla="*/ 22 h 100"/>
                <a:gd name="T116" fmla="*/ 21 w 111"/>
                <a:gd name="T117" fmla="*/ 19 h 100"/>
                <a:gd name="T118" fmla="*/ 25 w 111"/>
                <a:gd name="T119" fmla="*/ 22 h 100"/>
                <a:gd name="T120" fmla="*/ 52 w 111"/>
                <a:gd name="T121" fmla="*/ 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1" h="100">
                  <a:moveTo>
                    <a:pt x="52" y="3"/>
                  </a:moveTo>
                  <a:lnTo>
                    <a:pt x="52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9" y="0"/>
                  </a:lnTo>
                  <a:lnTo>
                    <a:pt x="62" y="0"/>
                  </a:lnTo>
                  <a:lnTo>
                    <a:pt x="66" y="0"/>
                  </a:lnTo>
                  <a:lnTo>
                    <a:pt x="69" y="0"/>
                  </a:lnTo>
                  <a:lnTo>
                    <a:pt x="73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3"/>
                  </a:lnTo>
                  <a:lnTo>
                    <a:pt x="86" y="6"/>
                  </a:lnTo>
                  <a:lnTo>
                    <a:pt x="86" y="12"/>
                  </a:lnTo>
                  <a:lnTo>
                    <a:pt x="90" y="16"/>
                  </a:lnTo>
                  <a:lnTo>
                    <a:pt x="86" y="16"/>
                  </a:lnTo>
                  <a:lnTo>
                    <a:pt x="90" y="16"/>
                  </a:lnTo>
                  <a:lnTo>
                    <a:pt x="93" y="16"/>
                  </a:lnTo>
                  <a:lnTo>
                    <a:pt x="97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11" y="19"/>
                  </a:lnTo>
                  <a:lnTo>
                    <a:pt x="111" y="22"/>
                  </a:lnTo>
                  <a:lnTo>
                    <a:pt x="111" y="25"/>
                  </a:lnTo>
                  <a:lnTo>
                    <a:pt x="111" y="29"/>
                  </a:lnTo>
                  <a:lnTo>
                    <a:pt x="107" y="29"/>
                  </a:lnTo>
                  <a:lnTo>
                    <a:pt x="104" y="29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7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0" y="38"/>
                  </a:lnTo>
                  <a:lnTo>
                    <a:pt x="100" y="38"/>
                  </a:lnTo>
                  <a:lnTo>
                    <a:pt x="104" y="38"/>
                  </a:lnTo>
                  <a:lnTo>
                    <a:pt x="104" y="42"/>
                  </a:lnTo>
                  <a:lnTo>
                    <a:pt x="107" y="42"/>
                  </a:lnTo>
                  <a:lnTo>
                    <a:pt x="107" y="45"/>
                  </a:lnTo>
                  <a:lnTo>
                    <a:pt x="111" y="45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1" y="51"/>
                  </a:lnTo>
                  <a:lnTo>
                    <a:pt x="111" y="58"/>
                  </a:lnTo>
                  <a:lnTo>
                    <a:pt x="104" y="71"/>
                  </a:lnTo>
                  <a:lnTo>
                    <a:pt x="107" y="74"/>
                  </a:lnTo>
                  <a:lnTo>
                    <a:pt x="107" y="77"/>
                  </a:lnTo>
                  <a:lnTo>
                    <a:pt x="104" y="77"/>
                  </a:lnTo>
                  <a:lnTo>
                    <a:pt x="104" y="74"/>
                  </a:lnTo>
                  <a:lnTo>
                    <a:pt x="100" y="74"/>
                  </a:lnTo>
                  <a:lnTo>
                    <a:pt x="93" y="74"/>
                  </a:lnTo>
                  <a:lnTo>
                    <a:pt x="93" y="74"/>
                  </a:lnTo>
                  <a:lnTo>
                    <a:pt x="90" y="74"/>
                  </a:lnTo>
                  <a:lnTo>
                    <a:pt x="86" y="77"/>
                  </a:lnTo>
                  <a:lnTo>
                    <a:pt x="83" y="74"/>
                  </a:lnTo>
                  <a:lnTo>
                    <a:pt x="80" y="67"/>
                  </a:lnTo>
                  <a:lnTo>
                    <a:pt x="76" y="67"/>
                  </a:lnTo>
                  <a:lnTo>
                    <a:pt x="73" y="67"/>
                  </a:lnTo>
                  <a:lnTo>
                    <a:pt x="76" y="71"/>
                  </a:lnTo>
                  <a:lnTo>
                    <a:pt x="73" y="74"/>
                  </a:lnTo>
                  <a:lnTo>
                    <a:pt x="66" y="74"/>
                  </a:lnTo>
                  <a:lnTo>
                    <a:pt x="66" y="74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59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80"/>
                  </a:lnTo>
                  <a:lnTo>
                    <a:pt x="52" y="84"/>
                  </a:lnTo>
                  <a:lnTo>
                    <a:pt x="56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62" y="87"/>
                  </a:lnTo>
                  <a:lnTo>
                    <a:pt x="66" y="93"/>
                  </a:lnTo>
                  <a:lnTo>
                    <a:pt x="62" y="96"/>
                  </a:lnTo>
                  <a:lnTo>
                    <a:pt x="59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9" y="96"/>
                  </a:lnTo>
                  <a:lnTo>
                    <a:pt x="49" y="100"/>
                  </a:lnTo>
                  <a:lnTo>
                    <a:pt x="45" y="100"/>
                  </a:lnTo>
                  <a:lnTo>
                    <a:pt x="42" y="100"/>
                  </a:lnTo>
                  <a:lnTo>
                    <a:pt x="42" y="96"/>
                  </a:lnTo>
                  <a:lnTo>
                    <a:pt x="35" y="93"/>
                  </a:lnTo>
                  <a:lnTo>
                    <a:pt x="35" y="90"/>
                  </a:lnTo>
                  <a:lnTo>
                    <a:pt x="25" y="84"/>
                  </a:lnTo>
                  <a:lnTo>
                    <a:pt x="21" y="80"/>
                  </a:lnTo>
                  <a:lnTo>
                    <a:pt x="21" y="77"/>
                  </a:lnTo>
                  <a:lnTo>
                    <a:pt x="18" y="74"/>
                  </a:lnTo>
                  <a:lnTo>
                    <a:pt x="14" y="71"/>
                  </a:lnTo>
                  <a:lnTo>
                    <a:pt x="11" y="67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11" y="45"/>
                  </a:lnTo>
                  <a:lnTo>
                    <a:pt x="11" y="35"/>
                  </a:lnTo>
                  <a:lnTo>
                    <a:pt x="11" y="32"/>
                  </a:lnTo>
                  <a:lnTo>
                    <a:pt x="14" y="35"/>
                  </a:lnTo>
                  <a:lnTo>
                    <a:pt x="21" y="32"/>
                  </a:lnTo>
                  <a:lnTo>
                    <a:pt x="18" y="32"/>
                  </a:lnTo>
                  <a:lnTo>
                    <a:pt x="11" y="25"/>
                  </a:lnTo>
                  <a:lnTo>
                    <a:pt x="18" y="25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21" y="19"/>
                  </a:lnTo>
                  <a:lnTo>
                    <a:pt x="25" y="19"/>
                  </a:lnTo>
                  <a:lnTo>
                    <a:pt x="25" y="22"/>
                  </a:lnTo>
                  <a:lnTo>
                    <a:pt x="52" y="22"/>
                  </a:lnTo>
                  <a:lnTo>
                    <a:pt x="5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35" name="Freeform 136"/>
            <p:cNvSpPr>
              <a:spLocks/>
            </p:cNvSpPr>
            <p:nvPr/>
          </p:nvSpPr>
          <p:spPr bwMode="auto">
            <a:xfrm>
              <a:off x="6545263" y="4571067"/>
              <a:ext cx="65088" cy="34925"/>
            </a:xfrm>
            <a:custGeom>
              <a:avLst/>
              <a:gdLst>
                <a:gd name="T0" fmla="*/ 7 w 41"/>
                <a:gd name="T1" fmla="*/ 22 h 22"/>
                <a:gd name="T2" fmla="*/ 7 w 41"/>
                <a:gd name="T3" fmla="*/ 22 h 22"/>
                <a:gd name="T4" fmla="*/ 10 w 41"/>
                <a:gd name="T5" fmla="*/ 19 h 22"/>
                <a:gd name="T6" fmla="*/ 14 w 41"/>
                <a:gd name="T7" fmla="*/ 19 h 22"/>
                <a:gd name="T8" fmla="*/ 14 w 41"/>
                <a:gd name="T9" fmla="*/ 22 h 22"/>
                <a:gd name="T10" fmla="*/ 41 w 41"/>
                <a:gd name="T11" fmla="*/ 22 h 22"/>
                <a:gd name="T12" fmla="*/ 41 w 41"/>
                <a:gd name="T13" fmla="*/ 3 h 22"/>
                <a:gd name="T14" fmla="*/ 17 w 41"/>
                <a:gd name="T15" fmla="*/ 3 h 22"/>
                <a:gd name="T16" fmla="*/ 17 w 41"/>
                <a:gd name="T17" fmla="*/ 0 h 22"/>
                <a:gd name="T18" fmla="*/ 14 w 41"/>
                <a:gd name="T19" fmla="*/ 0 h 22"/>
                <a:gd name="T20" fmla="*/ 10 w 41"/>
                <a:gd name="T21" fmla="*/ 0 h 22"/>
                <a:gd name="T22" fmla="*/ 10 w 41"/>
                <a:gd name="T23" fmla="*/ 3 h 22"/>
                <a:gd name="T24" fmla="*/ 14 w 41"/>
                <a:gd name="T25" fmla="*/ 6 h 22"/>
                <a:gd name="T26" fmla="*/ 7 w 41"/>
                <a:gd name="T27" fmla="*/ 9 h 22"/>
                <a:gd name="T28" fmla="*/ 0 w 41"/>
                <a:gd name="T29" fmla="*/ 19 h 22"/>
                <a:gd name="T30" fmla="*/ 7 w 41"/>
                <a:gd name="T31" fmla="*/ 19 h 22"/>
                <a:gd name="T32" fmla="*/ 7 w 41"/>
                <a:gd name="T3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22">
                  <a:moveTo>
                    <a:pt x="7" y="22"/>
                  </a:moveTo>
                  <a:lnTo>
                    <a:pt x="7" y="22"/>
                  </a:lnTo>
                  <a:lnTo>
                    <a:pt x="10" y="19"/>
                  </a:lnTo>
                  <a:lnTo>
                    <a:pt x="14" y="19"/>
                  </a:lnTo>
                  <a:lnTo>
                    <a:pt x="14" y="22"/>
                  </a:lnTo>
                  <a:lnTo>
                    <a:pt x="41" y="22"/>
                  </a:lnTo>
                  <a:lnTo>
                    <a:pt x="41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10" y="3"/>
                  </a:lnTo>
                  <a:lnTo>
                    <a:pt x="14" y="6"/>
                  </a:lnTo>
                  <a:lnTo>
                    <a:pt x="7" y="9"/>
                  </a:lnTo>
                  <a:lnTo>
                    <a:pt x="0" y="19"/>
                  </a:lnTo>
                  <a:lnTo>
                    <a:pt x="7" y="19"/>
                  </a:lnTo>
                  <a:lnTo>
                    <a:pt x="7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36" name="Freeform 137"/>
            <p:cNvSpPr>
              <a:spLocks/>
            </p:cNvSpPr>
            <p:nvPr/>
          </p:nvSpPr>
          <p:spPr bwMode="auto">
            <a:xfrm>
              <a:off x="6605588" y="4529792"/>
              <a:ext cx="234950" cy="234950"/>
            </a:xfrm>
            <a:custGeom>
              <a:avLst/>
              <a:gdLst>
                <a:gd name="T0" fmla="*/ 3 w 148"/>
                <a:gd name="T1" fmla="*/ 122 h 148"/>
                <a:gd name="T2" fmla="*/ 7 w 148"/>
                <a:gd name="T3" fmla="*/ 119 h 148"/>
                <a:gd name="T4" fmla="*/ 17 w 148"/>
                <a:gd name="T5" fmla="*/ 119 h 148"/>
                <a:gd name="T6" fmla="*/ 10 w 148"/>
                <a:gd name="T7" fmla="*/ 110 h 148"/>
                <a:gd name="T8" fmla="*/ 3 w 148"/>
                <a:gd name="T9" fmla="*/ 106 h 148"/>
                <a:gd name="T10" fmla="*/ 10 w 148"/>
                <a:gd name="T11" fmla="*/ 103 h 148"/>
                <a:gd name="T12" fmla="*/ 17 w 148"/>
                <a:gd name="T13" fmla="*/ 100 h 148"/>
                <a:gd name="T14" fmla="*/ 27 w 148"/>
                <a:gd name="T15" fmla="*/ 97 h 148"/>
                <a:gd name="T16" fmla="*/ 31 w 148"/>
                <a:gd name="T17" fmla="*/ 93 h 148"/>
                <a:gd name="T18" fmla="*/ 41 w 148"/>
                <a:gd name="T19" fmla="*/ 100 h 148"/>
                <a:gd name="T20" fmla="*/ 51 w 148"/>
                <a:gd name="T21" fmla="*/ 100 h 148"/>
                <a:gd name="T22" fmla="*/ 58 w 148"/>
                <a:gd name="T23" fmla="*/ 103 h 148"/>
                <a:gd name="T24" fmla="*/ 62 w 148"/>
                <a:gd name="T25" fmla="*/ 84 h 148"/>
                <a:gd name="T26" fmla="*/ 62 w 148"/>
                <a:gd name="T27" fmla="*/ 74 h 148"/>
                <a:gd name="T28" fmla="*/ 58 w 148"/>
                <a:gd name="T29" fmla="*/ 68 h 148"/>
                <a:gd name="T30" fmla="*/ 51 w 148"/>
                <a:gd name="T31" fmla="*/ 64 h 148"/>
                <a:gd name="T32" fmla="*/ 55 w 148"/>
                <a:gd name="T33" fmla="*/ 61 h 148"/>
                <a:gd name="T34" fmla="*/ 55 w 148"/>
                <a:gd name="T35" fmla="*/ 58 h 148"/>
                <a:gd name="T36" fmla="*/ 62 w 148"/>
                <a:gd name="T37" fmla="*/ 55 h 148"/>
                <a:gd name="T38" fmla="*/ 62 w 148"/>
                <a:gd name="T39" fmla="*/ 45 h 148"/>
                <a:gd name="T40" fmla="*/ 55 w 148"/>
                <a:gd name="T41" fmla="*/ 42 h 148"/>
                <a:gd name="T42" fmla="*/ 44 w 148"/>
                <a:gd name="T43" fmla="*/ 42 h 148"/>
                <a:gd name="T44" fmla="*/ 41 w 148"/>
                <a:gd name="T45" fmla="*/ 42 h 148"/>
                <a:gd name="T46" fmla="*/ 37 w 148"/>
                <a:gd name="T47" fmla="*/ 29 h 148"/>
                <a:gd name="T48" fmla="*/ 65 w 148"/>
                <a:gd name="T49" fmla="*/ 29 h 148"/>
                <a:gd name="T50" fmla="*/ 68 w 148"/>
                <a:gd name="T51" fmla="*/ 29 h 148"/>
                <a:gd name="T52" fmla="*/ 75 w 148"/>
                <a:gd name="T53" fmla="*/ 32 h 148"/>
                <a:gd name="T54" fmla="*/ 79 w 148"/>
                <a:gd name="T55" fmla="*/ 29 h 148"/>
                <a:gd name="T56" fmla="*/ 89 w 148"/>
                <a:gd name="T57" fmla="*/ 32 h 148"/>
                <a:gd name="T58" fmla="*/ 93 w 148"/>
                <a:gd name="T59" fmla="*/ 32 h 148"/>
                <a:gd name="T60" fmla="*/ 96 w 148"/>
                <a:gd name="T61" fmla="*/ 32 h 148"/>
                <a:gd name="T62" fmla="*/ 96 w 148"/>
                <a:gd name="T63" fmla="*/ 26 h 148"/>
                <a:gd name="T64" fmla="*/ 113 w 148"/>
                <a:gd name="T65" fmla="*/ 6 h 148"/>
                <a:gd name="T66" fmla="*/ 127 w 148"/>
                <a:gd name="T67" fmla="*/ 0 h 148"/>
                <a:gd name="T68" fmla="*/ 134 w 148"/>
                <a:gd name="T69" fmla="*/ 0 h 148"/>
                <a:gd name="T70" fmla="*/ 141 w 148"/>
                <a:gd name="T71" fmla="*/ 3 h 148"/>
                <a:gd name="T72" fmla="*/ 144 w 148"/>
                <a:gd name="T73" fmla="*/ 3 h 148"/>
                <a:gd name="T74" fmla="*/ 144 w 148"/>
                <a:gd name="T75" fmla="*/ 13 h 148"/>
                <a:gd name="T76" fmla="*/ 137 w 148"/>
                <a:gd name="T77" fmla="*/ 32 h 148"/>
                <a:gd name="T78" fmla="*/ 130 w 148"/>
                <a:gd name="T79" fmla="*/ 42 h 148"/>
                <a:gd name="T80" fmla="*/ 130 w 148"/>
                <a:gd name="T81" fmla="*/ 51 h 148"/>
                <a:gd name="T82" fmla="*/ 127 w 148"/>
                <a:gd name="T83" fmla="*/ 61 h 148"/>
                <a:gd name="T84" fmla="*/ 120 w 148"/>
                <a:gd name="T85" fmla="*/ 80 h 148"/>
                <a:gd name="T86" fmla="*/ 110 w 148"/>
                <a:gd name="T87" fmla="*/ 80 h 148"/>
                <a:gd name="T88" fmla="*/ 103 w 148"/>
                <a:gd name="T89" fmla="*/ 93 h 148"/>
                <a:gd name="T90" fmla="*/ 96 w 148"/>
                <a:gd name="T91" fmla="*/ 106 h 148"/>
                <a:gd name="T92" fmla="*/ 93 w 148"/>
                <a:gd name="T93" fmla="*/ 119 h 148"/>
                <a:gd name="T94" fmla="*/ 89 w 148"/>
                <a:gd name="T95" fmla="*/ 129 h 148"/>
                <a:gd name="T96" fmla="*/ 75 w 148"/>
                <a:gd name="T97" fmla="*/ 139 h 148"/>
                <a:gd name="T98" fmla="*/ 65 w 148"/>
                <a:gd name="T99" fmla="*/ 142 h 148"/>
                <a:gd name="T100" fmla="*/ 65 w 148"/>
                <a:gd name="T101" fmla="*/ 135 h 148"/>
                <a:gd name="T102" fmla="*/ 55 w 148"/>
                <a:gd name="T103" fmla="*/ 139 h 148"/>
                <a:gd name="T104" fmla="*/ 48 w 148"/>
                <a:gd name="T105" fmla="*/ 142 h 148"/>
                <a:gd name="T106" fmla="*/ 44 w 148"/>
                <a:gd name="T107" fmla="*/ 142 h 148"/>
                <a:gd name="T108" fmla="*/ 37 w 148"/>
                <a:gd name="T109" fmla="*/ 142 h 148"/>
                <a:gd name="T110" fmla="*/ 34 w 148"/>
                <a:gd name="T111" fmla="*/ 135 h 148"/>
                <a:gd name="T112" fmla="*/ 27 w 148"/>
                <a:gd name="T113" fmla="*/ 139 h 148"/>
                <a:gd name="T114" fmla="*/ 20 w 148"/>
                <a:gd name="T115" fmla="*/ 142 h 148"/>
                <a:gd name="T116" fmla="*/ 13 w 148"/>
                <a:gd name="T117" fmla="*/ 148 h 148"/>
                <a:gd name="T118" fmla="*/ 10 w 148"/>
                <a:gd name="T119" fmla="*/ 139 h 148"/>
                <a:gd name="T120" fmla="*/ 3 w 148"/>
                <a:gd name="T121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48">
                  <a:moveTo>
                    <a:pt x="0" y="126"/>
                  </a:moveTo>
                  <a:lnTo>
                    <a:pt x="0" y="122"/>
                  </a:lnTo>
                  <a:lnTo>
                    <a:pt x="3" y="122"/>
                  </a:lnTo>
                  <a:lnTo>
                    <a:pt x="3" y="122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10" y="119"/>
                  </a:lnTo>
                  <a:lnTo>
                    <a:pt x="13" y="122"/>
                  </a:lnTo>
                  <a:lnTo>
                    <a:pt x="17" y="119"/>
                  </a:lnTo>
                  <a:lnTo>
                    <a:pt x="13" y="113"/>
                  </a:lnTo>
                  <a:lnTo>
                    <a:pt x="10" y="110"/>
                  </a:lnTo>
                  <a:lnTo>
                    <a:pt x="10" y="110"/>
                  </a:lnTo>
                  <a:lnTo>
                    <a:pt x="7" y="110"/>
                  </a:lnTo>
                  <a:lnTo>
                    <a:pt x="3" y="110"/>
                  </a:lnTo>
                  <a:lnTo>
                    <a:pt x="3" y="106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10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24" y="100"/>
                  </a:lnTo>
                  <a:lnTo>
                    <a:pt x="27" y="97"/>
                  </a:lnTo>
                  <a:lnTo>
                    <a:pt x="24" y="93"/>
                  </a:lnTo>
                  <a:lnTo>
                    <a:pt x="27" y="93"/>
                  </a:lnTo>
                  <a:lnTo>
                    <a:pt x="31" y="93"/>
                  </a:lnTo>
                  <a:lnTo>
                    <a:pt x="34" y="100"/>
                  </a:lnTo>
                  <a:lnTo>
                    <a:pt x="37" y="103"/>
                  </a:lnTo>
                  <a:lnTo>
                    <a:pt x="41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51" y="100"/>
                  </a:lnTo>
                  <a:lnTo>
                    <a:pt x="55" y="100"/>
                  </a:lnTo>
                  <a:lnTo>
                    <a:pt x="55" y="103"/>
                  </a:lnTo>
                  <a:lnTo>
                    <a:pt x="58" y="103"/>
                  </a:lnTo>
                  <a:lnTo>
                    <a:pt x="58" y="100"/>
                  </a:lnTo>
                  <a:lnTo>
                    <a:pt x="55" y="97"/>
                  </a:lnTo>
                  <a:lnTo>
                    <a:pt x="62" y="84"/>
                  </a:lnTo>
                  <a:lnTo>
                    <a:pt x="62" y="77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1"/>
                  </a:lnTo>
                  <a:lnTo>
                    <a:pt x="58" y="71"/>
                  </a:lnTo>
                  <a:lnTo>
                    <a:pt x="58" y="68"/>
                  </a:lnTo>
                  <a:lnTo>
                    <a:pt x="55" y="68"/>
                  </a:lnTo>
                  <a:lnTo>
                    <a:pt x="55" y="64"/>
                  </a:lnTo>
                  <a:lnTo>
                    <a:pt x="51" y="64"/>
                  </a:lnTo>
                  <a:lnTo>
                    <a:pt x="51" y="64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8" y="61"/>
                  </a:lnTo>
                  <a:lnTo>
                    <a:pt x="55" y="58"/>
                  </a:lnTo>
                  <a:lnTo>
                    <a:pt x="55" y="58"/>
                  </a:lnTo>
                  <a:lnTo>
                    <a:pt x="55" y="55"/>
                  </a:lnTo>
                  <a:lnTo>
                    <a:pt x="58" y="55"/>
                  </a:lnTo>
                  <a:lnTo>
                    <a:pt x="62" y="55"/>
                  </a:lnTo>
                  <a:lnTo>
                    <a:pt x="62" y="51"/>
                  </a:lnTo>
                  <a:lnTo>
                    <a:pt x="62" y="48"/>
                  </a:lnTo>
                  <a:lnTo>
                    <a:pt x="62" y="45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55" y="42"/>
                  </a:lnTo>
                  <a:lnTo>
                    <a:pt x="51" y="42"/>
                  </a:lnTo>
                  <a:lnTo>
                    <a:pt x="48" y="42"/>
                  </a:lnTo>
                  <a:lnTo>
                    <a:pt x="44" y="42"/>
                  </a:lnTo>
                  <a:lnTo>
                    <a:pt x="41" y="42"/>
                  </a:lnTo>
                  <a:lnTo>
                    <a:pt x="37" y="42"/>
                  </a:lnTo>
                  <a:lnTo>
                    <a:pt x="41" y="42"/>
                  </a:lnTo>
                  <a:lnTo>
                    <a:pt x="37" y="38"/>
                  </a:lnTo>
                  <a:lnTo>
                    <a:pt x="37" y="32"/>
                  </a:lnTo>
                  <a:lnTo>
                    <a:pt x="37" y="29"/>
                  </a:lnTo>
                  <a:lnTo>
                    <a:pt x="37" y="26"/>
                  </a:lnTo>
                  <a:lnTo>
                    <a:pt x="62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72" y="29"/>
                  </a:lnTo>
                  <a:lnTo>
                    <a:pt x="75" y="29"/>
                  </a:lnTo>
                  <a:lnTo>
                    <a:pt x="75" y="32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3" y="29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9" y="22"/>
                  </a:lnTo>
                  <a:lnTo>
                    <a:pt x="106" y="9"/>
                  </a:lnTo>
                  <a:lnTo>
                    <a:pt x="113" y="6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27" y="0"/>
                  </a:lnTo>
                  <a:lnTo>
                    <a:pt x="127" y="0"/>
                  </a:lnTo>
                  <a:lnTo>
                    <a:pt x="130" y="0"/>
                  </a:lnTo>
                  <a:lnTo>
                    <a:pt x="134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41" y="3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4" y="3"/>
                  </a:lnTo>
                  <a:lnTo>
                    <a:pt x="148" y="6"/>
                  </a:lnTo>
                  <a:lnTo>
                    <a:pt x="148" y="13"/>
                  </a:lnTo>
                  <a:lnTo>
                    <a:pt x="144" y="13"/>
                  </a:lnTo>
                  <a:lnTo>
                    <a:pt x="144" y="16"/>
                  </a:lnTo>
                  <a:lnTo>
                    <a:pt x="134" y="26"/>
                  </a:lnTo>
                  <a:lnTo>
                    <a:pt x="137" y="32"/>
                  </a:lnTo>
                  <a:lnTo>
                    <a:pt x="134" y="35"/>
                  </a:lnTo>
                  <a:lnTo>
                    <a:pt x="134" y="38"/>
                  </a:lnTo>
                  <a:lnTo>
                    <a:pt x="130" y="42"/>
                  </a:lnTo>
                  <a:lnTo>
                    <a:pt x="130" y="45"/>
                  </a:lnTo>
                  <a:lnTo>
                    <a:pt x="130" y="48"/>
                  </a:lnTo>
                  <a:lnTo>
                    <a:pt x="130" y="51"/>
                  </a:lnTo>
                  <a:lnTo>
                    <a:pt x="130" y="55"/>
                  </a:lnTo>
                  <a:lnTo>
                    <a:pt x="130" y="58"/>
                  </a:lnTo>
                  <a:lnTo>
                    <a:pt x="127" y="61"/>
                  </a:lnTo>
                  <a:lnTo>
                    <a:pt x="127" y="64"/>
                  </a:lnTo>
                  <a:lnTo>
                    <a:pt x="127" y="71"/>
                  </a:lnTo>
                  <a:lnTo>
                    <a:pt x="120" y="80"/>
                  </a:lnTo>
                  <a:lnTo>
                    <a:pt x="117" y="80"/>
                  </a:lnTo>
                  <a:lnTo>
                    <a:pt x="113" y="84"/>
                  </a:lnTo>
                  <a:lnTo>
                    <a:pt x="110" y="80"/>
                  </a:lnTo>
                  <a:lnTo>
                    <a:pt x="106" y="84"/>
                  </a:lnTo>
                  <a:lnTo>
                    <a:pt x="103" y="87"/>
                  </a:lnTo>
                  <a:lnTo>
                    <a:pt x="103" y="93"/>
                  </a:lnTo>
                  <a:lnTo>
                    <a:pt x="96" y="97"/>
                  </a:lnTo>
                  <a:lnTo>
                    <a:pt x="93" y="100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6" y="116"/>
                  </a:lnTo>
                  <a:lnTo>
                    <a:pt x="93" y="119"/>
                  </a:lnTo>
                  <a:lnTo>
                    <a:pt x="96" y="122"/>
                  </a:lnTo>
                  <a:lnTo>
                    <a:pt x="93" y="129"/>
                  </a:lnTo>
                  <a:lnTo>
                    <a:pt x="89" y="129"/>
                  </a:lnTo>
                  <a:lnTo>
                    <a:pt x="86" y="129"/>
                  </a:lnTo>
                  <a:lnTo>
                    <a:pt x="82" y="132"/>
                  </a:lnTo>
                  <a:lnTo>
                    <a:pt x="75" y="139"/>
                  </a:lnTo>
                  <a:lnTo>
                    <a:pt x="72" y="142"/>
                  </a:lnTo>
                  <a:lnTo>
                    <a:pt x="68" y="145"/>
                  </a:lnTo>
                  <a:lnTo>
                    <a:pt x="65" y="142"/>
                  </a:lnTo>
                  <a:lnTo>
                    <a:pt x="62" y="139"/>
                  </a:lnTo>
                  <a:lnTo>
                    <a:pt x="62" y="139"/>
                  </a:lnTo>
                  <a:lnTo>
                    <a:pt x="65" y="135"/>
                  </a:lnTo>
                  <a:lnTo>
                    <a:pt x="65" y="132"/>
                  </a:lnTo>
                  <a:lnTo>
                    <a:pt x="58" y="135"/>
                  </a:lnTo>
                  <a:lnTo>
                    <a:pt x="55" y="139"/>
                  </a:lnTo>
                  <a:lnTo>
                    <a:pt x="51" y="135"/>
                  </a:lnTo>
                  <a:lnTo>
                    <a:pt x="48" y="139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1" y="142"/>
                  </a:lnTo>
                  <a:lnTo>
                    <a:pt x="44" y="142"/>
                  </a:lnTo>
                  <a:lnTo>
                    <a:pt x="41" y="139"/>
                  </a:lnTo>
                  <a:lnTo>
                    <a:pt x="37" y="142"/>
                  </a:lnTo>
                  <a:lnTo>
                    <a:pt x="37" y="142"/>
                  </a:lnTo>
                  <a:lnTo>
                    <a:pt x="34" y="142"/>
                  </a:lnTo>
                  <a:lnTo>
                    <a:pt x="34" y="139"/>
                  </a:lnTo>
                  <a:lnTo>
                    <a:pt x="34" y="135"/>
                  </a:lnTo>
                  <a:lnTo>
                    <a:pt x="31" y="135"/>
                  </a:lnTo>
                  <a:lnTo>
                    <a:pt x="31" y="135"/>
                  </a:lnTo>
                  <a:lnTo>
                    <a:pt x="27" y="139"/>
                  </a:lnTo>
                  <a:lnTo>
                    <a:pt x="24" y="139"/>
                  </a:lnTo>
                  <a:lnTo>
                    <a:pt x="24" y="142"/>
                  </a:lnTo>
                  <a:lnTo>
                    <a:pt x="20" y="142"/>
                  </a:lnTo>
                  <a:lnTo>
                    <a:pt x="17" y="142"/>
                  </a:lnTo>
                  <a:lnTo>
                    <a:pt x="17" y="145"/>
                  </a:lnTo>
                  <a:lnTo>
                    <a:pt x="13" y="148"/>
                  </a:lnTo>
                  <a:lnTo>
                    <a:pt x="13" y="145"/>
                  </a:lnTo>
                  <a:lnTo>
                    <a:pt x="13" y="142"/>
                  </a:lnTo>
                  <a:lnTo>
                    <a:pt x="10" y="139"/>
                  </a:lnTo>
                  <a:lnTo>
                    <a:pt x="10" y="135"/>
                  </a:lnTo>
                  <a:lnTo>
                    <a:pt x="3" y="132"/>
                  </a:lnTo>
                  <a:lnTo>
                    <a:pt x="3" y="129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37" name="Freeform 138"/>
            <p:cNvSpPr>
              <a:spLocks/>
            </p:cNvSpPr>
            <p:nvPr/>
          </p:nvSpPr>
          <p:spPr bwMode="auto">
            <a:xfrm>
              <a:off x="6626226" y="4744105"/>
              <a:ext cx="33338" cy="36512"/>
            </a:xfrm>
            <a:custGeom>
              <a:avLst/>
              <a:gdLst>
                <a:gd name="T0" fmla="*/ 21 w 21"/>
                <a:gd name="T1" fmla="*/ 7 h 23"/>
                <a:gd name="T2" fmla="*/ 21 w 21"/>
                <a:gd name="T3" fmla="*/ 4 h 23"/>
                <a:gd name="T4" fmla="*/ 21 w 21"/>
                <a:gd name="T5" fmla="*/ 0 h 23"/>
                <a:gd name="T6" fmla="*/ 18 w 21"/>
                <a:gd name="T7" fmla="*/ 0 h 23"/>
                <a:gd name="T8" fmla="*/ 18 w 21"/>
                <a:gd name="T9" fmla="*/ 0 h 23"/>
                <a:gd name="T10" fmla="*/ 14 w 21"/>
                <a:gd name="T11" fmla="*/ 4 h 23"/>
                <a:gd name="T12" fmla="*/ 11 w 21"/>
                <a:gd name="T13" fmla="*/ 4 h 23"/>
                <a:gd name="T14" fmla="*/ 11 w 21"/>
                <a:gd name="T15" fmla="*/ 7 h 23"/>
                <a:gd name="T16" fmla="*/ 7 w 21"/>
                <a:gd name="T17" fmla="*/ 7 h 23"/>
                <a:gd name="T18" fmla="*/ 4 w 21"/>
                <a:gd name="T19" fmla="*/ 7 h 23"/>
                <a:gd name="T20" fmla="*/ 4 w 21"/>
                <a:gd name="T21" fmla="*/ 10 h 23"/>
                <a:gd name="T22" fmla="*/ 0 w 21"/>
                <a:gd name="T23" fmla="*/ 13 h 23"/>
                <a:gd name="T24" fmla="*/ 4 w 21"/>
                <a:gd name="T25" fmla="*/ 13 h 23"/>
                <a:gd name="T26" fmla="*/ 4 w 21"/>
                <a:gd name="T27" fmla="*/ 20 h 23"/>
                <a:gd name="T28" fmla="*/ 4 w 21"/>
                <a:gd name="T29" fmla="*/ 23 h 23"/>
                <a:gd name="T30" fmla="*/ 4 w 21"/>
                <a:gd name="T31" fmla="*/ 23 h 23"/>
                <a:gd name="T32" fmla="*/ 7 w 21"/>
                <a:gd name="T33" fmla="*/ 23 h 23"/>
                <a:gd name="T34" fmla="*/ 11 w 21"/>
                <a:gd name="T35" fmla="*/ 23 h 23"/>
                <a:gd name="T36" fmla="*/ 14 w 21"/>
                <a:gd name="T37" fmla="*/ 20 h 23"/>
                <a:gd name="T38" fmla="*/ 14 w 21"/>
                <a:gd name="T39" fmla="*/ 13 h 23"/>
                <a:gd name="T40" fmla="*/ 14 w 21"/>
                <a:gd name="T41" fmla="*/ 13 h 23"/>
                <a:gd name="T42" fmla="*/ 18 w 21"/>
                <a:gd name="T43" fmla="*/ 10 h 23"/>
                <a:gd name="T44" fmla="*/ 21 w 21"/>
                <a:gd name="T45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3">
                  <a:moveTo>
                    <a:pt x="21" y="7"/>
                  </a:moveTo>
                  <a:lnTo>
                    <a:pt x="21" y="4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4" y="4"/>
                  </a:lnTo>
                  <a:lnTo>
                    <a:pt x="11" y="4"/>
                  </a:lnTo>
                  <a:lnTo>
                    <a:pt x="11" y="7"/>
                  </a:lnTo>
                  <a:lnTo>
                    <a:pt x="7" y="7"/>
                  </a:lnTo>
                  <a:lnTo>
                    <a:pt x="4" y="7"/>
                  </a:lnTo>
                  <a:lnTo>
                    <a:pt x="4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20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7" y="23"/>
                  </a:lnTo>
                  <a:lnTo>
                    <a:pt x="11" y="23"/>
                  </a:lnTo>
                  <a:lnTo>
                    <a:pt x="14" y="20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8" y="10"/>
                  </a:lnTo>
                  <a:lnTo>
                    <a:pt x="2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38" name="Freeform 139"/>
            <p:cNvSpPr>
              <a:spLocks/>
            </p:cNvSpPr>
            <p:nvPr/>
          </p:nvSpPr>
          <p:spPr bwMode="auto">
            <a:xfrm>
              <a:off x="7162801" y="4652030"/>
              <a:ext cx="342900" cy="298450"/>
            </a:xfrm>
            <a:custGeom>
              <a:avLst/>
              <a:gdLst>
                <a:gd name="T0" fmla="*/ 27 w 216"/>
                <a:gd name="T1" fmla="*/ 3 h 188"/>
                <a:gd name="T2" fmla="*/ 92 w 216"/>
                <a:gd name="T3" fmla="*/ 0 h 188"/>
                <a:gd name="T4" fmla="*/ 168 w 216"/>
                <a:gd name="T5" fmla="*/ 42 h 188"/>
                <a:gd name="T6" fmla="*/ 192 w 216"/>
                <a:gd name="T7" fmla="*/ 62 h 188"/>
                <a:gd name="T8" fmla="*/ 192 w 216"/>
                <a:gd name="T9" fmla="*/ 65 h 188"/>
                <a:gd name="T10" fmla="*/ 185 w 216"/>
                <a:gd name="T11" fmla="*/ 84 h 188"/>
                <a:gd name="T12" fmla="*/ 196 w 216"/>
                <a:gd name="T13" fmla="*/ 94 h 188"/>
                <a:gd name="T14" fmla="*/ 199 w 216"/>
                <a:gd name="T15" fmla="*/ 104 h 188"/>
                <a:gd name="T16" fmla="*/ 192 w 216"/>
                <a:gd name="T17" fmla="*/ 107 h 188"/>
                <a:gd name="T18" fmla="*/ 196 w 216"/>
                <a:gd name="T19" fmla="*/ 120 h 188"/>
                <a:gd name="T20" fmla="*/ 196 w 216"/>
                <a:gd name="T21" fmla="*/ 129 h 188"/>
                <a:gd name="T22" fmla="*/ 199 w 216"/>
                <a:gd name="T23" fmla="*/ 136 h 188"/>
                <a:gd name="T24" fmla="*/ 199 w 216"/>
                <a:gd name="T25" fmla="*/ 142 h 188"/>
                <a:gd name="T26" fmla="*/ 209 w 216"/>
                <a:gd name="T27" fmla="*/ 155 h 188"/>
                <a:gd name="T28" fmla="*/ 216 w 216"/>
                <a:gd name="T29" fmla="*/ 158 h 188"/>
                <a:gd name="T30" fmla="*/ 216 w 216"/>
                <a:gd name="T31" fmla="*/ 162 h 188"/>
                <a:gd name="T32" fmla="*/ 206 w 216"/>
                <a:gd name="T33" fmla="*/ 165 h 188"/>
                <a:gd name="T34" fmla="*/ 196 w 216"/>
                <a:gd name="T35" fmla="*/ 168 h 188"/>
                <a:gd name="T36" fmla="*/ 189 w 216"/>
                <a:gd name="T37" fmla="*/ 171 h 188"/>
                <a:gd name="T38" fmla="*/ 175 w 216"/>
                <a:gd name="T39" fmla="*/ 175 h 188"/>
                <a:gd name="T40" fmla="*/ 168 w 216"/>
                <a:gd name="T41" fmla="*/ 171 h 188"/>
                <a:gd name="T42" fmla="*/ 165 w 216"/>
                <a:gd name="T43" fmla="*/ 178 h 188"/>
                <a:gd name="T44" fmla="*/ 154 w 216"/>
                <a:gd name="T45" fmla="*/ 178 h 188"/>
                <a:gd name="T46" fmla="*/ 147 w 216"/>
                <a:gd name="T47" fmla="*/ 175 h 188"/>
                <a:gd name="T48" fmla="*/ 141 w 216"/>
                <a:gd name="T49" fmla="*/ 178 h 188"/>
                <a:gd name="T50" fmla="*/ 134 w 216"/>
                <a:gd name="T51" fmla="*/ 178 h 188"/>
                <a:gd name="T52" fmla="*/ 127 w 216"/>
                <a:gd name="T53" fmla="*/ 175 h 188"/>
                <a:gd name="T54" fmla="*/ 123 w 216"/>
                <a:gd name="T55" fmla="*/ 175 h 188"/>
                <a:gd name="T56" fmla="*/ 96 w 216"/>
                <a:gd name="T57" fmla="*/ 188 h 188"/>
                <a:gd name="T58" fmla="*/ 89 w 216"/>
                <a:gd name="T59" fmla="*/ 149 h 188"/>
                <a:gd name="T60" fmla="*/ 86 w 216"/>
                <a:gd name="T61" fmla="*/ 146 h 188"/>
                <a:gd name="T62" fmla="*/ 79 w 216"/>
                <a:gd name="T63" fmla="*/ 142 h 188"/>
                <a:gd name="T64" fmla="*/ 75 w 216"/>
                <a:gd name="T65" fmla="*/ 142 h 188"/>
                <a:gd name="T66" fmla="*/ 72 w 216"/>
                <a:gd name="T67" fmla="*/ 139 h 188"/>
                <a:gd name="T68" fmla="*/ 65 w 216"/>
                <a:gd name="T69" fmla="*/ 136 h 188"/>
                <a:gd name="T70" fmla="*/ 61 w 216"/>
                <a:gd name="T71" fmla="*/ 133 h 188"/>
                <a:gd name="T72" fmla="*/ 44 w 216"/>
                <a:gd name="T73" fmla="*/ 129 h 188"/>
                <a:gd name="T74" fmla="*/ 41 w 216"/>
                <a:gd name="T75" fmla="*/ 126 h 188"/>
                <a:gd name="T76" fmla="*/ 34 w 216"/>
                <a:gd name="T77" fmla="*/ 123 h 188"/>
                <a:gd name="T78" fmla="*/ 6 w 216"/>
                <a:gd name="T79" fmla="*/ 94 h 188"/>
                <a:gd name="T80" fmla="*/ 10 w 216"/>
                <a:gd name="T81" fmla="*/ 58 h 188"/>
                <a:gd name="T82" fmla="*/ 27 w 216"/>
                <a:gd name="T83" fmla="*/ 49 h 188"/>
                <a:gd name="T84" fmla="*/ 34 w 216"/>
                <a:gd name="T85" fmla="*/ 42 h 188"/>
                <a:gd name="T86" fmla="*/ 30 w 216"/>
                <a:gd name="T87" fmla="*/ 36 h 188"/>
                <a:gd name="T88" fmla="*/ 27 w 216"/>
                <a:gd name="T89" fmla="*/ 29 h 188"/>
                <a:gd name="T90" fmla="*/ 27 w 216"/>
                <a:gd name="T91" fmla="*/ 26 h 188"/>
                <a:gd name="T92" fmla="*/ 30 w 216"/>
                <a:gd name="T93" fmla="*/ 26 h 188"/>
                <a:gd name="T94" fmla="*/ 34 w 216"/>
                <a:gd name="T95" fmla="*/ 16 h 188"/>
                <a:gd name="T96" fmla="*/ 30 w 216"/>
                <a:gd name="T97" fmla="*/ 1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6" h="188">
                  <a:moveTo>
                    <a:pt x="24" y="3"/>
                  </a:moveTo>
                  <a:lnTo>
                    <a:pt x="27" y="3"/>
                  </a:lnTo>
                  <a:lnTo>
                    <a:pt x="27" y="3"/>
                  </a:lnTo>
                  <a:lnTo>
                    <a:pt x="30" y="3"/>
                  </a:lnTo>
                  <a:lnTo>
                    <a:pt x="55" y="0"/>
                  </a:lnTo>
                  <a:lnTo>
                    <a:pt x="92" y="0"/>
                  </a:lnTo>
                  <a:lnTo>
                    <a:pt x="165" y="36"/>
                  </a:lnTo>
                  <a:lnTo>
                    <a:pt x="168" y="42"/>
                  </a:lnTo>
                  <a:lnTo>
                    <a:pt x="168" y="42"/>
                  </a:lnTo>
                  <a:lnTo>
                    <a:pt x="168" y="45"/>
                  </a:lnTo>
                  <a:lnTo>
                    <a:pt x="168" y="45"/>
                  </a:lnTo>
                  <a:lnTo>
                    <a:pt x="192" y="62"/>
                  </a:lnTo>
                  <a:lnTo>
                    <a:pt x="192" y="62"/>
                  </a:lnTo>
                  <a:lnTo>
                    <a:pt x="192" y="62"/>
                  </a:lnTo>
                  <a:lnTo>
                    <a:pt x="192" y="65"/>
                  </a:lnTo>
                  <a:lnTo>
                    <a:pt x="192" y="65"/>
                  </a:lnTo>
                  <a:lnTo>
                    <a:pt x="189" y="78"/>
                  </a:lnTo>
                  <a:lnTo>
                    <a:pt x="185" y="84"/>
                  </a:lnTo>
                  <a:lnTo>
                    <a:pt x="185" y="87"/>
                  </a:lnTo>
                  <a:lnTo>
                    <a:pt x="192" y="91"/>
                  </a:lnTo>
                  <a:lnTo>
                    <a:pt x="196" y="94"/>
                  </a:lnTo>
                  <a:lnTo>
                    <a:pt x="199" y="94"/>
                  </a:lnTo>
                  <a:lnTo>
                    <a:pt x="199" y="100"/>
                  </a:lnTo>
                  <a:lnTo>
                    <a:pt x="199" y="104"/>
                  </a:lnTo>
                  <a:lnTo>
                    <a:pt x="196" y="104"/>
                  </a:lnTo>
                  <a:lnTo>
                    <a:pt x="196" y="104"/>
                  </a:lnTo>
                  <a:lnTo>
                    <a:pt x="192" y="107"/>
                  </a:lnTo>
                  <a:lnTo>
                    <a:pt x="196" y="113"/>
                  </a:lnTo>
                  <a:lnTo>
                    <a:pt x="196" y="116"/>
                  </a:lnTo>
                  <a:lnTo>
                    <a:pt x="196" y="120"/>
                  </a:lnTo>
                  <a:lnTo>
                    <a:pt x="192" y="123"/>
                  </a:lnTo>
                  <a:lnTo>
                    <a:pt x="196" y="126"/>
                  </a:lnTo>
                  <a:lnTo>
                    <a:pt x="196" y="129"/>
                  </a:lnTo>
                  <a:lnTo>
                    <a:pt x="196" y="129"/>
                  </a:lnTo>
                  <a:lnTo>
                    <a:pt x="196" y="133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9"/>
                  </a:lnTo>
                  <a:lnTo>
                    <a:pt x="199" y="142"/>
                  </a:lnTo>
                  <a:lnTo>
                    <a:pt x="202" y="146"/>
                  </a:lnTo>
                  <a:lnTo>
                    <a:pt x="202" y="149"/>
                  </a:lnTo>
                  <a:lnTo>
                    <a:pt x="209" y="155"/>
                  </a:lnTo>
                  <a:lnTo>
                    <a:pt x="213" y="155"/>
                  </a:lnTo>
                  <a:lnTo>
                    <a:pt x="216" y="158"/>
                  </a:lnTo>
                  <a:lnTo>
                    <a:pt x="216" y="158"/>
                  </a:lnTo>
                  <a:lnTo>
                    <a:pt x="216" y="158"/>
                  </a:lnTo>
                  <a:lnTo>
                    <a:pt x="216" y="162"/>
                  </a:lnTo>
                  <a:lnTo>
                    <a:pt x="216" y="162"/>
                  </a:lnTo>
                  <a:lnTo>
                    <a:pt x="213" y="162"/>
                  </a:lnTo>
                  <a:lnTo>
                    <a:pt x="209" y="165"/>
                  </a:lnTo>
                  <a:lnTo>
                    <a:pt x="206" y="165"/>
                  </a:lnTo>
                  <a:lnTo>
                    <a:pt x="202" y="165"/>
                  </a:lnTo>
                  <a:lnTo>
                    <a:pt x="199" y="168"/>
                  </a:lnTo>
                  <a:lnTo>
                    <a:pt x="196" y="168"/>
                  </a:lnTo>
                  <a:lnTo>
                    <a:pt x="196" y="171"/>
                  </a:lnTo>
                  <a:lnTo>
                    <a:pt x="192" y="171"/>
                  </a:lnTo>
                  <a:lnTo>
                    <a:pt x="189" y="171"/>
                  </a:lnTo>
                  <a:lnTo>
                    <a:pt x="182" y="171"/>
                  </a:lnTo>
                  <a:lnTo>
                    <a:pt x="178" y="175"/>
                  </a:lnTo>
                  <a:lnTo>
                    <a:pt x="175" y="175"/>
                  </a:lnTo>
                  <a:lnTo>
                    <a:pt x="172" y="171"/>
                  </a:lnTo>
                  <a:lnTo>
                    <a:pt x="172" y="171"/>
                  </a:lnTo>
                  <a:lnTo>
                    <a:pt x="168" y="171"/>
                  </a:lnTo>
                  <a:lnTo>
                    <a:pt x="165" y="171"/>
                  </a:lnTo>
                  <a:lnTo>
                    <a:pt x="165" y="175"/>
                  </a:lnTo>
                  <a:lnTo>
                    <a:pt x="165" y="178"/>
                  </a:lnTo>
                  <a:lnTo>
                    <a:pt x="158" y="178"/>
                  </a:lnTo>
                  <a:lnTo>
                    <a:pt x="154" y="178"/>
                  </a:lnTo>
                  <a:lnTo>
                    <a:pt x="154" y="178"/>
                  </a:lnTo>
                  <a:lnTo>
                    <a:pt x="151" y="178"/>
                  </a:lnTo>
                  <a:lnTo>
                    <a:pt x="151" y="175"/>
                  </a:lnTo>
                  <a:lnTo>
                    <a:pt x="147" y="175"/>
                  </a:lnTo>
                  <a:lnTo>
                    <a:pt x="147" y="178"/>
                  </a:lnTo>
                  <a:lnTo>
                    <a:pt x="144" y="178"/>
                  </a:lnTo>
                  <a:lnTo>
                    <a:pt x="141" y="178"/>
                  </a:lnTo>
                  <a:lnTo>
                    <a:pt x="134" y="181"/>
                  </a:lnTo>
                  <a:lnTo>
                    <a:pt x="134" y="178"/>
                  </a:lnTo>
                  <a:lnTo>
                    <a:pt x="134" y="178"/>
                  </a:lnTo>
                  <a:lnTo>
                    <a:pt x="130" y="178"/>
                  </a:lnTo>
                  <a:lnTo>
                    <a:pt x="127" y="175"/>
                  </a:lnTo>
                  <a:lnTo>
                    <a:pt x="127" y="175"/>
                  </a:lnTo>
                  <a:lnTo>
                    <a:pt x="127" y="175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0" y="175"/>
                  </a:lnTo>
                  <a:lnTo>
                    <a:pt x="99" y="178"/>
                  </a:lnTo>
                  <a:lnTo>
                    <a:pt x="96" y="188"/>
                  </a:lnTo>
                  <a:lnTo>
                    <a:pt x="96" y="162"/>
                  </a:lnTo>
                  <a:lnTo>
                    <a:pt x="96" y="155"/>
                  </a:lnTo>
                  <a:lnTo>
                    <a:pt x="89" y="149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2" y="146"/>
                  </a:lnTo>
                  <a:lnTo>
                    <a:pt x="82" y="142"/>
                  </a:lnTo>
                  <a:lnTo>
                    <a:pt x="79" y="142"/>
                  </a:lnTo>
                  <a:lnTo>
                    <a:pt x="79" y="142"/>
                  </a:lnTo>
                  <a:lnTo>
                    <a:pt x="79" y="142"/>
                  </a:lnTo>
                  <a:lnTo>
                    <a:pt x="75" y="142"/>
                  </a:lnTo>
                  <a:lnTo>
                    <a:pt x="75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68" y="139"/>
                  </a:lnTo>
                  <a:lnTo>
                    <a:pt x="65" y="136"/>
                  </a:lnTo>
                  <a:lnTo>
                    <a:pt x="65" y="136"/>
                  </a:lnTo>
                  <a:lnTo>
                    <a:pt x="61" y="136"/>
                  </a:lnTo>
                  <a:lnTo>
                    <a:pt x="61" y="133"/>
                  </a:lnTo>
                  <a:lnTo>
                    <a:pt x="58" y="133"/>
                  </a:lnTo>
                  <a:lnTo>
                    <a:pt x="51" y="129"/>
                  </a:lnTo>
                  <a:lnTo>
                    <a:pt x="44" y="129"/>
                  </a:lnTo>
                  <a:lnTo>
                    <a:pt x="44" y="129"/>
                  </a:lnTo>
                  <a:lnTo>
                    <a:pt x="44" y="126"/>
                  </a:lnTo>
                  <a:lnTo>
                    <a:pt x="41" y="126"/>
                  </a:lnTo>
                  <a:lnTo>
                    <a:pt x="37" y="126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27" y="123"/>
                  </a:lnTo>
                  <a:lnTo>
                    <a:pt x="20" y="110"/>
                  </a:lnTo>
                  <a:lnTo>
                    <a:pt x="6" y="94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10" y="58"/>
                  </a:lnTo>
                  <a:lnTo>
                    <a:pt x="17" y="58"/>
                  </a:lnTo>
                  <a:lnTo>
                    <a:pt x="20" y="55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30" y="45"/>
                  </a:lnTo>
                  <a:lnTo>
                    <a:pt x="34" y="42"/>
                  </a:lnTo>
                  <a:lnTo>
                    <a:pt x="34" y="39"/>
                  </a:lnTo>
                  <a:lnTo>
                    <a:pt x="34" y="36"/>
                  </a:lnTo>
                  <a:lnTo>
                    <a:pt x="30" y="36"/>
                  </a:lnTo>
                  <a:lnTo>
                    <a:pt x="30" y="33"/>
                  </a:lnTo>
                  <a:lnTo>
                    <a:pt x="27" y="33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9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4" y="23"/>
                  </a:lnTo>
                  <a:lnTo>
                    <a:pt x="34" y="20"/>
                  </a:lnTo>
                  <a:lnTo>
                    <a:pt x="34" y="16"/>
                  </a:lnTo>
                  <a:lnTo>
                    <a:pt x="30" y="13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7" y="7"/>
                  </a:lnTo>
                  <a:lnTo>
                    <a:pt x="24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39" name="Freeform 140"/>
            <p:cNvSpPr>
              <a:spLocks/>
            </p:cNvSpPr>
            <p:nvPr/>
          </p:nvSpPr>
          <p:spPr bwMode="auto">
            <a:xfrm>
              <a:off x="7156451" y="4656792"/>
              <a:ext cx="60325" cy="47625"/>
            </a:xfrm>
            <a:custGeom>
              <a:avLst/>
              <a:gdLst>
                <a:gd name="T0" fmla="*/ 10 w 38"/>
                <a:gd name="T1" fmla="*/ 4 h 30"/>
                <a:gd name="T2" fmla="*/ 10 w 38"/>
                <a:gd name="T3" fmla="*/ 4 h 30"/>
                <a:gd name="T4" fmla="*/ 14 w 38"/>
                <a:gd name="T5" fmla="*/ 4 h 30"/>
                <a:gd name="T6" fmla="*/ 17 w 38"/>
                <a:gd name="T7" fmla="*/ 4 h 30"/>
                <a:gd name="T8" fmla="*/ 21 w 38"/>
                <a:gd name="T9" fmla="*/ 4 h 30"/>
                <a:gd name="T10" fmla="*/ 21 w 38"/>
                <a:gd name="T11" fmla="*/ 4 h 30"/>
                <a:gd name="T12" fmla="*/ 24 w 38"/>
                <a:gd name="T13" fmla="*/ 4 h 30"/>
                <a:gd name="T14" fmla="*/ 24 w 38"/>
                <a:gd name="T15" fmla="*/ 4 h 30"/>
                <a:gd name="T16" fmla="*/ 24 w 38"/>
                <a:gd name="T17" fmla="*/ 0 h 30"/>
                <a:gd name="T18" fmla="*/ 28 w 38"/>
                <a:gd name="T19" fmla="*/ 0 h 30"/>
                <a:gd name="T20" fmla="*/ 31 w 38"/>
                <a:gd name="T21" fmla="*/ 4 h 30"/>
                <a:gd name="T22" fmla="*/ 34 w 38"/>
                <a:gd name="T23" fmla="*/ 7 h 30"/>
                <a:gd name="T24" fmla="*/ 34 w 38"/>
                <a:gd name="T25" fmla="*/ 7 h 30"/>
                <a:gd name="T26" fmla="*/ 34 w 38"/>
                <a:gd name="T27" fmla="*/ 10 h 30"/>
                <a:gd name="T28" fmla="*/ 38 w 38"/>
                <a:gd name="T29" fmla="*/ 13 h 30"/>
                <a:gd name="T30" fmla="*/ 38 w 38"/>
                <a:gd name="T31" fmla="*/ 17 h 30"/>
                <a:gd name="T32" fmla="*/ 38 w 38"/>
                <a:gd name="T33" fmla="*/ 20 h 30"/>
                <a:gd name="T34" fmla="*/ 34 w 38"/>
                <a:gd name="T35" fmla="*/ 23 h 30"/>
                <a:gd name="T36" fmla="*/ 34 w 38"/>
                <a:gd name="T37" fmla="*/ 23 h 30"/>
                <a:gd name="T38" fmla="*/ 31 w 38"/>
                <a:gd name="T39" fmla="*/ 26 h 30"/>
                <a:gd name="T40" fmla="*/ 31 w 38"/>
                <a:gd name="T41" fmla="*/ 23 h 30"/>
                <a:gd name="T42" fmla="*/ 31 w 38"/>
                <a:gd name="T43" fmla="*/ 23 h 30"/>
                <a:gd name="T44" fmla="*/ 31 w 38"/>
                <a:gd name="T45" fmla="*/ 23 h 30"/>
                <a:gd name="T46" fmla="*/ 28 w 38"/>
                <a:gd name="T47" fmla="*/ 23 h 30"/>
                <a:gd name="T48" fmla="*/ 28 w 38"/>
                <a:gd name="T49" fmla="*/ 20 h 30"/>
                <a:gd name="T50" fmla="*/ 24 w 38"/>
                <a:gd name="T51" fmla="*/ 20 h 30"/>
                <a:gd name="T52" fmla="*/ 24 w 38"/>
                <a:gd name="T53" fmla="*/ 17 h 30"/>
                <a:gd name="T54" fmla="*/ 21 w 38"/>
                <a:gd name="T55" fmla="*/ 17 h 30"/>
                <a:gd name="T56" fmla="*/ 21 w 38"/>
                <a:gd name="T57" fmla="*/ 20 h 30"/>
                <a:gd name="T58" fmla="*/ 17 w 38"/>
                <a:gd name="T59" fmla="*/ 26 h 30"/>
                <a:gd name="T60" fmla="*/ 17 w 38"/>
                <a:gd name="T61" fmla="*/ 26 h 30"/>
                <a:gd name="T62" fmla="*/ 14 w 38"/>
                <a:gd name="T63" fmla="*/ 30 h 30"/>
                <a:gd name="T64" fmla="*/ 14 w 38"/>
                <a:gd name="T65" fmla="*/ 26 h 30"/>
                <a:gd name="T66" fmla="*/ 10 w 38"/>
                <a:gd name="T67" fmla="*/ 26 h 30"/>
                <a:gd name="T68" fmla="*/ 10 w 38"/>
                <a:gd name="T69" fmla="*/ 30 h 30"/>
                <a:gd name="T70" fmla="*/ 7 w 38"/>
                <a:gd name="T71" fmla="*/ 26 h 30"/>
                <a:gd name="T72" fmla="*/ 7 w 38"/>
                <a:gd name="T73" fmla="*/ 23 h 30"/>
                <a:gd name="T74" fmla="*/ 4 w 38"/>
                <a:gd name="T75" fmla="*/ 23 h 30"/>
                <a:gd name="T76" fmla="*/ 0 w 38"/>
                <a:gd name="T77" fmla="*/ 23 h 30"/>
                <a:gd name="T78" fmla="*/ 0 w 38"/>
                <a:gd name="T79" fmla="*/ 23 h 30"/>
                <a:gd name="T80" fmla="*/ 0 w 38"/>
                <a:gd name="T81" fmla="*/ 23 h 30"/>
                <a:gd name="T82" fmla="*/ 4 w 38"/>
                <a:gd name="T83" fmla="*/ 10 h 30"/>
                <a:gd name="T84" fmla="*/ 7 w 38"/>
                <a:gd name="T85" fmla="*/ 7 h 30"/>
                <a:gd name="T86" fmla="*/ 10 w 38"/>
                <a:gd name="T87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8" h="30">
                  <a:moveTo>
                    <a:pt x="10" y="4"/>
                  </a:moveTo>
                  <a:lnTo>
                    <a:pt x="10" y="4"/>
                  </a:lnTo>
                  <a:lnTo>
                    <a:pt x="14" y="4"/>
                  </a:lnTo>
                  <a:lnTo>
                    <a:pt x="17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1" y="4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10"/>
                  </a:lnTo>
                  <a:lnTo>
                    <a:pt x="38" y="13"/>
                  </a:lnTo>
                  <a:lnTo>
                    <a:pt x="38" y="17"/>
                  </a:lnTo>
                  <a:lnTo>
                    <a:pt x="38" y="20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1" y="26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28" y="23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17"/>
                  </a:lnTo>
                  <a:lnTo>
                    <a:pt x="21" y="17"/>
                  </a:lnTo>
                  <a:lnTo>
                    <a:pt x="21" y="20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4" y="30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10" y="30"/>
                  </a:lnTo>
                  <a:lnTo>
                    <a:pt x="7" y="26"/>
                  </a:lnTo>
                  <a:lnTo>
                    <a:pt x="7" y="23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4" y="10"/>
                  </a:lnTo>
                  <a:lnTo>
                    <a:pt x="7" y="7"/>
                  </a:lnTo>
                  <a:lnTo>
                    <a:pt x="1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40" name="Freeform 141"/>
            <p:cNvSpPr>
              <a:spLocks/>
            </p:cNvSpPr>
            <p:nvPr/>
          </p:nvSpPr>
          <p:spPr bwMode="auto">
            <a:xfrm>
              <a:off x="7151688" y="4683780"/>
              <a:ext cx="65088" cy="60325"/>
            </a:xfrm>
            <a:custGeom>
              <a:avLst/>
              <a:gdLst>
                <a:gd name="T0" fmla="*/ 7 w 41"/>
                <a:gd name="T1" fmla="*/ 38 h 38"/>
                <a:gd name="T2" fmla="*/ 17 w 41"/>
                <a:gd name="T3" fmla="*/ 38 h 38"/>
                <a:gd name="T4" fmla="*/ 24 w 41"/>
                <a:gd name="T5" fmla="*/ 38 h 38"/>
                <a:gd name="T6" fmla="*/ 27 w 41"/>
                <a:gd name="T7" fmla="*/ 35 h 38"/>
                <a:gd name="T8" fmla="*/ 34 w 41"/>
                <a:gd name="T9" fmla="*/ 29 h 38"/>
                <a:gd name="T10" fmla="*/ 34 w 41"/>
                <a:gd name="T11" fmla="*/ 29 h 38"/>
                <a:gd name="T12" fmla="*/ 37 w 41"/>
                <a:gd name="T13" fmla="*/ 25 h 38"/>
                <a:gd name="T14" fmla="*/ 41 w 41"/>
                <a:gd name="T15" fmla="*/ 22 h 38"/>
                <a:gd name="T16" fmla="*/ 41 w 41"/>
                <a:gd name="T17" fmla="*/ 19 h 38"/>
                <a:gd name="T18" fmla="*/ 41 w 41"/>
                <a:gd name="T19" fmla="*/ 16 h 38"/>
                <a:gd name="T20" fmla="*/ 37 w 41"/>
                <a:gd name="T21" fmla="*/ 16 h 38"/>
                <a:gd name="T22" fmla="*/ 37 w 41"/>
                <a:gd name="T23" fmla="*/ 13 h 38"/>
                <a:gd name="T24" fmla="*/ 34 w 41"/>
                <a:gd name="T25" fmla="*/ 13 h 38"/>
                <a:gd name="T26" fmla="*/ 34 w 41"/>
                <a:gd name="T27" fmla="*/ 9 h 38"/>
                <a:gd name="T28" fmla="*/ 34 w 41"/>
                <a:gd name="T29" fmla="*/ 9 h 38"/>
                <a:gd name="T30" fmla="*/ 34 w 41"/>
                <a:gd name="T31" fmla="*/ 6 h 38"/>
                <a:gd name="T32" fmla="*/ 31 w 41"/>
                <a:gd name="T33" fmla="*/ 6 h 38"/>
                <a:gd name="T34" fmla="*/ 31 w 41"/>
                <a:gd name="T35" fmla="*/ 3 h 38"/>
                <a:gd name="T36" fmla="*/ 27 w 41"/>
                <a:gd name="T37" fmla="*/ 3 h 38"/>
                <a:gd name="T38" fmla="*/ 27 w 41"/>
                <a:gd name="T39" fmla="*/ 0 h 38"/>
                <a:gd name="T40" fmla="*/ 24 w 41"/>
                <a:gd name="T41" fmla="*/ 0 h 38"/>
                <a:gd name="T42" fmla="*/ 24 w 41"/>
                <a:gd name="T43" fmla="*/ 3 h 38"/>
                <a:gd name="T44" fmla="*/ 20 w 41"/>
                <a:gd name="T45" fmla="*/ 9 h 38"/>
                <a:gd name="T46" fmla="*/ 20 w 41"/>
                <a:gd name="T47" fmla="*/ 9 h 38"/>
                <a:gd name="T48" fmla="*/ 17 w 41"/>
                <a:gd name="T49" fmla="*/ 13 h 38"/>
                <a:gd name="T50" fmla="*/ 17 w 41"/>
                <a:gd name="T51" fmla="*/ 9 h 38"/>
                <a:gd name="T52" fmla="*/ 13 w 41"/>
                <a:gd name="T53" fmla="*/ 9 h 38"/>
                <a:gd name="T54" fmla="*/ 13 w 41"/>
                <a:gd name="T55" fmla="*/ 13 h 38"/>
                <a:gd name="T56" fmla="*/ 10 w 41"/>
                <a:gd name="T57" fmla="*/ 9 h 38"/>
                <a:gd name="T58" fmla="*/ 10 w 41"/>
                <a:gd name="T59" fmla="*/ 6 h 38"/>
                <a:gd name="T60" fmla="*/ 7 w 41"/>
                <a:gd name="T61" fmla="*/ 6 h 38"/>
                <a:gd name="T62" fmla="*/ 3 w 41"/>
                <a:gd name="T63" fmla="*/ 6 h 38"/>
                <a:gd name="T64" fmla="*/ 3 w 41"/>
                <a:gd name="T65" fmla="*/ 6 h 38"/>
                <a:gd name="T66" fmla="*/ 0 w 41"/>
                <a:gd name="T67" fmla="*/ 9 h 38"/>
                <a:gd name="T68" fmla="*/ 3 w 41"/>
                <a:gd name="T69" fmla="*/ 13 h 38"/>
                <a:gd name="T70" fmla="*/ 3 w 41"/>
                <a:gd name="T71" fmla="*/ 16 h 38"/>
                <a:gd name="T72" fmla="*/ 3 w 41"/>
                <a:gd name="T73" fmla="*/ 19 h 38"/>
                <a:gd name="T74" fmla="*/ 7 w 41"/>
                <a:gd name="T7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1" h="38">
                  <a:moveTo>
                    <a:pt x="7" y="38"/>
                  </a:moveTo>
                  <a:lnTo>
                    <a:pt x="17" y="38"/>
                  </a:lnTo>
                  <a:lnTo>
                    <a:pt x="24" y="38"/>
                  </a:lnTo>
                  <a:lnTo>
                    <a:pt x="27" y="35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7" y="25"/>
                  </a:lnTo>
                  <a:lnTo>
                    <a:pt x="41" y="22"/>
                  </a:lnTo>
                  <a:lnTo>
                    <a:pt x="41" y="19"/>
                  </a:lnTo>
                  <a:lnTo>
                    <a:pt x="41" y="16"/>
                  </a:lnTo>
                  <a:lnTo>
                    <a:pt x="37" y="16"/>
                  </a:lnTo>
                  <a:lnTo>
                    <a:pt x="37" y="13"/>
                  </a:lnTo>
                  <a:lnTo>
                    <a:pt x="34" y="13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6"/>
                  </a:lnTo>
                  <a:lnTo>
                    <a:pt x="31" y="6"/>
                  </a:lnTo>
                  <a:lnTo>
                    <a:pt x="31" y="3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4" y="3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17" y="13"/>
                  </a:lnTo>
                  <a:lnTo>
                    <a:pt x="17" y="9"/>
                  </a:lnTo>
                  <a:lnTo>
                    <a:pt x="13" y="9"/>
                  </a:lnTo>
                  <a:lnTo>
                    <a:pt x="13" y="13"/>
                  </a:lnTo>
                  <a:lnTo>
                    <a:pt x="10" y="9"/>
                  </a:lnTo>
                  <a:lnTo>
                    <a:pt x="10" y="6"/>
                  </a:lnTo>
                  <a:lnTo>
                    <a:pt x="7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0" y="9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7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41" name="Freeform 142"/>
            <p:cNvSpPr>
              <a:spLocks/>
            </p:cNvSpPr>
            <p:nvPr/>
          </p:nvSpPr>
          <p:spPr bwMode="auto">
            <a:xfrm>
              <a:off x="6632576" y="4488517"/>
              <a:ext cx="588963" cy="492125"/>
            </a:xfrm>
            <a:custGeom>
              <a:avLst/>
              <a:gdLst>
                <a:gd name="T0" fmla="*/ 10 w 371"/>
                <a:gd name="T1" fmla="*/ 174 h 310"/>
                <a:gd name="T2" fmla="*/ 24 w 371"/>
                <a:gd name="T3" fmla="*/ 168 h 310"/>
                <a:gd name="T4" fmla="*/ 41 w 371"/>
                <a:gd name="T5" fmla="*/ 161 h 310"/>
                <a:gd name="T6" fmla="*/ 51 w 371"/>
                <a:gd name="T7" fmla="*/ 171 h 310"/>
                <a:gd name="T8" fmla="*/ 76 w 371"/>
                <a:gd name="T9" fmla="*/ 155 h 310"/>
                <a:gd name="T10" fmla="*/ 76 w 371"/>
                <a:gd name="T11" fmla="*/ 126 h 310"/>
                <a:gd name="T12" fmla="*/ 96 w 371"/>
                <a:gd name="T13" fmla="*/ 110 h 310"/>
                <a:gd name="T14" fmla="*/ 113 w 371"/>
                <a:gd name="T15" fmla="*/ 84 h 310"/>
                <a:gd name="T16" fmla="*/ 117 w 371"/>
                <a:gd name="T17" fmla="*/ 64 h 310"/>
                <a:gd name="T18" fmla="*/ 131 w 371"/>
                <a:gd name="T19" fmla="*/ 39 h 310"/>
                <a:gd name="T20" fmla="*/ 127 w 371"/>
                <a:gd name="T21" fmla="*/ 16 h 310"/>
                <a:gd name="T22" fmla="*/ 134 w 371"/>
                <a:gd name="T23" fmla="*/ 6 h 310"/>
                <a:gd name="T24" fmla="*/ 148 w 371"/>
                <a:gd name="T25" fmla="*/ 3 h 310"/>
                <a:gd name="T26" fmla="*/ 165 w 371"/>
                <a:gd name="T27" fmla="*/ 16 h 310"/>
                <a:gd name="T28" fmla="*/ 186 w 371"/>
                <a:gd name="T29" fmla="*/ 16 h 310"/>
                <a:gd name="T30" fmla="*/ 199 w 371"/>
                <a:gd name="T31" fmla="*/ 16 h 310"/>
                <a:gd name="T32" fmla="*/ 217 w 371"/>
                <a:gd name="T33" fmla="*/ 10 h 310"/>
                <a:gd name="T34" fmla="*/ 241 w 371"/>
                <a:gd name="T35" fmla="*/ 3 h 310"/>
                <a:gd name="T36" fmla="*/ 251 w 371"/>
                <a:gd name="T37" fmla="*/ 6 h 310"/>
                <a:gd name="T38" fmla="*/ 261 w 371"/>
                <a:gd name="T39" fmla="*/ 0 h 310"/>
                <a:gd name="T40" fmla="*/ 278 w 371"/>
                <a:gd name="T41" fmla="*/ 3 h 310"/>
                <a:gd name="T42" fmla="*/ 303 w 371"/>
                <a:gd name="T43" fmla="*/ 3 h 310"/>
                <a:gd name="T44" fmla="*/ 316 w 371"/>
                <a:gd name="T45" fmla="*/ 16 h 310"/>
                <a:gd name="T46" fmla="*/ 330 w 371"/>
                <a:gd name="T47" fmla="*/ 13 h 310"/>
                <a:gd name="T48" fmla="*/ 344 w 371"/>
                <a:gd name="T49" fmla="*/ 10 h 310"/>
                <a:gd name="T50" fmla="*/ 361 w 371"/>
                <a:gd name="T51" fmla="*/ 22 h 310"/>
                <a:gd name="T52" fmla="*/ 368 w 371"/>
                <a:gd name="T53" fmla="*/ 29 h 310"/>
                <a:gd name="T54" fmla="*/ 368 w 371"/>
                <a:gd name="T55" fmla="*/ 52 h 310"/>
                <a:gd name="T56" fmla="*/ 351 w 371"/>
                <a:gd name="T57" fmla="*/ 77 h 310"/>
                <a:gd name="T58" fmla="*/ 340 w 371"/>
                <a:gd name="T59" fmla="*/ 110 h 310"/>
                <a:gd name="T60" fmla="*/ 330 w 371"/>
                <a:gd name="T61" fmla="*/ 139 h 310"/>
                <a:gd name="T62" fmla="*/ 358 w 371"/>
                <a:gd name="T63" fmla="*/ 223 h 310"/>
                <a:gd name="T64" fmla="*/ 323 w 371"/>
                <a:gd name="T65" fmla="*/ 252 h 310"/>
                <a:gd name="T66" fmla="*/ 320 w 371"/>
                <a:gd name="T67" fmla="*/ 265 h 310"/>
                <a:gd name="T68" fmla="*/ 316 w 371"/>
                <a:gd name="T69" fmla="*/ 284 h 310"/>
                <a:gd name="T70" fmla="*/ 337 w 371"/>
                <a:gd name="T71" fmla="*/ 294 h 310"/>
                <a:gd name="T72" fmla="*/ 340 w 371"/>
                <a:gd name="T73" fmla="*/ 310 h 310"/>
                <a:gd name="T74" fmla="*/ 327 w 371"/>
                <a:gd name="T75" fmla="*/ 310 h 310"/>
                <a:gd name="T76" fmla="*/ 299 w 371"/>
                <a:gd name="T77" fmla="*/ 294 h 310"/>
                <a:gd name="T78" fmla="*/ 289 w 371"/>
                <a:gd name="T79" fmla="*/ 281 h 310"/>
                <a:gd name="T80" fmla="*/ 275 w 371"/>
                <a:gd name="T81" fmla="*/ 287 h 310"/>
                <a:gd name="T82" fmla="*/ 254 w 371"/>
                <a:gd name="T83" fmla="*/ 284 h 310"/>
                <a:gd name="T84" fmla="*/ 248 w 371"/>
                <a:gd name="T85" fmla="*/ 274 h 310"/>
                <a:gd name="T86" fmla="*/ 237 w 371"/>
                <a:gd name="T87" fmla="*/ 278 h 310"/>
                <a:gd name="T88" fmla="*/ 227 w 371"/>
                <a:gd name="T89" fmla="*/ 271 h 310"/>
                <a:gd name="T90" fmla="*/ 213 w 371"/>
                <a:gd name="T91" fmla="*/ 274 h 310"/>
                <a:gd name="T92" fmla="*/ 199 w 371"/>
                <a:gd name="T93" fmla="*/ 274 h 310"/>
                <a:gd name="T94" fmla="*/ 196 w 371"/>
                <a:gd name="T95" fmla="*/ 268 h 310"/>
                <a:gd name="T96" fmla="*/ 192 w 371"/>
                <a:gd name="T97" fmla="*/ 255 h 310"/>
                <a:gd name="T98" fmla="*/ 189 w 371"/>
                <a:gd name="T99" fmla="*/ 249 h 310"/>
                <a:gd name="T100" fmla="*/ 186 w 371"/>
                <a:gd name="T101" fmla="*/ 232 h 310"/>
                <a:gd name="T102" fmla="*/ 186 w 371"/>
                <a:gd name="T103" fmla="*/ 219 h 310"/>
                <a:gd name="T104" fmla="*/ 165 w 371"/>
                <a:gd name="T105" fmla="*/ 207 h 310"/>
                <a:gd name="T106" fmla="*/ 141 w 371"/>
                <a:gd name="T107" fmla="*/ 210 h 310"/>
                <a:gd name="T108" fmla="*/ 120 w 371"/>
                <a:gd name="T109" fmla="*/ 223 h 310"/>
                <a:gd name="T110" fmla="*/ 100 w 371"/>
                <a:gd name="T111" fmla="*/ 216 h 310"/>
                <a:gd name="T112" fmla="*/ 93 w 371"/>
                <a:gd name="T113" fmla="*/ 200 h 310"/>
                <a:gd name="T114" fmla="*/ 89 w 371"/>
                <a:gd name="T115" fmla="*/ 190 h 310"/>
                <a:gd name="T116" fmla="*/ 41 w 371"/>
                <a:gd name="T117" fmla="*/ 187 h 310"/>
                <a:gd name="T118" fmla="*/ 20 w 371"/>
                <a:gd name="T119" fmla="*/ 187 h 310"/>
                <a:gd name="T120" fmla="*/ 10 w 371"/>
                <a:gd name="T121" fmla="*/ 187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1" h="310">
                  <a:moveTo>
                    <a:pt x="0" y="184"/>
                  </a:moveTo>
                  <a:lnTo>
                    <a:pt x="3" y="184"/>
                  </a:lnTo>
                  <a:lnTo>
                    <a:pt x="7" y="184"/>
                  </a:lnTo>
                  <a:lnTo>
                    <a:pt x="10" y="181"/>
                  </a:lnTo>
                  <a:lnTo>
                    <a:pt x="10" y="174"/>
                  </a:lnTo>
                  <a:lnTo>
                    <a:pt x="10" y="174"/>
                  </a:lnTo>
                  <a:lnTo>
                    <a:pt x="14" y="171"/>
                  </a:lnTo>
                  <a:lnTo>
                    <a:pt x="20" y="168"/>
                  </a:lnTo>
                  <a:lnTo>
                    <a:pt x="20" y="168"/>
                  </a:lnTo>
                  <a:lnTo>
                    <a:pt x="24" y="165"/>
                  </a:lnTo>
                  <a:lnTo>
                    <a:pt x="27" y="168"/>
                  </a:lnTo>
                  <a:lnTo>
                    <a:pt x="24" y="168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31" y="165"/>
                  </a:lnTo>
                  <a:lnTo>
                    <a:pt x="34" y="161"/>
                  </a:lnTo>
                  <a:lnTo>
                    <a:pt x="38" y="165"/>
                  </a:lnTo>
                  <a:lnTo>
                    <a:pt x="41" y="161"/>
                  </a:lnTo>
                  <a:lnTo>
                    <a:pt x="48" y="158"/>
                  </a:lnTo>
                  <a:lnTo>
                    <a:pt x="48" y="161"/>
                  </a:lnTo>
                  <a:lnTo>
                    <a:pt x="45" y="165"/>
                  </a:lnTo>
                  <a:lnTo>
                    <a:pt x="45" y="165"/>
                  </a:lnTo>
                  <a:lnTo>
                    <a:pt x="48" y="168"/>
                  </a:lnTo>
                  <a:lnTo>
                    <a:pt x="51" y="171"/>
                  </a:lnTo>
                  <a:lnTo>
                    <a:pt x="55" y="168"/>
                  </a:lnTo>
                  <a:lnTo>
                    <a:pt x="58" y="165"/>
                  </a:lnTo>
                  <a:lnTo>
                    <a:pt x="65" y="158"/>
                  </a:lnTo>
                  <a:lnTo>
                    <a:pt x="69" y="155"/>
                  </a:lnTo>
                  <a:lnTo>
                    <a:pt x="72" y="155"/>
                  </a:lnTo>
                  <a:lnTo>
                    <a:pt x="76" y="155"/>
                  </a:lnTo>
                  <a:lnTo>
                    <a:pt x="79" y="148"/>
                  </a:lnTo>
                  <a:lnTo>
                    <a:pt x="76" y="145"/>
                  </a:lnTo>
                  <a:lnTo>
                    <a:pt x="79" y="142"/>
                  </a:lnTo>
                  <a:lnTo>
                    <a:pt x="79" y="132"/>
                  </a:lnTo>
                  <a:lnTo>
                    <a:pt x="79" y="132"/>
                  </a:lnTo>
                  <a:lnTo>
                    <a:pt x="76" y="126"/>
                  </a:lnTo>
                  <a:lnTo>
                    <a:pt x="79" y="123"/>
                  </a:lnTo>
                  <a:lnTo>
                    <a:pt x="86" y="119"/>
                  </a:lnTo>
                  <a:lnTo>
                    <a:pt x="86" y="113"/>
                  </a:lnTo>
                  <a:lnTo>
                    <a:pt x="89" y="110"/>
                  </a:lnTo>
                  <a:lnTo>
                    <a:pt x="93" y="106"/>
                  </a:lnTo>
                  <a:lnTo>
                    <a:pt x="96" y="110"/>
                  </a:lnTo>
                  <a:lnTo>
                    <a:pt x="100" y="106"/>
                  </a:lnTo>
                  <a:lnTo>
                    <a:pt x="103" y="106"/>
                  </a:lnTo>
                  <a:lnTo>
                    <a:pt x="110" y="97"/>
                  </a:lnTo>
                  <a:lnTo>
                    <a:pt x="110" y="90"/>
                  </a:lnTo>
                  <a:lnTo>
                    <a:pt x="110" y="87"/>
                  </a:lnTo>
                  <a:lnTo>
                    <a:pt x="113" y="84"/>
                  </a:lnTo>
                  <a:lnTo>
                    <a:pt x="113" y="81"/>
                  </a:lnTo>
                  <a:lnTo>
                    <a:pt x="113" y="77"/>
                  </a:lnTo>
                  <a:lnTo>
                    <a:pt x="113" y="74"/>
                  </a:lnTo>
                  <a:lnTo>
                    <a:pt x="113" y="71"/>
                  </a:lnTo>
                  <a:lnTo>
                    <a:pt x="113" y="68"/>
                  </a:lnTo>
                  <a:lnTo>
                    <a:pt x="117" y="64"/>
                  </a:lnTo>
                  <a:lnTo>
                    <a:pt x="117" y="61"/>
                  </a:lnTo>
                  <a:lnTo>
                    <a:pt x="120" y="58"/>
                  </a:lnTo>
                  <a:lnTo>
                    <a:pt x="117" y="52"/>
                  </a:lnTo>
                  <a:lnTo>
                    <a:pt x="127" y="42"/>
                  </a:lnTo>
                  <a:lnTo>
                    <a:pt x="127" y="39"/>
                  </a:lnTo>
                  <a:lnTo>
                    <a:pt x="131" y="39"/>
                  </a:lnTo>
                  <a:lnTo>
                    <a:pt x="131" y="32"/>
                  </a:lnTo>
                  <a:lnTo>
                    <a:pt x="127" y="29"/>
                  </a:lnTo>
                  <a:lnTo>
                    <a:pt x="127" y="22"/>
                  </a:lnTo>
                  <a:lnTo>
                    <a:pt x="131" y="22"/>
                  </a:lnTo>
                  <a:lnTo>
                    <a:pt x="131" y="19"/>
                  </a:lnTo>
                  <a:lnTo>
                    <a:pt x="127" y="16"/>
                  </a:lnTo>
                  <a:lnTo>
                    <a:pt x="127" y="16"/>
                  </a:lnTo>
                  <a:lnTo>
                    <a:pt x="131" y="16"/>
                  </a:lnTo>
                  <a:lnTo>
                    <a:pt x="131" y="13"/>
                  </a:lnTo>
                  <a:lnTo>
                    <a:pt x="131" y="13"/>
                  </a:lnTo>
                  <a:lnTo>
                    <a:pt x="134" y="10"/>
                  </a:lnTo>
                  <a:lnTo>
                    <a:pt x="134" y="6"/>
                  </a:lnTo>
                  <a:lnTo>
                    <a:pt x="134" y="6"/>
                  </a:lnTo>
                  <a:lnTo>
                    <a:pt x="137" y="6"/>
                  </a:lnTo>
                  <a:lnTo>
                    <a:pt x="141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8" y="3"/>
                  </a:lnTo>
                  <a:lnTo>
                    <a:pt x="148" y="6"/>
                  </a:lnTo>
                  <a:lnTo>
                    <a:pt x="151" y="6"/>
                  </a:lnTo>
                  <a:lnTo>
                    <a:pt x="158" y="10"/>
                  </a:lnTo>
                  <a:lnTo>
                    <a:pt x="162" y="10"/>
                  </a:lnTo>
                  <a:lnTo>
                    <a:pt x="165" y="13"/>
                  </a:lnTo>
                  <a:lnTo>
                    <a:pt x="165" y="16"/>
                  </a:lnTo>
                  <a:lnTo>
                    <a:pt x="172" y="16"/>
                  </a:lnTo>
                  <a:lnTo>
                    <a:pt x="175" y="16"/>
                  </a:lnTo>
                  <a:lnTo>
                    <a:pt x="179" y="16"/>
                  </a:lnTo>
                  <a:lnTo>
                    <a:pt x="182" y="16"/>
                  </a:lnTo>
                  <a:lnTo>
                    <a:pt x="186" y="16"/>
                  </a:lnTo>
                  <a:lnTo>
                    <a:pt x="186" y="16"/>
                  </a:lnTo>
                  <a:lnTo>
                    <a:pt x="189" y="16"/>
                  </a:lnTo>
                  <a:lnTo>
                    <a:pt x="196" y="19"/>
                  </a:lnTo>
                  <a:lnTo>
                    <a:pt x="196" y="19"/>
                  </a:lnTo>
                  <a:lnTo>
                    <a:pt x="203" y="19"/>
                  </a:lnTo>
                  <a:lnTo>
                    <a:pt x="203" y="16"/>
                  </a:lnTo>
                  <a:lnTo>
                    <a:pt x="199" y="16"/>
                  </a:lnTo>
                  <a:lnTo>
                    <a:pt x="199" y="13"/>
                  </a:lnTo>
                  <a:lnTo>
                    <a:pt x="203" y="10"/>
                  </a:lnTo>
                  <a:lnTo>
                    <a:pt x="206" y="6"/>
                  </a:lnTo>
                  <a:lnTo>
                    <a:pt x="210" y="10"/>
                  </a:lnTo>
                  <a:lnTo>
                    <a:pt x="213" y="10"/>
                  </a:lnTo>
                  <a:lnTo>
                    <a:pt x="217" y="10"/>
                  </a:lnTo>
                  <a:lnTo>
                    <a:pt x="217" y="10"/>
                  </a:lnTo>
                  <a:lnTo>
                    <a:pt x="227" y="10"/>
                  </a:lnTo>
                  <a:lnTo>
                    <a:pt x="227" y="6"/>
                  </a:lnTo>
                  <a:lnTo>
                    <a:pt x="230" y="6"/>
                  </a:lnTo>
                  <a:lnTo>
                    <a:pt x="237" y="3"/>
                  </a:lnTo>
                  <a:lnTo>
                    <a:pt x="241" y="3"/>
                  </a:lnTo>
                  <a:lnTo>
                    <a:pt x="241" y="6"/>
                  </a:lnTo>
                  <a:lnTo>
                    <a:pt x="244" y="6"/>
                  </a:lnTo>
                  <a:lnTo>
                    <a:pt x="244" y="6"/>
                  </a:lnTo>
                  <a:lnTo>
                    <a:pt x="244" y="6"/>
                  </a:lnTo>
                  <a:lnTo>
                    <a:pt x="248" y="6"/>
                  </a:lnTo>
                  <a:lnTo>
                    <a:pt x="251" y="6"/>
                  </a:lnTo>
                  <a:lnTo>
                    <a:pt x="254" y="6"/>
                  </a:lnTo>
                  <a:lnTo>
                    <a:pt x="258" y="6"/>
                  </a:lnTo>
                  <a:lnTo>
                    <a:pt x="261" y="3"/>
                  </a:lnTo>
                  <a:lnTo>
                    <a:pt x="258" y="0"/>
                  </a:lnTo>
                  <a:lnTo>
                    <a:pt x="258" y="0"/>
                  </a:lnTo>
                  <a:lnTo>
                    <a:pt x="261" y="0"/>
                  </a:lnTo>
                  <a:lnTo>
                    <a:pt x="265" y="0"/>
                  </a:lnTo>
                  <a:lnTo>
                    <a:pt x="268" y="0"/>
                  </a:lnTo>
                  <a:lnTo>
                    <a:pt x="272" y="0"/>
                  </a:lnTo>
                  <a:lnTo>
                    <a:pt x="272" y="3"/>
                  </a:lnTo>
                  <a:lnTo>
                    <a:pt x="275" y="3"/>
                  </a:lnTo>
                  <a:lnTo>
                    <a:pt x="278" y="3"/>
                  </a:lnTo>
                  <a:lnTo>
                    <a:pt x="285" y="3"/>
                  </a:lnTo>
                  <a:lnTo>
                    <a:pt x="285" y="3"/>
                  </a:lnTo>
                  <a:lnTo>
                    <a:pt x="292" y="3"/>
                  </a:lnTo>
                  <a:lnTo>
                    <a:pt x="296" y="3"/>
                  </a:lnTo>
                  <a:lnTo>
                    <a:pt x="299" y="3"/>
                  </a:lnTo>
                  <a:lnTo>
                    <a:pt x="303" y="3"/>
                  </a:lnTo>
                  <a:lnTo>
                    <a:pt x="303" y="6"/>
                  </a:lnTo>
                  <a:lnTo>
                    <a:pt x="306" y="10"/>
                  </a:lnTo>
                  <a:lnTo>
                    <a:pt x="306" y="10"/>
                  </a:lnTo>
                  <a:lnTo>
                    <a:pt x="309" y="13"/>
                  </a:lnTo>
                  <a:lnTo>
                    <a:pt x="313" y="16"/>
                  </a:lnTo>
                  <a:lnTo>
                    <a:pt x="316" y="16"/>
                  </a:lnTo>
                  <a:lnTo>
                    <a:pt x="320" y="16"/>
                  </a:lnTo>
                  <a:lnTo>
                    <a:pt x="320" y="13"/>
                  </a:lnTo>
                  <a:lnTo>
                    <a:pt x="323" y="13"/>
                  </a:lnTo>
                  <a:lnTo>
                    <a:pt x="327" y="13"/>
                  </a:lnTo>
                  <a:lnTo>
                    <a:pt x="330" y="13"/>
                  </a:lnTo>
                  <a:lnTo>
                    <a:pt x="330" y="13"/>
                  </a:lnTo>
                  <a:lnTo>
                    <a:pt x="334" y="13"/>
                  </a:lnTo>
                  <a:lnTo>
                    <a:pt x="337" y="13"/>
                  </a:lnTo>
                  <a:lnTo>
                    <a:pt x="337" y="10"/>
                  </a:lnTo>
                  <a:lnTo>
                    <a:pt x="340" y="10"/>
                  </a:lnTo>
                  <a:lnTo>
                    <a:pt x="344" y="10"/>
                  </a:lnTo>
                  <a:lnTo>
                    <a:pt x="344" y="10"/>
                  </a:lnTo>
                  <a:lnTo>
                    <a:pt x="347" y="13"/>
                  </a:lnTo>
                  <a:lnTo>
                    <a:pt x="351" y="16"/>
                  </a:lnTo>
                  <a:lnTo>
                    <a:pt x="351" y="16"/>
                  </a:lnTo>
                  <a:lnTo>
                    <a:pt x="358" y="19"/>
                  </a:lnTo>
                  <a:lnTo>
                    <a:pt x="358" y="19"/>
                  </a:lnTo>
                  <a:lnTo>
                    <a:pt x="361" y="22"/>
                  </a:lnTo>
                  <a:lnTo>
                    <a:pt x="361" y="26"/>
                  </a:lnTo>
                  <a:lnTo>
                    <a:pt x="361" y="26"/>
                  </a:lnTo>
                  <a:lnTo>
                    <a:pt x="361" y="29"/>
                  </a:lnTo>
                  <a:lnTo>
                    <a:pt x="364" y="29"/>
                  </a:lnTo>
                  <a:lnTo>
                    <a:pt x="368" y="29"/>
                  </a:lnTo>
                  <a:lnTo>
                    <a:pt x="368" y="29"/>
                  </a:lnTo>
                  <a:lnTo>
                    <a:pt x="368" y="32"/>
                  </a:lnTo>
                  <a:lnTo>
                    <a:pt x="368" y="35"/>
                  </a:lnTo>
                  <a:lnTo>
                    <a:pt x="368" y="39"/>
                  </a:lnTo>
                  <a:lnTo>
                    <a:pt x="364" y="45"/>
                  </a:lnTo>
                  <a:lnTo>
                    <a:pt x="364" y="48"/>
                  </a:lnTo>
                  <a:lnTo>
                    <a:pt x="368" y="52"/>
                  </a:lnTo>
                  <a:lnTo>
                    <a:pt x="368" y="52"/>
                  </a:lnTo>
                  <a:lnTo>
                    <a:pt x="371" y="55"/>
                  </a:lnTo>
                  <a:lnTo>
                    <a:pt x="371" y="58"/>
                  </a:lnTo>
                  <a:lnTo>
                    <a:pt x="361" y="68"/>
                  </a:lnTo>
                  <a:lnTo>
                    <a:pt x="354" y="74"/>
                  </a:lnTo>
                  <a:lnTo>
                    <a:pt x="351" y="77"/>
                  </a:lnTo>
                  <a:lnTo>
                    <a:pt x="344" y="87"/>
                  </a:lnTo>
                  <a:lnTo>
                    <a:pt x="344" y="90"/>
                  </a:lnTo>
                  <a:lnTo>
                    <a:pt x="344" y="94"/>
                  </a:lnTo>
                  <a:lnTo>
                    <a:pt x="344" y="100"/>
                  </a:lnTo>
                  <a:lnTo>
                    <a:pt x="340" y="106"/>
                  </a:lnTo>
                  <a:lnTo>
                    <a:pt x="340" y="110"/>
                  </a:lnTo>
                  <a:lnTo>
                    <a:pt x="337" y="113"/>
                  </a:lnTo>
                  <a:lnTo>
                    <a:pt x="334" y="116"/>
                  </a:lnTo>
                  <a:lnTo>
                    <a:pt x="330" y="129"/>
                  </a:lnTo>
                  <a:lnTo>
                    <a:pt x="327" y="132"/>
                  </a:lnTo>
                  <a:lnTo>
                    <a:pt x="330" y="136"/>
                  </a:lnTo>
                  <a:lnTo>
                    <a:pt x="330" y="139"/>
                  </a:lnTo>
                  <a:lnTo>
                    <a:pt x="330" y="142"/>
                  </a:lnTo>
                  <a:lnTo>
                    <a:pt x="337" y="178"/>
                  </a:lnTo>
                  <a:lnTo>
                    <a:pt x="340" y="197"/>
                  </a:lnTo>
                  <a:lnTo>
                    <a:pt x="354" y="213"/>
                  </a:lnTo>
                  <a:lnTo>
                    <a:pt x="361" y="226"/>
                  </a:lnTo>
                  <a:lnTo>
                    <a:pt x="358" y="223"/>
                  </a:lnTo>
                  <a:lnTo>
                    <a:pt x="327" y="229"/>
                  </a:lnTo>
                  <a:lnTo>
                    <a:pt x="316" y="242"/>
                  </a:lnTo>
                  <a:lnTo>
                    <a:pt x="320" y="245"/>
                  </a:lnTo>
                  <a:lnTo>
                    <a:pt x="320" y="249"/>
                  </a:lnTo>
                  <a:lnTo>
                    <a:pt x="323" y="249"/>
                  </a:lnTo>
                  <a:lnTo>
                    <a:pt x="323" y="252"/>
                  </a:lnTo>
                  <a:lnTo>
                    <a:pt x="323" y="252"/>
                  </a:lnTo>
                  <a:lnTo>
                    <a:pt x="323" y="255"/>
                  </a:lnTo>
                  <a:lnTo>
                    <a:pt x="323" y="255"/>
                  </a:lnTo>
                  <a:lnTo>
                    <a:pt x="323" y="258"/>
                  </a:lnTo>
                  <a:lnTo>
                    <a:pt x="323" y="261"/>
                  </a:lnTo>
                  <a:lnTo>
                    <a:pt x="320" y="265"/>
                  </a:lnTo>
                  <a:lnTo>
                    <a:pt x="320" y="265"/>
                  </a:lnTo>
                  <a:lnTo>
                    <a:pt x="320" y="265"/>
                  </a:lnTo>
                  <a:lnTo>
                    <a:pt x="316" y="268"/>
                  </a:lnTo>
                  <a:lnTo>
                    <a:pt x="316" y="271"/>
                  </a:lnTo>
                  <a:lnTo>
                    <a:pt x="316" y="281"/>
                  </a:lnTo>
                  <a:lnTo>
                    <a:pt x="316" y="284"/>
                  </a:lnTo>
                  <a:lnTo>
                    <a:pt x="320" y="287"/>
                  </a:lnTo>
                  <a:lnTo>
                    <a:pt x="323" y="291"/>
                  </a:lnTo>
                  <a:lnTo>
                    <a:pt x="323" y="294"/>
                  </a:lnTo>
                  <a:lnTo>
                    <a:pt x="327" y="297"/>
                  </a:lnTo>
                  <a:lnTo>
                    <a:pt x="334" y="297"/>
                  </a:lnTo>
                  <a:lnTo>
                    <a:pt x="337" y="294"/>
                  </a:lnTo>
                  <a:lnTo>
                    <a:pt x="334" y="294"/>
                  </a:lnTo>
                  <a:lnTo>
                    <a:pt x="334" y="291"/>
                  </a:lnTo>
                  <a:lnTo>
                    <a:pt x="337" y="291"/>
                  </a:lnTo>
                  <a:lnTo>
                    <a:pt x="340" y="291"/>
                  </a:lnTo>
                  <a:lnTo>
                    <a:pt x="340" y="310"/>
                  </a:lnTo>
                  <a:lnTo>
                    <a:pt x="340" y="310"/>
                  </a:lnTo>
                  <a:lnTo>
                    <a:pt x="337" y="310"/>
                  </a:lnTo>
                  <a:lnTo>
                    <a:pt x="337" y="310"/>
                  </a:lnTo>
                  <a:lnTo>
                    <a:pt x="337" y="310"/>
                  </a:lnTo>
                  <a:lnTo>
                    <a:pt x="334" y="310"/>
                  </a:lnTo>
                  <a:lnTo>
                    <a:pt x="330" y="310"/>
                  </a:lnTo>
                  <a:lnTo>
                    <a:pt x="327" y="310"/>
                  </a:lnTo>
                  <a:lnTo>
                    <a:pt x="323" y="307"/>
                  </a:lnTo>
                  <a:lnTo>
                    <a:pt x="320" y="303"/>
                  </a:lnTo>
                  <a:lnTo>
                    <a:pt x="316" y="300"/>
                  </a:lnTo>
                  <a:lnTo>
                    <a:pt x="313" y="297"/>
                  </a:lnTo>
                  <a:lnTo>
                    <a:pt x="306" y="294"/>
                  </a:lnTo>
                  <a:lnTo>
                    <a:pt x="299" y="294"/>
                  </a:lnTo>
                  <a:lnTo>
                    <a:pt x="296" y="291"/>
                  </a:lnTo>
                  <a:lnTo>
                    <a:pt x="296" y="287"/>
                  </a:lnTo>
                  <a:lnTo>
                    <a:pt x="292" y="284"/>
                  </a:lnTo>
                  <a:lnTo>
                    <a:pt x="292" y="281"/>
                  </a:lnTo>
                  <a:lnTo>
                    <a:pt x="289" y="281"/>
                  </a:lnTo>
                  <a:lnTo>
                    <a:pt x="289" y="281"/>
                  </a:lnTo>
                  <a:lnTo>
                    <a:pt x="285" y="281"/>
                  </a:lnTo>
                  <a:lnTo>
                    <a:pt x="285" y="284"/>
                  </a:lnTo>
                  <a:lnTo>
                    <a:pt x="285" y="287"/>
                  </a:lnTo>
                  <a:lnTo>
                    <a:pt x="278" y="287"/>
                  </a:lnTo>
                  <a:lnTo>
                    <a:pt x="275" y="287"/>
                  </a:lnTo>
                  <a:lnTo>
                    <a:pt x="275" y="287"/>
                  </a:lnTo>
                  <a:lnTo>
                    <a:pt x="272" y="287"/>
                  </a:lnTo>
                  <a:lnTo>
                    <a:pt x="268" y="287"/>
                  </a:lnTo>
                  <a:lnTo>
                    <a:pt x="261" y="284"/>
                  </a:lnTo>
                  <a:lnTo>
                    <a:pt x="261" y="284"/>
                  </a:lnTo>
                  <a:lnTo>
                    <a:pt x="258" y="284"/>
                  </a:lnTo>
                  <a:lnTo>
                    <a:pt x="254" y="284"/>
                  </a:lnTo>
                  <a:lnTo>
                    <a:pt x="254" y="281"/>
                  </a:lnTo>
                  <a:lnTo>
                    <a:pt x="254" y="278"/>
                  </a:lnTo>
                  <a:lnTo>
                    <a:pt x="254" y="278"/>
                  </a:lnTo>
                  <a:lnTo>
                    <a:pt x="254" y="274"/>
                  </a:lnTo>
                  <a:lnTo>
                    <a:pt x="251" y="274"/>
                  </a:lnTo>
                  <a:lnTo>
                    <a:pt x="248" y="274"/>
                  </a:lnTo>
                  <a:lnTo>
                    <a:pt x="248" y="278"/>
                  </a:lnTo>
                  <a:lnTo>
                    <a:pt x="244" y="278"/>
                  </a:lnTo>
                  <a:lnTo>
                    <a:pt x="241" y="278"/>
                  </a:lnTo>
                  <a:lnTo>
                    <a:pt x="237" y="278"/>
                  </a:lnTo>
                  <a:lnTo>
                    <a:pt x="237" y="278"/>
                  </a:lnTo>
                  <a:lnTo>
                    <a:pt x="237" y="278"/>
                  </a:lnTo>
                  <a:lnTo>
                    <a:pt x="237" y="274"/>
                  </a:lnTo>
                  <a:lnTo>
                    <a:pt x="234" y="274"/>
                  </a:lnTo>
                  <a:lnTo>
                    <a:pt x="234" y="271"/>
                  </a:lnTo>
                  <a:lnTo>
                    <a:pt x="230" y="271"/>
                  </a:lnTo>
                  <a:lnTo>
                    <a:pt x="227" y="271"/>
                  </a:lnTo>
                  <a:lnTo>
                    <a:pt x="227" y="271"/>
                  </a:lnTo>
                  <a:lnTo>
                    <a:pt x="223" y="271"/>
                  </a:lnTo>
                  <a:lnTo>
                    <a:pt x="223" y="271"/>
                  </a:lnTo>
                  <a:lnTo>
                    <a:pt x="220" y="274"/>
                  </a:lnTo>
                  <a:lnTo>
                    <a:pt x="217" y="274"/>
                  </a:lnTo>
                  <a:lnTo>
                    <a:pt x="213" y="274"/>
                  </a:lnTo>
                  <a:lnTo>
                    <a:pt x="213" y="274"/>
                  </a:lnTo>
                  <a:lnTo>
                    <a:pt x="206" y="274"/>
                  </a:lnTo>
                  <a:lnTo>
                    <a:pt x="206" y="274"/>
                  </a:lnTo>
                  <a:lnTo>
                    <a:pt x="203" y="271"/>
                  </a:lnTo>
                  <a:lnTo>
                    <a:pt x="203" y="271"/>
                  </a:lnTo>
                  <a:lnTo>
                    <a:pt x="199" y="274"/>
                  </a:lnTo>
                  <a:lnTo>
                    <a:pt x="199" y="274"/>
                  </a:lnTo>
                  <a:lnTo>
                    <a:pt x="196" y="274"/>
                  </a:lnTo>
                  <a:lnTo>
                    <a:pt x="196" y="274"/>
                  </a:lnTo>
                  <a:lnTo>
                    <a:pt x="196" y="274"/>
                  </a:lnTo>
                  <a:lnTo>
                    <a:pt x="196" y="271"/>
                  </a:lnTo>
                  <a:lnTo>
                    <a:pt x="196" y="268"/>
                  </a:lnTo>
                  <a:lnTo>
                    <a:pt x="196" y="268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2" y="261"/>
                  </a:lnTo>
                  <a:lnTo>
                    <a:pt x="196" y="261"/>
                  </a:lnTo>
                  <a:lnTo>
                    <a:pt x="196" y="258"/>
                  </a:lnTo>
                  <a:lnTo>
                    <a:pt x="192" y="255"/>
                  </a:lnTo>
                  <a:lnTo>
                    <a:pt x="192" y="255"/>
                  </a:lnTo>
                  <a:lnTo>
                    <a:pt x="192" y="252"/>
                  </a:lnTo>
                  <a:lnTo>
                    <a:pt x="192" y="252"/>
                  </a:lnTo>
                  <a:lnTo>
                    <a:pt x="192" y="252"/>
                  </a:lnTo>
                  <a:lnTo>
                    <a:pt x="189" y="249"/>
                  </a:lnTo>
                  <a:lnTo>
                    <a:pt x="189" y="249"/>
                  </a:lnTo>
                  <a:lnTo>
                    <a:pt x="189" y="245"/>
                  </a:lnTo>
                  <a:lnTo>
                    <a:pt x="186" y="245"/>
                  </a:lnTo>
                  <a:lnTo>
                    <a:pt x="186" y="242"/>
                  </a:lnTo>
                  <a:lnTo>
                    <a:pt x="186" y="242"/>
                  </a:lnTo>
                  <a:lnTo>
                    <a:pt x="189" y="239"/>
                  </a:lnTo>
                  <a:lnTo>
                    <a:pt x="186" y="232"/>
                  </a:lnTo>
                  <a:lnTo>
                    <a:pt x="186" y="229"/>
                  </a:lnTo>
                  <a:lnTo>
                    <a:pt x="186" y="229"/>
                  </a:lnTo>
                  <a:lnTo>
                    <a:pt x="189" y="226"/>
                  </a:lnTo>
                  <a:lnTo>
                    <a:pt x="189" y="226"/>
                  </a:lnTo>
                  <a:lnTo>
                    <a:pt x="186" y="223"/>
                  </a:lnTo>
                  <a:lnTo>
                    <a:pt x="186" y="219"/>
                  </a:lnTo>
                  <a:lnTo>
                    <a:pt x="189" y="216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0"/>
                  </a:lnTo>
                  <a:lnTo>
                    <a:pt x="165" y="210"/>
                  </a:lnTo>
                  <a:lnTo>
                    <a:pt x="165" y="207"/>
                  </a:lnTo>
                  <a:lnTo>
                    <a:pt x="165" y="203"/>
                  </a:lnTo>
                  <a:lnTo>
                    <a:pt x="165" y="203"/>
                  </a:lnTo>
                  <a:lnTo>
                    <a:pt x="162" y="203"/>
                  </a:lnTo>
                  <a:lnTo>
                    <a:pt x="162" y="203"/>
                  </a:lnTo>
                  <a:lnTo>
                    <a:pt x="141" y="203"/>
                  </a:lnTo>
                  <a:lnTo>
                    <a:pt x="141" y="210"/>
                  </a:lnTo>
                  <a:lnTo>
                    <a:pt x="137" y="213"/>
                  </a:lnTo>
                  <a:lnTo>
                    <a:pt x="137" y="213"/>
                  </a:lnTo>
                  <a:lnTo>
                    <a:pt x="137" y="216"/>
                  </a:lnTo>
                  <a:lnTo>
                    <a:pt x="137" y="219"/>
                  </a:lnTo>
                  <a:lnTo>
                    <a:pt x="124" y="219"/>
                  </a:lnTo>
                  <a:lnTo>
                    <a:pt x="120" y="223"/>
                  </a:lnTo>
                  <a:lnTo>
                    <a:pt x="113" y="223"/>
                  </a:lnTo>
                  <a:lnTo>
                    <a:pt x="113" y="223"/>
                  </a:lnTo>
                  <a:lnTo>
                    <a:pt x="110" y="223"/>
                  </a:lnTo>
                  <a:lnTo>
                    <a:pt x="103" y="223"/>
                  </a:lnTo>
                  <a:lnTo>
                    <a:pt x="100" y="219"/>
                  </a:lnTo>
                  <a:lnTo>
                    <a:pt x="100" y="216"/>
                  </a:lnTo>
                  <a:lnTo>
                    <a:pt x="96" y="213"/>
                  </a:lnTo>
                  <a:lnTo>
                    <a:pt x="96" y="210"/>
                  </a:lnTo>
                  <a:lnTo>
                    <a:pt x="93" y="210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3" y="200"/>
                  </a:lnTo>
                  <a:lnTo>
                    <a:pt x="89" y="200"/>
                  </a:lnTo>
                  <a:lnTo>
                    <a:pt x="89" y="197"/>
                  </a:lnTo>
                  <a:lnTo>
                    <a:pt x="93" y="194"/>
                  </a:lnTo>
                  <a:lnTo>
                    <a:pt x="89" y="194"/>
                  </a:lnTo>
                  <a:lnTo>
                    <a:pt x="89" y="190"/>
                  </a:lnTo>
                  <a:lnTo>
                    <a:pt x="89" y="190"/>
                  </a:lnTo>
                  <a:lnTo>
                    <a:pt x="89" y="187"/>
                  </a:lnTo>
                  <a:lnTo>
                    <a:pt x="89" y="187"/>
                  </a:lnTo>
                  <a:lnTo>
                    <a:pt x="69" y="187"/>
                  </a:lnTo>
                  <a:lnTo>
                    <a:pt x="55" y="187"/>
                  </a:lnTo>
                  <a:lnTo>
                    <a:pt x="48" y="187"/>
                  </a:lnTo>
                  <a:lnTo>
                    <a:pt x="41" y="187"/>
                  </a:lnTo>
                  <a:lnTo>
                    <a:pt x="38" y="187"/>
                  </a:lnTo>
                  <a:lnTo>
                    <a:pt x="34" y="187"/>
                  </a:lnTo>
                  <a:lnTo>
                    <a:pt x="31" y="187"/>
                  </a:lnTo>
                  <a:lnTo>
                    <a:pt x="24" y="187"/>
                  </a:lnTo>
                  <a:lnTo>
                    <a:pt x="24" y="187"/>
                  </a:lnTo>
                  <a:lnTo>
                    <a:pt x="20" y="187"/>
                  </a:lnTo>
                  <a:lnTo>
                    <a:pt x="17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0" y="187"/>
                  </a:lnTo>
                  <a:lnTo>
                    <a:pt x="10" y="187"/>
                  </a:lnTo>
                  <a:lnTo>
                    <a:pt x="10" y="187"/>
                  </a:lnTo>
                  <a:lnTo>
                    <a:pt x="10" y="187"/>
                  </a:lnTo>
                  <a:lnTo>
                    <a:pt x="10" y="187"/>
                  </a:lnTo>
                  <a:lnTo>
                    <a:pt x="7" y="187"/>
                  </a:lnTo>
                  <a:lnTo>
                    <a:pt x="0" y="187"/>
                  </a:lnTo>
                  <a:lnTo>
                    <a:pt x="0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42" name="Freeform 143"/>
            <p:cNvSpPr>
              <a:spLocks/>
            </p:cNvSpPr>
            <p:nvPr/>
          </p:nvSpPr>
          <p:spPr bwMode="auto">
            <a:xfrm>
              <a:off x="7265988" y="4872692"/>
              <a:ext cx="98425" cy="211137"/>
            </a:xfrm>
            <a:custGeom>
              <a:avLst/>
              <a:gdLst>
                <a:gd name="T0" fmla="*/ 7 w 62"/>
                <a:gd name="T1" fmla="*/ 0 h 133"/>
                <a:gd name="T2" fmla="*/ 10 w 62"/>
                <a:gd name="T3" fmla="*/ 3 h 133"/>
                <a:gd name="T4" fmla="*/ 14 w 62"/>
                <a:gd name="T5" fmla="*/ 3 h 133"/>
                <a:gd name="T6" fmla="*/ 17 w 62"/>
                <a:gd name="T7" fmla="*/ 3 h 133"/>
                <a:gd name="T8" fmla="*/ 21 w 62"/>
                <a:gd name="T9" fmla="*/ 7 h 133"/>
                <a:gd name="T10" fmla="*/ 21 w 62"/>
                <a:gd name="T11" fmla="*/ 7 h 133"/>
                <a:gd name="T12" fmla="*/ 31 w 62"/>
                <a:gd name="T13" fmla="*/ 16 h 133"/>
                <a:gd name="T14" fmla="*/ 31 w 62"/>
                <a:gd name="T15" fmla="*/ 49 h 133"/>
                <a:gd name="T16" fmla="*/ 34 w 62"/>
                <a:gd name="T17" fmla="*/ 68 h 133"/>
                <a:gd name="T18" fmla="*/ 41 w 62"/>
                <a:gd name="T19" fmla="*/ 71 h 133"/>
                <a:gd name="T20" fmla="*/ 45 w 62"/>
                <a:gd name="T21" fmla="*/ 74 h 133"/>
                <a:gd name="T22" fmla="*/ 55 w 62"/>
                <a:gd name="T23" fmla="*/ 84 h 133"/>
                <a:gd name="T24" fmla="*/ 58 w 62"/>
                <a:gd name="T25" fmla="*/ 91 h 133"/>
                <a:gd name="T26" fmla="*/ 62 w 62"/>
                <a:gd name="T27" fmla="*/ 97 h 133"/>
                <a:gd name="T28" fmla="*/ 58 w 62"/>
                <a:gd name="T29" fmla="*/ 97 h 133"/>
                <a:gd name="T30" fmla="*/ 55 w 62"/>
                <a:gd name="T31" fmla="*/ 100 h 133"/>
                <a:gd name="T32" fmla="*/ 55 w 62"/>
                <a:gd name="T33" fmla="*/ 103 h 133"/>
                <a:gd name="T34" fmla="*/ 58 w 62"/>
                <a:gd name="T35" fmla="*/ 110 h 133"/>
                <a:gd name="T36" fmla="*/ 55 w 62"/>
                <a:gd name="T37" fmla="*/ 113 h 133"/>
                <a:gd name="T38" fmla="*/ 48 w 62"/>
                <a:gd name="T39" fmla="*/ 120 h 133"/>
                <a:gd name="T40" fmla="*/ 45 w 62"/>
                <a:gd name="T41" fmla="*/ 126 h 133"/>
                <a:gd name="T42" fmla="*/ 45 w 62"/>
                <a:gd name="T43" fmla="*/ 133 h 133"/>
                <a:gd name="T44" fmla="*/ 41 w 62"/>
                <a:gd name="T45" fmla="*/ 133 h 133"/>
                <a:gd name="T46" fmla="*/ 41 w 62"/>
                <a:gd name="T47" fmla="*/ 126 h 133"/>
                <a:gd name="T48" fmla="*/ 34 w 62"/>
                <a:gd name="T49" fmla="*/ 123 h 133"/>
                <a:gd name="T50" fmla="*/ 27 w 62"/>
                <a:gd name="T51" fmla="*/ 116 h 133"/>
                <a:gd name="T52" fmla="*/ 27 w 62"/>
                <a:gd name="T53" fmla="*/ 110 h 133"/>
                <a:gd name="T54" fmla="*/ 27 w 62"/>
                <a:gd name="T55" fmla="*/ 107 h 133"/>
                <a:gd name="T56" fmla="*/ 34 w 62"/>
                <a:gd name="T57" fmla="*/ 97 h 133"/>
                <a:gd name="T58" fmla="*/ 34 w 62"/>
                <a:gd name="T59" fmla="*/ 91 h 133"/>
                <a:gd name="T60" fmla="*/ 27 w 62"/>
                <a:gd name="T61" fmla="*/ 87 h 133"/>
                <a:gd name="T62" fmla="*/ 21 w 62"/>
                <a:gd name="T63" fmla="*/ 87 h 133"/>
                <a:gd name="T64" fmla="*/ 17 w 62"/>
                <a:gd name="T65" fmla="*/ 87 h 133"/>
                <a:gd name="T66" fmla="*/ 14 w 62"/>
                <a:gd name="T67" fmla="*/ 84 h 133"/>
                <a:gd name="T68" fmla="*/ 10 w 62"/>
                <a:gd name="T69" fmla="*/ 81 h 133"/>
                <a:gd name="T70" fmla="*/ 7 w 62"/>
                <a:gd name="T71" fmla="*/ 81 h 133"/>
                <a:gd name="T72" fmla="*/ 3 w 62"/>
                <a:gd name="T73" fmla="*/ 78 h 133"/>
                <a:gd name="T74" fmla="*/ 0 w 62"/>
                <a:gd name="T75" fmla="*/ 71 h 133"/>
                <a:gd name="T76" fmla="*/ 3 w 62"/>
                <a:gd name="T77" fmla="*/ 68 h 133"/>
                <a:gd name="T78" fmla="*/ 7 w 62"/>
                <a:gd name="T79" fmla="*/ 65 h 133"/>
                <a:gd name="T80" fmla="*/ 3 w 62"/>
                <a:gd name="T81" fmla="*/ 61 h 133"/>
                <a:gd name="T82" fmla="*/ 10 w 62"/>
                <a:gd name="T83" fmla="*/ 55 h 133"/>
                <a:gd name="T84" fmla="*/ 14 w 62"/>
                <a:gd name="T85" fmla="*/ 55 h 133"/>
                <a:gd name="T86" fmla="*/ 14 w 62"/>
                <a:gd name="T87" fmla="*/ 52 h 133"/>
                <a:gd name="T88" fmla="*/ 14 w 62"/>
                <a:gd name="T89" fmla="*/ 49 h 133"/>
                <a:gd name="T90" fmla="*/ 14 w 62"/>
                <a:gd name="T91" fmla="*/ 45 h 133"/>
                <a:gd name="T92" fmla="*/ 10 w 62"/>
                <a:gd name="T93" fmla="*/ 42 h 133"/>
                <a:gd name="T94" fmla="*/ 14 w 62"/>
                <a:gd name="T95" fmla="*/ 39 h 133"/>
                <a:gd name="T96" fmla="*/ 10 w 62"/>
                <a:gd name="T97" fmla="*/ 32 h 133"/>
                <a:gd name="T98" fmla="*/ 17 w 62"/>
                <a:gd name="T99" fmla="*/ 26 h 133"/>
                <a:gd name="T100" fmla="*/ 17 w 62"/>
                <a:gd name="T101" fmla="*/ 23 h 133"/>
                <a:gd name="T102" fmla="*/ 17 w 62"/>
                <a:gd name="T103" fmla="*/ 19 h 133"/>
                <a:gd name="T104" fmla="*/ 14 w 62"/>
                <a:gd name="T105" fmla="*/ 16 h 133"/>
                <a:gd name="T106" fmla="*/ 14 w 62"/>
                <a:gd name="T107" fmla="*/ 10 h 133"/>
                <a:gd name="T108" fmla="*/ 10 w 62"/>
                <a:gd name="T109" fmla="*/ 7 h 133"/>
                <a:gd name="T110" fmla="*/ 7 w 62"/>
                <a:gd name="T111" fmla="*/ 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2" h="133">
                  <a:moveTo>
                    <a:pt x="7" y="0"/>
                  </a:moveTo>
                  <a:lnTo>
                    <a:pt x="7" y="0"/>
                  </a:lnTo>
                  <a:lnTo>
                    <a:pt x="10" y="0"/>
                  </a:lnTo>
                  <a:lnTo>
                    <a:pt x="10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7" y="3"/>
                  </a:lnTo>
                  <a:lnTo>
                    <a:pt x="17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4" y="10"/>
                  </a:lnTo>
                  <a:lnTo>
                    <a:pt x="31" y="16"/>
                  </a:lnTo>
                  <a:lnTo>
                    <a:pt x="31" y="23"/>
                  </a:lnTo>
                  <a:lnTo>
                    <a:pt x="31" y="49"/>
                  </a:lnTo>
                  <a:lnTo>
                    <a:pt x="31" y="52"/>
                  </a:lnTo>
                  <a:lnTo>
                    <a:pt x="34" y="68"/>
                  </a:lnTo>
                  <a:lnTo>
                    <a:pt x="41" y="71"/>
                  </a:lnTo>
                  <a:lnTo>
                    <a:pt x="41" y="71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51" y="81"/>
                  </a:lnTo>
                  <a:lnTo>
                    <a:pt x="55" y="84"/>
                  </a:lnTo>
                  <a:lnTo>
                    <a:pt x="58" y="87"/>
                  </a:lnTo>
                  <a:lnTo>
                    <a:pt x="58" y="91"/>
                  </a:lnTo>
                  <a:lnTo>
                    <a:pt x="62" y="94"/>
                  </a:lnTo>
                  <a:lnTo>
                    <a:pt x="62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5" y="97"/>
                  </a:lnTo>
                  <a:lnTo>
                    <a:pt x="55" y="100"/>
                  </a:lnTo>
                  <a:lnTo>
                    <a:pt x="55" y="100"/>
                  </a:lnTo>
                  <a:lnTo>
                    <a:pt x="55" y="103"/>
                  </a:lnTo>
                  <a:lnTo>
                    <a:pt x="58" y="103"/>
                  </a:lnTo>
                  <a:lnTo>
                    <a:pt x="58" y="110"/>
                  </a:lnTo>
                  <a:lnTo>
                    <a:pt x="55" y="113"/>
                  </a:lnTo>
                  <a:lnTo>
                    <a:pt x="55" y="113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8" y="123"/>
                  </a:lnTo>
                  <a:lnTo>
                    <a:pt x="45" y="126"/>
                  </a:lnTo>
                  <a:lnTo>
                    <a:pt x="48" y="129"/>
                  </a:lnTo>
                  <a:lnTo>
                    <a:pt x="45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1" y="129"/>
                  </a:lnTo>
                  <a:lnTo>
                    <a:pt x="41" y="126"/>
                  </a:lnTo>
                  <a:lnTo>
                    <a:pt x="38" y="126"/>
                  </a:lnTo>
                  <a:lnTo>
                    <a:pt x="34" y="123"/>
                  </a:lnTo>
                  <a:lnTo>
                    <a:pt x="31" y="120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7" y="107"/>
                  </a:lnTo>
                  <a:lnTo>
                    <a:pt x="31" y="103"/>
                  </a:lnTo>
                  <a:lnTo>
                    <a:pt x="34" y="97"/>
                  </a:lnTo>
                  <a:lnTo>
                    <a:pt x="34" y="94"/>
                  </a:lnTo>
                  <a:lnTo>
                    <a:pt x="34" y="91"/>
                  </a:lnTo>
                  <a:lnTo>
                    <a:pt x="31" y="87"/>
                  </a:lnTo>
                  <a:lnTo>
                    <a:pt x="27" y="87"/>
                  </a:lnTo>
                  <a:lnTo>
                    <a:pt x="24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17" y="87"/>
                  </a:lnTo>
                  <a:lnTo>
                    <a:pt x="14" y="87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0" y="81"/>
                  </a:lnTo>
                  <a:lnTo>
                    <a:pt x="10" y="81"/>
                  </a:lnTo>
                  <a:lnTo>
                    <a:pt x="7" y="81"/>
                  </a:lnTo>
                  <a:lnTo>
                    <a:pt x="3" y="81"/>
                  </a:lnTo>
                  <a:lnTo>
                    <a:pt x="3" y="78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3" y="71"/>
                  </a:lnTo>
                  <a:lnTo>
                    <a:pt x="3" y="68"/>
                  </a:lnTo>
                  <a:lnTo>
                    <a:pt x="3" y="65"/>
                  </a:lnTo>
                  <a:lnTo>
                    <a:pt x="7" y="65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7" y="58"/>
                  </a:lnTo>
                  <a:lnTo>
                    <a:pt x="10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49"/>
                  </a:lnTo>
                  <a:lnTo>
                    <a:pt x="10" y="49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0" y="42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6"/>
                  </a:lnTo>
                  <a:lnTo>
                    <a:pt x="10" y="32"/>
                  </a:lnTo>
                  <a:lnTo>
                    <a:pt x="10" y="29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3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10"/>
                  </a:lnTo>
                  <a:lnTo>
                    <a:pt x="10" y="7"/>
                  </a:lnTo>
                  <a:lnTo>
                    <a:pt x="7" y="7"/>
                  </a:lnTo>
                  <a:lnTo>
                    <a:pt x="7" y="3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43" name="Freeform 144"/>
            <p:cNvSpPr>
              <a:spLocks/>
            </p:cNvSpPr>
            <p:nvPr/>
          </p:nvSpPr>
          <p:spPr bwMode="auto">
            <a:xfrm>
              <a:off x="6927851" y="4842530"/>
              <a:ext cx="365125" cy="266700"/>
            </a:xfrm>
            <a:custGeom>
              <a:avLst/>
              <a:gdLst>
                <a:gd name="T0" fmla="*/ 48 w 230"/>
                <a:gd name="T1" fmla="*/ 51 h 168"/>
                <a:gd name="T2" fmla="*/ 51 w 230"/>
                <a:gd name="T3" fmla="*/ 55 h 168"/>
                <a:gd name="T4" fmla="*/ 62 w 230"/>
                <a:gd name="T5" fmla="*/ 51 h 168"/>
                <a:gd name="T6" fmla="*/ 68 w 230"/>
                <a:gd name="T7" fmla="*/ 55 h 168"/>
                <a:gd name="T8" fmla="*/ 75 w 230"/>
                <a:gd name="T9" fmla="*/ 61 h 168"/>
                <a:gd name="T10" fmla="*/ 89 w 230"/>
                <a:gd name="T11" fmla="*/ 64 h 168"/>
                <a:gd name="T12" fmla="*/ 99 w 230"/>
                <a:gd name="T13" fmla="*/ 61 h 168"/>
                <a:gd name="T14" fmla="*/ 106 w 230"/>
                <a:gd name="T15" fmla="*/ 58 h 168"/>
                <a:gd name="T16" fmla="*/ 113 w 230"/>
                <a:gd name="T17" fmla="*/ 71 h 168"/>
                <a:gd name="T18" fmla="*/ 134 w 230"/>
                <a:gd name="T19" fmla="*/ 80 h 168"/>
                <a:gd name="T20" fmla="*/ 148 w 230"/>
                <a:gd name="T21" fmla="*/ 87 h 168"/>
                <a:gd name="T22" fmla="*/ 154 w 230"/>
                <a:gd name="T23" fmla="*/ 87 h 168"/>
                <a:gd name="T24" fmla="*/ 148 w 230"/>
                <a:gd name="T25" fmla="*/ 68 h 168"/>
                <a:gd name="T26" fmla="*/ 141 w 230"/>
                <a:gd name="T27" fmla="*/ 74 h 168"/>
                <a:gd name="T28" fmla="*/ 130 w 230"/>
                <a:gd name="T29" fmla="*/ 61 h 168"/>
                <a:gd name="T30" fmla="*/ 134 w 230"/>
                <a:gd name="T31" fmla="*/ 42 h 168"/>
                <a:gd name="T32" fmla="*/ 137 w 230"/>
                <a:gd name="T33" fmla="*/ 35 h 168"/>
                <a:gd name="T34" fmla="*/ 137 w 230"/>
                <a:gd name="T35" fmla="*/ 29 h 168"/>
                <a:gd name="T36" fmla="*/ 130 w 230"/>
                <a:gd name="T37" fmla="*/ 19 h 168"/>
                <a:gd name="T38" fmla="*/ 182 w 230"/>
                <a:gd name="T39" fmla="*/ 3 h 168"/>
                <a:gd name="T40" fmla="*/ 192 w 230"/>
                <a:gd name="T41" fmla="*/ 9 h 168"/>
                <a:gd name="T42" fmla="*/ 209 w 230"/>
                <a:gd name="T43" fmla="*/ 13 h 168"/>
                <a:gd name="T44" fmla="*/ 216 w 230"/>
                <a:gd name="T45" fmla="*/ 19 h 168"/>
                <a:gd name="T46" fmla="*/ 223 w 230"/>
                <a:gd name="T47" fmla="*/ 26 h 168"/>
                <a:gd name="T48" fmla="*/ 227 w 230"/>
                <a:gd name="T49" fmla="*/ 35 h 168"/>
                <a:gd name="T50" fmla="*/ 230 w 230"/>
                <a:gd name="T51" fmla="*/ 42 h 168"/>
                <a:gd name="T52" fmla="*/ 223 w 230"/>
                <a:gd name="T53" fmla="*/ 51 h 168"/>
                <a:gd name="T54" fmla="*/ 223 w 230"/>
                <a:gd name="T55" fmla="*/ 61 h 168"/>
                <a:gd name="T56" fmla="*/ 227 w 230"/>
                <a:gd name="T57" fmla="*/ 68 h 168"/>
                <a:gd name="T58" fmla="*/ 227 w 230"/>
                <a:gd name="T59" fmla="*/ 74 h 168"/>
                <a:gd name="T60" fmla="*/ 216 w 230"/>
                <a:gd name="T61" fmla="*/ 80 h 168"/>
                <a:gd name="T62" fmla="*/ 216 w 230"/>
                <a:gd name="T63" fmla="*/ 87 h 168"/>
                <a:gd name="T64" fmla="*/ 216 w 230"/>
                <a:gd name="T65" fmla="*/ 97 h 168"/>
                <a:gd name="T66" fmla="*/ 213 w 230"/>
                <a:gd name="T67" fmla="*/ 103 h 168"/>
                <a:gd name="T68" fmla="*/ 175 w 230"/>
                <a:gd name="T69" fmla="*/ 113 h 168"/>
                <a:gd name="T70" fmla="*/ 165 w 230"/>
                <a:gd name="T71" fmla="*/ 126 h 168"/>
                <a:gd name="T72" fmla="*/ 158 w 230"/>
                <a:gd name="T73" fmla="*/ 126 h 168"/>
                <a:gd name="T74" fmla="*/ 144 w 230"/>
                <a:gd name="T75" fmla="*/ 126 h 168"/>
                <a:gd name="T76" fmla="*/ 134 w 230"/>
                <a:gd name="T77" fmla="*/ 135 h 168"/>
                <a:gd name="T78" fmla="*/ 134 w 230"/>
                <a:gd name="T79" fmla="*/ 139 h 168"/>
                <a:gd name="T80" fmla="*/ 99 w 230"/>
                <a:gd name="T81" fmla="*/ 164 h 168"/>
                <a:gd name="T82" fmla="*/ 89 w 230"/>
                <a:gd name="T83" fmla="*/ 164 h 168"/>
                <a:gd name="T84" fmla="*/ 79 w 230"/>
                <a:gd name="T85" fmla="*/ 161 h 168"/>
                <a:gd name="T86" fmla="*/ 68 w 230"/>
                <a:gd name="T87" fmla="*/ 161 h 168"/>
                <a:gd name="T88" fmla="*/ 58 w 230"/>
                <a:gd name="T89" fmla="*/ 158 h 168"/>
                <a:gd name="T90" fmla="*/ 55 w 230"/>
                <a:gd name="T91" fmla="*/ 158 h 168"/>
                <a:gd name="T92" fmla="*/ 27 w 230"/>
                <a:gd name="T93" fmla="*/ 161 h 168"/>
                <a:gd name="T94" fmla="*/ 20 w 230"/>
                <a:gd name="T95" fmla="*/ 152 h 168"/>
                <a:gd name="T96" fmla="*/ 6 w 230"/>
                <a:gd name="T97" fmla="*/ 145 h 168"/>
                <a:gd name="T98" fmla="*/ 0 w 230"/>
                <a:gd name="T99" fmla="*/ 135 h 168"/>
                <a:gd name="T100" fmla="*/ 44 w 230"/>
                <a:gd name="T101" fmla="*/ 74 h 168"/>
                <a:gd name="T102" fmla="*/ 41 w 230"/>
                <a:gd name="T103" fmla="*/ 64 h 168"/>
                <a:gd name="T104" fmla="*/ 41 w 230"/>
                <a:gd name="T105" fmla="*/ 4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0" h="168">
                  <a:moveTo>
                    <a:pt x="41" y="48"/>
                  </a:moveTo>
                  <a:lnTo>
                    <a:pt x="44" y="48"/>
                  </a:lnTo>
                  <a:lnTo>
                    <a:pt x="48" y="48"/>
                  </a:lnTo>
                  <a:lnTo>
                    <a:pt x="48" y="51"/>
                  </a:lnTo>
                  <a:lnTo>
                    <a:pt x="51" y="51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5" y="55"/>
                  </a:lnTo>
                  <a:lnTo>
                    <a:pt x="58" y="55"/>
                  </a:lnTo>
                  <a:lnTo>
                    <a:pt x="62" y="55"/>
                  </a:lnTo>
                  <a:lnTo>
                    <a:pt x="62" y="51"/>
                  </a:lnTo>
                  <a:lnTo>
                    <a:pt x="65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8"/>
                  </a:lnTo>
                  <a:lnTo>
                    <a:pt x="68" y="61"/>
                  </a:lnTo>
                  <a:lnTo>
                    <a:pt x="72" y="61"/>
                  </a:lnTo>
                  <a:lnTo>
                    <a:pt x="75" y="61"/>
                  </a:lnTo>
                  <a:lnTo>
                    <a:pt x="75" y="61"/>
                  </a:lnTo>
                  <a:lnTo>
                    <a:pt x="82" y="64"/>
                  </a:lnTo>
                  <a:lnTo>
                    <a:pt x="86" y="64"/>
                  </a:lnTo>
                  <a:lnTo>
                    <a:pt x="89" y="64"/>
                  </a:lnTo>
                  <a:lnTo>
                    <a:pt x="89" y="64"/>
                  </a:lnTo>
                  <a:lnTo>
                    <a:pt x="92" y="64"/>
                  </a:lnTo>
                  <a:lnTo>
                    <a:pt x="99" y="64"/>
                  </a:lnTo>
                  <a:lnTo>
                    <a:pt x="99" y="61"/>
                  </a:lnTo>
                  <a:lnTo>
                    <a:pt x="99" y="58"/>
                  </a:lnTo>
                  <a:lnTo>
                    <a:pt x="103" y="58"/>
                  </a:lnTo>
                  <a:lnTo>
                    <a:pt x="103" y="58"/>
                  </a:lnTo>
                  <a:lnTo>
                    <a:pt x="106" y="58"/>
                  </a:lnTo>
                  <a:lnTo>
                    <a:pt x="106" y="61"/>
                  </a:lnTo>
                  <a:lnTo>
                    <a:pt x="110" y="64"/>
                  </a:lnTo>
                  <a:lnTo>
                    <a:pt x="110" y="68"/>
                  </a:lnTo>
                  <a:lnTo>
                    <a:pt x="113" y="71"/>
                  </a:lnTo>
                  <a:lnTo>
                    <a:pt x="120" y="71"/>
                  </a:lnTo>
                  <a:lnTo>
                    <a:pt x="127" y="74"/>
                  </a:lnTo>
                  <a:lnTo>
                    <a:pt x="130" y="77"/>
                  </a:lnTo>
                  <a:lnTo>
                    <a:pt x="134" y="80"/>
                  </a:lnTo>
                  <a:lnTo>
                    <a:pt x="137" y="84"/>
                  </a:lnTo>
                  <a:lnTo>
                    <a:pt x="141" y="87"/>
                  </a:lnTo>
                  <a:lnTo>
                    <a:pt x="144" y="87"/>
                  </a:lnTo>
                  <a:lnTo>
                    <a:pt x="148" y="87"/>
                  </a:lnTo>
                  <a:lnTo>
                    <a:pt x="151" y="87"/>
                  </a:lnTo>
                  <a:lnTo>
                    <a:pt x="151" y="87"/>
                  </a:lnTo>
                  <a:lnTo>
                    <a:pt x="151" y="87"/>
                  </a:lnTo>
                  <a:lnTo>
                    <a:pt x="154" y="87"/>
                  </a:lnTo>
                  <a:lnTo>
                    <a:pt x="154" y="87"/>
                  </a:lnTo>
                  <a:lnTo>
                    <a:pt x="154" y="68"/>
                  </a:lnTo>
                  <a:lnTo>
                    <a:pt x="151" y="68"/>
                  </a:lnTo>
                  <a:lnTo>
                    <a:pt x="148" y="68"/>
                  </a:lnTo>
                  <a:lnTo>
                    <a:pt x="148" y="71"/>
                  </a:lnTo>
                  <a:lnTo>
                    <a:pt x="151" y="71"/>
                  </a:lnTo>
                  <a:lnTo>
                    <a:pt x="148" y="74"/>
                  </a:lnTo>
                  <a:lnTo>
                    <a:pt x="141" y="74"/>
                  </a:lnTo>
                  <a:lnTo>
                    <a:pt x="137" y="71"/>
                  </a:lnTo>
                  <a:lnTo>
                    <a:pt x="137" y="68"/>
                  </a:lnTo>
                  <a:lnTo>
                    <a:pt x="134" y="64"/>
                  </a:lnTo>
                  <a:lnTo>
                    <a:pt x="130" y="61"/>
                  </a:lnTo>
                  <a:lnTo>
                    <a:pt x="130" y="58"/>
                  </a:lnTo>
                  <a:lnTo>
                    <a:pt x="130" y="48"/>
                  </a:lnTo>
                  <a:lnTo>
                    <a:pt x="130" y="45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7" y="38"/>
                  </a:lnTo>
                  <a:lnTo>
                    <a:pt x="137" y="35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7" y="29"/>
                  </a:lnTo>
                  <a:lnTo>
                    <a:pt x="137" y="29"/>
                  </a:lnTo>
                  <a:lnTo>
                    <a:pt x="137" y="26"/>
                  </a:lnTo>
                  <a:lnTo>
                    <a:pt x="134" y="26"/>
                  </a:lnTo>
                  <a:lnTo>
                    <a:pt x="134" y="22"/>
                  </a:lnTo>
                  <a:lnTo>
                    <a:pt x="130" y="19"/>
                  </a:lnTo>
                  <a:lnTo>
                    <a:pt x="141" y="6"/>
                  </a:lnTo>
                  <a:lnTo>
                    <a:pt x="172" y="0"/>
                  </a:lnTo>
                  <a:lnTo>
                    <a:pt x="182" y="3"/>
                  </a:lnTo>
                  <a:lnTo>
                    <a:pt x="182" y="3"/>
                  </a:lnTo>
                  <a:lnTo>
                    <a:pt x="185" y="6"/>
                  </a:lnTo>
                  <a:lnTo>
                    <a:pt x="189" y="6"/>
                  </a:lnTo>
                  <a:lnTo>
                    <a:pt x="192" y="6"/>
                  </a:lnTo>
                  <a:lnTo>
                    <a:pt x="192" y="9"/>
                  </a:lnTo>
                  <a:lnTo>
                    <a:pt x="192" y="9"/>
                  </a:lnTo>
                  <a:lnTo>
                    <a:pt x="199" y="9"/>
                  </a:lnTo>
                  <a:lnTo>
                    <a:pt x="206" y="13"/>
                  </a:lnTo>
                  <a:lnTo>
                    <a:pt x="209" y="13"/>
                  </a:lnTo>
                  <a:lnTo>
                    <a:pt x="209" y="16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6" y="19"/>
                  </a:lnTo>
                  <a:lnTo>
                    <a:pt x="220" y="19"/>
                  </a:lnTo>
                  <a:lnTo>
                    <a:pt x="220" y="22"/>
                  </a:lnTo>
                  <a:lnTo>
                    <a:pt x="220" y="26"/>
                  </a:lnTo>
                  <a:lnTo>
                    <a:pt x="223" y="26"/>
                  </a:lnTo>
                  <a:lnTo>
                    <a:pt x="223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35"/>
                  </a:lnTo>
                  <a:lnTo>
                    <a:pt x="227" y="35"/>
                  </a:lnTo>
                  <a:lnTo>
                    <a:pt x="230" y="38"/>
                  </a:lnTo>
                  <a:lnTo>
                    <a:pt x="230" y="38"/>
                  </a:lnTo>
                  <a:lnTo>
                    <a:pt x="230" y="42"/>
                  </a:lnTo>
                  <a:lnTo>
                    <a:pt x="230" y="45"/>
                  </a:lnTo>
                  <a:lnTo>
                    <a:pt x="230" y="45"/>
                  </a:lnTo>
                  <a:lnTo>
                    <a:pt x="223" y="48"/>
                  </a:lnTo>
                  <a:lnTo>
                    <a:pt x="223" y="51"/>
                  </a:lnTo>
                  <a:lnTo>
                    <a:pt x="227" y="55"/>
                  </a:lnTo>
                  <a:lnTo>
                    <a:pt x="227" y="58"/>
                  </a:lnTo>
                  <a:lnTo>
                    <a:pt x="227" y="58"/>
                  </a:lnTo>
                  <a:lnTo>
                    <a:pt x="223" y="61"/>
                  </a:lnTo>
                  <a:lnTo>
                    <a:pt x="227" y="64"/>
                  </a:lnTo>
                  <a:lnTo>
                    <a:pt x="227" y="64"/>
                  </a:lnTo>
                  <a:lnTo>
                    <a:pt x="223" y="68"/>
                  </a:lnTo>
                  <a:lnTo>
                    <a:pt x="227" y="68"/>
                  </a:lnTo>
                  <a:lnTo>
                    <a:pt x="227" y="71"/>
                  </a:lnTo>
                  <a:lnTo>
                    <a:pt x="227" y="71"/>
                  </a:lnTo>
                  <a:lnTo>
                    <a:pt x="227" y="71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3" y="74"/>
                  </a:lnTo>
                  <a:lnTo>
                    <a:pt x="220" y="77"/>
                  </a:lnTo>
                  <a:lnTo>
                    <a:pt x="216" y="80"/>
                  </a:lnTo>
                  <a:lnTo>
                    <a:pt x="216" y="80"/>
                  </a:lnTo>
                  <a:lnTo>
                    <a:pt x="220" y="84"/>
                  </a:lnTo>
                  <a:lnTo>
                    <a:pt x="216" y="84"/>
                  </a:lnTo>
                  <a:lnTo>
                    <a:pt x="216" y="87"/>
                  </a:lnTo>
                  <a:lnTo>
                    <a:pt x="216" y="90"/>
                  </a:lnTo>
                  <a:lnTo>
                    <a:pt x="213" y="90"/>
                  </a:lnTo>
                  <a:lnTo>
                    <a:pt x="213" y="93"/>
                  </a:lnTo>
                  <a:lnTo>
                    <a:pt x="216" y="97"/>
                  </a:lnTo>
                  <a:lnTo>
                    <a:pt x="216" y="100"/>
                  </a:lnTo>
                  <a:lnTo>
                    <a:pt x="220" y="100"/>
                  </a:lnTo>
                  <a:lnTo>
                    <a:pt x="216" y="100"/>
                  </a:lnTo>
                  <a:lnTo>
                    <a:pt x="213" y="103"/>
                  </a:lnTo>
                  <a:lnTo>
                    <a:pt x="199" y="106"/>
                  </a:lnTo>
                  <a:lnTo>
                    <a:pt x="196" y="106"/>
                  </a:lnTo>
                  <a:lnTo>
                    <a:pt x="178" y="113"/>
                  </a:lnTo>
                  <a:lnTo>
                    <a:pt x="175" y="113"/>
                  </a:lnTo>
                  <a:lnTo>
                    <a:pt x="165" y="116"/>
                  </a:lnTo>
                  <a:lnTo>
                    <a:pt x="165" y="119"/>
                  </a:lnTo>
                  <a:lnTo>
                    <a:pt x="165" y="122"/>
                  </a:lnTo>
                  <a:lnTo>
                    <a:pt x="165" y="126"/>
                  </a:lnTo>
                  <a:lnTo>
                    <a:pt x="165" y="126"/>
                  </a:lnTo>
                  <a:lnTo>
                    <a:pt x="165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1" y="126"/>
                  </a:lnTo>
                  <a:lnTo>
                    <a:pt x="148" y="126"/>
                  </a:lnTo>
                  <a:lnTo>
                    <a:pt x="144" y="126"/>
                  </a:lnTo>
                  <a:lnTo>
                    <a:pt x="141" y="129"/>
                  </a:lnTo>
                  <a:lnTo>
                    <a:pt x="137" y="129"/>
                  </a:lnTo>
                  <a:lnTo>
                    <a:pt x="134" y="132"/>
                  </a:lnTo>
                  <a:lnTo>
                    <a:pt x="134" y="135"/>
                  </a:lnTo>
                  <a:lnTo>
                    <a:pt x="134" y="135"/>
                  </a:lnTo>
                  <a:lnTo>
                    <a:pt x="134" y="139"/>
                  </a:lnTo>
                  <a:lnTo>
                    <a:pt x="134" y="139"/>
                  </a:lnTo>
                  <a:lnTo>
                    <a:pt x="134" y="139"/>
                  </a:lnTo>
                  <a:lnTo>
                    <a:pt x="127" y="142"/>
                  </a:lnTo>
                  <a:lnTo>
                    <a:pt x="113" y="148"/>
                  </a:lnTo>
                  <a:lnTo>
                    <a:pt x="106" y="158"/>
                  </a:lnTo>
                  <a:lnTo>
                    <a:pt x="99" y="164"/>
                  </a:lnTo>
                  <a:lnTo>
                    <a:pt x="96" y="168"/>
                  </a:lnTo>
                  <a:lnTo>
                    <a:pt x="92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6" y="164"/>
                  </a:lnTo>
                  <a:lnTo>
                    <a:pt x="86" y="164"/>
                  </a:lnTo>
                  <a:lnTo>
                    <a:pt x="82" y="161"/>
                  </a:lnTo>
                  <a:lnTo>
                    <a:pt x="79" y="161"/>
                  </a:lnTo>
                  <a:lnTo>
                    <a:pt x="75" y="164"/>
                  </a:lnTo>
                  <a:lnTo>
                    <a:pt x="75" y="164"/>
                  </a:lnTo>
                  <a:lnTo>
                    <a:pt x="72" y="164"/>
                  </a:lnTo>
                  <a:lnTo>
                    <a:pt x="68" y="161"/>
                  </a:lnTo>
                  <a:lnTo>
                    <a:pt x="65" y="161"/>
                  </a:lnTo>
                  <a:lnTo>
                    <a:pt x="62" y="161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51" y="155"/>
                  </a:lnTo>
                  <a:lnTo>
                    <a:pt x="48" y="158"/>
                  </a:lnTo>
                  <a:lnTo>
                    <a:pt x="44" y="158"/>
                  </a:lnTo>
                  <a:lnTo>
                    <a:pt x="27" y="161"/>
                  </a:lnTo>
                  <a:lnTo>
                    <a:pt x="27" y="158"/>
                  </a:lnTo>
                  <a:lnTo>
                    <a:pt x="24" y="158"/>
                  </a:lnTo>
                  <a:lnTo>
                    <a:pt x="20" y="155"/>
                  </a:lnTo>
                  <a:lnTo>
                    <a:pt x="20" y="152"/>
                  </a:lnTo>
                  <a:lnTo>
                    <a:pt x="17" y="152"/>
                  </a:lnTo>
                  <a:lnTo>
                    <a:pt x="13" y="148"/>
                  </a:lnTo>
                  <a:lnTo>
                    <a:pt x="10" y="145"/>
                  </a:lnTo>
                  <a:lnTo>
                    <a:pt x="6" y="145"/>
                  </a:lnTo>
                  <a:lnTo>
                    <a:pt x="6" y="142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0" y="135"/>
                  </a:lnTo>
                  <a:lnTo>
                    <a:pt x="3" y="80"/>
                  </a:lnTo>
                  <a:lnTo>
                    <a:pt x="44" y="80"/>
                  </a:lnTo>
                  <a:lnTo>
                    <a:pt x="41" y="80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41" y="64"/>
                  </a:lnTo>
                  <a:lnTo>
                    <a:pt x="41" y="58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48"/>
                  </a:lnTo>
                  <a:lnTo>
                    <a:pt x="41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44" name="Freeform 145"/>
            <p:cNvSpPr>
              <a:spLocks/>
            </p:cNvSpPr>
            <p:nvPr/>
          </p:nvSpPr>
          <p:spPr bwMode="auto">
            <a:xfrm>
              <a:off x="6610351" y="4785380"/>
              <a:ext cx="387350" cy="323850"/>
            </a:xfrm>
            <a:custGeom>
              <a:avLst/>
              <a:gdLst>
                <a:gd name="T0" fmla="*/ 220 w 244"/>
                <a:gd name="T1" fmla="*/ 191 h 204"/>
                <a:gd name="T2" fmla="*/ 210 w 244"/>
                <a:gd name="T3" fmla="*/ 181 h 204"/>
                <a:gd name="T4" fmla="*/ 203 w 244"/>
                <a:gd name="T5" fmla="*/ 175 h 204"/>
                <a:gd name="T6" fmla="*/ 241 w 244"/>
                <a:gd name="T7" fmla="*/ 116 h 204"/>
                <a:gd name="T8" fmla="*/ 241 w 244"/>
                <a:gd name="T9" fmla="*/ 104 h 204"/>
                <a:gd name="T10" fmla="*/ 241 w 244"/>
                <a:gd name="T11" fmla="*/ 87 h 204"/>
                <a:gd name="T12" fmla="*/ 237 w 244"/>
                <a:gd name="T13" fmla="*/ 84 h 204"/>
                <a:gd name="T14" fmla="*/ 227 w 244"/>
                <a:gd name="T15" fmla="*/ 87 h 204"/>
                <a:gd name="T16" fmla="*/ 217 w 244"/>
                <a:gd name="T17" fmla="*/ 84 h 204"/>
                <a:gd name="T18" fmla="*/ 210 w 244"/>
                <a:gd name="T19" fmla="*/ 87 h 204"/>
                <a:gd name="T20" fmla="*/ 210 w 244"/>
                <a:gd name="T21" fmla="*/ 81 h 204"/>
                <a:gd name="T22" fmla="*/ 210 w 244"/>
                <a:gd name="T23" fmla="*/ 74 h 204"/>
                <a:gd name="T24" fmla="*/ 206 w 244"/>
                <a:gd name="T25" fmla="*/ 65 h 204"/>
                <a:gd name="T26" fmla="*/ 203 w 244"/>
                <a:gd name="T27" fmla="*/ 62 h 204"/>
                <a:gd name="T28" fmla="*/ 200 w 244"/>
                <a:gd name="T29" fmla="*/ 55 h 204"/>
                <a:gd name="T30" fmla="*/ 200 w 244"/>
                <a:gd name="T31" fmla="*/ 42 h 204"/>
                <a:gd name="T32" fmla="*/ 200 w 244"/>
                <a:gd name="T33" fmla="*/ 32 h 204"/>
                <a:gd name="T34" fmla="*/ 203 w 244"/>
                <a:gd name="T35" fmla="*/ 23 h 204"/>
                <a:gd name="T36" fmla="*/ 179 w 244"/>
                <a:gd name="T37" fmla="*/ 16 h 204"/>
                <a:gd name="T38" fmla="*/ 155 w 244"/>
                <a:gd name="T39" fmla="*/ 23 h 204"/>
                <a:gd name="T40" fmla="*/ 151 w 244"/>
                <a:gd name="T41" fmla="*/ 32 h 204"/>
                <a:gd name="T42" fmla="*/ 127 w 244"/>
                <a:gd name="T43" fmla="*/ 36 h 204"/>
                <a:gd name="T44" fmla="*/ 114 w 244"/>
                <a:gd name="T45" fmla="*/ 29 h 204"/>
                <a:gd name="T46" fmla="*/ 107 w 244"/>
                <a:gd name="T47" fmla="*/ 20 h 204"/>
                <a:gd name="T48" fmla="*/ 103 w 244"/>
                <a:gd name="T49" fmla="*/ 10 h 204"/>
                <a:gd name="T50" fmla="*/ 103 w 244"/>
                <a:gd name="T51" fmla="*/ 3 h 204"/>
                <a:gd name="T52" fmla="*/ 69 w 244"/>
                <a:gd name="T53" fmla="*/ 0 h 204"/>
                <a:gd name="T54" fmla="*/ 48 w 244"/>
                <a:gd name="T55" fmla="*/ 0 h 204"/>
                <a:gd name="T56" fmla="*/ 34 w 244"/>
                <a:gd name="T57" fmla="*/ 0 h 204"/>
                <a:gd name="T58" fmla="*/ 24 w 244"/>
                <a:gd name="T59" fmla="*/ 0 h 204"/>
                <a:gd name="T60" fmla="*/ 17 w 244"/>
                <a:gd name="T61" fmla="*/ 3 h 204"/>
                <a:gd name="T62" fmla="*/ 31 w 244"/>
                <a:gd name="T63" fmla="*/ 32 h 204"/>
                <a:gd name="T64" fmla="*/ 34 w 244"/>
                <a:gd name="T65" fmla="*/ 52 h 204"/>
                <a:gd name="T66" fmla="*/ 45 w 244"/>
                <a:gd name="T67" fmla="*/ 78 h 204"/>
                <a:gd name="T68" fmla="*/ 38 w 244"/>
                <a:gd name="T69" fmla="*/ 110 h 204"/>
                <a:gd name="T70" fmla="*/ 17 w 244"/>
                <a:gd name="T71" fmla="*/ 126 h 204"/>
                <a:gd name="T72" fmla="*/ 10 w 244"/>
                <a:gd name="T73" fmla="*/ 152 h 204"/>
                <a:gd name="T74" fmla="*/ 4 w 244"/>
                <a:gd name="T75" fmla="*/ 175 h 204"/>
                <a:gd name="T76" fmla="*/ 0 w 244"/>
                <a:gd name="T77" fmla="*/ 191 h 204"/>
                <a:gd name="T78" fmla="*/ 7 w 244"/>
                <a:gd name="T79" fmla="*/ 188 h 204"/>
                <a:gd name="T80" fmla="*/ 17 w 244"/>
                <a:gd name="T81" fmla="*/ 188 h 204"/>
                <a:gd name="T82" fmla="*/ 31 w 244"/>
                <a:gd name="T83" fmla="*/ 184 h 204"/>
                <a:gd name="T84" fmla="*/ 34 w 244"/>
                <a:gd name="T85" fmla="*/ 184 h 204"/>
                <a:gd name="T86" fmla="*/ 38 w 244"/>
                <a:gd name="T87" fmla="*/ 188 h 204"/>
                <a:gd name="T88" fmla="*/ 52 w 244"/>
                <a:gd name="T89" fmla="*/ 191 h 204"/>
                <a:gd name="T90" fmla="*/ 131 w 244"/>
                <a:gd name="T91" fmla="*/ 191 h 204"/>
                <a:gd name="T92" fmla="*/ 138 w 244"/>
                <a:gd name="T93" fmla="*/ 197 h 204"/>
                <a:gd name="T94" fmla="*/ 148 w 244"/>
                <a:gd name="T95" fmla="*/ 200 h 204"/>
                <a:gd name="T96" fmla="*/ 162 w 244"/>
                <a:gd name="T97" fmla="*/ 200 h 204"/>
                <a:gd name="T98" fmla="*/ 169 w 244"/>
                <a:gd name="T99" fmla="*/ 197 h 204"/>
                <a:gd name="T100" fmla="*/ 182 w 244"/>
                <a:gd name="T101" fmla="*/ 200 h 204"/>
                <a:gd name="T102" fmla="*/ 186 w 244"/>
                <a:gd name="T103" fmla="*/ 200 h 204"/>
                <a:gd name="T104" fmla="*/ 193 w 244"/>
                <a:gd name="T105" fmla="*/ 204 h 204"/>
                <a:gd name="T106" fmla="*/ 227 w 244"/>
                <a:gd name="T107" fmla="*/ 19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4" h="204">
                  <a:moveTo>
                    <a:pt x="227" y="197"/>
                  </a:moveTo>
                  <a:lnTo>
                    <a:pt x="227" y="194"/>
                  </a:lnTo>
                  <a:lnTo>
                    <a:pt x="224" y="194"/>
                  </a:lnTo>
                  <a:lnTo>
                    <a:pt x="220" y="191"/>
                  </a:lnTo>
                  <a:lnTo>
                    <a:pt x="220" y="188"/>
                  </a:lnTo>
                  <a:lnTo>
                    <a:pt x="217" y="188"/>
                  </a:lnTo>
                  <a:lnTo>
                    <a:pt x="213" y="184"/>
                  </a:lnTo>
                  <a:lnTo>
                    <a:pt x="210" y="181"/>
                  </a:lnTo>
                  <a:lnTo>
                    <a:pt x="206" y="181"/>
                  </a:lnTo>
                  <a:lnTo>
                    <a:pt x="206" y="178"/>
                  </a:lnTo>
                  <a:lnTo>
                    <a:pt x="203" y="178"/>
                  </a:lnTo>
                  <a:lnTo>
                    <a:pt x="203" y="175"/>
                  </a:lnTo>
                  <a:lnTo>
                    <a:pt x="200" y="171"/>
                  </a:lnTo>
                  <a:lnTo>
                    <a:pt x="203" y="116"/>
                  </a:lnTo>
                  <a:lnTo>
                    <a:pt x="244" y="116"/>
                  </a:lnTo>
                  <a:lnTo>
                    <a:pt x="241" y="116"/>
                  </a:lnTo>
                  <a:lnTo>
                    <a:pt x="244" y="110"/>
                  </a:lnTo>
                  <a:lnTo>
                    <a:pt x="244" y="110"/>
                  </a:lnTo>
                  <a:lnTo>
                    <a:pt x="244" y="107"/>
                  </a:lnTo>
                  <a:lnTo>
                    <a:pt x="241" y="104"/>
                  </a:lnTo>
                  <a:lnTo>
                    <a:pt x="241" y="100"/>
                  </a:lnTo>
                  <a:lnTo>
                    <a:pt x="241" y="94"/>
                  </a:lnTo>
                  <a:lnTo>
                    <a:pt x="241" y="87"/>
                  </a:lnTo>
                  <a:lnTo>
                    <a:pt x="241" y="87"/>
                  </a:lnTo>
                  <a:lnTo>
                    <a:pt x="241" y="84"/>
                  </a:lnTo>
                  <a:lnTo>
                    <a:pt x="241" y="84"/>
                  </a:lnTo>
                  <a:lnTo>
                    <a:pt x="237" y="84"/>
                  </a:lnTo>
                  <a:lnTo>
                    <a:pt x="237" y="84"/>
                  </a:lnTo>
                  <a:lnTo>
                    <a:pt x="234" y="87"/>
                  </a:lnTo>
                  <a:lnTo>
                    <a:pt x="231" y="87"/>
                  </a:lnTo>
                  <a:lnTo>
                    <a:pt x="227" y="87"/>
                  </a:lnTo>
                  <a:lnTo>
                    <a:pt x="227" y="87"/>
                  </a:lnTo>
                  <a:lnTo>
                    <a:pt x="220" y="87"/>
                  </a:lnTo>
                  <a:lnTo>
                    <a:pt x="220" y="87"/>
                  </a:lnTo>
                  <a:lnTo>
                    <a:pt x="217" y="84"/>
                  </a:lnTo>
                  <a:lnTo>
                    <a:pt x="217" y="84"/>
                  </a:lnTo>
                  <a:lnTo>
                    <a:pt x="213" y="87"/>
                  </a:lnTo>
                  <a:lnTo>
                    <a:pt x="213" y="87"/>
                  </a:lnTo>
                  <a:lnTo>
                    <a:pt x="210" y="87"/>
                  </a:lnTo>
                  <a:lnTo>
                    <a:pt x="210" y="87"/>
                  </a:lnTo>
                  <a:lnTo>
                    <a:pt x="210" y="87"/>
                  </a:lnTo>
                  <a:lnTo>
                    <a:pt x="210" y="84"/>
                  </a:lnTo>
                  <a:lnTo>
                    <a:pt x="210" y="81"/>
                  </a:lnTo>
                  <a:lnTo>
                    <a:pt x="210" y="81"/>
                  </a:lnTo>
                  <a:lnTo>
                    <a:pt x="210" y="78"/>
                  </a:lnTo>
                  <a:lnTo>
                    <a:pt x="210" y="78"/>
                  </a:lnTo>
                  <a:lnTo>
                    <a:pt x="206" y="74"/>
                  </a:lnTo>
                  <a:lnTo>
                    <a:pt x="210" y="74"/>
                  </a:lnTo>
                  <a:lnTo>
                    <a:pt x="210" y="71"/>
                  </a:lnTo>
                  <a:lnTo>
                    <a:pt x="206" y="68"/>
                  </a:lnTo>
                  <a:lnTo>
                    <a:pt x="206" y="68"/>
                  </a:lnTo>
                  <a:lnTo>
                    <a:pt x="206" y="65"/>
                  </a:lnTo>
                  <a:lnTo>
                    <a:pt x="206" y="65"/>
                  </a:lnTo>
                  <a:lnTo>
                    <a:pt x="206" y="65"/>
                  </a:lnTo>
                  <a:lnTo>
                    <a:pt x="203" y="62"/>
                  </a:lnTo>
                  <a:lnTo>
                    <a:pt x="203" y="62"/>
                  </a:lnTo>
                  <a:lnTo>
                    <a:pt x="203" y="58"/>
                  </a:lnTo>
                  <a:lnTo>
                    <a:pt x="200" y="58"/>
                  </a:lnTo>
                  <a:lnTo>
                    <a:pt x="200" y="55"/>
                  </a:lnTo>
                  <a:lnTo>
                    <a:pt x="200" y="55"/>
                  </a:lnTo>
                  <a:lnTo>
                    <a:pt x="203" y="52"/>
                  </a:lnTo>
                  <a:lnTo>
                    <a:pt x="200" y="45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203" y="39"/>
                  </a:lnTo>
                  <a:lnTo>
                    <a:pt x="203" y="39"/>
                  </a:lnTo>
                  <a:lnTo>
                    <a:pt x="200" y="36"/>
                  </a:lnTo>
                  <a:lnTo>
                    <a:pt x="200" y="32"/>
                  </a:lnTo>
                  <a:lnTo>
                    <a:pt x="203" y="29"/>
                  </a:lnTo>
                  <a:lnTo>
                    <a:pt x="203" y="26"/>
                  </a:lnTo>
                  <a:lnTo>
                    <a:pt x="203" y="26"/>
                  </a:lnTo>
                  <a:lnTo>
                    <a:pt x="203" y="23"/>
                  </a:lnTo>
                  <a:lnTo>
                    <a:pt x="179" y="23"/>
                  </a:lnTo>
                  <a:lnTo>
                    <a:pt x="179" y="20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76" y="16"/>
                  </a:lnTo>
                  <a:lnTo>
                    <a:pt x="176" y="16"/>
                  </a:lnTo>
                  <a:lnTo>
                    <a:pt x="155" y="16"/>
                  </a:lnTo>
                  <a:lnTo>
                    <a:pt x="155" y="23"/>
                  </a:lnTo>
                  <a:lnTo>
                    <a:pt x="151" y="26"/>
                  </a:lnTo>
                  <a:lnTo>
                    <a:pt x="151" y="26"/>
                  </a:lnTo>
                  <a:lnTo>
                    <a:pt x="151" y="29"/>
                  </a:lnTo>
                  <a:lnTo>
                    <a:pt x="151" y="32"/>
                  </a:lnTo>
                  <a:lnTo>
                    <a:pt x="138" y="32"/>
                  </a:lnTo>
                  <a:lnTo>
                    <a:pt x="134" y="36"/>
                  </a:lnTo>
                  <a:lnTo>
                    <a:pt x="127" y="36"/>
                  </a:lnTo>
                  <a:lnTo>
                    <a:pt x="127" y="36"/>
                  </a:lnTo>
                  <a:lnTo>
                    <a:pt x="124" y="36"/>
                  </a:lnTo>
                  <a:lnTo>
                    <a:pt x="117" y="36"/>
                  </a:lnTo>
                  <a:lnTo>
                    <a:pt x="114" y="32"/>
                  </a:lnTo>
                  <a:lnTo>
                    <a:pt x="114" y="29"/>
                  </a:lnTo>
                  <a:lnTo>
                    <a:pt x="110" y="26"/>
                  </a:lnTo>
                  <a:lnTo>
                    <a:pt x="110" y="23"/>
                  </a:lnTo>
                  <a:lnTo>
                    <a:pt x="107" y="23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103" y="10"/>
                  </a:lnTo>
                  <a:lnTo>
                    <a:pt x="107" y="7"/>
                  </a:lnTo>
                  <a:lnTo>
                    <a:pt x="103" y="7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83" y="0"/>
                  </a:lnTo>
                  <a:lnTo>
                    <a:pt x="69" y="0"/>
                  </a:lnTo>
                  <a:lnTo>
                    <a:pt x="62" y="0"/>
                  </a:lnTo>
                  <a:lnTo>
                    <a:pt x="55" y="0"/>
                  </a:lnTo>
                  <a:lnTo>
                    <a:pt x="52" y="0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7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31" y="20"/>
                  </a:lnTo>
                  <a:lnTo>
                    <a:pt x="31" y="32"/>
                  </a:lnTo>
                  <a:lnTo>
                    <a:pt x="38" y="39"/>
                  </a:lnTo>
                  <a:lnTo>
                    <a:pt x="34" y="45"/>
                  </a:lnTo>
                  <a:lnTo>
                    <a:pt x="31" y="52"/>
                  </a:lnTo>
                  <a:lnTo>
                    <a:pt x="34" y="52"/>
                  </a:lnTo>
                  <a:lnTo>
                    <a:pt x="34" y="58"/>
                  </a:lnTo>
                  <a:lnTo>
                    <a:pt x="34" y="65"/>
                  </a:lnTo>
                  <a:lnTo>
                    <a:pt x="34" y="68"/>
                  </a:lnTo>
                  <a:lnTo>
                    <a:pt x="45" y="78"/>
                  </a:lnTo>
                  <a:lnTo>
                    <a:pt x="41" y="81"/>
                  </a:lnTo>
                  <a:lnTo>
                    <a:pt x="45" y="84"/>
                  </a:lnTo>
                  <a:lnTo>
                    <a:pt x="45" y="97"/>
                  </a:lnTo>
                  <a:lnTo>
                    <a:pt x="38" y="110"/>
                  </a:lnTo>
                  <a:lnTo>
                    <a:pt x="34" y="110"/>
                  </a:lnTo>
                  <a:lnTo>
                    <a:pt x="28" y="116"/>
                  </a:lnTo>
                  <a:lnTo>
                    <a:pt x="28" y="120"/>
                  </a:lnTo>
                  <a:lnTo>
                    <a:pt x="17" y="126"/>
                  </a:lnTo>
                  <a:lnTo>
                    <a:pt x="17" y="133"/>
                  </a:lnTo>
                  <a:lnTo>
                    <a:pt x="14" y="133"/>
                  </a:lnTo>
                  <a:lnTo>
                    <a:pt x="14" y="146"/>
                  </a:lnTo>
                  <a:lnTo>
                    <a:pt x="10" y="152"/>
                  </a:lnTo>
                  <a:lnTo>
                    <a:pt x="7" y="158"/>
                  </a:lnTo>
                  <a:lnTo>
                    <a:pt x="4" y="165"/>
                  </a:lnTo>
                  <a:lnTo>
                    <a:pt x="4" y="168"/>
                  </a:lnTo>
                  <a:lnTo>
                    <a:pt x="4" y="175"/>
                  </a:lnTo>
                  <a:lnTo>
                    <a:pt x="4" y="184"/>
                  </a:lnTo>
                  <a:lnTo>
                    <a:pt x="0" y="188"/>
                  </a:lnTo>
                  <a:lnTo>
                    <a:pt x="0" y="191"/>
                  </a:lnTo>
                  <a:lnTo>
                    <a:pt x="0" y="191"/>
                  </a:lnTo>
                  <a:lnTo>
                    <a:pt x="4" y="191"/>
                  </a:lnTo>
                  <a:lnTo>
                    <a:pt x="7" y="191"/>
                  </a:lnTo>
                  <a:lnTo>
                    <a:pt x="7" y="191"/>
                  </a:lnTo>
                  <a:lnTo>
                    <a:pt x="7" y="188"/>
                  </a:lnTo>
                  <a:lnTo>
                    <a:pt x="10" y="188"/>
                  </a:lnTo>
                  <a:lnTo>
                    <a:pt x="14" y="188"/>
                  </a:lnTo>
                  <a:lnTo>
                    <a:pt x="17" y="191"/>
                  </a:lnTo>
                  <a:lnTo>
                    <a:pt x="17" y="188"/>
                  </a:lnTo>
                  <a:lnTo>
                    <a:pt x="17" y="188"/>
                  </a:lnTo>
                  <a:lnTo>
                    <a:pt x="24" y="184"/>
                  </a:lnTo>
                  <a:lnTo>
                    <a:pt x="28" y="184"/>
                  </a:lnTo>
                  <a:lnTo>
                    <a:pt x="31" y="184"/>
                  </a:lnTo>
                  <a:lnTo>
                    <a:pt x="31" y="184"/>
                  </a:lnTo>
                  <a:lnTo>
                    <a:pt x="31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8" y="184"/>
                  </a:lnTo>
                  <a:lnTo>
                    <a:pt x="38" y="188"/>
                  </a:lnTo>
                  <a:lnTo>
                    <a:pt x="38" y="188"/>
                  </a:lnTo>
                  <a:lnTo>
                    <a:pt x="38" y="188"/>
                  </a:lnTo>
                  <a:lnTo>
                    <a:pt x="45" y="191"/>
                  </a:lnTo>
                  <a:lnTo>
                    <a:pt x="48" y="194"/>
                  </a:lnTo>
                  <a:lnTo>
                    <a:pt x="52" y="191"/>
                  </a:lnTo>
                  <a:lnTo>
                    <a:pt x="52" y="191"/>
                  </a:lnTo>
                  <a:lnTo>
                    <a:pt x="55" y="191"/>
                  </a:lnTo>
                  <a:lnTo>
                    <a:pt x="55" y="191"/>
                  </a:lnTo>
                  <a:lnTo>
                    <a:pt x="59" y="191"/>
                  </a:lnTo>
                  <a:lnTo>
                    <a:pt x="131" y="191"/>
                  </a:lnTo>
                  <a:lnTo>
                    <a:pt x="131" y="191"/>
                  </a:lnTo>
                  <a:lnTo>
                    <a:pt x="134" y="194"/>
                  </a:lnTo>
                  <a:lnTo>
                    <a:pt x="134" y="194"/>
                  </a:lnTo>
                  <a:lnTo>
                    <a:pt x="138" y="197"/>
                  </a:lnTo>
                  <a:lnTo>
                    <a:pt x="141" y="197"/>
                  </a:lnTo>
                  <a:lnTo>
                    <a:pt x="145" y="197"/>
                  </a:lnTo>
                  <a:lnTo>
                    <a:pt x="148" y="197"/>
                  </a:lnTo>
                  <a:lnTo>
                    <a:pt x="148" y="200"/>
                  </a:lnTo>
                  <a:lnTo>
                    <a:pt x="151" y="200"/>
                  </a:lnTo>
                  <a:lnTo>
                    <a:pt x="155" y="197"/>
                  </a:lnTo>
                  <a:lnTo>
                    <a:pt x="158" y="197"/>
                  </a:lnTo>
                  <a:lnTo>
                    <a:pt x="162" y="200"/>
                  </a:lnTo>
                  <a:lnTo>
                    <a:pt x="165" y="197"/>
                  </a:lnTo>
                  <a:lnTo>
                    <a:pt x="165" y="197"/>
                  </a:lnTo>
                  <a:lnTo>
                    <a:pt x="165" y="197"/>
                  </a:lnTo>
                  <a:lnTo>
                    <a:pt x="169" y="197"/>
                  </a:lnTo>
                  <a:lnTo>
                    <a:pt x="172" y="200"/>
                  </a:lnTo>
                  <a:lnTo>
                    <a:pt x="176" y="200"/>
                  </a:lnTo>
                  <a:lnTo>
                    <a:pt x="179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6" y="200"/>
                  </a:lnTo>
                  <a:lnTo>
                    <a:pt x="186" y="200"/>
                  </a:lnTo>
                  <a:lnTo>
                    <a:pt x="189" y="200"/>
                  </a:lnTo>
                  <a:lnTo>
                    <a:pt x="189" y="200"/>
                  </a:lnTo>
                  <a:lnTo>
                    <a:pt x="193" y="200"/>
                  </a:lnTo>
                  <a:lnTo>
                    <a:pt x="193" y="204"/>
                  </a:lnTo>
                  <a:lnTo>
                    <a:pt x="193" y="204"/>
                  </a:lnTo>
                  <a:lnTo>
                    <a:pt x="196" y="204"/>
                  </a:lnTo>
                  <a:lnTo>
                    <a:pt x="196" y="204"/>
                  </a:lnTo>
                  <a:lnTo>
                    <a:pt x="227" y="1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45" name="Freeform 146"/>
            <p:cNvSpPr>
              <a:spLocks/>
            </p:cNvSpPr>
            <p:nvPr/>
          </p:nvSpPr>
          <p:spPr bwMode="auto">
            <a:xfrm>
              <a:off x="7026276" y="5042555"/>
              <a:ext cx="239713" cy="184150"/>
            </a:xfrm>
            <a:custGeom>
              <a:avLst/>
              <a:gdLst>
                <a:gd name="T0" fmla="*/ 6 w 151"/>
                <a:gd name="T1" fmla="*/ 35 h 116"/>
                <a:gd name="T2" fmla="*/ 13 w 151"/>
                <a:gd name="T3" fmla="*/ 38 h 116"/>
                <a:gd name="T4" fmla="*/ 24 w 151"/>
                <a:gd name="T5" fmla="*/ 38 h 116"/>
                <a:gd name="T6" fmla="*/ 27 w 151"/>
                <a:gd name="T7" fmla="*/ 38 h 116"/>
                <a:gd name="T8" fmla="*/ 37 w 151"/>
                <a:gd name="T9" fmla="*/ 38 h 116"/>
                <a:gd name="T10" fmla="*/ 65 w 151"/>
                <a:gd name="T11" fmla="*/ 16 h 116"/>
                <a:gd name="T12" fmla="*/ 72 w 151"/>
                <a:gd name="T13" fmla="*/ 13 h 116"/>
                <a:gd name="T14" fmla="*/ 72 w 151"/>
                <a:gd name="T15" fmla="*/ 6 h 116"/>
                <a:gd name="T16" fmla="*/ 82 w 151"/>
                <a:gd name="T17" fmla="*/ 0 h 116"/>
                <a:gd name="T18" fmla="*/ 96 w 151"/>
                <a:gd name="T19" fmla="*/ 0 h 116"/>
                <a:gd name="T20" fmla="*/ 103 w 151"/>
                <a:gd name="T21" fmla="*/ 0 h 116"/>
                <a:gd name="T22" fmla="*/ 103 w 151"/>
                <a:gd name="T23" fmla="*/ 6 h 116"/>
                <a:gd name="T24" fmla="*/ 116 w 151"/>
                <a:gd name="T25" fmla="*/ 9 h 116"/>
                <a:gd name="T26" fmla="*/ 123 w 151"/>
                <a:gd name="T27" fmla="*/ 6 h 116"/>
                <a:gd name="T28" fmla="*/ 137 w 151"/>
                <a:gd name="T29" fmla="*/ 13 h 116"/>
                <a:gd name="T30" fmla="*/ 147 w 151"/>
                <a:gd name="T31" fmla="*/ 19 h 116"/>
                <a:gd name="T32" fmla="*/ 151 w 151"/>
                <a:gd name="T33" fmla="*/ 26 h 116"/>
                <a:gd name="T34" fmla="*/ 151 w 151"/>
                <a:gd name="T35" fmla="*/ 32 h 116"/>
                <a:gd name="T36" fmla="*/ 147 w 151"/>
                <a:gd name="T37" fmla="*/ 42 h 116"/>
                <a:gd name="T38" fmla="*/ 151 w 151"/>
                <a:gd name="T39" fmla="*/ 45 h 116"/>
                <a:gd name="T40" fmla="*/ 147 w 151"/>
                <a:gd name="T41" fmla="*/ 51 h 116"/>
                <a:gd name="T42" fmla="*/ 144 w 151"/>
                <a:gd name="T43" fmla="*/ 58 h 116"/>
                <a:gd name="T44" fmla="*/ 147 w 151"/>
                <a:gd name="T45" fmla="*/ 64 h 116"/>
                <a:gd name="T46" fmla="*/ 151 w 151"/>
                <a:gd name="T47" fmla="*/ 71 h 116"/>
                <a:gd name="T48" fmla="*/ 141 w 151"/>
                <a:gd name="T49" fmla="*/ 77 h 116"/>
                <a:gd name="T50" fmla="*/ 141 w 151"/>
                <a:gd name="T51" fmla="*/ 84 h 116"/>
                <a:gd name="T52" fmla="*/ 137 w 151"/>
                <a:gd name="T53" fmla="*/ 93 h 116"/>
                <a:gd name="T54" fmla="*/ 113 w 151"/>
                <a:gd name="T55" fmla="*/ 113 h 116"/>
                <a:gd name="T56" fmla="*/ 99 w 151"/>
                <a:gd name="T57" fmla="*/ 116 h 116"/>
                <a:gd name="T58" fmla="*/ 89 w 151"/>
                <a:gd name="T59" fmla="*/ 113 h 116"/>
                <a:gd name="T60" fmla="*/ 79 w 151"/>
                <a:gd name="T61" fmla="*/ 110 h 116"/>
                <a:gd name="T62" fmla="*/ 75 w 151"/>
                <a:gd name="T63" fmla="*/ 106 h 116"/>
                <a:gd name="T64" fmla="*/ 65 w 151"/>
                <a:gd name="T65" fmla="*/ 103 h 116"/>
                <a:gd name="T66" fmla="*/ 55 w 151"/>
                <a:gd name="T67" fmla="*/ 100 h 116"/>
                <a:gd name="T68" fmla="*/ 48 w 151"/>
                <a:gd name="T69" fmla="*/ 93 h 116"/>
                <a:gd name="T70" fmla="*/ 44 w 151"/>
                <a:gd name="T71" fmla="*/ 87 h 116"/>
                <a:gd name="T72" fmla="*/ 37 w 151"/>
                <a:gd name="T73" fmla="*/ 80 h 116"/>
                <a:gd name="T74" fmla="*/ 37 w 151"/>
                <a:gd name="T75" fmla="*/ 77 h 116"/>
                <a:gd name="T76" fmla="*/ 30 w 151"/>
                <a:gd name="T77" fmla="*/ 71 h 116"/>
                <a:gd name="T78" fmla="*/ 20 w 151"/>
                <a:gd name="T79" fmla="*/ 61 h 116"/>
                <a:gd name="T80" fmla="*/ 17 w 151"/>
                <a:gd name="T81" fmla="*/ 58 h 116"/>
                <a:gd name="T82" fmla="*/ 10 w 151"/>
                <a:gd name="T83" fmla="*/ 48 h 116"/>
                <a:gd name="T84" fmla="*/ 6 w 151"/>
                <a:gd name="T85" fmla="*/ 45 h 116"/>
                <a:gd name="T86" fmla="*/ 0 w 151"/>
                <a:gd name="T87" fmla="*/ 42 h 116"/>
                <a:gd name="T88" fmla="*/ 0 w 151"/>
                <a:gd name="T89" fmla="*/ 38 h 116"/>
                <a:gd name="T90" fmla="*/ 0 w 151"/>
                <a:gd name="T91" fmla="*/ 3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1" h="116">
                  <a:moveTo>
                    <a:pt x="0" y="35"/>
                  </a:moveTo>
                  <a:lnTo>
                    <a:pt x="3" y="35"/>
                  </a:lnTo>
                  <a:lnTo>
                    <a:pt x="6" y="35"/>
                  </a:lnTo>
                  <a:lnTo>
                    <a:pt x="10" y="38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7" y="35"/>
                  </a:lnTo>
                  <a:lnTo>
                    <a:pt x="20" y="35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30" y="38"/>
                  </a:lnTo>
                  <a:lnTo>
                    <a:pt x="34" y="42"/>
                  </a:lnTo>
                  <a:lnTo>
                    <a:pt x="37" y="38"/>
                  </a:lnTo>
                  <a:lnTo>
                    <a:pt x="44" y="32"/>
                  </a:lnTo>
                  <a:lnTo>
                    <a:pt x="51" y="22"/>
                  </a:lnTo>
                  <a:lnTo>
                    <a:pt x="65" y="16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6"/>
                  </a:lnTo>
                  <a:lnTo>
                    <a:pt x="75" y="3"/>
                  </a:lnTo>
                  <a:lnTo>
                    <a:pt x="79" y="3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3" y="6"/>
                  </a:lnTo>
                  <a:lnTo>
                    <a:pt x="110" y="6"/>
                  </a:lnTo>
                  <a:lnTo>
                    <a:pt x="113" y="6"/>
                  </a:lnTo>
                  <a:lnTo>
                    <a:pt x="116" y="9"/>
                  </a:lnTo>
                  <a:lnTo>
                    <a:pt x="116" y="6"/>
                  </a:lnTo>
                  <a:lnTo>
                    <a:pt x="120" y="6"/>
                  </a:lnTo>
                  <a:lnTo>
                    <a:pt x="123" y="6"/>
                  </a:lnTo>
                  <a:lnTo>
                    <a:pt x="130" y="9"/>
                  </a:lnTo>
                  <a:lnTo>
                    <a:pt x="134" y="13"/>
                  </a:lnTo>
                  <a:lnTo>
                    <a:pt x="137" y="13"/>
                  </a:lnTo>
                  <a:lnTo>
                    <a:pt x="141" y="16"/>
                  </a:lnTo>
                  <a:lnTo>
                    <a:pt x="144" y="16"/>
                  </a:lnTo>
                  <a:lnTo>
                    <a:pt x="147" y="19"/>
                  </a:lnTo>
                  <a:lnTo>
                    <a:pt x="151" y="19"/>
                  </a:lnTo>
                  <a:lnTo>
                    <a:pt x="151" y="22"/>
                  </a:lnTo>
                  <a:lnTo>
                    <a:pt x="151" y="26"/>
                  </a:lnTo>
                  <a:lnTo>
                    <a:pt x="151" y="26"/>
                  </a:lnTo>
                  <a:lnTo>
                    <a:pt x="151" y="29"/>
                  </a:lnTo>
                  <a:lnTo>
                    <a:pt x="151" y="32"/>
                  </a:lnTo>
                  <a:lnTo>
                    <a:pt x="151" y="32"/>
                  </a:lnTo>
                  <a:lnTo>
                    <a:pt x="147" y="35"/>
                  </a:lnTo>
                  <a:lnTo>
                    <a:pt x="147" y="42"/>
                  </a:lnTo>
                  <a:lnTo>
                    <a:pt x="147" y="45"/>
                  </a:lnTo>
                  <a:lnTo>
                    <a:pt x="147" y="45"/>
                  </a:lnTo>
                  <a:lnTo>
                    <a:pt x="151" y="45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1"/>
                  </a:lnTo>
                  <a:lnTo>
                    <a:pt x="147" y="55"/>
                  </a:lnTo>
                  <a:lnTo>
                    <a:pt x="144" y="55"/>
                  </a:lnTo>
                  <a:lnTo>
                    <a:pt x="144" y="58"/>
                  </a:lnTo>
                  <a:lnTo>
                    <a:pt x="147" y="61"/>
                  </a:lnTo>
                  <a:lnTo>
                    <a:pt x="147" y="64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68"/>
                  </a:lnTo>
                  <a:lnTo>
                    <a:pt x="151" y="71"/>
                  </a:lnTo>
                  <a:lnTo>
                    <a:pt x="147" y="74"/>
                  </a:lnTo>
                  <a:lnTo>
                    <a:pt x="144" y="77"/>
                  </a:lnTo>
                  <a:lnTo>
                    <a:pt x="141" y="77"/>
                  </a:lnTo>
                  <a:lnTo>
                    <a:pt x="141" y="77"/>
                  </a:lnTo>
                  <a:lnTo>
                    <a:pt x="137" y="80"/>
                  </a:lnTo>
                  <a:lnTo>
                    <a:pt x="141" y="84"/>
                  </a:lnTo>
                  <a:lnTo>
                    <a:pt x="137" y="87"/>
                  </a:lnTo>
                  <a:lnTo>
                    <a:pt x="137" y="90"/>
                  </a:lnTo>
                  <a:lnTo>
                    <a:pt x="137" y="93"/>
                  </a:lnTo>
                  <a:lnTo>
                    <a:pt x="137" y="97"/>
                  </a:lnTo>
                  <a:lnTo>
                    <a:pt x="116" y="116"/>
                  </a:lnTo>
                  <a:lnTo>
                    <a:pt x="113" y="113"/>
                  </a:lnTo>
                  <a:lnTo>
                    <a:pt x="106" y="113"/>
                  </a:lnTo>
                  <a:lnTo>
                    <a:pt x="99" y="113"/>
                  </a:lnTo>
                  <a:lnTo>
                    <a:pt x="99" y="116"/>
                  </a:lnTo>
                  <a:lnTo>
                    <a:pt x="96" y="113"/>
                  </a:lnTo>
                  <a:lnTo>
                    <a:pt x="92" y="113"/>
                  </a:lnTo>
                  <a:lnTo>
                    <a:pt x="89" y="113"/>
                  </a:lnTo>
                  <a:lnTo>
                    <a:pt x="89" y="110"/>
                  </a:lnTo>
                  <a:lnTo>
                    <a:pt x="82" y="110"/>
                  </a:lnTo>
                  <a:lnTo>
                    <a:pt x="79" y="110"/>
                  </a:lnTo>
                  <a:lnTo>
                    <a:pt x="75" y="110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2" y="103"/>
                  </a:lnTo>
                  <a:lnTo>
                    <a:pt x="68" y="103"/>
                  </a:lnTo>
                  <a:lnTo>
                    <a:pt x="65" y="103"/>
                  </a:lnTo>
                  <a:lnTo>
                    <a:pt x="65" y="100"/>
                  </a:lnTo>
                  <a:lnTo>
                    <a:pt x="58" y="100"/>
                  </a:lnTo>
                  <a:lnTo>
                    <a:pt x="55" y="100"/>
                  </a:lnTo>
                  <a:lnTo>
                    <a:pt x="51" y="100"/>
                  </a:lnTo>
                  <a:lnTo>
                    <a:pt x="51" y="97"/>
                  </a:lnTo>
                  <a:lnTo>
                    <a:pt x="48" y="93"/>
                  </a:lnTo>
                  <a:lnTo>
                    <a:pt x="44" y="93"/>
                  </a:lnTo>
                  <a:lnTo>
                    <a:pt x="44" y="90"/>
                  </a:lnTo>
                  <a:lnTo>
                    <a:pt x="44" y="87"/>
                  </a:lnTo>
                  <a:lnTo>
                    <a:pt x="44" y="84"/>
                  </a:lnTo>
                  <a:lnTo>
                    <a:pt x="41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77"/>
                  </a:lnTo>
                  <a:lnTo>
                    <a:pt x="37" y="77"/>
                  </a:lnTo>
                  <a:lnTo>
                    <a:pt x="34" y="77"/>
                  </a:lnTo>
                  <a:lnTo>
                    <a:pt x="34" y="74"/>
                  </a:lnTo>
                  <a:lnTo>
                    <a:pt x="30" y="71"/>
                  </a:lnTo>
                  <a:lnTo>
                    <a:pt x="27" y="71"/>
                  </a:lnTo>
                  <a:lnTo>
                    <a:pt x="20" y="64"/>
                  </a:lnTo>
                  <a:lnTo>
                    <a:pt x="20" y="61"/>
                  </a:lnTo>
                  <a:lnTo>
                    <a:pt x="17" y="61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3" y="55"/>
                  </a:lnTo>
                  <a:lnTo>
                    <a:pt x="13" y="51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3" y="42"/>
                  </a:lnTo>
                  <a:lnTo>
                    <a:pt x="0" y="4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46" name="Freeform 147"/>
            <p:cNvSpPr>
              <a:spLocks/>
            </p:cNvSpPr>
            <p:nvPr/>
          </p:nvSpPr>
          <p:spPr bwMode="auto">
            <a:xfrm>
              <a:off x="6861176" y="5098117"/>
              <a:ext cx="290513" cy="246062"/>
            </a:xfrm>
            <a:custGeom>
              <a:avLst/>
              <a:gdLst>
                <a:gd name="T0" fmla="*/ 104 w 183"/>
                <a:gd name="T1" fmla="*/ 3 h 155"/>
                <a:gd name="T2" fmla="*/ 107 w 183"/>
                <a:gd name="T3" fmla="*/ 7 h 155"/>
                <a:gd name="T4" fmla="*/ 114 w 183"/>
                <a:gd name="T5" fmla="*/ 13 h 155"/>
                <a:gd name="T6" fmla="*/ 117 w 183"/>
                <a:gd name="T7" fmla="*/ 16 h 155"/>
                <a:gd name="T8" fmla="*/ 121 w 183"/>
                <a:gd name="T9" fmla="*/ 23 h 155"/>
                <a:gd name="T10" fmla="*/ 124 w 183"/>
                <a:gd name="T11" fmla="*/ 29 h 155"/>
                <a:gd name="T12" fmla="*/ 138 w 183"/>
                <a:gd name="T13" fmla="*/ 39 h 155"/>
                <a:gd name="T14" fmla="*/ 141 w 183"/>
                <a:gd name="T15" fmla="*/ 42 h 155"/>
                <a:gd name="T16" fmla="*/ 145 w 183"/>
                <a:gd name="T17" fmla="*/ 45 h 155"/>
                <a:gd name="T18" fmla="*/ 148 w 183"/>
                <a:gd name="T19" fmla="*/ 55 h 155"/>
                <a:gd name="T20" fmla="*/ 155 w 183"/>
                <a:gd name="T21" fmla="*/ 62 h 155"/>
                <a:gd name="T22" fmla="*/ 162 w 183"/>
                <a:gd name="T23" fmla="*/ 65 h 155"/>
                <a:gd name="T24" fmla="*/ 172 w 183"/>
                <a:gd name="T25" fmla="*/ 68 h 155"/>
                <a:gd name="T26" fmla="*/ 179 w 183"/>
                <a:gd name="T27" fmla="*/ 71 h 155"/>
                <a:gd name="T28" fmla="*/ 179 w 183"/>
                <a:gd name="T29" fmla="*/ 75 h 155"/>
                <a:gd name="T30" fmla="*/ 172 w 183"/>
                <a:gd name="T31" fmla="*/ 78 h 155"/>
                <a:gd name="T32" fmla="*/ 169 w 183"/>
                <a:gd name="T33" fmla="*/ 81 h 155"/>
                <a:gd name="T34" fmla="*/ 162 w 183"/>
                <a:gd name="T35" fmla="*/ 84 h 155"/>
                <a:gd name="T36" fmla="*/ 152 w 183"/>
                <a:gd name="T37" fmla="*/ 87 h 155"/>
                <a:gd name="T38" fmla="*/ 145 w 183"/>
                <a:gd name="T39" fmla="*/ 94 h 155"/>
                <a:gd name="T40" fmla="*/ 138 w 183"/>
                <a:gd name="T41" fmla="*/ 94 h 155"/>
                <a:gd name="T42" fmla="*/ 131 w 183"/>
                <a:gd name="T43" fmla="*/ 107 h 155"/>
                <a:gd name="T44" fmla="*/ 131 w 183"/>
                <a:gd name="T45" fmla="*/ 110 h 155"/>
                <a:gd name="T46" fmla="*/ 124 w 183"/>
                <a:gd name="T47" fmla="*/ 113 h 155"/>
                <a:gd name="T48" fmla="*/ 121 w 183"/>
                <a:gd name="T49" fmla="*/ 120 h 155"/>
                <a:gd name="T50" fmla="*/ 110 w 183"/>
                <a:gd name="T51" fmla="*/ 120 h 155"/>
                <a:gd name="T52" fmla="*/ 107 w 183"/>
                <a:gd name="T53" fmla="*/ 129 h 155"/>
                <a:gd name="T54" fmla="*/ 107 w 183"/>
                <a:gd name="T55" fmla="*/ 136 h 155"/>
                <a:gd name="T56" fmla="*/ 100 w 183"/>
                <a:gd name="T57" fmla="*/ 136 h 155"/>
                <a:gd name="T58" fmla="*/ 86 w 183"/>
                <a:gd name="T59" fmla="*/ 136 h 155"/>
                <a:gd name="T60" fmla="*/ 73 w 183"/>
                <a:gd name="T61" fmla="*/ 133 h 155"/>
                <a:gd name="T62" fmla="*/ 62 w 183"/>
                <a:gd name="T63" fmla="*/ 129 h 155"/>
                <a:gd name="T64" fmla="*/ 52 w 183"/>
                <a:gd name="T65" fmla="*/ 142 h 155"/>
                <a:gd name="T66" fmla="*/ 38 w 183"/>
                <a:gd name="T67" fmla="*/ 149 h 155"/>
                <a:gd name="T68" fmla="*/ 28 w 183"/>
                <a:gd name="T69" fmla="*/ 152 h 155"/>
                <a:gd name="T70" fmla="*/ 14 w 183"/>
                <a:gd name="T71" fmla="*/ 152 h 155"/>
                <a:gd name="T72" fmla="*/ 14 w 183"/>
                <a:gd name="T73" fmla="*/ 146 h 155"/>
                <a:gd name="T74" fmla="*/ 7 w 183"/>
                <a:gd name="T75" fmla="*/ 126 h 155"/>
                <a:gd name="T76" fmla="*/ 0 w 183"/>
                <a:gd name="T77" fmla="*/ 123 h 155"/>
                <a:gd name="T78" fmla="*/ 21 w 183"/>
                <a:gd name="T79" fmla="*/ 71 h 155"/>
                <a:gd name="T80" fmla="*/ 55 w 183"/>
                <a:gd name="T81" fmla="*/ 10 h 155"/>
                <a:gd name="T82" fmla="*/ 66 w 183"/>
                <a:gd name="T83" fmla="*/ 7 h 155"/>
                <a:gd name="T84" fmla="*/ 69 w 183"/>
                <a:gd name="T85" fmla="*/ 10 h 155"/>
                <a:gd name="T86" fmla="*/ 69 w 183"/>
                <a:gd name="T87" fmla="*/ 13 h 155"/>
                <a:gd name="T88" fmla="*/ 83 w 183"/>
                <a:gd name="T89" fmla="*/ 3 h 155"/>
                <a:gd name="T90" fmla="*/ 90 w 183"/>
                <a:gd name="T91" fmla="*/ 3 h 155"/>
                <a:gd name="T92" fmla="*/ 104 w 183"/>
                <a:gd name="T9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3" h="155">
                  <a:moveTo>
                    <a:pt x="104" y="0"/>
                  </a:move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7"/>
                  </a:lnTo>
                  <a:lnTo>
                    <a:pt x="107" y="7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7" y="16"/>
                  </a:lnTo>
                  <a:lnTo>
                    <a:pt x="117" y="20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6"/>
                  </a:lnTo>
                  <a:lnTo>
                    <a:pt x="124" y="26"/>
                  </a:lnTo>
                  <a:lnTo>
                    <a:pt x="124" y="29"/>
                  </a:lnTo>
                  <a:lnTo>
                    <a:pt x="131" y="36"/>
                  </a:lnTo>
                  <a:lnTo>
                    <a:pt x="134" y="36"/>
                  </a:lnTo>
                  <a:lnTo>
                    <a:pt x="138" y="39"/>
                  </a:lnTo>
                  <a:lnTo>
                    <a:pt x="138" y="42"/>
                  </a:lnTo>
                  <a:lnTo>
                    <a:pt x="141" y="42"/>
                  </a:lnTo>
                  <a:lnTo>
                    <a:pt x="141" y="42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5" y="45"/>
                  </a:lnTo>
                  <a:lnTo>
                    <a:pt x="148" y="49"/>
                  </a:lnTo>
                  <a:lnTo>
                    <a:pt x="148" y="52"/>
                  </a:lnTo>
                  <a:lnTo>
                    <a:pt x="148" y="55"/>
                  </a:lnTo>
                  <a:lnTo>
                    <a:pt x="148" y="58"/>
                  </a:lnTo>
                  <a:lnTo>
                    <a:pt x="152" y="58"/>
                  </a:lnTo>
                  <a:lnTo>
                    <a:pt x="155" y="62"/>
                  </a:lnTo>
                  <a:lnTo>
                    <a:pt x="155" y="65"/>
                  </a:lnTo>
                  <a:lnTo>
                    <a:pt x="159" y="65"/>
                  </a:lnTo>
                  <a:lnTo>
                    <a:pt x="162" y="65"/>
                  </a:lnTo>
                  <a:lnTo>
                    <a:pt x="169" y="65"/>
                  </a:lnTo>
                  <a:lnTo>
                    <a:pt x="169" y="68"/>
                  </a:lnTo>
                  <a:lnTo>
                    <a:pt x="172" y="68"/>
                  </a:lnTo>
                  <a:lnTo>
                    <a:pt x="176" y="68"/>
                  </a:lnTo>
                  <a:lnTo>
                    <a:pt x="179" y="71"/>
                  </a:lnTo>
                  <a:lnTo>
                    <a:pt x="179" y="71"/>
                  </a:lnTo>
                  <a:lnTo>
                    <a:pt x="179" y="75"/>
                  </a:lnTo>
                  <a:lnTo>
                    <a:pt x="183" y="75"/>
                  </a:lnTo>
                  <a:lnTo>
                    <a:pt x="179" y="75"/>
                  </a:lnTo>
                  <a:lnTo>
                    <a:pt x="176" y="78"/>
                  </a:lnTo>
                  <a:lnTo>
                    <a:pt x="172" y="78"/>
                  </a:lnTo>
                  <a:lnTo>
                    <a:pt x="172" y="78"/>
                  </a:lnTo>
                  <a:lnTo>
                    <a:pt x="172" y="81"/>
                  </a:lnTo>
                  <a:lnTo>
                    <a:pt x="172" y="81"/>
                  </a:lnTo>
                  <a:lnTo>
                    <a:pt x="169" y="81"/>
                  </a:lnTo>
                  <a:lnTo>
                    <a:pt x="165" y="84"/>
                  </a:lnTo>
                  <a:lnTo>
                    <a:pt x="162" y="84"/>
                  </a:lnTo>
                  <a:lnTo>
                    <a:pt x="162" y="84"/>
                  </a:lnTo>
                  <a:lnTo>
                    <a:pt x="159" y="84"/>
                  </a:lnTo>
                  <a:lnTo>
                    <a:pt x="155" y="84"/>
                  </a:lnTo>
                  <a:lnTo>
                    <a:pt x="152" y="87"/>
                  </a:lnTo>
                  <a:lnTo>
                    <a:pt x="148" y="91"/>
                  </a:lnTo>
                  <a:lnTo>
                    <a:pt x="148" y="91"/>
                  </a:lnTo>
                  <a:lnTo>
                    <a:pt x="145" y="94"/>
                  </a:lnTo>
                  <a:lnTo>
                    <a:pt x="145" y="94"/>
                  </a:lnTo>
                  <a:lnTo>
                    <a:pt x="141" y="94"/>
                  </a:lnTo>
                  <a:lnTo>
                    <a:pt x="138" y="94"/>
                  </a:lnTo>
                  <a:lnTo>
                    <a:pt x="138" y="97"/>
                  </a:lnTo>
                  <a:lnTo>
                    <a:pt x="131" y="104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31" y="110"/>
                  </a:lnTo>
                  <a:lnTo>
                    <a:pt x="131" y="110"/>
                  </a:lnTo>
                  <a:lnTo>
                    <a:pt x="128" y="113"/>
                  </a:lnTo>
                  <a:lnTo>
                    <a:pt x="128" y="113"/>
                  </a:lnTo>
                  <a:lnTo>
                    <a:pt x="124" y="113"/>
                  </a:lnTo>
                  <a:lnTo>
                    <a:pt x="121" y="117"/>
                  </a:lnTo>
                  <a:lnTo>
                    <a:pt x="121" y="117"/>
                  </a:lnTo>
                  <a:lnTo>
                    <a:pt x="121" y="120"/>
                  </a:lnTo>
                  <a:lnTo>
                    <a:pt x="117" y="120"/>
                  </a:lnTo>
                  <a:lnTo>
                    <a:pt x="114" y="120"/>
                  </a:lnTo>
                  <a:lnTo>
                    <a:pt x="110" y="120"/>
                  </a:lnTo>
                  <a:lnTo>
                    <a:pt x="110" y="123"/>
                  </a:lnTo>
                  <a:lnTo>
                    <a:pt x="110" y="129"/>
                  </a:lnTo>
                  <a:lnTo>
                    <a:pt x="107" y="129"/>
                  </a:lnTo>
                  <a:lnTo>
                    <a:pt x="107" y="133"/>
                  </a:lnTo>
                  <a:lnTo>
                    <a:pt x="107" y="136"/>
                  </a:lnTo>
                  <a:lnTo>
                    <a:pt x="107" y="136"/>
                  </a:lnTo>
                  <a:lnTo>
                    <a:pt x="104" y="139"/>
                  </a:lnTo>
                  <a:lnTo>
                    <a:pt x="100" y="139"/>
                  </a:lnTo>
                  <a:lnTo>
                    <a:pt x="100" y="136"/>
                  </a:lnTo>
                  <a:lnTo>
                    <a:pt x="97" y="136"/>
                  </a:lnTo>
                  <a:lnTo>
                    <a:pt x="90" y="136"/>
                  </a:lnTo>
                  <a:lnTo>
                    <a:pt x="86" y="136"/>
                  </a:lnTo>
                  <a:lnTo>
                    <a:pt x="83" y="136"/>
                  </a:lnTo>
                  <a:lnTo>
                    <a:pt x="79" y="136"/>
                  </a:lnTo>
                  <a:lnTo>
                    <a:pt x="73" y="133"/>
                  </a:lnTo>
                  <a:lnTo>
                    <a:pt x="73" y="133"/>
                  </a:lnTo>
                  <a:lnTo>
                    <a:pt x="69" y="133"/>
                  </a:lnTo>
                  <a:lnTo>
                    <a:pt x="62" y="129"/>
                  </a:lnTo>
                  <a:lnTo>
                    <a:pt x="59" y="129"/>
                  </a:lnTo>
                  <a:lnTo>
                    <a:pt x="52" y="136"/>
                  </a:lnTo>
                  <a:lnTo>
                    <a:pt x="52" y="142"/>
                  </a:lnTo>
                  <a:lnTo>
                    <a:pt x="45" y="146"/>
                  </a:lnTo>
                  <a:lnTo>
                    <a:pt x="42" y="146"/>
                  </a:lnTo>
                  <a:lnTo>
                    <a:pt x="38" y="149"/>
                  </a:lnTo>
                  <a:lnTo>
                    <a:pt x="35" y="152"/>
                  </a:lnTo>
                  <a:lnTo>
                    <a:pt x="31" y="152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1" y="155"/>
                  </a:lnTo>
                  <a:lnTo>
                    <a:pt x="14" y="152"/>
                  </a:lnTo>
                  <a:lnTo>
                    <a:pt x="11" y="155"/>
                  </a:lnTo>
                  <a:lnTo>
                    <a:pt x="11" y="152"/>
                  </a:lnTo>
                  <a:lnTo>
                    <a:pt x="14" y="146"/>
                  </a:lnTo>
                  <a:lnTo>
                    <a:pt x="14" y="142"/>
                  </a:lnTo>
                  <a:lnTo>
                    <a:pt x="7" y="133"/>
                  </a:lnTo>
                  <a:lnTo>
                    <a:pt x="7" y="126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4" y="71"/>
                  </a:lnTo>
                  <a:lnTo>
                    <a:pt x="21" y="71"/>
                  </a:lnTo>
                  <a:lnTo>
                    <a:pt x="24" y="13"/>
                  </a:lnTo>
                  <a:lnTo>
                    <a:pt x="38" y="13"/>
                  </a:lnTo>
                  <a:lnTo>
                    <a:pt x="55" y="10"/>
                  </a:lnTo>
                  <a:lnTo>
                    <a:pt x="62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76" y="10"/>
                  </a:lnTo>
                  <a:lnTo>
                    <a:pt x="79" y="7"/>
                  </a:lnTo>
                  <a:lnTo>
                    <a:pt x="83" y="3"/>
                  </a:lnTo>
                  <a:lnTo>
                    <a:pt x="86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3" y="3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47" name="Freeform 148"/>
            <p:cNvSpPr>
              <a:spLocks/>
            </p:cNvSpPr>
            <p:nvPr/>
          </p:nvSpPr>
          <p:spPr bwMode="auto">
            <a:xfrm>
              <a:off x="6610351" y="5077480"/>
              <a:ext cx="415925" cy="328612"/>
            </a:xfrm>
            <a:custGeom>
              <a:avLst/>
              <a:gdLst>
                <a:gd name="T0" fmla="*/ 162 w 262"/>
                <a:gd name="T1" fmla="*/ 84 h 207"/>
                <a:gd name="T2" fmla="*/ 196 w 262"/>
                <a:gd name="T3" fmla="*/ 26 h 207"/>
                <a:gd name="T4" fmla="*/ 224 w 262"/>
                <a:gd name="T5" fmla="*/ 20 h 207"/>
                <a:gd name="T6" fmla="*/ 227 w 262"/>
                <a:gd name="T7" fmla="*/ 23 h 207"/>
                <a:gd name="T8" fmla="*/ 227 w 262"/>
                <a:gd name="T9" fmla="*/ 26 h 207"/>
                <a:gd name="T10" fmla="*/ 237 w 262"/>
                <a:gd name="T11" fmla="*/ 20 h 207"/>
                <a:gd name="T12" fmla="*/ 248 w 262"/>
                <a:gd name="T13" fmla="*/ 16 h 207"/>
                <a:gd name="T14" fmla="*/ 258 w 262"/>
                <a:gd name="T15" fmla="*/ 13 h 207"/>
                <a:gd name="T16" fmla="*/ 258 w 262"/>
                <a:gd name="T17" fmla="*/ 10 h 207"/>
                <a:gd name="T18" fmla="*/ 255 w 262"/>
                <a:gd name="T19" fmla="*/ 10 h 207"/>
                <a:gd name="T20" fmla="*/ 248 w 262"/>
                <a:gd name="T21" fmla="*/ 10 h 207"/>
                <a:gd name="T22" fmla="*/ 196 w 262"/>
                <a:gd name="T23" fmla="*/ 20 h 207"/>
                <a:gd name="T24" fmla="*/ 193 w 262"/>
                <a:gd name="T25" fmla="*/ 16 h 207"/>
                <a:gd name="T26" fmla="*/ 186 w 262"/>
                <a:gd name="T27" fmla="*/ 16 h 207"/>
                <a:gd name="T28" fmla="*/ 182 w 262"/>
                <a:gd name="T29" fmla="*/ 16 h 207"/>
                <a:gd name="T30" fmla="*/ 176 w 262"/>
                <a:gd name="T31" fmla="*/ 16 h 207"/>
                <a:gd name="T32" fmla="*/ 165 w 262"/>
                <a:gd name="T33" fmla="*/ 13 h 207"/>
                <a:gd name="T34" fmla="*/ 162 w 262"/>
                <a:gd name="T35" fmla="*/ 16 h 207"/>
                <a:gd name="T36" fmla="*/ 151 w 262"/>
                <a:gd name="T37" fmla="*/ 16 h 207"/>
                <a:gd name="T38" fmla="*/ 145 w 262"/>
                <a:gd name="T39" fmla="*/ 13 h 207"/>
                <a:gd name="T40" fmla="*/ 134 w 262"/>
                <a:gd name="T41" fmla="*/ 10 h 207"/>
                <a:gd name="T42" fmla="*/ 131 w 262"/>
                <a:gd name="T43" fmla="*/ 7 h 207"/>
                <a:gd name="T44" fmla="*/ 55 w 262"/>
                <a:gd name="T45" fmla="*/ 7 h 207"/>
                <a:gd name="T46" fmla="*/ 48 w 262"/>
                <a:gd name="T47" fmla="*/ 10 h 207"/>
                <a:gd name="T48" fmla="*/ 38 w 262"/>
                <a:gd name="T49" fmla="*/ 4 h 207"/>
                <a:gd name="T50" fmla="*/ 34 w 262"/>
                <a:gd name="T51" fmla="*/ 0 h 207"/>
                <a:gd name="T52" fmla="*/ 31 w 262"/>
                <a:gd name="T53" fmla="*/ 0 h 207"/>
                <a:gd name="T54" fmla="*/ 24 w 262"/>
                <a:gd name="T55" fmla="*/ 0 h 207"/>
                <a:gd name="T56" fmla="*/ 17 w 262"/>
                <a:gd name="T57" fmla="*/ 7 h 207"/>
                <a:gd name="T58" fmla="*/ 7 w 262"/>
                <a:gd name="T59" fmla="*/ 4 h 207"/>
                <a:gd name="T60" fmla="*/ 4 w 262"/>
                <a:gd name="T61" fmla="*/ 7 h 207"/>
                <a:gd name="T62" fmla="*/ 4 w 262"/>
                <a:gd name="T63" fmla="*/ 20 h 207"/>
                <a:gd name="T64" fmla="*/ 31 w 262"/>
                <a:gd name="T65" fmla="*/ 58 h 207"/>
                <a:gd name="T66" fmla="*/ 41 w 262"/>
                <a:gd name="T67" fmla="*/ 81 h 207"/>
                <a:gd name="T68" fmla="*/ 48 w 262"/>
                <a:gd name="T69" fmla="*/ 100 h 207"/>
                <a:gd name="T70" fmla="*/ 59 w 262"/>
                <a:gd name="T71" fmla="*/ 136 h 207"/>
                <a:gd name="T72" fmla="*/ 55 w 262"/>
                <a:gd name="T73" fmla="*/ 149 h 207"/>
                <a:gd name="T74" fmla="*/ 62 w 262"/>
                <a:gd name="T75" fmla="*/ 162 h 207"/>
                <a:gd name="T76" fmla="*/ 62 w 262"/>
                <a:gd name="T77" fmla="*/ 168 h 207"/>
                <a:gd name="T78" fmla="*/ 69 w 262"/>
                <a:gd name="T79" fmla="*/ 181 h 207"/>
                <a:gd name="T80" fmla="*/ 79 w 262"/>
                <a:gd name="T81" fmla="*/ 194 h 207"/>
                <a:gd name="T82" fmla="*/ 93 w 262"/>
                <a:gd name="T83" fmla="*/ 197 h 207"/>
                <a:gd name="T84" fmla="*/ 93 w 262"/>
                <a:gd name="T85" fmla="*/ 191 h 207"/>
                <a:gd name="T86" fmla="*/ 103 w 262"/>
                <a:gd name="T87" fmla="*/ 194 h 207"/>
                <a:gd name="T88" fmla="*/ 114 w 262"/>
                <a:gd name="T89" fmla="*/ 204 h 207"/>
                <a:gd name="T90" fmla="*/ 120 w 262"/>
                <a:gd name="T91" fmla="*/ 204 h 207"/>
                <a:gd name="T92" fmla="*/ 131 w 262"/>
                <a:gd name="T93" fmla="*/ 204 h 207"/>
                <a:gd name="T94" fmla="*/ 134 w 262"/>
                <a:gd name="T95" fmla="*/ 207 h 207"/>
                <a:gd name="T96" fmla="*/ 141 w 262"/>
                <a:gd name="T97" fmla="*/ 201 h 207"/>
                <a:gd name="T98" fmla="*/ 151 w 262"/>
                <a:gd name="T99" fmla="*/ 197 h 207"/>
                <a:gd name="T100" fmla="*/ 158 w 262"/>
                <a:gd name="T101" fmla="*/ 13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2" h="207">
                  <a:moveTo>
                    <a:pt x="158" y="136"/>
                  </a:moveTo>
                  <a:lnTo>
                    <a:pt x="158" y="136"/>
                  </a:lnTo>
                  <a:lnTo>
                    <a:pt x="162" y="84"/>
                  </a:lnTo>
                  <a:lnTo>
                    <a:pt x="179" y="84"/>
                  </a:lnTo>
                  <a:lnTo>
                    <a:pt x="182" y="26"/>
                  </a:lnTo>
                  <a:lnTo>
                    <a:pt x="196" y="26"/>
                  </a:lnTo>
                  <a:lnTo>
                    <a:pt x="213" y="23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0"/>
                  </a:lnTo>
                  <a:lnTo>
                    <a:pt x="224" y="20"/>
                  </a:lnTo>
                  <a:lnTo>
                    <a:pt x="227" y="23"/>
                  </a:lnTo>
                  <a:lnTo>
                    <a:pt x="227" y="23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34" y="23"/>
                  </a:lnTo>
                  <a:lnTo>
                    <a:pt x="237" y="20"/>
                  </a:lnTo>
                  <a:lnTo>
                    <a:pt x="241" y="16"/>
                  </a:lnTo>
                  <a:lnTo>
                    <a:pt x="244" y="16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51" y="16"/>
                  </a:lnTo>
                  <a:lnTo>
                    <a:pt x="258" y="13"/>
                  </a:lnTo>
                  <a:lnTo>
                    <a:pt x="262" y="13"/>
                  </a:lnTo>
                  <a:lnTo>
                    <a:pt x="258" y="10"/>
                  </a:lnTo>
                  <a:lnTo>
                    <a:pt x="258" y="10"/>
                  </a:lnTo>
                  <a:lnTo>
                    <a:pt x="258" y="10"/>
                  </a:lnTo>
                  <a:lnTo>
                    <a:pt x="255" y="10"/>
                  </a:lnTo>
                  <a:lnTo>
                    <a:pt x="255" y="10"/>
                  </a:lnTo>
                  <a:lnTo>
                    <a:pt x="255" y="10"/>
                  </a:lnTo>
                  <a:lnTo>
                    <a:pt x="251" y="7"/>
                  </a:lnTo>
                  <a:lnTo>
                    <a:pt x="248" y="10"/>
                  </a:lnTo>
                  <a:lnTo>
                    <a:pt x="244" y="10"/>
                  </a:lnTo>
                  <a:lnTo>
                    <a:pt x="196" y="20"/>
                  </a:lnTo>
                  <a:lnTo>
                    <a:pt x="196" y="20"/>
                  </a:lnTo>
                  <a:lnTo>
                    <a:pt x="193" y="20"/>
                  </a:lnTo>
                  <a:lnTo>
                    <a:pt x="193" y="20"/>
                  </a:lnTo>
                  <a:lnTo>
                    <a:pt x="193" y="16"/>
                  </a:lnTo>
                  <a:lnTo>
                    <a:pt x="189" y="16"/>
                  </a:lnTo>
                  <a:lnTo>
                    <a:pt x="189" y="16"/>
                  </a:lnTo>
                  <a:lnTo>
                    <a:pt x="186" y="16"/>
                  </a:lnTo>
                  <a:lnTo>
                    <a:pt x="186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79" y="16"/>
                  </a:lnTo>
                  <a:lnTo>
                    <a:pt x="176" y="16"/>
                  </a:lnTo>
                  <a:lnTo>
                    <a:pt x="172" y="16"/>
                  </a:lnTo>
                  <a:lnTo>
                    <a:pt x="169" y="13"/>
                  </a:lnTo>
                  <a:lnTo>
                    <a:pt x="165" y="13"/>
                  </a:lnTo>
                  <a:lnTo>
                    <a:pt x="165" y="13"/>
                  </a:lnTo>
                  <a:lnTo>
                    <a:pt x="165" y="13"/>
                  </a:lnTo>
                  <a:lnTo>
                    <a:pt x="162" y="16"/>
                  </a:lnTo>
                  <a:lnTo>
                    <a:pt x="158" y="13"/>
                  </a:lnTo>
                  <a:lnTo>
                    <a:pt x="155" y="13"/>
                  </a:lnTo>
                  <a:lnTo>
                    <a:pt x="151" y="16"/>
                  </a:lnTo>
                  <a:lnTo>
                    <a:pt x="148" y="16"/>
                  </a:lnTo>
                  <a:lnTo>
                    <a:pt x="148" y="13"/>
                  </a:lnTo>
                  <a:lnTo>
                    <a:pt x="145" y="13"/>
                  </a:lnTo>
                  <a:lnTo>
                    <a:pt x="141" y="13"/>
                  </a:lnTo>
                  <a:lnTo>
                    <a:pt x="138" y="13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59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7"/>
                  </a:lnTo>
                  <a:lnTo>
                    <a:pt x="14" y="4"/>
                  </a:lnTo>
                  <a:lnTo>
                    <a:pt x="10" y="4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20"/>
                  </a:lnTo>
                  <a:lnTo>
                    <a:pt x="14" y="29"/>
                  </a:lnTo>
                  <a:lnTo>
                    <a:pt x="21" y="39"/>
                  </a:lnTo>
                  <a:lnTo>
                    <a:pt x="31" y="58"/>
                  </a:lnTo>
                  <a:lnTo>
                    <a:pt x="31" y="65"/>
                  </a:lnTo>
                  <a:lnTo>
                    <a:pt x="41" y="75"/>
                  </a:lnTo>
                  <a:lnTo>
                    <a:pt x="41" y="81"/>
                  </a:lnTo>
                  <a:lnTo>
                    <a:pt x="52" y="94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52" y="110"/>
                  </a:lnTo>
                  <a:lnTo>
                    <a:pt x="52" y="123"/>
                  </a:lnTo>
                  <a:lnTo>
                    <a:pt x="59" y="136"/>
                  </a:lnTo>
                  <a:lnTo>
                    <a:pt x="59" y="142"/>
                  </a:lnTo>
                  <a:lnTo>
                    <a:pt x="59" y="146"/>
                  </a:lnTo>
                  <a:lnTo>
                    <a:pt x="55" y="149"/>
                  </a:lnTo>
                  <a:lnTo>
                    <a:pt x="59" y="152"/>
                  </a:lnTo>
                  <a:lnTo>
                    <a:pt x="59" y="159"/>
                  </a:lnTo>
                  <a:lnTo>
                    <a:pt x="62" y="162"/>
                  </a:lnTo>
                  <a:lnTo>
                    <a:pt x="65" y="162"/>
                  </a:lnTo>
                  <a:lnTo>
                    <a:pt x="62" y="165"/>
                  </a:lnTo>
                  <a:lnTo>
                    <a:pt x="62" y="168"/>
                  </a:lnTo>
                  <a:lnTo>
                    <a:pt x="65" y="172"/>
                  </a:lnTo>
                  <a:lnTo>
                    <a:pt x="65" y="178"/>
                  </a:lnTo>
                  <a:lnTo>
                    <a:pt x="69" y="181"/>
                  </a:lnTo>
                  <a:lnTo>
                    <a:pt x="72" y="188"/>
                  </a:lnTo>
                  <a:lnTo>
                    <a:pt x="79" y="194"/>
                  </a:lnTo>
                  <a:lnTo>
                    <a:pt x="79" y="194"/>
                  </a:lnTo>
                  <a:lnTo>
                    <a:pt x="86" y="201"/>
                  </a:lnTo>
                  <a:lnTo>
                    <a:pt x="90" y="197"/>
                  </a:lnTo>
                  <a:lnTo>
                    <a:pt x="93" y="197"/>
                  </a:lnTo>
                  <a:lnTo>
                    <a:pt x="93" y="194"/>
                  </a:lnTo>
                  <a:lnTo>
                    <a:pt x="93" y="194"/>
                  </a:lnTo>
                  <a:lnTo>
                    <a:pt x="93" y="191"/>
                  </a:lnTo>
                  <a:lnTo>
                    <a:pt x="100" y="191"/>
                  </a:lnTo>
                  <a:lnTo>
                    <a:pt x="100" y="194"/>
                  </a:lnTo>
                  <a:lnTo>
                    <a:pt x="103" y="194"/>
                  </a:lnTo>
                  <a:lnTo>
                    <a:pt x="103" y="197"/>
                  </a:lnTo>
                  <a:lnTo>
                    <a:pt x="107" y="201"/>
                  </a:lnTo>
                  <a:lnTo>
                    <a:pt x="114" y="204"/>
                  </a:lnTo>
                  <a:lnTo>
                    <a:pt x="117" y="204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24" y="207"/>
                  </a:lnTo>
                  <a:lnTo>
                    <a:pt x="127" y="204"/>
                  </a:lnTo>
                  <a:lnTo>
                    <a:pt x="131" y="204"/>
                  </a:lnTo>
                  <a:lnTo>
                    <a:pt x="131" y="207"/>
                  </a:lnTo>
                  <a:lnTo>
                    <a:pt x="134" y="207"/>
                  </a:lnTo>
                  <a:lnTo>
                    <a:pt x="134" y="207"/>
                  </a:lnTo>
                  <a:lnTo>
                    <a:pt x="134" y="204"/>
                  </a:lnTo>
                  <a:lnTo>
                    <a:pt x="138" y="201"/>
                  </a:lnTo>
                  <a:lnTo>
                    <a:pt x="141" y="201"/>
                  </a:lnTo>
                  <a:lnTo>
                    <a:pt x="141" y="197"/>
                  </a:lnTo>
                  <a:lnTo>
                    <a:pt x="148" y="194"/>
                  </a:lnTo>
                  <a:lnTo>
                    <a:pt x="151" y="197"/>
                  </a:lnTo>
                  <a:lnTo>
                    <a:pt x="155" y="197"/>
                  </a:lnTo>
                  <a:lnTo>
                    <a:pt x="158" y="136"/>
                  </a:lnTo>
                  <a:lnTo>
                    <a:pt x="158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48" name="Freeform 149"/>
            <p:cNvSpPr>
              <a:spLocks/>
            </p:cNvSpPr>
            <p:nvPr/>
          </p:nvSpPr>
          <p:spPr bwMode="auto">
            <a:xfrm>
              <a:off x="7948613" y="5185430"/>
              <a:ext cx="15875" cy="15875"/>
            </a:xfrm>
            <a:custGeom>
              <a:avLst/>
              <a:gdLst>
                <a:gd name="T0" fmla="*/ 0 w 10"/>
                <a:gd name="T1" fmla="*/ 0 h 10"/>
                <a:gd name="T2" fmla="*/ 0 w 10"/>
                <a:gd name="T3" fmla="*/ 3 h 10"/>
                <a:gd name="T4" fmla="*/ 3 w 10"/>
                <a:gd name="T5" fmla="*/ 10 h 10"/>
                <a:gd name="T6" fmla="*/ 7 w 10"/>
                <a:gd name="T7" fmla="*/ 10 h 10"/>
                <a:gd name="T8" fmla="*/ 10 w 10"/>
                <a:gd name="T9" fmla="*/ 7 h 10"/>
                <a:gd name="T10" fmla="*/ 7 w 10"/>
                <a:gd name="T11" fmla="*/ 3 h 10"/>
                <a:gd name="T12" fmla="*/ 7 w 10"/>
                <a:gd name="T13" fmla="*/ 0 h 10"/>
                <a:gd name="T14" fmla="*/ 3 w 10"/>
                <a:gd name="T15" fmla="*/ 0 h 10"/>
                <a:gd name="T16" fmla="*/ 0 w 10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lnTo>
                    <a:pt x="0" y="3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10" y="7"/>
                  </a:lnTo>
                  <a:lnTo>
                    <a:pt x="7" y="3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49" name="Freeform 150"/>
            <p:cNvSpPr>
              <a:spLocks noEditPoints="1"/>
            </p:cNvSpPr>
            <p:nvPr/>
          </p:nvSpPr>
          <p:spPr bwMode="auto">
            <a:xfrm>
              <a:off x="7566026" y="4944130"/>
              <a:ext cx="234950" cy="369887"/>
            </a:xfrm>
            <a:custGeom>
              <a:avLst/>
              <a:gdLst>
                <a:gd name="T0" fmla="*/ 45 w 148"/>
                <a:gd name="T1" fmla="*/ 230 h 233"/>
                <a:gd name="T2" fmla="*/ 69 w 148"/>
                <a:gd name="T3" fmla="*/ 223 h 233"/>
                <a:gd name="T4" fmla="*/ 79 w 148"/>
                <a:gd name="T5" fmla="*/ 214 h 233"/>
                <a:gd name="T6" fmla="*/ 83 w 148"/>
                <a:gd name="T7" fmla="*/ 201 h 233"/>
                <a:gd name="T8" fmla="*/ 86 w 148"/>
                <a:gd name="T9" fmla="*/ 194 h 233"/>
                <a:gd name="T10" fmla="*/ 100 w 148"/>
                <a:gd name="T11" fmla="*/ 168 h 233"/>
                <a:gd name="T12" fmla="*/ 114 w 148"/>
                <a:gd name="T13" fmla="*/ 136 h 233"/>
                <a:gd name="T14" fmla="*/ 124 w 148"/>
                <a:gd name="T15" fmla="*/ 117 h 233"/>
                <a:gd name="T16" fmla="*/ 131 w 148"/>
                <a:gd name="T17" fmla="*/ 94 h 233"/>
                <a:gd name="T18" fmla="*/ 134 w 148"/>
                <a:gd name="T19" fmla="*/ 81 h 233"/>
                <a:gd name="T20" fmla="*/ 134 w 148"/>
                <a:gd name="T21" fmla="*/ 68 h 233"/>
                <a:gd name="T22" fmla="*/ 138 w 148"/>
                <a:gd name="T23" fmla="*/ 58 h 233"/>
                <a:gd name="T24" fmla="*/ 145 w 148"/>
                <a:gd name="T25" fmla="*/ 68 h 233"/>
                <a:gd name="T26" fmla="*/ 148 w 148"/>
                <a:gd name="T27" fmla="*/ 58 h 233"/>
                <a:gd name="T28" fmla="*/ 145 w 148"/>
                <a:gd name="T29" fmla="*/ 49 h 233"/>
                <a:gd name="T30" fmla="*/ 145 w 148"/>
                <a:gd name="T31" fmla="*/ 36 h 233"/>
                <a:gd name="T32" fmla="*/ 141 w 148"/>
                <a:gd name="T33" fmla="*/ 13 h 233"/>
                <a:gd name="T34" fmla="*/ 131 w 148"/>
                <a:gd name="T35" fmla="*/ 7 h 233"/>
                <a:gd name="T36" fmla="*/ 127 w 148"/>
                <a:gd name="T37" fmla="*/ 7 h 233"/>
                <a:gd name="T38" fmla="*/ 124 w 148"/>
                <a:gd name="T39" fmla="*/ 10 h 233"/>
                <a:gd name="T40" fmla="*/ 120 w 148"/>
                <a:gd name="T41" fmla="*/ 20 h 233"/>
                <a:gd name="T42" fmla="*/ 114 w 148"/>
                <a:gd name="T43" fmla="*/ 29 h 233"/>
                <a:gd name="T44" fmla="*/ 107 w 148"/>
                <a:gd name="T45" fmla="*/ 29 h 233"/>
                <a:gd name="T46" fmla="*/ 107 w 148"/>
                <a:gd name="T47" fmla="*/ 36 h 233"/>
                <a:gd name="T48" fmla="*/ 100 w 148"/>
                <a:gd name="T49" fmla="*/ 39 h 233"/>
                <a:gd name="T50" fmla="*/ 103 w 148"/>
                <a:gd name="T51" fmla="*/ 49 h 233"/>
                <a:gd name="T52" fmla="*/ 93 w 148"/>
                <a:gd name="T53" fmla="*/ 52 h 233"/>
                <a:gd name="T54" fmla="*/ 90 w 148"/>
                <a:gd name="T55" fmla="*/ 49 h 233"/>
                <a:gd name="T56" fmla="*/ 86 w 148"/>
                <a:gd name="T57" fmla="*/ 55 h 233"/>
                <a:gd name="T58" fmla="*/ 86 w 148"/>
                <a:gd name="T59" fmla="*/ 62 h 233"/>
                <a:gd name="T60" fmla="*/ 83 w 148"/>
                <a:gd name="T61" fmla="*/ 55 h 233"/>
                <a:gd name="T62" fmla="*/ 72 w 148"/>
                <a:gd name="T63" fmla="*/ 68 h 233"/>
                <a:gd name="T64" fmla="*/ 69 w 148"/>
                <a:gd name="T65" fmla="*/ 62 h 233"/>
                <a:gd name="T66" fmla="*/ 55 w 148"/>
                <a:gd name="T67" fmla="*/ 65 h 233"/>
                <a:gd name="T68" fmla="*/ 55 w 148"/>
                <a:gd name="T69" fmla="*/ 68 h 233"/>
                <a:gd name="T70" fmla="*/ 41 w 148"/>
                <a:gd name="T71" fmla="*/ 71 h 233"/>
                <a:gd name="T72" fmla="*/ 31 w 148"/>
                <a:gd name="T73" fmla="*/ 75 h 233"/>
                <a:gd name="T74" fmla="*/ 21 w 148"/>
                <a:gd name="T75" fmla="*/ 94 h 233"/>
                <a:gd name="T76" fmla="*/ 24 w 148"/>
                <a:gd name="T77" fmla="*/ 104 h 233"/>
                <a:gd name="T78" fmla="*/ 31 w 148"/>
                <a:gd name="T79" fmla="*/ 123 h 233"/>
                <a:gd name="T80" fmla="*/ 28 w 148"/>
                <a:gd name="T81" fmla="*/ 136 h 233"/>
                <a:gd name="T82" fmla="*/ 21 w 148"/>
                <a:gd name="T83" fmla="*/ 146 h 233"/>
                <a:gd name="T84" fmla="*/ 7 w 148"/>
                <a:gd name="T85" fmla="*/ 159 h 233"/>
                <a:gd name="T86" fmla="*/ 4 w 148"/>
                <a:gd name="T87" fmla="*/ 175 h 233"/>
                <a:gd name="T88" fmla="*/ 7 w 148"/>
                <a:gd name="T89" fmla="*/ 188 h 233"/>
                <a:gd name="T90" fmla="*/ 10 w 148"/>
                <a:gd name="T91" fmla="*/ 194 h 233"/>
                <a:gd name="T92" fmla="*/ 7 w 148"/>
                <a:gd name="T93" fmla="*/ 207 h 233"/>
                <a:gd name="T94" fmla="*/ 10 w 148"/>
                <a:gd name="T95" fmla="*/ 217 h 233"/>
                <a:gd name="T96" fmla="*/ 21 w 148"/>
                <a:gd name="T97" fmla="*/ 226 h 233"/>
                <a:gd name="T98" fmla="*/ 28 w 148"/>
                <a:gd name="T99" fmla="*/ 233 h 233"/>
                <a:gd name="T100" fmla="*/ 31 w 148"/>
                <a:gd name="T101" fmla="*/ 233 h 233"/>
                <a:gd name="T102" fmla="*/ 120 w 148"/>
                <a:gd name="T103" fmla="*/ 13 h 233"/>
                <a:gd name="T104" fmla="*/ 117 w 148"/>
                <a:gd name="T105" fmla="*/ 23 h 233"/>
                <a:gd name="T106" fmla="*/ 117 w 148"/>
                <a:gd name="T107" fmla="*/ 23 h 233"/>
                <a:gd name="T108" fmla="*/ 114 w 148"/>
                <a:gd name="T109" fmla="*/ 23 h 233"/>
                <a:gd name="T110" fmla="*/ 110 w 148"/>
                <a:gd name="T111" fmla="*/ 23 h 233"/>
                <a:gd name="T112" fmla="*/ 138 w 148"/>
                <a:gd name="T113" fmla="*/ 84 h 233"/>
                <a:gd name="T114" fmla="*/ 138 w 148"/>
                <a:gd name="T115" fmla="*/ 81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8" h="233">
                  <a:moveTo>
                    <a:pt x="31" y="233"/>
                  </a:moveTo>
                  <a:lnTo>
                    <a:pt x="34" y="233"/>
                  </a:lnTo>
                  <a:lnTo>
                    <a:pt x="38" y="233"/>
                  </a:lnTo>
                  <a:lnTo>
                    <a:pt x="45" y="230"/>
                  </a:lnTo>
                  <a:lnTo>
                    <a:pt x="48" y="226"/>
                  </a:lnTo>
                  <a:lnTo>
                    <a:pt x="59" y="226"/>
                  </a:lnTo>
                  <a:lnTo>
                    <a:pt x="62" y="226"/>
                  </a:lnTo>
                  <a:lnTo>
                    <a:pt x="69" y="223"/>
                  </a:lnTo>
                  <a:lnTo>
                    <a:pt x="72" y="223"/>
                  </a:lnTo>
                  <a:lnTo>
                    <a:pt x="76" y="220"/>
                  </a:lnTo>
                  <a:lnTo>
                    <a:pt x="76" y="217"/>
                  </a:lnTo>
                  <a:lnTo>
                    <a:pt x="79" y="214"/>
                  </a:lnTo>
                  <a:lnTo>
                    <a:pt x="79" y="210"/>
                  </a:lnTo>
                  <a:lnTo>
                    <a:pt x="83" y="207"/>
                  </a:lnTo>
                  <a:lnTo>
                    <a:pt x="83" y="201"/>
                  </a:lnTo>
                  <a:lnTo>
                    <a:pt x="83" y="201"/>
                  </a:lnTo>
                  <a:lnTo>
                    <a:pt x="86" y="201"/>
                  </a:lnTo>
                  <a:lnTo>
                    <a:pt x="86" y="194"/>
                  </a:lnTo>
                  <a:lnTo>
                    <a:pt x="86" y="194"/>
                  </a:lnTo>
                  <a:lnTo>
                    <a:pt x="86" y="194"/>
                  </a:lnTo>
                  <a:lnTo>
                    <a:pt x="90" y="188"/>
                  </a:lnTo>
                  <a:lnTo>
                    <a:pt x="93" y="178"/>
                  </a:lnTo>
                  <a:lnTo>
                    <a:pt x="96" y="172"/>
                  </a:lnTo>
                  <a:lnTo>
                    <a:pt x="100" y="168"/>
                  </a:lnTo>
                  <a:lnTo>
                    <a:pt x="100" y="162"/>
                  </a:lnTo>
                  <a:lnTo>
                    <a:pt x="107" y="155"/>
                  </a:lnTo>
                  <a:lnTo>
                    <a:pt x="110" y="142"/>
                  </a:lnTo>
                  <a:lnTo>
                    <a:pt x="114" y="136"/>
                  </a:lnTo>
                  <a:lnTo>
                    <a:pt x="114" y="130"/>
                  </a:lnTo>
                  <a:lnTo>
                    <a:pt x="117" y="123"/>
                  </a:lnTo>
                  <a:lnTo>
                    <a:pt x="120" y="123"/>
                  </a:lnTo>
                  <a:lnTo>
                    <a:pt x="124" y="117"/>
                  </a:lnTo>
                  <a:lnTo>
                    <a:pt x="124" y="107"/>
                  </a:lnTo>
                  <a:lnTo>
                    <a:pt x="127" y="100"/>
                  </a:lnTo>
                  <a:lnTo>
                    <a:pt x="131" y="97"/>
                  </a:lnTo>
                  <a:lnTo>
                    <a:pt x="131" y="94"/>
                  </a:lnTo>
                  <a:lnTo>
                    <a:pt x="127" y="91"/>
                  </a:lnTo>
                  <a:lnTo>
                    <a:pt x="131" y="88"/>
                  </a:lnTo>
                  <a:lnTo>
                    <a:pt x="134" y="81"/>
                  </a:lnTo>
                  <a:lnTo>
                    <a:pt x="134" y="81"/>
                  </a:lnTo>
                  <a:lnTo>
                    <a:pt x="134" y="78"/>
                  </a:lnTo>
                  <a:lnTo>
                    <a:pt x="134" y="75"/>
                  </a:lnTo>
                  <a:lnTo>
                    <a:pt x="134" y="71"/>
                  </a:lnTo>
                  <a:lnTo>
                    <a:pt x="134" y="68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4" y="62"/>
                  </a:lnTo>
                  <a:lnTo>
                    <a:pt x="138" y="58"/>
                  </a:lnTo>
                  <a:lnTo>
                    <a:pt x="138" y="62"/>
                  </a:lnTo>
                  <a:lnTo>
                    <a:pt x="138" y="65"/>
                  </a:lnTo>
                  <a:lnTo>
                    <a:pt x="141" y="68"/>
                  </a:lnTo>
                  <a:lnTo>
                    <a:pt x="145" y="68"/>
                  </a:lnTo>
                  <a:lnTo>
                    <a:pt x="145" y="65"/>
                  </a:lnTo>
                  <a:lnTo>
                    <a:pt x="145" y="65"/>
                  </a:lnTo>
                  <a:lnTo>
                    <a:pt x="148" y="62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8" y="55"/>
                  </a:lnTo>
                  <a:lnTo>
                    <a:pt x="145" y="52"/>
                  </a:lnTo>
                  <a:lnTo>
                    <a:pt x="145" y="49"/>
                  </a:lnTo>
                  <a:lnTo>
                    <a:pt x="145" y="46"/>
                  </a:lnTo>
                  <a:lnTo>
                    <a:pt x="145" y="42"/>
                  </a:lnTo>
                  <a:lnTo>
                    <a:pt x="145" y="39"/>
                  </a:lnTo>
                  <a:lnTo>
                    <a:pt x="145" y="36"/>
                  </a:lnTo>
                  <a:lnTo>
                    <a:pt x="145" y="29"/>
                  </a:lnTo>
                  <a:lnTo>
                    <a:pt x="141" y="26"/>
                  </a:lnTo>
                  <a:lnTo>
                    <a:pt x="141" y="16"/>
                  </a:lnTo>
                  <a:lnTo>
                    <a:pt x="141" y="13"/>
                  </a:lnTo>
                  <a:lnTo>
                    <a:pt x="138" y="16"/>
                  </a:lnTo>
                  <a:lnTo>
                    <a:pt x="134" y="13"/>
                  </a:lnTo>
                  <a:lnTo>
                    <a:pt x="134" y="10"/>
                  </a:lnTo>
                  <a:lnTo>
                    <a:pt x="131" y="7"/>
                  </a:lnTo>
                  <a:lnTo>
                    <a:pt x="134" y="4"/>
                  </a:lnTo>
                  <a:lnTo>
                    <a:pt x="131" y="0"/>
                  </a:lnTo>
                  <a:lnTo>
                    <a:pt x="127" y="4"/>
                  </a:lnTo>
                  <a:lnTo>
                    <a:pt x="127" y="7"/>
                  </a:lnTo>
                  <a:lnTo>
                    <a:pt x="124" y="10"/>
                  </a:lnTo>
                  <a:lnTo>
                    <a:pt x="120" y="7"/>
                  </a:lnTo>
                  <a:lnTo>
                    <a:pt x="120" y="7"/>
                  </a:lnTo>
                  <a:lnTo>
                    <a:pt x="124" y="10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6"/>
                  </a:lnTo>
                  <a:lnTo>
                    <a:pt x="120" y="20"/>
                  </a:lnTo>
                  <a:lnTo>
                    <a:pt x="120" y="23"/>
                  </a:lnTo>
                  <a:lnTo>
                    <a:pt x="120" y="26"/>
                  </a:lnTo>
                  <a:lnTo>
                    <a:pt x="117" y="26"/>
                  </a:lnTo>
                  <a:lnTo>
                    <a:pt x="114" y="29"/>
                  </a:lnTo>
                  <a:lnTo>
                    <a:pt x="114" y="33"/>
                  </a:lnTo>
                  <a:lnTo>
                    <a:pt x="110" y="33"/>
                  </a:lnTo>
                  <a:lnTo>
                    <a:pt x="107" y="33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3" y="29"/>
                  </a:lnTo>
                  <a:lnTo>
                    <a:pt x="103" y="33"/>
                  </a:lnTo>
                  <a:lnTo>
                    <a:pt x="107" y="36"/>
                  </a:lnTo>
                  <a:lnTo>
                    <a:pt x="107" y="39"/>
                  </a:lnTo>
                  <a:lnTo>
                    <a:pt x="107" y="39"/>
                  </a:lnTo>
                  <a:lnTo>
                    <a:pt x="103" y="39"/>
                  </a:lnTo>
                  <a:lnTo>
                    <a:pt x="100" y="39"/>
                  </a:lnTo>
                  <a:lnTo>
                    <a:pt x="100" y="42"/>
                  </a:lnTo>
                  <a:lnTo>
                    <a:pt x="107" y="46"/>
                  </a:lnTo>
                  <a:lnTo>
                    <a:pt x="107" y="46"/>
                  </a:lnTo>
                  <a:lnTo>
                    <a:pt x="103" y="49"/>
                  </a:lnTo>
                  <a:lnTo>
                    <a:pt x="103" y="46"/>
                  </a:lnTo>
                  <a:lnTo>
                    <a:pt x="100" y="46"/>
                  </a:lnTo>
                  <a:lnTo>
                    <a:pt x="100" y="49"/>
                  </a:lnTo>
                  <a:lnTo>
                    <a:pt x="93" y="52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3" y="46"/>
                  </a:lnTo>
                  <a:lnTo>
                    <a:pt x="90" y="49"/>
                  </a:lnTo>
                  <a:lnTo>
                    <a:pt x="93" y="49"/>
                  </a:lnTo>
                  <a:lnTo>
                    <a:pt x="90" y="52"/>
                  </a:lnTo>
                  <a:lnTo>
                    <a:pt x="86" y="55"/>
                  </a:lnTo>
                  <a:lnTo>
                    <a:pt x="86" y="55"/>
                  </a:lnTo>
                  <a:lnTo>
                    <a:pt x="90" y="58"/>
                  </a:lnTo>
                  <a:lnTo>
                    <a:pt x="90" y="58"/>
                  </a:lnTo>
                  <a:lnTo>
                    <a:pt x="86" y="58"/>
                  </a:lnTo>
                  <a:lnTo>
                    <a:pt x="86" y="62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3" y="55"/>
                  </a:lnTo>
                  <a:lnTo>
                    <a:pt x="83" y="55"/>
                  </a:lnTo>
                  <a:lnTo>
                    <a:pt x="76" y="62"/>
                  </a:lnTo>
                  <a:lnTo>
                    <a:pt x="76" y="65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9" y="68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5" y="68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5" y="65"/>
                  </a:lnTo>
                  <a:lnTo>
                    <a:pt x="55" y="71"/>
                  </a:lnTo>
                  <a:lnTo>
                    <a:pt x="55" y="68"/>
                  </a:lnTo>
                  <a:lnTo>
                    <a:pt x="55" y="71"/>
                  </a:lnTo>
                  <a:lnTo>
                    <a:pt x="55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1" y="71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31" y="71"/>
                  </a:lnTo>
                  <a:lnTo>
                    <a:pt x="31" y="75"/>
                  </a:lnTo>
                  <a:lnTo>
                    <a:pt x="31" y="7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4" y="97"/>
                  </a:lnTo>
                  <a:lnTo>
                    <a:pt x="21" y="100"/>
                  </a:lnTo>
                  <a:lnTo>
                    <a:pt x="24" y="104"/>
                  </a:lnTo>
                  <a:lnTo>
                    <a:pt x="24" y="110"/>
                  </a:lnTo>
                  <a:lnTo>
                    <a:pt x="28" y="117"/>
                  </a:lnTo>
                  <a:lnTo>
                    <a:pt x="28" y="120"/>
                  </a:lnTo>
                  <a:lnTo>
                    <a:pt x="31" y="123"/>
                  </a:lnTo>
                  <a:lnTo>
                    <a:pt x="31" y="126"/>
                  </a:lnTo>
                  <a:lnTo>
                    <a:pt x="28" y="126"/>
                  </a:lnTo>
                  <a:lnTo>
                    <a:pt x="28" y="130"/>
                  </a:lnTo>
                  <a:lnTo>
                    <a:pt x="28" y="136"/>
                  </a:lnTo>
                  <a:lnTo>
                    <a:pt x="24" y="139"/>
                  </a:lnTo>
                  <a:lnTo>
                    <a:pt x="24" y="142"/>
                  </a:lnTo>
                  <a:lnTo>
                    <a:pt x="21" y="142"/>
                  </a:lnTo>
                  <a:lnTo>
                    <a:pt x="21" y="146"/>
                  </a:lnTo>
                  <a:lnTo>
                    <a:pt x="17" y="149"/>
                  </a:lnTo>
                  <a:lnTo>
                    <a:pt x="14" y="155"/>
                  </a:lnTo>
                  <a:lnTo>
                    <a:pt x="14" y="159"/>
                  </a:lnTo>
                  <a:lnTo>
                    <a:pt x="7" y="159"/>
                  </a:lnTo>
                  <a:lnTo>
                    <a:pt x="7" y="159"/>
                  </a:lnTo>
                  <a:lnTo>
                    <a:pt x="7" y="165"/>
                  </a:lnTo>
                  <a:lnTo>
                    <a:pt x="4" y="168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4" y="178"/>
                  </a:lnTo>
                  <a:lnTo>
                    <a:pt x="4" y="184"/>
                  </a:lnTo>
                  <a:lnTo>
                    <a:pt x="7" y="188"/>
                  </a:lnTo>
                  <a:lnTo>
                    <a:pt x="7" y="191"/>
                  </a:lnTo>
                  <a:lnTo>
                    <a:pt x="7" y="194"/>
                  </a:lnTo>
                  <a:lnTo>
                    <a:pt x="10" y="194"/>
                  </a:lnTo>
                  <a:lnTo>
                    <a:pt x="10" y="194"/>
                  </a:lnTo>
                  <a:lnTo>
                    <a:pt x="10" y="197"/>
                  </a:lnTo>
                  <a:lnTo>
                    <a:pt x="7" y="197"/>
                  </a:lnTo>
                  <a:lnTo>
                    <a:pt x="7" y="201"/>
                  </a:lnTo>
                  <a:lnTo>
                    <a:pt x="7" y="207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7" y="217"/>
                  </a:lnTo>
                  <a:lnTo>
                    <a:pt x="10" y="217"/>
                  </a:lnTo>
                  <a:lnTo>
                    <a:pt x="14" y="220"/>
                  </a:lnTo>
                  <a:lnTo>
                    <a:pt x="14" y="223"/>
                  </a:lnTo>
                  <a:lnTo>
                    <a:pt x="17" y="223"/>
                  </a:lnTo>
                  <a:lnTo>
                    <a:pt x="21" y="226"/>
                  </a:lnTo>
                  <a:lnTo>
                    <a:pt x="21" y="226"/>
                  </a:lnTo>
                  <a:lnTo>
                    <a:pt x="24" y="226"/>
                  </a:lnTo>
                  <a:lnTo>
                    <a:pt x="24" y="226"/>
                  </a:lnTo>
                  <a:lnTo>
                    <a:pt x="28" y="233"/>
                  </a:lnTo>
                  <a:lnTo>
                    <a:pt x="31" y="233"/>
                  </a:lnTo>
                  <a:lnTo>
                    <a:pt x="31" y="233"/>
                  </a:lnTo>
                  <a:lnTo>
                    <a:pt x="31" y="233"/>
                  </a:lnTo>
                  <a:lnTo>
                    <a:pt x="31" y="233"/>
                  </a:lnTo>
                  <a:close/>
                  <a:moveTo>
                    <a:pt x="117" y="16"/>
                  </a:moveTo>
                  <a:lnTo>
                    <a:pt x="117" y="16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17" y="16"/>
                  </a:lnTo>
                  <a:lnTo>
                    <a:pt x="117" y="16"/>
                  </a:lnTo>
                  <a:close/>
                  <a:moveTo>
                    <a:pt x="117" y="23"/>
                  </a:moveTo>
                  <a:lnTo>
                    <a:pt x="117" y="23"/>
                  </a:lnTo>
                  <a:lnTo>
                    <a:pt x="117" y="23"/>
                  </a:lnTo>
                  <a:lnTo>
                    <a:pt x="117" y="23"/>
                  </a:lnTo>
                  <a:lnTo>
                    <a:pt x="117" y="23"/>
                  </a:lnTo>
                  <a:lnTo>
                    <a:pt x="117" y="23"/>
                  </a:lnTo>
                  <a:close/>
                  <a:moveTo>
                    <a:pt x="110" y="23"/>
                  </a:moveTo>
                  <a:lnTo>
                    <a:pt x="110" y="20"/>
                  </a:lnTo>
                  <a:lnTo>
                    <a:pt x="110" y="23"/>
                  </a:lnTo>
                  <a:lnTo>
                    <a:pt x="114" y="23"/>
                  </a:lnTo>
                  <a:lnTo>
                    <a:pt x="114" y="26"/>
                  </a:lnTo>
                  <a:lnTo>
                    <a:pt x="110" y="23"/>
                  </a:lnTo>
                  <a:lnTo>
                    <a:pt x="107" y="23"/>
                  </a:lnTo>
                  <a:lnTo>
                    <a:pt x="110" y="23"/>
                  </a:lnTo>
                  <a:lnTo>
                    <a:pt x="110" y="23"/>
                  </a:lnTo>
                  <a:close/>
                  <a:moveTo>
                    <a:pt x="134" y="88"/>
                  </a:moveTo>
                  <a:lnTo>
                    <a:pt x="134" y="84"/>
                  </a:lnTo>
                  <a:lnTo>
                    <a:pt x="138" y="84"/>
                  </a:lnTo>
                  <a:lnTo>
                    <a:pt x="138" y="81"/>
                  </a:lnTo>
                  <a:lnTo>
                    <a:pt x="138" y="81"/>
                  </a:lnTo>
                  <a:lnTo>
                    <a:pt x="141" y="81"/>
                  </a:lnTo>
                  <a:lnTo>
                    <a:pt x="138" y="81"/>
                  </a:lnTo>
                  <a:lnTo>
                    <a:pt x="138" y="84"/>
                  </a:lnTo>
                  <a:lnTo>
                    <a:pt x="134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0" name="Freeform 151"/>
            <p:cNvSpPr>
              <a:spLocks/>
            </p:cNvSpPr>
            <p:nvPr/>
          </p:nvSpPr>
          <p:spPr bwMode="auto">
            <a:xfrm>
              <a:off x="7189788" y="4902855"/>
              <a:ext cx="322263" cy="441325"/>
            </a:xfrm>
            <a:custGeom>
              <a:avLst/>
              <a:gdLst>
                <a:gd name="T0" fmla="*/ 34 w 203"/>
                <a:gd name="T1" fmla="*/ 175 h 278"/>
                <a:gd name="T2" fmla="*/ 41 w 203"/>
                <a:gd name="T3" fmla="*/ 165 h 278"/>
                <a:gd name="T4" fmla="*/ 44 w 203"/>
                <a:gd name="T5" fmla="*/ 152 h 278"/>
                <a:gd name="T6" fmla="*/ 44 w 203"/>
                <a:gd name="T7" fmla="*/ 143 h 278"/>
                <a:gd name="T8" fmla="*/ 44 w 203"/>
                <a:gd name="T9" fmla="*/ 133 h 278"/>
                <a:gd name="T10" fmla="*/ 48 w 203"/>
                <a:gd name="T11" fmla="*/ 120 h 278"/>
                <a:gd name="T12" fmla="*/ 48 w 203"/>
                <a:gd name="T13" fmla="*/ 107 h 278"/>
                <a:gd name="T14" fmla="*/ 31 w 203"/>
                <a:gd name="T15" fmla="*/ 101 h 278"/>
                <a:gd name="T16" fmla="*/ 13 w 203"/>
                <a:gd name="T17" fmla="*/ 97 h 278"/>
                <a:gd name="T18" fmla="*/ 0 w 203"/>
                <a:gd name="T19" fmla="*/ 81 h 278"/>
                <a:gd name="T20" fmla="*/ 34 w 203"/>
                <a:gd name="T21" fmla="*/ 68 h 278"/>
                <a:gd name="T22" fmla="*/ 62 w 203"/>
                <a:gd name="T23" fmla="*/ 65 h 278"/>
                <a:gd name="T24" fmla="*/ 69 w 203"/>
                <a:gd name="T25" fmla="*/ 68 h 278"/>
                <a:gd name="T26" fmla="*/ 82 w 203"/>
                <a:gd name="T27" fmla="*/ 75 h 278"/>
                <a:gd name="T28" fmla="*/ 75 w 203"/>
                <a:gd name="T29" fmla="*/ 91 h 278"/>
                <a:gd name="T30" fmla="*/ 86 w 203"/>
                <a:gd name="T31" fmla="*/ 107 h 278"/>
                <a:gd name="T32" fmla="*/ 93 w 203"/>
                <a:gd name="T33" fmla="*/ 114 h 278"/>
                <a:gd name="T34" fmla="*/ 96 w 203"/>
                <a:gd name="T35" fmla="*/ 97 h 278"/>
                <a:gd name="T36" fmla="*/ 103 w 203"/>
                <a:gd name="T37" fmla="*/ 84 h 278"/>
                <a:gd name="T38" fmla="*/ 106 w 203"/>
                <a:gd name="T39" fmla="*/ 78 h 278"/>
                <a:gd name="T40" fmla="*/ 103 w 203"/>
                <a:gd name="T41" fmla="*/ 65 h 278"/>
                <a:gd name="T42" fmla="*/ 89 w 203"/>
                <a:gd name="T43" fmla="*/ 52 h 278"/>
                <a:gd name="T44" fmla="*/ 106 w 203"/>
                <a:gd name="T45" fmla="*/ 17 h 278"/>
                <a:gd name="T46" fmla="*/ 113 w 203"/>
                <a:gd name="T47" fmla="*/ 20 h 278"/>
                <a:gd name="T48" fmla="*/ 127 w 203"/>
                <a:gd name="T49" fmla="*/ 20 h 278"/>
                <a:gd name="T50" fmla="*/ 137 w 203"/>
                <a:gd name="T51" fmla="*/ 20 h 278"/>
                <a:gd name="T52" fmla="*/ 148 w 203"/>
                <a:gd name="T53" fmla="*/ 13 h 278"/>
                <a:gd name="T54" fmla="*/ 161 w 203"/>
                <a:gd name="T55" fmla="*/ 17 h 278"/>
                <a:gd name="T56" fmla="*/ 179 w 203"/>
                <a:gd name="T57" fmla="*/ 10 h 278"/>
                <a:gd name="T58" fmla="*/ 196 w 203"/>
                <a:gd name="T59" fmla="*/ 4 h 278"/>
                <a:gd name="T60" fmla="*/ 203 w 203"/>
                <a:gd name="T61" fmla="*/ 7 h 278"/>
                <a:gd name="T62" fmla="*/ 199 w 203"/>
                <a:gd name="T63" fmla="*/ 17 h 278"/>
                <a:gd name="T64" fmla="*/ 199 w 203"/>
                <a:gd name="T65" fmla="*/ 30 h 278"/>
                <a:gd name="T66" fmla="*/ 199 w 203"/>
                <a:gd name="T67" fmla="*/ 46 h 278"/>
                <a:gd name="T68" fmla="*/ 196 w 203"/>
                <a:gd name="T69" fmla="*/ 62 h 278"/>
                <a:gd name="T70" fmla="*/ 203 w 203"/>
                <a:gd name="T71" fmla="*/ 72 h 278"/>
                <a:gd name="T72" fmla="*/ 196 w 203"/>
                <a:gd name="T73" fmla="*/ 78 h 278"/>
                <a:gd name="T74" fmla="*/ 196 w 203"/>
                <a:gd name="T75" fmla="*/ 84 h 278"/>
                <a:gd name="T76" fmla="*/ 182 w 203"/>
                <a:gd name="T77" fmla="*/ 97 h 278"/>
                <a:gd name="T78" fmla="*/ 165 w 203"/>
                <a:gd name="T79" fmla="*/ 110 h 278"/>
                <a:gd name="T80" fmla="*/ 134 w 203"/>
                <a:gd name="T81" fmla="*/ 123 h 278"/>
                <a:gd name="T82" fmla="*/ 124 w 203"/>
                <a:gd name="T83" fmla="*/ 126 h 278"/>
                <a:gd name="T84" fmla="*/ 113 w 203"/>
                <a:gd name="T85" fmla="*/ 139 h 278"/>
                <a:gd name="T86" fmla="*/ 93 w 203"/>
                <a:gd name="T87" fmla="*/ 149 h 278"/>
                <a:gd name="T88" fmla="*/ 79 w 203"/>
                <a:gd name="T89" fmla="*/ 156 h 278"/>
                <a:gd name="T90" fmla="*/ 79 w 203"/>
                <a:gd name="T91" fmla="*/ 162 h 278"/>
                <a:gd name="T92" fmla="*/ 79 w 203"/>
                <a:gd name="T93" fmla="*/ 178 h 278"/>
                <a:gd name="T94" fmla="*/ 86 w 203"/>
                <a:gd name="T95" fmla="*/ 201 h 278"/>
                <a:gd name="T96" fmla="*/ 93 w 203"/>
                <a:gd name="T97" fmla="*/ 201 h 278"/>
                <a:gd name="T98" fmla="*/ 89 w 203"/>
                <a:gd name="T99" fmla="*/ 210 h 278"/>
                <a:gd name="T100" fmla="*/ 86 w 203"/>
                <a:gd name="T101" fmla="*/ 223 h 278"/>
                <a:gd name="T102" fmla="*/ 86 w 203"/>
                <a:gd name="T103" fmla="*/ 236 h 278"/>
                <a:gd name="T104" fmla="*/ 38 w 203"/>
                <a:gd name="T105" fmla="*/ 256 h 278"/>
                <a:gd name="T106" fmla="*/ 27 w 203"/>
                <a:gd name="T107" fmla="*/ 265 h 278"/>
                <a:gd name="T108" fmla="*/ 34 w 203"/>
                <a:gd name="T109" fmla="*/ 269 h 278"/>
                <a:gd name="T110" fmla="*/ 34 w 203"/>
                <a:gd name="T111" fmla="*/ 275 h 278"/>
                <a:gd name="T112" fmla="*/ 24 w 203"/>
                <a:gd name="T113" fmla="*/ 275 h 278"/>
                <a:gd name="T114" fmla="*/ 20 w 203"/>
                <a:gd name="T115" fmla="*/ 265 h 278"/>
                <a:gd name="T116" fmla="*/ 20 w 203"/>
                <a:gd name="T117" fmla="*/ 249 h 278"/>
                <a:gd name="T118" fmla="*/ 17 w 203"/>
                <a:gd name="T119" fmla="*/ 227 h 278"/>
                <a:gd name="T120" fmla="*/ 13 w 203"/>
                <a:gd name="T121" fmla="*/ 20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3" h="278">
                  <a:moveTo>
                    <a:pt x="13" y="204"/>
                  </a:moveTo>
                  <a:lnTo>
                    <a:pt x="34" y="185"/>
                  </a:lnTo>
                  <a:lnTo>
                    <a:pt x="34" y="181"/>
                  </a:lnTo>
                  <a:lnTo>
                    <a:pt x="34" y="178"/>
                  </a:lnTo>
                  <a:lnTo>
                    <a:pt x="34" y="175"/>
                  </a:lnTo>
                  <a:lnTo>
                    <a:pt x="38" y="172"/>
                  </a:lnTo>
                  <a:lnTo>
                    <a:pt x="34" y="168"/>
                  </a:lnTo>
                  <a:lnTo>
                    <a:pt x="38" y="165"/>
                  </a:lnTo>
                  <a:lnTo>
                    <a:pt x="38" y="165"/>
                  </a:lnTo>
                  <a:lnTo>
                    <a:pt x="41" y="165"/>
                  </a:lnTo>
                  <a:lnTo>
                    <a:pt x="44" y="162"/>
                  </a:lnTo>
                  <a:lnTo>
                    <a:pt x="48" y="159"/>
                  </a:lnTo>
                  <a:lnTo>
                    <a:pt x="44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4" y="149"/>
                  </a:lnTo>
                  <a:lnTo>
                    <a:pt x="41" y="146"/>
                  </a:lnTo>
                  <a:lnTo>
                    <a:pt x="41" y="143"/>
                  </a:lnTo>
                  <a:lnTo>
                    <a:pt x="44" y="143"/>
                  </a:lnTo>
                  <a:lnTo>
                    <a:pt x="44" y="139"/>
                  </a:lnTo>
                  <a:lnTo>
                    <a:pt x="44" y="136"/>
                  </a:lnTo>
                  <a:lnTo>
                    <a:pt x="48" y="136"/>
                  </a:lnTo>
                  <a:lnTo>
                    <a:pt x="48" y="133"/>
                  </a:lnTo>
                  <a:lnTo>
                    <a:pt x="44" y="133"/>
                  </a:lnTo>
                  <a:lnTo>
                    <a:pt x="44" y="133"/>
                  </a:lnTo>
                  <a:lnTo>
                    <a:pt x="44" y="130"/>
                  </a:lnTo>
                  <a:lnTo>
                    <a:pt x="44" y="123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17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0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1" y="104"/>
                  </a:lnTo>
                  <a:lnTo>
                    <a:pt x="38" y="104"/>
                  </a:lnTo>
                  <a:lnTo>
                    <a:pt x="34" y="101"/>
                  </a:lnTo>
                  <a:lnTo>
                    <a:pt x="31" y="101"/>
                  </a:lnTo>
                  <a:lnTo>
                    <a:pt x="27" y="97"/>
                  </a:lnTo>
                  <a:lnTo>
                    <a:pt x="20" y="94"/>
                  </a:lnTo>
                  <a:lnTo>
                    <a:pt x="17" y="94"/>
                  </a:lnTo>
                  <a:lnTo>
                    <a:pt x="13" y="94"/>
                  </a:lnTo>
                  <a:lnTo>
                    <a:pt x="13" y="97"/>
                  </a:lnTo>
                  <a:lnTo>
                    <a:pt x="10" y="94"/>
                  </a:lnTo>
                  <a:lnTo>
                    <a:pt x="7" y="94"/>
                  </a:lnTo>
                  <a:lnTo>
                    <a:pt x="0" y="94"/>
                  </a:lnTo>
                  <a:lnTo>
                    <a:pt x="0" y="84"/>
                  </a:lnTo>
                  <a:lnTo>
                    <a:pt x="0" y="81"/>
                  </a:lnTo>
                  <a:lnTo>
                    <a:pt x="0" y="78"/>
                  </a:lnTo>
                  <a:lnTo>
                    <a:pt x="10" y="75"/>
                  </a:lnTo>
                  <a:lnTo>
                    <a:pt x="13" y="75"/>
                  </a:lnTo>
                  <a:lnTo>
                    <a:pt x="31" y="68"/>
                  </a:lnTo>
                  <a:lnTo>
                    <a:pt x="34" y="68"/>
                  </a:lnTo>
                  <a:lnTo>
                    <a:pt x="48" y="65"/>
                  </a:lnTo>
                  <a:lnTo>
                    <a:pt x="51" y="62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5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72" y="68"/>
                  </a:lnTo>
                  <a:lnTo>
                    <a:pt x="75" y="68"/>
                  </a:lnTo>
                  <a:lnTo>
                    <a:pt x="79" y="68"/>
                  </a:lnTo>
                  <a:lnTo>
                    <a:pt x="82" y="72"/>
                  </a:lnTo>
                  <a:lnTo>
                    <a:pt x="82" y="75"/>
                  </a:lnTo>
                  <a:lnTo>
                    <a:pt x="82" y="78"/>
                  </a:lnTo>
                  <a:lnTo>
                    <a:pt x="79" y="84"/>
                  </a:lnTo>
                  <a:lnTo>
                    <a:pt x="75" y="88"/>
                  </a:lnTo>
                  <a:lnTo>
                    <a:pt x="75" y="91"/>
                  </a:lnTo>
                  <a:lnTo>
                    <a:pt x="75" y="91"/>
                  </a:lnTo>
                  <a:lnTo>
                    <a:pt x="75" y="97"/>
                  </a:lnTo>
                  <a:lnTo>
                    <a:pt x="75" y="97"/>
                  </a:lnTo>
                  <a:lnTo>
                    <a:pt x="79" y="101"/>
                  </a:lnTo>
                  <a:lnTo>
                    <a:pt x="82" y="104"/>
                  </a:lnTo>
                  <a:lnTo>
                    <a:pt x="86" y="107"/>
                  </a:lnTo>
                  <a:lnTo>
                    <a:pt x="89" y="107"/>
                  </a:lnTo>
                  <a:lnTo>
                    <a:pt x="89" y="110"/>
                  </a:lnTo>
                  <a:lnTo>
                    <a:pt x="89" y="114"/>
                  </a:lnTo>
                  <a:lnTo>
                    <a:pt x="89" y="114"/>
                  </a:lnTo>
                  <a:lnTo>
                    <a:pt x="93" y="114"/>
                  </a:lnTo>
                  <a:lnTo>
                    <a:pt x="96" y="110"/>
                  </a:lnTo>
                  <a:lnTo>
                    <a:pt x="93" y="107"/>
                  </a:lnTo>
                  <a:lnTo>
                    <a:pt x="96" y="104"/>
                  </a:lnTo>
                  <a:lnTo>
                    <a:pt x="96" y="101"/>
                  </a:lnTo>
                  <a:lnTo>
                    <a:pt x="96" y="97"/>
                  </a:lnTo>
                  <a:lnTo>
                    <a:pt x="103" y="94"/>
                  </a:lnTo>
                  <a:lnTo>
                    <a:pt x="103" y="94"/>
                  </a:lnTo>
                  <a:lnTo>
                    <a:pt x="106" y="91"/>
                  </a:lnTo>
                  <a:lnTo>
                    <a:pt x="106" y="84"/>
                  </a:lnTo>
                  <a:lnTo>
                    <a:pt x="103" y="84"/>
                  </a:lnTo>
                  <a:lnTo>
                    <a:pt x="103" y="81"/>
                  </a:lnTo>
                  <a:lnTo>
                    <a:pt x="103" y="81"/>
                  </a:lnTo>
                  <a:lnTo>
                    <a:pt x="103" y="78"/>
                  </a:lnTo>
                  <a:lnTo>
                    <a:pt x="106" y="78"/>
                  </a:lnTo>
                  <a:lnTo>
                    <a:pt x="106" y="78"/>
                  </a:lnTo>
                  <a:lnTo>
                    <a:pt x="110" y="78"/>
                  </a:lnTo>
                  <a:lnTo>
                    <a:pt x="110" y="75"/>
                  </a:lnTo>
                  <a:lnTo>
                    <a:pt x="106" y="72"/>
                  </a:lnTo>
                  <a:lnTo>
                    <a:pt x="106" y="68"/>
                  </a:lnTo>
                  <a:lnTo>
                    <a:pt x="103" y="65"/>
                  </a:lnTo>
                  <a:lnTo>
                    <a:pt x="99" y="62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2" y="49"/>
                  </a:lnTo>
                  <a:lnTo>
                    <a:pt x="79" y="33"/>
                  </a:lnTo>
                  <a:lnTo>
                    <a:pt x="82" y="20"/>
                  </a:lnTo>
                  <a:lnTo>
                    <a:pt x="103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13" y="20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7" y="23"/>
                  </a:lnTo>
                  <a:lnTo>
                    <a:pt x="124" y="20"/>
                  </a:lnTo>
                  <a:lnTo>
                    <a:pt x="127" y="20"/>
                  </a:lnTo>
                  <a:lnTo>
                    <a:pt x="130" y="20"/>
                  </a:lnTo>
                  <a:lnTo>
                    <a:pt x="130" y="17"/>
                  </a:lnTo>
                  <a:lnTo>
                    <a:pt x="134" y="17"/>
                  </a:lnTo>
                  <a:lnTo>
                    <a:pt x="134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41" y="20"/>
                  </a:lnTo>
                  <a:lnTo>
                    <a:pt x="148" y="20"/>
                  </a:lnTo>
                  <a:lnTo>
                    <a:pt x="148" y="17"/>
                  </a:lnTo>
                  <a:lnTo>
                    <a:pt x="148" y="13"/>
                  </a:lnTo>
                  <a:lnTo>
                    <a:pt x="151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8" y="17"/>
                  </a:lnTo>
                  <a:lnTo>
                    <a:pt x="161" y="17"/>
                  </a:lnTo>
                  <a:lnTo>
                    <a:pt x="165" y="13"/>
                  </a:lnTo>
                  <a:lnTo>
                    <a:pt x="172" y="13"/>
                  </a:lnTo>
                  <a:lnTo>
                    <a:pt x="175" y="13"/>
                  </a:lnTo>
                  <a:lnTo>
                    <a:pt x="179" y="13"/>
                  </a:lnTo>
                  <a:lnTo>
                    <a:pt x="179" y="10"/>
                  </a:lnTo>
                  <a:lnTo>
                    <a:pt x="182" y="10"/>
                  </a:lnTo>
                  <a:lnTo>
                    <a:pt x="185" y="7"/>
                  </a:lnTo>
                  <a:lnTo>
                    <a:pt x="189" y="7"/>
                  </a:lnTo>
                  <a:lnTo>
                    <a:pt x="192" y="7"/>
                  </a:lnTo>
                  <a:lnTo>
                    <a:pt x="196" y="4"/>
                  </a:lnTo>
                  <a:lnTo>
                    <a:pt x="199" y="4"/>
                  </a:lnTo>
                  <a:lnTo>
                    <a:pt x="199" y="4"/>
                  </a:lnTo>
                  <a:lnTo>
                    <a:pt x="199" y="0"/>
                  </a:lnTo>
                  <a:lnTo>
                    <a:pt x="203" y="4"/>
                  </a:lnTo>
                  <a:lnTo>
                    <a:pt x="203" y="7"/>
                  </a:lnTo>
                  <a:lnTo>
                    <a:pt x="199" y="7"/>
                  </a:lnTo>
                  <a:lnTo>
                    <a:pt x="203" y="10"/>
                  </a:lnTo>
                  <a:lnTo>
                    <a:pt x="196" y="13"/>
                  </a:lnTo>
                  <a:lnTo>
                    <a:pt x="196" y="17"/>
                  </a:lnTo>
                  <a:lnTo>
                    <a:pt x="199" y="17"/>
                  </a:lnTo>
                  <a:lnTo>
                    <a:pt x="199" y="17"/>
                  </a:lnTo>
                  <a:lnTo>
                    <a:pt x="196" y="20"/>
                  </a:lnTo>
                  <a:lnTo>
                    <a:pt x="196" y="26"/>
                  </a:lnTo>
                  <a:lnTo>
                    <a:pt x="199" y="30"/>
                  </a:lnTo>
                  <a:lnTo>
                    <a:pt x="199" y="30"/>
                  </a:lnTo>
                  <a:lnTo>
                    <a:pt x="199" y="33"/>
                  </a:lnTo>
                  <a:lnTo>
                    <a:pt x="199" y="36"/>
                  </a:lnTo>
                  <a:lnTo>
                    <a:pt x="199" y="39"/>
                  </a:lnTo>
                  <a:lnTo>
                    <a:pt x="199" y="39"/>
                  </a:lnTo>
                  <a:lnTo>
                    <a:pt x="199" y="46"/>
                  </a:lnTo>
                  <a:lnTo>
                    <a:pt x="196" y="52"/>
                  </a:lnTo>
                  <a:lnTo>
                    <a:pt x="196" y="52"/>
                  </a:lnTo>
                  <a:lnTo>
                    <a:pt x="196" y="55"/>
                  </a:lnTo>
                  <a:lnTo>
                    <a:pt x="196" y="62"/>
                  </a:lnTo>
                  <a:lnTo>
                    <a:pt x="196" y="62"/>
                  </a:lnTo>
                  <a:lnTo>
                    <a:pt x="196" y="62"/>
                  </a:lnTo>
                  <a:lnTo>
                    <a:pt x="196" y="65"/>
                  </a:lnTo>
                  <a:lnTo>
                    <a:pt x="199" y="65"/>
                  </a:lnTo>
                  <a:lnTo>
                    <a:pt x="199" y="65"/>
                  </a:lnTo>
                  <a:lnTo>
                    <a:pt x="203" y="72"/>
                  </a:lnTo>
                  <a:lnTo>
                    <a:pt x="199" y="75"/>
                  </a:lnTo>
                  <a:lnTo>
                    <a:pt x="196" y="75"/>
                  </a:lnTo>
                  <a:lnTo>
                    <a:pt x="199" y="75"/>
                  </a:lnTo>
                  <a:lnTo>
                    <a:pt x="199" y="78"/>
                  </a:lnTo>
                  <a:lnTo>
                    <a:pt x="196" y="78"/>
                  </a:lnTo>
                  <a:lnTo>
                    <a:pt x="192" y="81"/>
                  </a:lnTo>
                  <a:lnTo>
                    <a:pt x="192" y="81"/>
                  </a:lnTo>
                  <a:lnTo>
                    <a:pt x="192" y="81"/>
                  </a:lnTo>
                  <a:lnTo>
                    <a:pt x="196" y="81"/>
                  </a:lnTo>
                  <a:lnTo>
                    <a:pt x="196" y="84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9" y="91"/>
                  </a:lnTo>
                  <a:lnTo>
                    <a:pt x="189" y="94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82" y="101"/>
                  </a:lnTo>
                  <a:lnTo>
                    <a:pt x="168" y="107"/>
                  </a:lnTo>
                  <a:lnTo>
                    <a:pt x="165" y="107"/>
                  </a:lnTo>
                  <a:lnTo>
                    <a:pt x="165" y="110"/>
                  </a:lnTo>
                  <a:lnTo>
                    <a:pt x="151" y="117"/>
                  </a:lnTo>
                  <a:lnTo>
                    <a:pt x="148" y="114"/>
                  </a:lnTo>
                  <a:lnTo>
                    <a:pt x="148" y="117"/>
                  </a:lnTo>
                  <a:lnTo>
                    <a:pt x="141" y="117"/>
                  </a:lnTo>
                  <a:lnTo>
                    <a:pt x="134" y="123"/>
                  </a:lnTo>
                  <a:lnTo>
                    <a:pt x="134" y="120"/>
                  </a:lnTo>
                  <a:lnTo>
                    <a:pt x="134" y="123"/>
                  </a:lnTo>
                  <a:lnTo>
                    <a:pt x="127" y="126"/>
                  </a:lnTo>
                  <a:lnTo>
                    <a:pt x="124" y="130"/>
                  </a:lnTo>
                  <a:lnTo>
                    <a:pt x="124" y="126"/>
                  </a:lnTo>
                  <a:lnTo>
                    <a:pt x="124" y="130"/>
                  </a:lnTo>
                  <a:lnTo>
                    <a:pt x="120" y="130"/>
                  </a:lnTo>
                  <a:lnTo>
                    <a:pt x="120" y="133"/>
                  </a:lnTo>
                  <a:lnTo>
                    <a:pt x="113" y="136"/>
                  </a:lnTo>
                  <a:lnTo>
                    <a:pt x="113" y="139"/>
                  </a:lnTo>
                  <a:lnTo>
                    <a:pt x="110" y="139"/>
                  </a:lnTo>
                  <a:lnTo>
                    <a:pt x="110" y="143"/>
                  </a:lnTo>
                  <a:lnTo>
                    <a:pt x="110" y="143"/>
                  </a:lnTo>
                  <a:lnTo>
                    <a:pt x="103" y="143"/>
                  </a:lnTo>
                  <a:lnTo>
                    <a:pt x="93" y="149"/>
                  </a:lnTo>
                  <a:lnTo>
                    <a:pt x="93" y="152"/>
                  </a:lnTo>
                  <a:lnTo>
                    <a:pt x="89" y="156"/>
                  </a:lnTo>
                  <a:lnTo>
                    <a:pt x="86" y="156"/>
                  </a:lnTo>
                  <a:lnTo>
                    <a:pt x="86" y="159"/>
                  </a:lnTo>
                  <a:lnTo>
                    <a:pt x="79" y="156"/>
                  </a:lnTo>
                  <a:lnTo>
                    <a:pt x="79" y="156"/>
                  </a:lnTo>
                  <a:lnTo>
                    <a:pt x="79" y="156"/>
                  </a:lnTo>
                  <a:lnTo>
                    <a:pt x="79" y="159"/>
                  </a:lnTo>
                  <a:lnTo>
                    <a:pt x="79" y="162"/>
                  </a:lnTo>
                  <a:lnTo>
                    <a:pt x="79" y="162"/>
                  </a:lnTo>
                  <a:lnTo>
                    <a:pt x="79" y="165"/>
                  </a:lnTo>
                  <a:lnTo>
                    <a:pt x="79" y="168"/>
                  </a:lnTo>
                  <a:lnTo>
                    <a:pt x="82" y="175"/>
                  </a:lnTo>
                  <a:lnTo>
                    <a:pt x="82" y="178"/>
                  </a:lnTo>
                  <a:lnTo>
                    <a:pt x="79" y="178"/>
                  </a:lnTo>
                  <a:lnTo>
                    <a:pt x="82" y="178"/>
                  </a:lnTo>
                  <a:lnTo>
                    <a:pt x="86" y="181"/>
                  </a:lnTo>
                  <a:lnTo>
                    <a:pt x="86" y="185"/>
                  </a:lnTo>
                  <a:lnTo>
                    <a:pt x="86" y="191"/>
                  </a:lnTo>
                  <a:lnTo>
                    <a:pt x="86" y="201"/>
                  </a:lnTo>
                  <a:lnTo>
                    <a:pt x="86" y="204"/>
                  </a:lnTo>
                  <a:lnTo>
                    <a:pt x="89" y="204"/>
                  </a:lnTo>
                  <a:lnTo>
                    <a:pt x="89" y="201"/>
                  </a:lnTo>
                  <a:lnTo>
                    <a:pt x="89" y="198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204"/>
                  </a:lnTo>
                  <a:lnTo>
                    <a:pt x="89" y="207"/>
                  </a:lnTo>
                  <a:lnTo>
                    <a:pt x="89" y="210"/>
                  </a:lnTo>
                  <a:lnTo>
                    <a:pt x="89" y="210"/>
                  </a:lnTo>
                  <a:lnTo>
                    <a:pt x="89" y="217"/>
                  </a:lnTo>
                  <a:lnTo>
                    <a:pt x="89" y="220"/>
                  </a:lnTo>
                  <a:lnTo>
                    <a:pt x="86" y="220"/>
                  </a:lnTo>
                  <a:lnTo>
                    <a:pt x="86" y="223"/>
                  </a:lnTo>
                  <a:lnTo>
                    <a:pt x="86" y="223"/>
                  </a:lnTo>
                  <a:lnTo>
                    <a:pt x="86" y="227"/>
                  </a:lnTo>
                  <a:lnTo>
                    <a:pt x="89" y="227"/>
                  </a:lnTo>
                  <a:lnTo>
                    <a:pt x="89" y="227"/>
                  </a:lnTo>
                  <a:lnTo>
                    <a:pt x="86" y="230"/>
                  </a:lnTo>
                  <a:lnTo>
                    <a:pt x="86" y="236"/>
                  </a:lnTo>
                  <a:lnTo>
                    <a:pt x="79" y="243"/>
                  </a:lnTo>
                  <a:lnTo>
                    <a:pt x="65" y="246"/>
                  </a:lnTo>
                  <a:lnTo>
                    <a:pt x="48" y="249"/>
                  </a:lnTo>
                  <a:lnTo>
                    <a:pt x="44" y="256"/>
                  </a:lnTo>
                  <a:lnTo>
                    <a:pt x="38" y="256"/>
                  </a:lnTo>
                  <a:lnTo>
                    <a:pt x="38" y="256"/>
                  </a:lnTo>
                  <a:lnTo>
                    <a:pt x="34" y="259"/>
                  </a:lnTo>
                  <a:lnTo>
                    <a:pt x="34" y="262"/>
                  </a:lnTo>
                  <a:lnTo>
                    <a:pt x="31" y="262"/>
                  </a:lnTo>
                  <a:lnTo>
                    <a:pt x="27" y="265"/>
                  </a:lnTo>
                  <a:lnTo>
                    <a:pt x="31" y="265"/>
                  </a:lnTo>
                  <a:lnTo>
                    <a:pt x="31" y="269"/>
                  </a:lnTo>
                  <a:lnTo>
                    <a:pt x="31" y="272"/>
                  </a:lnTo>
                  <a:lnTo>
                    <a:pt x="34" y="269"/>
                  </a:lnTo>
                  <a:lnTo>
                    <a:pt x="34" y="269"/>
                  </a:lnTo>
                  <a:lnTo>
                    <a:pt x="38" y="265"/>
                  </a:lnTo>
                  <a:lnTo>
                    <a:pt x="38" y="265"/>
                  </a:lnTo>
                  <a:lnTo>
                    <a:pt x="38" y="269"/>
                  </a:lnTo>
                  <a:lnTo>
                    <a:pt x="38" y="272"/>
                  </a:lnTo>
                  <a:lnTo>
                    <a:pt x="34" y="275"/>
                  </a:lnTo>
                  <a:lnTo>
                    <a:pt x="34" y="278"/>
                  </a:lnTo>
                  <a:lnTo>
                    <a:pt x="31" y="278"/>
                  </a:lnTo>
                  <a:lnTo>
                    <a:pt x="24" y="275"/>
                  </a:lnTo>
                  <a:lnTo>
                    <a:pt x="24" y="278"/>
                  </a:lnTo>
                  <a:lnTo>
                    <a:pt x="24" y="275"/>
                  </a:lnTo>
                  <a:lnTo>
                    <a:pt x="24" y="272"/>
                  </a:lnTo>
                  <a:lnTo>
                    <a:pt x="24" y="272"/>
                  </a:lnTo>
                  <a:lnTo>
                    <a:pt x="24" y="269"/>
                  </a:lnTo>
                  <a:lnTo>
                    <a:pt x="24" y="269"/>
                  </a:lnTo>
                  <a:lnTo>
                    <a:pt x="20" y="265"/>
                  </a:lnTo>
                  <a:lnTo>
                    <a:pt x="17" y="265"/>
                  </a:lnTo>
                  <a:lnTo>
                    <a:pt x="17" y="265"/>
                  </a:lnTo>
                  <a:lnTo>
                    <a:pt x="17" y="259"/>
                  </a:lnTo>
                  <a:lnTo>
                    <a:pt x="17" y="252"/>
                  </a:lnTo>
                  <a:lnTo>
                    <a:pt x="20" y="249"/>
                  </a:lnTo>
                  <a:lnTo>
                    <a:pt x="20" y="236"/>
                  </a:lnTo>
                  <a:lnTo>
                    <a:pt x="20" y="233"/>
                  </a:lnTo>
                  <a:lnTo>
                    <a:pt x="17" y="230"/>
                  </a:lnTo>
                  <a:lnTo>
                    <a:pt x="17" y="227"/>
                  </a:lnTo>
                  <a:lnTo>
                    <a:pt x="17" y="227"/>
                  </a:lnTo>
                  <a:lnTo>
                    <a:pt x="17" y="217"/>
                  </a:lnTo>
                  <a:lnTo>
                    <a:pt x="17" y="214"/>
                  </a:lnTo>
                  <a:lnTo>
                    <a:pt x="13" y="210"/>
                  </a:lnTo>
                  <a:lnTo>
                    <a:pt x="13" y="204"/>
                  </a:lnTo>
                  <a:lnTo>
                    <a:pt x="13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1" name="Freeform 152"/>
            <p:cNvSpPr>
              <a:spLocks/>
            </p:cNvSpPr>
            <p:nvPr/>
          </p:nvSpPr>
          <p:spPr bwMode="auto">
            <a:xfrm>
              <a:off x="7183438" y="5314017"/>
              <a:ext cx="44450" cy="41275"/>
            </a:xfrm>
            <a:custGeom>
              <a:avLst/>
              <a:gdLst>
                <a:gd name="T0" fmla="*/ 21 w 28"/>
                <a:gd name="T1" fmla="*/ 6 h 26"/>
                <a:gd name="T2" fmla="*/ 21 w 28"/>
                <a:gd name="T3" fmla="*/ 6 h 26"/>
                <a:gd name="T4" fmla="*/ 24 w 28"/>
                <a:gd name="T5" fmla="*/ 6 h 26"/>
                <a:gd name="T6" fmla="*/ 28 w 28"/>
                <a:gd name="T7" fmla="*/ 10 h 26"/>
                <a:gd name="T8" fmla="*/ 28 w 28"/>
                <a:gd name="T9" fmla="*/ 10 h 26"/>
                <a:gd name="T10" fmla="*/ 28 w 28"/>
                <a:gd name="T11" fmla="*/ 13 h 26"/>
                <a:gd name="T12" fmla="*/ 28 w 28"/>
                <a:gd name="T13" fmla="*/ 13 h 26"/>
                <a:gd name="T14" fmla="*/ 28 w 28"/>
                <a:gd name="T15" fmla="*/ 16 h 26"/>
                <a:gd name="T16" fmla="*/ 28 w 28"/>
                <a:gd name="T17" fmla="*/ 19 h 26"/>
                <a:gd name="T18" fmla="*/ 24 w 28"/>
                <a:gd name="T19" fmla="*/ 19 h 26"/>
                <a:gd name="T20" fmla="*/ 24 w 28"/>
                <a:gd name="T21" fmla="*/ 19 h 26"/>
                <a:gd name="T22" fmla="*/ 24 w 28"/>
                <a:gd name="T23" fmla="*/ 23 h 26"/>
                <a:gd name="T24" fmla="*/ 21 w 28"/>
                <a:gd name="T25" fmla="*/ 26 h 26"/>
                <a:gd name="T26" fmla="*/ 21 w 28"/>
                <a:gd name="T27" fmla="*/ 26 h 26"/>
                <a:gd name="T28" fmla="*/ 11 w 28"/>
                <a:gd name="T29" fmla="*/ 26 h 26"/>
                <a:gd name="T30" fmla="*/ 7 w 28"/>
                <a:gd name="T31" fmla="*/ 23 h 26"/>
                <a:gd name="T32" fmla="*/ 4 w 28"/>
                <a:gd name="T33" fmla="*/ 19 h 26"/>
                <a:gd name="T34" fmla="*/ 0 w 28"/>
                <a:gd name="T35" fmla="*/ 16 h 26"/>
                <a:gd name="T36" fmla="*/ 0 w 28"/>
                <a:gd name="T37" fmla="*/ 16 h 26"/>
                <a:gd name="T38" fmla="*/ 0 w 28"/>
                <a:gd name="T39" fmla="*/ 13 h 26"/>
                <a:gd name="T40" fmla="*/ 7 w 28"/>
                <a:gd name="T41" fmla="*/ 3 h 26"/>
                <a:gd name="T42" fmla="*/ 7 w 28"/>
                <a:gd name="T43" fmla="*/ 0 h 26"/>
                <a:gd name="T44" fmla="*/ 11 w 28"/>
                <a:gd name="T45" fmla="*/ 0 h 26"/>
                <a:gd name="T46" fmla="*/ 17 w 28"/>
                <a:gd name="T47" fmla="*/ 3 h 26"/>
                <a:gd name="T48" fmla="*/ 17 w 28"/>
                <a:gd name="T49" fmla="*/ 3 h 26"/>
                <a:gd name="T50" fmla="*/ 21 w 28"/>
                <a:gd name="T51" fmla="*/ 6 h 26"/>
                <a:gd name="T52" fmla="*/ 21 w 28"/>
                <a:gd name="T53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" h="26">
                  <a:moveTo>
                    <a:pt x="21" y="6"/>
                  </a:moveTo>
                  <a:lnTo>
                    <a:pt x="21" y="6"/>
                  </a:lnTo>
                  <a:lnTo>
                    <a:pt x="24" y="6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6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11" y="26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7" y="3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21" y="6"/>
                  </a:lnTo>
                  <a:lnTo>
                    <a:pt x="21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2" name="Freeform 153"/>
            <p:cNvSpPr>
              <a:spLocks noEditPoints="1"/>
            </p:cNvSpPr>
            <p:nvPr/>
          </p:nvSpPr>
          <p:spPr bwMode="auto">
            <a:xfrm>
              <a:off x="6746876" y="5217180"/>
              <a:ext cx="496888" cy="358775"/>
            </a:xfrm>
            <a:custGeom>
              <a:avLst/>
              <a:gdLst>
                <a:gd name="T0" fmla="*/ 7 w 313"/>
                <a:gd name="T1" fmla="*/ 106 h 226"/>
                <a:gd name="T2" fmla="*/ 17 w 313"/>
                <a:gd name="T3" fmla="*/ 109 h 226"/>
                <a:gd name="T4" fmla="*/ 34 w 313"/>
                <a:gd name="T5" fmla="*/ 116 h 226"/>
                <a:gd name="T6" fmla="*/ 48 w 313"/>
                <a:gd name="T7" fmla="*/ 119 h 226"/>
                <a:gd name="T8" fmla="*/ 55 w 313"/>
                <a:gd name="T9" fmla="*/ 109 h 226"/>
                <a:gd name="T10" fmla="*/ 79 w 313"/>
                <a:gd name="T11" fmla="*/ 51 h 226"/>
                <a:gd name="T12" fmla="*/ 83 w 313"/>
                <a:gd name="T13" fmla="*/ 80 h 226"/>
                <a:gd name="T14" fmla="*/ 103 w 313"/>
                <a:gd name="T15" fmla="*/ 77 h 226"/>
                <a:gd name="T16" fmla="*/ 124 w 313"/>
                <a:gd name="T17" fmla="*/ 67 h 226"/>
                <a:gd name="T18" fmla="*/ 145 w 313"/>
                <a:gd name="T19" fmla="*/ 58 h 226"/>
                <a:gd name="T20" fmla="*/ 162 w 313"/>
                <a:gd name="T21" fmla="*/ 61 h 226"/>
                <a:gd name="T22" fmla="*/ 179 w 313"/>
                <a:gd name="T23" fmla="*/ 61 h 226"/>
                <a:gd name="T24" fmla="*/ 182 w 313"/>
                <a:gd name="T25" fmla="*/ 48 h 226"/>
                <a:gd name="T26" fmla="*/ 193 w 313"/>
                <a:gd name="T27" fmla="*/ 42 h 226"/>
                <a:gd name="T28" fmla="*/ 203 w 313"/>
                <a:gd name="T29" fmla="*/ 35 h 226"/>
                <a:gd name="T30" fmla="*/ 210 w 313"/>
                <a:gd name="T31" fmla="*/ 22 h 226"/>
                <a:gd name="T32" fmla="*/ 220 w 313"/>
                <a:gd name="T33" fmla="*/ 16 h 226"/>
                <a:gd name="T34" fmla="*/ 234 w 313"/>
                <a:gd name="T35" fmla="*/ 9 h 226"/>
                <a:gd name="T36" fmla="*/ 244 w 313"/>
                <a:gd name="T37" fmla="*/ 6 h 226"/>
                <a:gd name="T38" fmla="*/ 258 w 313"/>
                <a:gd name="T39" fmla="*/ 0 h 226"/>
                <a:gd name="T40" fmla="*/ 275 w 313"/>
                <a:gd name="T41" fmla="*/ 6 h 226"/>
                <a:gd name="T42" fmla="*/ 292 w 313"/>
                <a:gd name="T43" fmla="*/ 12 h 226"/>
                <a:gd name="T44" fmla="*/ 296 w 313"/>
                <a:gd name="T45" fmla="*/ 32 h 226"/>
                <a:gd name="T46" fmla="*/ 296 w 313"/>
                <a:gd name="T47" fmla="*/ 61 h 226"/>
                <a:gd name="T48" fmla="*/ 282 w 313"/>
                <a:gd name="T49" fmla="*/ 61 h 226"/>
                <a:gd name="T50" fmla="*/ 279 w 313"/>
                <a:gd name="T51" fmla="*/ 80 h 226"/>
                <a:gd name="T52" fmla="*/ 299 w 313"/>
                <a:gd name="T53" fmla="*/ 84 h 226"/>
                <a:gd name="T54" fmla="*/ 313 w 313"/>
                <a:gd name="T55" fmla="*/ 80 h 226"/>
                <a:gd name="T56" fmla="*/ 310 w 313"/>
                <a:gd name="T57" fmla="*/ 93 h 226"/>
                <a:gd name="T58" fmla="*/ 296 w 313"/>
                <a:gd name="T59" fmla="*/ 116 h 226"/>
                <a:gd name="T60" fmla="*/ 282 w 313"/>
                <a:gd name="T61" fmla="*/ 126 h 226"/>
                <a:gd name="T62" fmla="*/ 272 w 313"/>
                <a:gd name="T63" fmla="*/ 138 h 226"/>
                <a:gd name="T64" fmla="*/ 248 w 313"/>
                <a:gd name="T65" fmla="*/ 164 h 226"/>
                <a:gd name="T66" fmla="*/ 220 w 313"/>
                <a:gd name="T67" fmla="*/ 187 h 226"/>
                <a:gd name="T68" fmla="*/ 196 w 313"/>
                <a:gd name="T69" fmla="*/ 203 h 226"/>
                <a:gd name="T70" fmla="*/ 179 w 313"/>
                <a:gd name="T71" fmla="*/ 206 h 226"/>
                <a:gd name="T72" fmla="*/ 169 w 313"/>
                <a:gd name="T73" fmla="*/ 213 h 226"/>
                <a:gd name="T74" fmla="*/ 151 w 313"/>
                <a:gd name="T75" fmla="*/ 216 h 226"/>
                <a:gd name="T76" fmla="*/ 124 w 313"/>
                <a:gd name="T77" fmla="*/ 213 h 226"/>
                <a:gd name="T78" fmla="*/ 103 w 313"/>
                <a:gd name="T79" fmla="*/ 213 h 226"/>
                <a:gd name="T80" fmla="*/ 96 w 313"/>
                <a:gd name="T81" fmla="*/ 219 h 226"/>
                <a:gd name="T82" fmla="*/ 76 w 313"/>
                <a:gd name="T83" fmla="*/ 219 h 226"/>
                <a:gd name="T84" fmla="*/ 59 w 313"/>
                <a:gd name="T85" fmla="*/ 226 h 226"/>
                <a:gd name="T86" fmla="*/ 41 w 313"/>
                <a:gd name="T87" fmla="*/ 219 h 226"/>
                <a:gd name="T88" fmla="*/ 34 w 313"/>
                <a:gd name="T89" fmla="*/ 213 h 226"/>
                <a:gd name="T90" fmla="*/ 31 w 313"/>
                <a:gd name="T91" fmla="*/ 210 h 226"/>
                <a:gd name="T92" fmla="*/ 21 w 313"/>
                <a:gd name="T93" fmla="*/ 190 h 226"/>
                <a:gd name="T94" fmla="*/ 31 w 313"/>
                <a:gd name="T95" fmla="*/ 184 h 226"/>
                <a:gd name="T96" fmla="*/ 24 w 313"/>
                <a:gd name="T97" fmla="*/ 161 h 226"/>
                <a:gd name="T98" fmla="*/ 7 w 313"/>
                <a:gd name="T99" fmla="*/ 119 h 226"/>
                <a:gd name="T100" fmla="*/ 206 w 313"/>
                <a:gd name="T101" fmla="*/ 142 h 226"/>
                <a:gd name="T102" fmla="*/ 220 w 313"/>
                <a:gd name="T103" fmla="*/ 148 h 226"/>
                <a:gd name="T104" fmla="*/ 234 w 313"/>
                <a:gd name="T105" fmla="*/ 138 h 226"/>
                <a:gd name="T106" fmla="*/ 237 w 313"/>
                <a:gd name="T107" fmla="*/ 132 h 226"/>
                <a:gd name="T108" fmla="*/ 237 w 313"/>
                <a:gd name="T109" fmla="*/ 116 h 226"/>
                <a:gd name="T110" fmla="*/ 227 w 313"/>
                <a:gd name="T111" fmla="*/ 113 h 226"/>
                <a:gd name="T112" fmla="*/ 210 w 313"/>
                <a:gd name="T113" fmla="*/ 122 h 226"/>
                <a:gd name="T114" fmla="*/ 203 w 313"/>
                <a:gd name="T115" fmla="*/ 13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3" h="226">
                  <a:moveTo>
                    <a:pt x="0" y="113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7" y="103"/>
                  </a:lnTo>
                  <a:lnTo>
                    <a:pt x="14" y="103"/>
                  </a:lnTo>
                  <a:lnTo>
                    <a:pt x="14" y="106"/>
                  </a:lnTo>
                  <a:lnTo>
                    <a:pt x="17" y="106"/>
                  </a:lnTo>
                  <a:lnTo>
                    <a:pt x="17" y="109"/>
                  </a:lnTo>
                  <a:lnTo>
                    <a:pt x="21" y="113"/>
                  </a:lnTo>
                  <a:lnTo>
                    <a:pt x="28" y="116"/>
                  </a:lnTo>
                  <a:lnTo>
                    <a:pt x="31" y="116"/>
                  </a:lnTo>
                  <a:lnTo>
                    <a:pt x="34" y="116"/>
                  </a:lnTo>
                  <a:lnTo>
                    <a:pt x="34" y="116"/>
                  </a:lnTo>
                  <a:lnTo>
                    <a:pt x="38" y="119"/>
                  </a:lnTo>
                  <a:lnTo>
                    <a:pt x="41" y="116"/>
                  </a:lnTo>
                  <a:lnTo>
                    <a:pt x="45" y="116"/>
                  </a:lnTo>
                  <a:lnTo>
                    <a:pt x="45" y="119"/>
                  </a:lnTo>
                  <a:lnTo>
                    <a:pt x="48" y="119"/>
                  </a:lnTo>
                  <a:lnTo>
                    <a:pt x="48" y="119"/>
                  </a:lnTo>
                  <a:lnTo>
                    <a:pt x="48" y="116"/>
                  </a:lnTo>
                  <a:lnTo>
                    <a:pt x="52" y="113"/>
                  </a:lnTo>
                  <a:lnTo>
                    <a:pt x="55" y="113"/>
                  </a:lnTo>
                  <a:lnTo>
                    <a:pt x="55" y="109"/>
                  </a:lnTo>
                  <a:lnTo>
                    <a:pt x="62" y="106"/>
                  </a:lnTo>
                  <a:lnTo>
                    <a:pt x="65" y="109"/>
                  </a:lnTo>
                  <a:lnTo>
                    <a:pt x="69" y="109"/>
                  </a:lnTo>
                  <a:lnTo>
                    <a:pt x="72" y="48"/>
                  </a:lnTo>
                  <a:lnTo>
                    <a:pt x="79" y="51"/>
                  </a:lnTo>
                  <a:lnTo>
                    <a:pt x="79" y="58"/>
                  </a:lnTo>
                  <a:lnTo>
                    <a:pt x="86" y="67"/>
                  </a:lnTo>
                  <a:lnTo>
                    <a:pt x="86" y="71"/>
                  </a:lnTo>
                  <a:lnTo>
                    <a:pt x="83" y="77"/>
                  </a:lnTo>
                  <a:lnTo>
                    <a:pt x="83" y="80"/>
                  </a:lnTo>
                  <a:lnTo>
                    <a:pt x="86" y="77"/>
                  </a:lnTo>
                  <a:lnTo>
                    <a:pt x="93" y="80"/>
                  </a:lnTo>
                  <a:lnTo>
                    <a:pt x="96" y="77"/>
                  </a:lnTo>
                  <a:lnTo>
                    <a:pt x="100" y="77"/>
                  </a:lnTo>
                  <a:lnTo>
                    <a:pt x="103" y="77"/>
                  </a:lnTo>
                  <a:lnTo>
                    <a:pt x="107" y="77"/>
                  </a:lnTo>
                  <a:lnTo>
                    <a:pt x="110" y="74"/>
                  </a:lnTo>
                  <a:lnTo>
                    <a:pt x="114" y="71"/>
                  </a:lnTo>
                  <a:lnTo>
                    <a:pt x="117" y="71"/>
                  </a:lnTo>
                  <a:lnTo>
                    <a:pt x="124" y="67"/>
                  </a:lnTo>
                  <a:lnTo>
                    <a:pt x="124" y="61"/>
                  </a:lnTo>
                  <a:lnTo>
                    <a:pt x="131" y="54"/>
                  </a:lnTo>
                  <a:lnTo>
                    <a:pt x="134" y="54"/>
                  </a:lnTo>
                  <a:lnTo>
                    <a:pt x="141" y="58"/>
                  </a:lnTo>
                  <a:lnTo>
                    <a:pt x="145" y="58"/>
                  </a:lnTo>
                  <a:lnTo>
                    <a:pt x="145" y="58"/>
                  </a:lnTo>
                  <a:lnTo>
                    <a:pt x="151" y="61"/>
                  </a:lnTo>
                  <a:lnTo>
                    <a:pt x="155" y="61"/>
                  </a:lnTo>
                  <a:lnTo>
                    <a:pt x="158" y="61"/>
                  </a:lnTo>
                  <a:lnTo>
                    <a:pt x="162" y="61"/>
                  </a:lnTo>
                  <a:lnTo>
                    <a:pt x="169" y="61"/>
                  </a:lnTo>
                  <a:lnTo>
                    <a:pt x="172" y="61"/>
                  </a:lnTo>
                  <a:lnTo>
                    <a:pt x="172" y="64"/>
                  </a:lnTo>
                  <a:lnTo>
                    <a:pt x="176" y="64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9" y="58"/>
                  </a:lnTo>
                  <a:lnTo>
                    <a:pt x="179" y="54"/>
                  </a:lnTo>
                  <a:lnTo>
                    <a:pt x="182" y="54"/>
                  </a:lnTo>
                  <a:lnTo>
                    <a:pt x="182" y="48"/>
                  </a:lnTo>
                  <a:lnTo>
                    <a:pt x="182" y="45"/>
                  </a:lnTo>
                  <a:lnTo>
                    <a:pt x="186" y="45"/>
                  </a:lnTo>
                  <a:lnTo>
                    <a:pt x="189" y="45"/>
                  </a:lnTo>
                  <a:lnTo>
                    <a:pt x="193" y="45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96" y="38"/>
                  </a:lnTo>
                  <a:lnTo>
                    <a:pt x="200" y="38"/>
                  </a:lnTo>
                  <a:lnTo>
                    <a:pt x="200" y="38"/>
                  </a:lnTo>
                  <a:lnTo>
                    <a:pt x="203" y="35"/>
                  </a:lnTo>
                  <a:lnTo>
                    <a:pt x="203" y="35"/>
                  </a:lnTo>
                  <a:lnTo>
                    <a:pt x="203" y="32"/>
                  </a:lnTo>
                  <a:lnTo>
                    <a:pt x="203" y="32"/>
                  </a:lnTo>
                  <a:lnTo>
                    <a:pt x="203" y="29"/>
                  </a:lnTo>
                  <a:lnTo>
                    <a:pt x="210" y="22"/>
                  </a:lnTo>
                  <a:lnTo>
                    <a:pt x="210" y="19"/>
                  </a:lnTo>
                  <a:lnTo>
                    <a:pt x="213" y="19"/>
                  </a:lnTo>
                  <a:lnTo>
                    <a:pt x="217" y="19"/>
                  </a:lnTo>
                  <a:lnTo>
                    <a:pt x="217" y="19"/>
                  </a:lnTo>
                  <a:lnTo>
                    <a:pt x="220" y="16"/>
                  </a:lnTo>
                  <a:lnTo>
                    <a:pt x="220" y="16"/>
                  </a:lnTo>
                  <a:lnTo>
                    <a:pt x="224" y="12"/>
                  </a:lnTo>
                  <a:lnTo>
                    <a:pt x="227" y="9"/>
                  </a:lnTo>
                  <a:lnTo>
                    <a:pt x="231" y="9"/>
                  </a:lnTo>
                  <a:lnTo>
                    <a:pt x="234" y="9"/>
                  </a:lnTo>
                  <a:lnTo>
                    <a:pt x="234" y="9"/>
                  </a:lnTo>
                  <a:lnTo>
                    <a:pt x="237" y="9"/>
                  </a:lnTo>
                  <a:lnTo>
                    <a:pt x="241" y="6"/>
                  </a:lnTo>
                  <a:lnTo>
                    <a:pt x="244" y="6"/>
                  </a:lnTo>
                  <a:lnTo>
                    <a:pt x="244" y="6"/>
                  </a:lnTo>
                  <a:lnTo>
                    <a:pt x="244" y="3"/>
                  </a:lnTo>
                  <a:lnTo>
                    <a:pt x="244" y="3"/>
                  </a:lnTo>
                  <a:lnTo>
                    <a:pt x="248" y="3"/>
                  </a:lnTo>
                  <a:lnTo>
                    <a:pt x="251" y="0"/>
                  </a:lnTo>
                  <a:lnTo>
                    <a:pt x="258" y="0"/>
                  </a:lnTo>
                  <a:lnTo>
                    <a:pt x="265" y="0"/>
                  </a:lnTo>
                  <a:lnTo>
                    <a:pt x="265" y="3"/>
                  </a:lnTo>
                  <a:lnTo>
                    <a:pt x="268" y="3"/>
                  </a:lnTo>
                  <a:lnTo>
                    <a:pt x="272" y="3"/>
                  </a:lnTo>
                  <a:lnTo>
                    <a:pt x="275" y="6"/>
                  </a:lnTo>
                  <a:lnTo>
                    <a:pt x="275" y="3"/>
                  </a:lnTo>
                  <a:lnTo>
                    <a:pt x="282" y="3"/>
                  </a:lnTo>
                  <a:lnTo>
                    <a:pt x="289" y="3"/>
                  </a:lnTo>
                  <a:lnTo>
                    <a:pt x="292" y="6"/>
                  </a:lnTo>
                  <a:lnTo>
                    <a:pt x="292" y="12"/>
                  </a:lnTo>
                  <a:lnTo>
                    <a:pt x="296" y="16"/>
                  </a:lnTo>
                  <a:lnTo>
                    <a:pt x="296" y="19"/>
                  </a:lnTo>
                  <a:lnTo>
                    <a:pt x="296" y="29"/>
                  </a:lnTo>
                  <a:lnTo>
                    <a:pt x="296" y="29"/>
                  </a:lnTo>
                  <a:lnTo>
                    <a:pt x="296" y="32"/>
                  </a:lnTo>
                  <a:lnTo>
                    <a:pt x="299" y="35"/>
                  </a:lnTo>
                  <a:lnTo>
                    <a:pt x="299" y="38"/>
                  </a:lnTo>
                  <a:lnTo>
                    <a:pt x="299" y="51"/>
                  </a:lnTo>
                  <a:lnTo>
                    <a:pt x="296" y="54"/>
                  </a:lnTo>
                  <a:lnTo>
                    <a:pt x="296" y="61"/>
                  </a:lnTo>
                  <a:lnTo>
                    <a:pt x="296" y="67"/>
                  </a:lnTo>
                  <a:lnTo>
                    <a:pt x="292" y="64"/>
                  </a:lnTo>
                  <a:lnTo>
                    <a:pt x="292" y="64"/>
                  </a:lnTo>
                  <a:lnTo>
                    <a:pt x="286" y="61"/>
                  </a:lnTo>
                  <a:lnTo>
                    <a:pt x="282" y="61"/>
                  </a:lnTo>
                  <a:lnTo>
                    <a:pt x="282" y="64"/>
                  </a:lnTo>
                  <a:lnTo>
                    <a:pt x="275" y="74"/>
                  </a:lnTo>
                  <a:lnTo>
                    <a:pt x="275" y="77"/>
                  </a:lnTo>
                  <a:lnTo>
                    <a:pt x="275" y="77"/>
                  </a:lnTo>
                  <a:lnTo>
                    <a:pt x="279" y="80"/>
                  </a:lnTo>
                  <a:lnTo>
                    <a:pt x="282" y="84"/>
                  </a:lnTo>
                  <a:lnTo>
                    <a:pt x="286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9" y="84"/>
                  </a:lnTo>
                  <a:lnTo>
                    <a:pt x="299" y="80"/>
                  </a:lnTo>
                  <a:lnTo>
                    <a:pt x="299" y="80"/>
                  </a:lnTo>
                  <a:lnTo>
                    <a:pt x="303" y="77"/>
                  </a:lnTo>
                  <a:lnTo>
                    <a:pt x="310" y="80"/>
                  </a:lnTo>
                  <a:lnTo>
                    <a:pt x="313" y="80"/>
                  </a:lnTo>
                  <a:lnTo>
                    <a:pt x="313" y="80"/>
                  </a:lnTo>
                  <a:lnTo>
                    <a:pt x="313" y="84"/>
                  </a:lnTo>
                  <a:lnTo>
                    <a:pt x="313" y="84"/>
                  </a:lnTo>
                  <a:lnTo>
                    <a:pt x="310" y="90"/>
                  </a:lnTo>
                  <a:lnTo>
                    <a:pt x="310" y="93"/>
                  </a:lnTo>
                  <a:lnTo>
                    <a:pt x="306" y="100"/>
                  </a:lnTo>
                  <a:lnTo>
                    <a:pt x="306" y="106"/>
                  </a:lnTo>
                  <a:lnTo>
                    <a:pt x="303" y="109"/>
                  </a:lnTo>
                  <a:lnTo>
                    <a:pt x="303" y="113"/>
                  </a:lnTo>
                  <a:lnTo>
                    <a:pt x="296" y="116"/>
                  </a:lnTo>
                  <a:lnTo>
                    <a:pt x="296" y="116"/>
                  </a:lnTo>
                  <a:lnTo>
                    <a:pt x="292" y="119"/>
                  </a:lnTo>
                  <a:lnTo>
                    <a:pt x="289" y="119"/>
                  </a:lnTo>
                  <a:lnTo>
                    <a:pt x="289" y="122"/>
                  </a:lnTo>
                  <a:lnTo>
                    <a:pt x="282" y="126"/>
                  </a:lnTo>
                  <a:lnTo>
                    <a:pt x="282" y="129"/>
                  </a:lnTo>
                  <a:lnTo>
                    <a:pt x="275" y="132"/>
                  </a:lnTo>
                  <a:lnTo>
                    <a:pt x="275" y="135"/>
                  </a:lnTo>
                  <a:lnTo>
                    <a:pt x="275" y="138"/>
                  </a:lnTo>
                  <a:lnTo>
                    <a:pt x="272" y="138"/>
                  </a:lnTo>
                  <a:lnTo>
                    <a:pt x="268" y="142"/>
                  </a:lnTo>
                  <a:lnTo>
                    <a:pt x="262" y="155"/>
                  </a:lnTo>
                  <a:lnTo>
                    <a:pt x="255" y="158"/>
                  </a:lnTo>
                  <a:lnTo>
                    <a:pt x="251" y="164"/>
                  </a:lnTo>
                  <a:lnTo>
                    <a:pt x="248" y="164"/>
                  </a:lnTo>
                  <a:lnTo>
                    <a:pt x="244" y="168"/>
                  </a:lnTo>
                  <a:lnTo>
                    <a:pt x="244" y="168"/>
                  </a:lnTo>
                  <a:lnTo>
                    <a:pt x="244" y="171"/>
                  </a:lnTo>
                  <a:lnTo>
                    <a:pt x="224" y="187"/>
                  </a:lnTo>
                  <a:lnTo>
                    <a:pt x="220" y="187"/>
                  </a:lnTo>
                  <a:lnTo>
                    <a:pt x="220" y="187"/>
                  </a:lnTo>
                  <a:lnTo>
                    <a:pt x="217" y="190"/>
                  </a:lnTo>
                  <a:lnTo>
                    <a:pt x="203" y="197"/>
                  </a:lnTo>
                  <a:lnTo>
                    <a:pt x="200" y="200"/>
                  </a:lnTo>
                  <a:lnTo>
                    <a:pt x="196" y="203"/>
                  </a:lnTo>
                  <a:lnTo>
                    <a:pt x="196" y="203"/>
                  </a:lnTo>
                  <a:lnTo>
                    <a:pt x="189" y="203"/>
                  </a:lnTo>
                  <a:lnTo>
                    <a:pt x="186" y="206"/>
                  </a:lnTo>
                  <a:lnTo>
                    <a:pt x="179" y="206"/>
                  </a:lnTo>
                  <a:lnTo>
                    <a:pt x="179" y="206"/>
                  </a:lnTo>
                  <a:lnTo>
                    <a:pt x="172" y="206"/>
                  </a:lnTo>
                  <a:lnTo>
                    <a:pt x="169" y="206"/>
                  </a:lnTo>
                  <a:lnTo>
                    <a:pt x="165" y="210"/>
                  </a:lnTo>
                  <a:lnTo>
                    <a:pt x="169" y="213"/>
                  </a:lnTo>
                  <a:lnTo>
                    <a:pt x="169" y="213"/>
                  </a:lnTo>
                  <a:lnTo>
                    <a:pt x="162" y="213"/>
                  </a:lnTo>
                  <a:lnTo>
                    <a:pt x="158" y="213"/>
                  </a:lnTo>
                  <a:lnTo>
                    <a:pt x="155" y="213"/>
                  </a:lnTo>
                  <a:lnTo>
                    <a:pt x="151" y="213"/>
                  </a:lnTo>
                  <a:lnTo>
                    <a:pt x="151" y="216"/>
                  </a:lnTo>
                  <a:lnTo>
                    <a:pt x="151" y="216"/>
                  </a:lnTo>
                  <a:lnTo>
                    <a:pt x="141" y="216"/>
                  </a:lnTo>
                  <a:lnTo>
                    <a:pt x="138" y="213"/>
                  </a:lnTo>
                  <a:lnTo>
                    <a:pt x="131" y="213"/>
                  </a:lnTo>
                  <a:lnTo>
                    <a:pt x="124" y="213"/>
                  </a:lnTo>
                  <a:lnTo>
                    <a:pt x="124" y="213"/>
                  </a:lnTo>
                  <a:lnTo>
                    <a:pt x="120" y="216"/>
                  </a:lnTo>
                  <a:lnTo>
                    <a:pt x="117" y="213"/>
                  </a:lnTo>
                  <a:lnTo>
                    <a:pt x="107" y="213"/>
                  </a:lnTo>
                  <a:lnTo>
                    <a:pt x="103" y="213"/>
                  </a:lnTo>
                  <a:lnTo>
                    <a:pt x="103" y="216"/>
                  </a:lnTo>
                  <a:lnTo>
                    <a:pt x="10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9"/>
                  </a:lnTo>
                  <a:lnTo>
                    <a:pt x="90" y="219"/>
                  </a:lnTo>
                  <a:lnTo>
                    <a:pt x="86" y="219"/>
                  </a:lnTo>
                  <a:lnTo>
                    <a:pt x="83" y="219"/>
                  </a:lnTo>
                  <a:lnTo>
                    <a:pt x="76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5" y="222"/>
                  </a:lnTo>
                  <a:lnTo>
                    <a:pt x="62" y="222"/>
                  </a:lnTo>
                  <a:lnTo>
                    <a:pt x="62" y="226"/>
                  </a:lnTo>
                  <a:lnTo>
                    <a:pt x="59" y="226"/>
                  </a:lnTo>
                  <a:lnTo>
                    <a:pt x="59" y="226"/>
                  </a:lnTo>
                  <a:lnTo>
                    <a:pt x="48" y="222"/>
                  </a:lnTo>
                  <a:lnTo>
                    <a:pt x="48" y="222"/>
                  </a:lnTo>
                  <a:lnTo>
                    <a:pt x="45" y="219"/>
                  </a:lnTo>
                  <a:lnTo>
                    <a:pt x="41" y="219"/>
                  </a:lnTo>
                  <a:lnTo>
                    <a:pt x="41" y="219"/>
                  </a:lnTo>
                  <a:lnTo>
                    <a:pt x="38" y="219"/>
                  </a:lnTo>
                  <a:lnTo>
                    <a:pt x="41" y="216"/>
                  </a:lnTo>
                  <a:lnTo>
                    <a:pt x="38" y="213"/>
                  </a:lnTo>
                  <a:lnTo>
                    <a:pt x="34" y="213"/>
                  </a:lnTo>
                  <a:lnTo>
                    <a:pt x="31" y="216"/>
                  </a:lnTo>
                  <a:lnTo>
                    <a:pt x="31" y="219"/>
                  </a:lnTo>
                  <a:lnTo>
                    <a:pt x="28" y="216"/>
                  </a:lnTo>
                  <a:lnTo>
                    <a:pt x="28" y="213"/>
                  </a:lnTo>
                  <a:lnTo>
                    <a:pt x="31" y="210"/>
                  </a:lnTo>
                  <a:lnTo>
                    <a:pt x="28" y="206"/>
                  </a:lnTo>
                  <a:lnTo>
                    <a:pt x="31" y="203"/>
                  </a:lnTo>
                  <a:lnTo>
                    <a:pt x="28" y="197"/>
                  </a:lnTo>
                  <a:lnTo>
                    <a:pt x="24" y="197"/>
                  </a:lnTo>
                  <a:lnTo>
                    <a:pt x="21" y="190"/>
                  </a:lnTo>
                  <a:lnTo>
                    <a:pt x="21" y="187"/>
                  </a:lnTo>
                  <a:lnTo>
                    <a:pt x="24" y="184"/>
                  </a:lnTo>
                  <a:lnTo>
                    <a:pt x="24" y="187"/>
                  </a:lnTo>
                  <a:lnTo>
                    <a:pt x="28" y="187"/>
                  </a:lnTo>
                  <a:lnTo>
                    <a:pt x="31" y="184"/>
                  </a:lnTo>
                  <a:lnTo>
                    <a:pt x="31" y="180"/>
                  </a:lnTo>
                  <a:lnTo>
                    <a:pt x="28" y="174"/>
                  </a:lnTo>
                  <a:lnTo>
                    <a:pt x="28" y="171"/>
                  </a:lnTo>
                  <a:lnTo>
                    <a:pt x="24" y="164"/>
                  </a:lnTo>
                  <a:lnTo>
                    <a:pt x="24" y="161"/>
                  </a:lnTo>
                  <a:lnTo>
                    <a:pt x="17" y="155"/>
                  </a:lnTo>
                  <a:lnTo>
                    <a:pt x="17" y="145"/>
                  </a:lnTo>
                  <a:lnTo>
                    <a:pt x="10" y="135"/>
                  </a:lnTo>
                  <a:lnTo>
                    <a:pt x="10" y="132"/>
                  </a:lnTo>
                  <a:lnTo>
                    <a:pt x="7" y="119"/>
                  </a:lnTo>
                  <a:lnTo>
                    <a:pt x="0" y="116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13"/>
                  </a:lnTo>
                  <a:close/>
                  <a:moveTo>
                    <a:pt x="206" y="142"/>
                  </a:moveTo>
                  <a:lnTo>
                    <a:pt x="210" y="145"/>
                  </a:lnTo>
                  <a:lnTo>
                    <a:pt x="213" y="148"/>
                  </a:lnTo>
                  <a:lnTo>
                    <a:pt x="217" y="148"/>
                  </a:lnTo>
                  <a:lnTo>
                    <a:pt x="220" y="148"/>
                  </a:lnTo>
                  <a:lnTo>
                    <a:pt x="220" y="148"/>
                  </a:lnTo>
                  <a:lnTo>
                    <a:pt x="224" y="145"/>
                  </a:lnTo>
                  <a:lnTo>
                    <a:pt x="224" y="142"/>
                  </a:lnTo>
                  <a:lnTo>
                    <a:pt x="227" y="142"/>
                  </a:lnTo>
                  <a:lnTo>
                    <a:pt x="231" y="138"/>
                  </a:lnTo>
                  <a:lnTo>
                    <a:pt x="234" y="138"/>
                  </a:lnTo>
                  <a:lnTo>
                    <a:pt x="234" y="138"/>
                  </a:lnTo>
                  <a:lnTo>
                    <a:pt x="237" y="138"/>
                  </a:lnTo>
                  <a:lnTo>
                    <a:pt x="241" y="135"/>
                  </a:lnTo>
                  <a:lnTo>
                    <a:pt x="237" y="135"/>
                  </a:lnTo>
                  <a:lnTo>
                    <a:pt x="237" y="132"/>
                  </a:lnTo>
                  <a:lnTo>
                    <a:pt x="241" y="132"/>
                  </a:lnTo>
                  <a:lnTo>
                    <a:pt x="244" y="129"/>
                  </a:lnTo>
                  <a:lnTo>
                    <a:pt x="244" y="126"/>
                  </a:lnTo>
                  <a:lnTo>
                    <a:pt x="241" y="119"/>
                  </a:lnTo>
                  <a:lnTo>
                    <a:pt x="237" y="116"/>
                  </a:lnTo>
                  <a:lnTo>
                    <a:pt x="234" y="116"/>
                  </a:lnTo>
                  <a:lnTo>
                    <a:pt x="231" y="113"/>
                  </a:lnTo>
                  <a:lnTo>
                    <a:pt x="231" y="116"/>
                  </a:lnTo>
                  <a:lnTo>
                    <a:pt x="227" y="113"/>
                  </a:lnTo>
                  <a:lnTo>
                    <a:pt x="227" y="113"/>
                  </a:lnTo>
                  <a:lnTo>
                    <a:pt x="224" y="116"/>
                  </a:lnTo>
                  <a:lnTo>
                    <a:pt x="224" y="116"/>
                  </a:lnTo>
                  <a:lnTo>
                    <a:pt x="220" y="119"/>
                  </a:lnTo>
                  <a:lnTo>
                    <a:pt x="213" y="119"/>
                  </a:lnTo>
                  <a:lnTo>
                    <a:pt x="210" y="122"/>
                  </a:lnTo>
                  <a:lnTo>
                    <a:pt x="206" y="126"/>
                  </a:lnTo>
                  <a:lnTo>
                    <a:pt x="203" y="129"/>
                  </a:lnTo>
                  <a:lnTo>
                    <a:pt x="200" y="132"/>
                  </a:lnTo>
                  <a:lnTo>
                    <a:pt x="203" y="135"/>
                  </a:lnTo>
                  <a:lnTo>
                    <a:pt x="203" y="135"/>
                  </a:lnTo>
                  <a:lnTo>
                    <a:pt x="203" y="138"/>
                  </a:lnTo>
                  <a:lnTo>
                    <a:pt x="206" y="138"/>
                  </a:lnTo>
                  <a:lnTo>
                    <a:pt x="206" y="1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3" name="Freeform 154"/>
            <p:cNvSpPr>
              <a:spLocks/>
            </p:cNvSpPr>
            <p:nvPr/>
          </p:nvSpPr>
          <p:spPr bwMode="auto">
            <a:xfrm>
              <a:off x="7064376" y="5396567"/>
              <a:ext cx="69850" cy="55562"/>
            </a:xfrm>
            <a:custGeom>
              <a:avLst/>
              <a:gdLst>
                <a:gd name="T0" fmla="*/ 6 w 44"/>
                <a:gd name="T1" fmla="*/ 29 h 35"/>
                <a:gd name="T2" fmla="*/ 6 w 44"/>
                <a:gd name="T3" fmla="*/ 25 h 35"/>
                <a:gd name="T4" fmla="*/ 3 w 44"/>
                <a:gd name="T5" fmla="*/ 25 h 35"/>
                <a:gd name="T6" fmla="*/ 3 w 44"/>
                <a:gd name="T7" fmla="*/ 22 h 35"/>
                <a:gd name="T8" fmla="*/ 3 w 44"/>
                <a:gd name="T9" fmla="*/ 22 h 35"/>
                <a:gd name="T10" fmla="*/ 0 w 44"/>
                <a:gd name="T11" fmla="*/ 19 h 35"/>
                <a:gd name="T12" fmla="*/ 3 w 44"/>
                <a:gd name="T13" fmla="*/ 16 h 35"/>
                <a:gd name="T14" fmla="*/ 6 w 44"/>
                <a:gd name="T15" fmla="*/ 13 h 35"/>
                <a:gd name="T16" fmla="*/ 10 w 44"/>
                <a:gd name="T17" fmla="*/ 9 h 35"/>
                <a:gd name="T18" fmla="*/ 13 w 44"/>
                <a:gd name="T19" fmla="*/ 6 h 35"/>
                <a:gd name="T20" fmla="*/ 20 w 44"/>
                <a:gd name="T21" fmla="*/ 6 h 35"/>
                <a:gd name="T22" fmla="*/ 24 w 44"/>
                <a:gd name="T23" fmla="*/ 3 h 35"/>
                <a:gd name="T24" fmla="*/ 24 w 44"/>
                <a:gd name="T25" fmla="*/ 3 h 35"/>
                <a:gd name="T26" fmla="*/ 27 w 44"/>
                <a:gd name="T27" fmla="*/ 0 h 35"/>
                <a:gd name="T28" fmla="*/ 27 w 44"/>
                <a:gd name="T29" fmla="*/ 0 h 35"/>
                <a:gd name="T30" fmla="*/ 31 w 44"/>
                <a:gd name="T31" fmla="*/ 3 h 35"/>
                <a:gd name="T32" fmla="*/ 31 w 44"/>
                <a:gd name="T33" fmla="*/ 0 h 35"/>
                <a:gd name="T34" fmla="*/ 34 w 44"/>
                <a:gd name="T35" fmla="*/ 3 h 35"/>
                <a:gd name="T36" fmla="*/ 37 w 44"/>
                <a:gd name="T37" fmla="*/ 3 h 35"/>
                <a:gd name="T38" fmla="*/ 41 w 44"/>
                <a:gd name="T39" fmla="*/ 6 h 35"/>
                <a:gd name="T40" fmla="*/ 44 w 44"/>
                <a:gd name="T41" fmla="*/ 13 h 35"/>
                <a:gd name="T42" fmla="*/ 44 w 44"/>
                <a:gd name="T43" fmla="*/ 16 h 35"/>
                <a:gd name="T44" fmla="*/ 41 w 44"/>
                <a:gd name="T45" fmla="*/ 19 h 35"/>
                <a:gd name="T46" fmla="*/ 37 w 44"/>
                <a:gd name="T47" fmla="*/ 19 h 35"/>
                <a:gd name="T48" fmla="*/ 37 w 44"/>
                <a:gd name="T49" fmla="*/ 22 h 35"/>
                <a:gd name="T50" fmla="*/ 41 w 44"/>
                <a:gd name="T51" fmla="*/ 22 h 35"/>
                <a:gd name="T52" fmla="*/ 37 w 44"/>
                <a:gd name="T53" fmla="*/ 25 h 35"/>
                <a:gd name="T54" fmla="*/ 34 w 44"/>
                <a:gd name="T55" fmla="*/ 25 h 35"/>
                <a:gd name="T56" fmla="*/ 34 w 44"/>
                <a:gd name="T57" fmla="*/ 25 h 35"/>
                <a:gd name="T58" fmla="*/ 31 w 44"/>
                <a:gd name="T59" fmla="*/ 25 h 35"/>
                <a:gd name="T60" fmla="*/ 27 w 44"/>
                <a:gd name="T61" fmla="*/ 29 h 35"/>
                <a:gd name="T62" fmla="*/ 24 w 44"/>
                <a:gd name="T63" fmla="*/ 29 h 35"/>
                <a:gd name="T64" fmla="*/ 24 w 44"/>
                <a:gd name="T65" fmla="*/ 32 h 35"/>
                <a:gd name="T66" fmla="*/ 20 w 44"/>
                <a:gd name="T67" fmla="*/ 35 h 35"/>
                <a:gd name="T68" fmla="*/ 20 w 44"/>
                <a:gd name="T69" fmla="*/ 35 h 35"/>
                <a:gd name="T70" fmla="*/ 17 w 44"/>
                <a:gd name="T71" fmla="*/ 35 h 35"/>
                <a:gd name="T72" fmla="*/ 13 w 44"/>
                <a:gd name="T73" fmla="*/ 35 h 35"/>
                <a:gd name="T74" fmla="*/ 10 w 44"/>
                <a:gd name="T75" fmla="*/ 32 h 35"/>
                <a:gd name="T76" fmla="*/ 6 w 44"/>
                <a:gd name="T7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4" h="35">
                  <a:moveTo>
                    <a:pt x="6" y="29"/>
                  </a:moveTo>
                  <a:lnTo>
                    <a:pt x="6" y="25"/>
                  </a:lnTo>
                  <a:lnTo>
                    <a:pt x="3" y="25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3" y="16"/>
                  </a:lnTo>
                  <a:lnTo>
                    <a:pt x="6" y="13"/>
                  </a:lnTo>
                  <a:lnTo>
                    <a:pt x="10" y="9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31" y="3"/>
                  </a:lnTo>
                  <a:lnTo>
                    <a:pt x="31" y="0"/>
                  </a:lnTo>
                  <a:lnTo>
                    <a:pt x="34" y="3"/>
                  </a:lnTo>
                  <a:lnTo>
                    <a:pt x="37" y="3"/>
                  </a:lnTo>
                  <a:lnTo>
                    <a:pt x="41" y="6"/>
                  </a:lnTo>
                  <a:lnTo>
                    <a:pt x="44" y="13"/>
                  </a:lnTo>
                  <a:lnTo>
                    <a:pt x="44" y="16"/>
                  </a:lnTo>
                  <a:lnTo>
                    <a:pt x="41" y="19"/>
                  </a:lnTo>
                  <a:lnTo>
                    <a:pt x="37" y="19"/>
                  </a:lnTo>
                  <a:lnTo>
                    <a:pt x="37" y="22"/>
                  </a:lnTo>
                  <a:lnTo>
                    <a:pt x="41" y="22"/>
                  </a:lnTo>
                  <a:lnTo>
                    <a:pt x="37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1" y="25"/>
                  </a:lnTo>
                  <a:lnTo>
                    <a:pt x="27" y="29"/>
                  </a:lnTo>
                  <a:lnTo>
                    <a:pt x="24" y="29"/>
                  </a:lnTo>
                  <a:lnTo>
                    <a:pt x="24" y="32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17" y="35"/>
                  </a:lnTo>
                  <a:lnTo>
                    <a:pt x="13" y="35"/>
                  </a:lnTo>
                  <a:lnTo>
                    <a:pt x="10" y="32"/>
                  </a:lnTo>
                  <a:lnTo>
                    <a:pt x="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4" name="Freeform 155"/>
            <p:cNvSpPr>
              <a:spLocks noEditPoints="1"/>
            </p:cNvSpPr>
            <p:nvPr/>
          </p:nvSpPr>
          <p:spPr bwMode="auto">
            <a:xfrm>
              <a:off x="9690101" y="4909205"/>
              <a:ext cx="1246188" cy="1138237"/>
            </a:xfrm>
            <a:custGeom>
              <a:avLst/>
              <a:gdLst>
                <a:gd name="T0" fmla="*/ 778 w 785"/>
                <a:gd name="T1" fmla="*/ 300 h 717"/>
                <a:gd name="T2" fmla="*/ 671 w 785"/>
                <a:gd name="T3" fmla="*/ 152 h 717"/>
                <a:gd name="T4" fmla="*/ 544 w 785"/>
                <a:gd name="T5" fmla="*/ 129 h 717"/>
                <a:gd name="T6" fmla="*/ 496 w 785"/>
                <a:gd name="T7" fmla="*/ 103 h 717"/>
                <a:gd name="T8" fmla="*/ 492 w 785"/>
                <a:gd name="T9" fmla="*/ 68 h 717"/>
                <a:gd name="T10" fmla="*/ 485 w 785"/>
                <a:gd name="T11" fmla="*/ 26 h 717"/>
                <a:gd name="T12" fmla="*/ 465 w 785"/>
                <a:gd name="T13" fmla="*/ 35 h 717"/>
                <a:gd name="T14" fmla="*/ 392 w 785"/>
                <a:gd name="T15" fmla="*/ 26 h 717"/>
                <a:gd name="T16" fmla="*/ 372 w 785"/>
                <a:gd name="T17" fmla="*/ 29 h 717"/>
                <a:gd name="T18" fmla="*/ 248 w 785"/>
                <a:gd name="T19" fmla="*/ 97 h 717"/>
                <a:gd name="T20" fmla="*/ 4 w 785"/>
                <a:gd name="T21" fmla="*/ 278 h 717"/>
                <a:gd name="T22" fmla="*/ 427 w 785"/>
                <a:gd name="T23" fmla="*/ 513 h 717"/>
                <a:gd name="T24" fmla="*/ 578 w 785"/>
                <a:gd name="T25" fmla="*/ 594 h 717"/>
                <a:gd name="T26" fmla="*/ 527 w 785"/>
                <a:gd name="T27" fmla="*/ 630 h 717"/>
                <a:gd name="T28" fmla="*/ 595 w 785"/>
                <a:gd name="T29" fmla="*/ 630 h 717"/>
                <a:gd name="T30" fmla="*/ 592 w 785"/>
                <a:gd name="T31" fmla="*/ 639 h 717"/>
                <a:gd name="T32" fmla="*/ 527 w 785"/>
                <a:gd name="T33" fmla="*/ 707 h 717"/>
                <a:gd name="T34" fmla="*/ 523 w 785"/>
                <a:gd name="T35" fmla="*/ 643 h 717"/>
                <a:gd name="T36" fmla="*/ 582 w 785"/>
                <a:gd name="T37" fmla="*/ 646 h 717"/>
                <a:gd name="T38" fmla="*/ 575 w 785"/>
                <a:gd name="T39" fmla="*/ 691 h 717"/>
                <a:gd name="T40" fmla="*/ 547 w 785"/>
                <a:gd name="T41" fmla="*/ 704 h 717"/>
                <a:gd name="T42" fmla="*/ 31 w 785"/>
                <a:gd name="T43" fmla="*/ 471 h 717"/>
                <a:gd name="T44" fmla="*/ 90 w 785"/>
                <a:gd name="T45" fmla="*/ 462 h 717"/>
                <a:gd name="T46" fmla="*/ 162 w 785"/>
                <a:gd name="T47" fmla="*/ 455 h 717"/>
                <a:gd name="T48" fmla="*/ 251 w 785"/>
                <a:gd name="T49" fmla="*/ 420 h 717"/>
                <a:gd name="T50" fmla="*/ 365 w 785"/>
                <a:gd name="T51" fmla="*/ 423 h 717"/>
                <a:gd name="T52" fmla="*/ 392 w 785"/>
                <a:gd name="T53" fmla="*/ 478 h 717"/>
                <a:gd name="T54" fmla="*/ 437 w 785"/>
                <a:gd name="T55" fmla="*/ 452 h 717"/>
                <a:gd name="T56" fmla="*/ 417 w 785"/>
                <a:gd name="T57" fmla="*/ 494 h 717"/>
                <a:gd name="T58" fmla="*/ 461 w 785"/>
                <a:gd name="T59" fmla="*/ 500 h 717"/>
                <a:gd name="T60" fmla="*/ 482 w 785"/>
                <a:gd name="T61" fmla="*/ 568 h 717"/>
                <a:gd name="T62" fmla="*/ 547 w 785"/>
                <a:gd name="T63" fmla="*/ 575 h 717"/>
                <a:gd name="T64" fmla="*/ 571 w 785"/>
                <a:gd name="T65" fmla="*/ 601 h 717"/>
                <a:gd name="T66" fmla="*/ 640 w 785"/>
                <a:gd name="T67" fmla="*/ 572 h 717"/>
                <a:gd name="T68" fmla="*/ 699 w 785"/>
                <a:gd name="T69" fmla="*/ 481 h 717"/>
                <a:gd name="T70" fmla="*/ 754 w 785"/>
                <a:gd name="T71" fmla="*/ 423 h 717"/>
                <a:gd name="T72" fmla="*/ 774 w 785"/>
                <a:gd name="T73" fmla="*/ 326 h 717"/>
                <a:gd name="T74" fmla="*/ 750 w 785"/>
                <a:gd name="T75" fmla="*/ 261 h 717"/>
                <a:gd name="T76" fmla="*/ 730 w 785"/>
                <a:gd name="T77" fmla="*/ 236 h 717"/>
                <a:gd name="T78" fmla="*/ 702 w 785"/>
                <a:gd name="T79" fmla="*/ 181 h 717"/>
                <a:gd name="T80" fmla="*/ 668 w 785"/>
                <a:gd name="T81" fmla="*/ 148 h 717"/>
                <a:gd name="T82" fmla="*/ 644 w 785"/>
                <a:gd name="T83" fmla="*/ 74 h 717"/>
                <a:gd name="T84" fmla="*/ 613 w 785"/>
                <a:gd name="T85" fmla="*/ 32 h 717"/>
                <a:gd name="T86" fmla="*/ 589 w 785"/>
                <a:gd name="T87" fmla="*/ 55 h 717"/>
                <a:gd name="T88" fmla="*/ 554 w 785"/>
                <a:gd name="T89" fmla="*/ 142 h 717"/>
                <a:gd name="T90" fmla="*/ 485 w 785"/>
                <a:gd name="T91" fmla="*/ 103 h 717"/>
                <a:gd name="T92" fmla="*/ 485 w 785"/>
                <a:gd name="T93" fmla="*/ 58 h 717"/>
                <a:gd name="T94" fmla="*/ 478 w 785"/>
                <a:gd name="T95" fmla="*/ 38 h 717"/>
                <a:gd name="T96" fmla="*/ 444 w 785"/>
                <a:gd name="T97" fmla="*/ 32 h 717"/>
                <a:gd name="T98" fmla="*/ 410 w 785"/>
                <a:gd name="T99" fmla="*/ 22 h 717"/>
                <a:gd name="T100" fmla="*/ 375 w 785"/>
                <a:gd name="T101" fmla="*/ 48 h 717"/>
                <a:gd name="T102" fmla="*/ 351 w 785"/>
                <a:gd name="T103" fmla="*/ 80 h 717"/>
                <a:gd name="T104" fmla="*/ 324 w 785"/>
                <a:gd name="T105" fmla="*/ 87 h 717"/>
                <a:gd name="T106" fmla="*/ 300 w 785"/>
                <a:gd name="T107" fmla="*/ 68 h 717"/>
                <a:gd name="T108" fmla="*/ 272 w 785"/>
                <a:gd name="T109" fmla="*/ 77 h 717"/>
                <a:gd name="T110" fmla="*/ 251 w 785"/>
                <a:gd name="T111" fmla="*/ 106 h 717"/>
                <a:gd name="T112" fmla="*/ 234 w 785"/>
                <a:gd name="T113" fmla="*/ 126 h 717"/>
                <a:gd name="T114" fmla="*/ 203 w 785"/>
                <a:gd name="T115" fmla="*/ 145 h 717"/>
                <a:gd name="T116" fmla="*/ 110 w 785"/>
                <a:gd name="T117" fmla="*/ 187 h 717"/>
                <a:gd name="T118" fmla="*/ 38 w 785"/>
                <a:gd name="T119" fmla="*/ 210 h 717"/>
                <a:gd name="T120" fmla="*/ 17 w 785"/>
                <a:gd name="T121" fmla="*/ 294 h 717"/>
                <a:gd name="T122" fmla="*/ 28 w 785"/>
                <a:gd name="T123" fmla="*/ 362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85" h="717">
                  <a:moveTo>
                    <a:pt x="778" y="342"/>
                  </a:moveTo>
                  <a:lnTo>
                    <a:pt x="778" y="336"/>
                  </a:lnTo>
                  <a:lnTo>
                    <a:pt x="778" y="339"/>
                  </a:lnTo>
                  <a:lnTo>
                    <a:pt x="778" y="342"/>
                  </a:lnTo>
                  <a:lnTo>
                    <a:pt x="778" y="342"/>
                  </a:lnTo>
                  <a:close/>
                  <a:moveTo>
                    <a:pt x="778" y="300"/>
                  </a:moveTo>
                  <a:lnTo>
                    <a:pt x="778" y="297"/>
                  </a:lnTo>
                  <a:lnTo>
                    <a:pt x="778" y="294"/>
                  </a:lnTo>
                  <a:lnTo>
                    <a:pt x="778" y="290"/>
                  </a:lnTo>
                  <a:lnTo>
                    <a:pt x="781" y="287"/>
                  </a:lnTo>
                  <a:lnTo>
                    <a:pt x="785" y="284"/>
                  </a:lnTo>
                  <a:lnTo>
                    <a:pt x="781" y="281"/>
                  </a:lnTo>
                  <a:lnTo>
                    <a:pt x="785" y="278"/>
                  </a:lnTo>
                  <a:lnTo>
                    <a:pt x="785" y="278"/>
                  </a:lnTo>
                  <a:lnTo>
                    <a:pt x="785" y="281"/>
                  </a:lnTo>
                  <a:lnTo>
                    <a:pt x="785" y="287"/>
                  </a:lnTo>
                  <a:lnTo>
                    <a:pt x="781" y="290"/>
                  </a:lnTo>
                  <a:lnTo>
                    <a:pt x="781" y="297"/>
                  </a:lnTo>
                  <a:lnTo>
                    <a:pt x="781" y="300"/>
                  </a:lnTo>
                  <a:lnTo>
                    <a:pt x="778" y="300"/>
                  </a:lnTo>
                  <a:lnTo>
                    <a:pt x="778" y="300"/>
                  </a:lnTo>
                  <a:close/>
                  <a:moveTo>
                    <a:pt x="747" y="252"/>
                  </a:moveTo>
                  <a:lnTo>
                    <a:pt x="750" y="255"/>
                  </a:lnTo>
                  <a:lnTo>
                    <a:pt x="754" y="258"/>
                  </a:lnTo>
                  <a:lnTo>
                    <a:pt x="754" y="255"/>
                  </a:lnTo>
                  <a:lnTo>
                    <a:pt x="750" y="255"/>
                  </a:lnTo>
                  <a:lnTo>
                    <a:pt x="750" y="252"/>
                  </a:lnTo>
                  <a:lnTo>
                    <a:pt x="750" y="252"/>
                  </a:lnTo>
                  <a:lnTo>
                    <a:pt x="747" y="252"/>
                  </a:lnTo>
                  <a:lnTo>
                    <a:pt x="747" y="252"/>
                  </a:lnTo>
                  <a:lnTo>
                    <a:pt x="747" y="252"/>
                  </a:lnTo>
                  <a:close/>
                  <a:moveTo>
                    <a:pt x="740" y="229"/>
                  </a:moveTo>
                  <a:lnTo>
                    <a:pt x="740" y="226"/>
                  </a:lnTo>
                  <a:lnTo>
                    <a:pt x="740" y="229"/>
                  </a:lnTo>
                  <a:lnTo>
                    <a:pt x="740" y="229"/>
                  </a:lnTo>
                  <a:lnTo>
                    <a:pt x="740" y="229"/>
                  </a:lnTo>
                  <a:close/>
                  <a:moveTo>
                    <a:pt x="668" y="158"/>
                  </a:moveTo>
                  <a:lnTo>
                    <a:pt x="668" y="155"/>
                  </a:lnTo>
                  <a:lnTo>
                    <a:pt x="668" y="152"/>
                  </a:lnTo>
                  <a:lnTo>
                    <a:pt x="671" y="152"/>
                  </a:lnTo>
                  <a:lnTo>
                    <a:pt x="671" y="148"/>
                  </a:lnTo>
                  <a:lnTo>
                    <a:pt x="671" y="155"/>
                  </a:lnTo>
                  <a:lnTo>
                    <a:pt x="671" y="158"/>
                  </a:lnTo>
                  <a:lnTo>
                    <a:pt x="668" y="158"/>
                  </a:lnTo>
                  <a:lnTo>
                    <a:pt x="668" y="158"/>
                  </a:lnTo>
                  <a:close/>
                  <a:moveTo>
                    <a:pt x="606" y="0"/>
                  </a:moveTo>
                  <a:lnTo>
                    <a:pt x="606" y="3"/>
                  </a:lnTo>
                  <a:lnTo>
                    <a:pt x="606" y="0"/>
                  </a:lnTo>
                  <a:lnTo>
                    <a:pt x="606" y="0"/>
                  </a:lnTo>
                  <a:lnTo>
                    <a:pt x="606" y="0"/>
                  </a:lnTo>
                  <a:close/>
                  <a:moveTo>
                    <a:pt x="602" y="9"/>
                  </a:moveTo>
                  <a:lnTo>
                    <a:pt x="602" y="13"/>
                  </a:lnTo>
                  <a:lnTo>
                    <a:pt x="602" y="13"/>
                  </a:lnTo>
                  <a:lnTo>
                    <a:pt x="606" y="13"/>
                  </a:lnTo>
                  <a:lnTo>
                    <a:pt x="606" y="9"/>
                  </a:lnTo>
                  <a:lnTo>
                    <a:pt x="602" y="9"/>
                  </a:lnTo>
                  <a:lnTo>
                    <a:pt x="602" y="9"/>
                  </a:lnTo>
                  <a:close/>
                  <a:moveTo>
                    <a:pt x="540" y="126"/>
                  </a:moveTo>
                  <a:lnTo>
                    <a:pt x="540" y="129"/>
                  </a:lnTo>
                  <a:lnTo>
                    <a:pt x="544" y="129"/>
                  </a:lnTo>
                  <a:lnTo>
                    <a:pt x="544" y="126"/>
                  </a:lnTo>
                  <a:lnTo>
                    <a:pt x="540" y="126"/>
                  </a:lnTo>
                  <a:lnTo>
                    <a:pt x="540" y="126"/>
                  </a:lnTo>
                  <a:close/>
                  <a:moveTo>
                    <a:pt x="533" y="119"/>
                  </a:moveTo>
                  <a:lnTo>
                    <a:pt x="537" y="122"/>
                  </a:lnTo>
                  <a:lnTo>
                    <a:pt x="540" y="119"/>
                  </a:lnTo>
                  <a:lnTo>
                    <a:pt x="540" y="119"/>
                  </a:lnTo>
                  <a:lnTo>
                    <a:pt x="544" y="119"/>
                  </a:lnTo>
                  <a:lnTo>
                    <a:pt x="544" y="116"/>
                  </a:lnTo>
                  <a:lnTo>
                    <a:pt x="540" y="116"/>
                  </a:lnTo>
                  <a:lnTo>
                    <a:pt x="537" y="119"/>
                  </a:lnTo>
                  <a:lnTo>
                    <a:pt x="537" y="119"/>
                  </a:lnTo>
                  <a:lnTo>
                    <a:pt x="533" y="119"/>
                  </a:lnTo>
                  <a:lnTo>
                    <a:pt x="533" y="119"/>
                  </a:lnTo>
                  <a:close/>
                  <a:moveTo>
                    <a:pt x="496" y="103"/>
                  </a:moveTo>
                  <a:lnTo>
                    <a:pt x="492" y="103"/>
                  </a:lnTo>
                  <a:lnTo>
                    <a:pt x="496" y="100"/>
                  </a:lnTo>
                  <a:lnTo>
                    <a:pt x="496" y="103"/>
                  </a:lnTo>
                  <a:lnTo>
                    <a:pt x="496" y="103"/>
                  </a:lnTo>
                  <a:lnTo>
                    <a:pt x="496" y="103"/>
                  </a:lnTo>
                  <a:close/>
                  <a:moveTo>
                    <a:pt x="482" y="68"/>
                  </a:moveTo>
                  <a:lnTo>
                    <a:pt x="482" y="68"/>
                  </a:lnTo>
                  <a:lnTo>
                    <a:pt x="482" y="68"/>
                  </a:lnTo>
                  <a:lnTo>
                    <a:pt x="482" y="68"/>
                  </a:lnTo>
                  <a:lnTo>
                    <a:pt x="482" y="64"/>
                  </a:lnTo>
                  <a:lnTo>
                    <a:pt x="485" y="68"/>
                  </a:lnTo>
                  <a:lnTo>
                    <a:pt x="482" y="68"/>
                  </a:lnTo>
                  <a:lnTo>
                    <a:pt x="482" y="68"/>
                  </a:lnTo>
                  <a:close/>
                  <a:moveTo>
                    <a:pt x="489" y="74"/>
                  </a:moveTo>
                  <a:lnTo>
                    <a:pt x="485" y="74"/>
                  </a:lnTo>
                  <a:lnTo>
                    <a:pt x="489" y="74"/>
                  </a:lnTo>
                  <a:lnTo>
                    <a:pt x="489" y="74"/>
                  </a:lnTo>
                  <a:lnTo>
                    <a:pt x="496" y="74"/>
                  </a:lnTo>
                  <a:lnTo>
                    <a:pt x="496" y="71"/>
                  </a:lnTo>
                  <a:lnTo>
                    <a:pt x="496" y="71"/>
                  </a:lnTo>
                  <a:lnTo>
                    <a:pt x="492" y="71"/>
                  </a:lnTo>
                  <a:lnTo>
                    <a:pt x="492" y="71"/>
                  </a:lnTo>
                  <a:lnTo>
                    <a:pt x="496" y="68"/>
                  </a:lnTo>
                  <a:lnTo>
                    <a:pt x="496" y="68"/>
                  </a:lnTo>
                  <a:lnTo>
                    <a:pt x="492" y="68"/>
                  </a:lnTo>
                  <a:lnTo>
                    <a:pt x="492" y="64"/>
                  </a:lnTo>
                  <a:lnTo>
                    <a:pt x="489" y="68"/>
                  </a:lnTo>
                  <a:lnTo>
                    <a:pt x="489" y="68"/>
                  </a:lnTo>
                  <a:lnTo>
                    <a:pt x="485" y="68"/>
                  </a:lnTo>
                  <a:lnTo>
                    <a:pt x="489" y="68"/>
                  </a:lnTo>
                  <a:lnTo>
                    <a:pt x="485" y="71"/>
                  </a:lnTo>
                  <a:lnTo>
                    <a:pt x="489" y="74"/>
                  </a:lnTo>
                  <a:lnTo>
                    <a:pt x="489" y="74"/>
                  </a:lnTo>
                  <a:close/>
                  <a:moveTo>
                    <a:pt x="489" y="22"/>
                  </a:moveTo>
                  <a:lnTo>
                    <a:pt x="492" y="22"/>
                  </a:lnTo>
                  <a:lnTo>
                    <a:pt x="492" y="22"/>
                  </a:lnTo>
                  <a:lnTo>
                    <a:pt x="496" y="19"/>
                  </a:lnTo>
                  <a:lnTo>
                    <a:pt x="496" y="16"/>
                  </a:lnTo>
                  <a:lnTo>
                    <a:pt x="492" y="19"/>
                  </a:lnTo>
                  <a:lnTo>
                    <a:pt x="489" y="22"/>
                  </a:lnTo>
                  <a:lnTo>
                    <a:pt x="489" y="22"/>
                  </a:lnTo>
                  <a:close/>
                  <a:moveTo>
                    <a:pt x="485" y="26"/>
                  </a:moveTo>
                  <a:lnTo>
                    <a:pt x="489" y="26"/>
                  </a:lnTo>
                  <a:lnTo>
                    <a:pt x="489" y="26"/>
                  </a:lnTo>
                  <a:lnTo>
                    <a:pt x="485" y="26"/>
                  </a:lnTo>
                  <a:lnTo>
                    <a:pt x="485" y="26"/>
                  </a:lnTo>
                  <a:close/>
                  <a:moveTo>
                    <a:pt x="482" y="26"/>
                  </a:moveTo>
                  <a:lnTo>
                    <a:pt x="485" y="29"/>
                  </a:lnTo>
                  <a:lnTo>
                    <a:pt x="485" y="26"/>
                  </a:lnTo>
                  <a:lnTo>
                    <a:pt x="482" y="26"/>
                  </a:lnTo>
                  <a:lnTo>
                    <a:pt x="482" y="26"/>
                  </a:lnTo>
                  <a:close/>
                  <a:moveTo>
                    <a:pt x="475" y="29"/>
                  </a:moveTo>
                  <a:lnTo>
                    <a:pt x="478" y="29"/>
                  </a:lnTo>
                  <a:lnTo>
                    <a:pt x="478" y="29"/>
                  </a:lnTo>
                  <a:lnTo>
                    <a:pt x="475" y="29"/>
                  </a:lnTo>
                  <a:lnTo>
                    <a:pt x="475" y="29"/>
                  </a:lnTo>
                  <a:close/>
                  <a:moveTo>
                    <a:pt x="472" y="35"/>
                  </a:moveTo>
                  <a:lnTo>
                    <a:pt x="472" y="32"/>
                  </a:lnTo>
                  <a:lnTo>
                    <a:pt x="475" y="32"/>
                  </a:lnTo>
                  <a:lnTo>
                    <a:pt x="478" y="32"/>
                  </a:lnTo>
                  <a:lnTo>
                    <a:pt x="475" y="32"/>
                  </a:lnTo>
                  <a:lnTo>
                    <a:pt x="475" y="32"/>
                  </a:lnTo>
                  <a:lnTo>
                    <a:pt x="472" y="35"/>
                  </a:lnTo>
                  <a:lnTo>
                    <a:pt x="472" y="35"/>
                  </a:lnTo>
                  <a:close/>
                  <a:moveTo>
                    <a:pt x="465" y="35"/>
                  </a:moveTo>
                  <a:lnTo>
                    <a:pt x="468" y="35"/>
                  </a:lnTo>
                  <a:lnTo>
                    <a:pt x="472" y="35"/>
                  </a:lnTo>
                  <a:lnTo>
                    <a:pt x="468" y="35"/>
                  </a:lnTo>
                  <a:lnTo>
                    <a:pt x="465" y="35"/>
                  </a:lnTo>
                  <a:lnTo>
                    <a:pt x="465" y="35"/>
                  </a:lnTo>
                  <a:close/>
                  <a:moveTo>
                    <a:pt x="417" y="22"/>
                  </a:moveTo>
                  <a:lnTo>
                    <a:pt x="413" y="19"/>
                  </a:lnTo>
                  <a:lnTo>
                    <a:pt x="413" y="16"/>
                  </a:lnTo>
                  <a:lnTo>
                    <a:pt x="417" y="16"/>
                  </a:lnTo>
                  <a:lnTo>
                    <a:pt x="417" y="19"/>
                  </a:lnTo>
                  <a:lnTo>
                    <a:pt x="417" y="22"/>
                  </a:lnTo>
                  <a:lnTo>
                    <a:pt x="417" y="22"/>
                  </a:lnTo>
                  <a:close/>
                  <a:moveTo>
                    <a:pt x="372" y="19"/>
                  </a:moveTo>
                  <a:lnTo>
                    <a:pt x="375" y="26"/>
                  </a:lnTo>
                  <a:lnTo>
                    <a:pt x="375" y="29"/>
                  </a:lnTo>
                  <a:lnTo>
                    <a:pt x="379" y="32"/>
                  </a:lnTo>
                  <a:lnTo>
                    <a:pt x="386" y="32"/>
                  </a:lnTo>
                  <a:lnTo>
                    <a:pt x="392" y="26"/>
                  </a:lnTo>
                  <a:lnTo>
                    <a:pt x="392" y="26"/>
                  </a:lnTo>
                  <a:lnTo>
                    <a:pt x="392" y="26"/>
                  </a:lnTo>
                  <a:lnTo>
                    <a:pt x="396" y="22"/>
                  </a:lnTo>
                  <a:lnTo>
                    <a:pt x="392" y="22"/>
                  </a:lnTo>
                  <a:lnTo>
                    <a:pt x="392" y="19"/>
                  </a:lnTo>
                  <a:lnTo>
                    <a:pt x="392" y="19"/>
                  </a:lnTo>
                  <a:lnTo>
                    <a:pt x="389" y="22"/>
                  </a:lnTo>
                  <a:lnTo>
                    <a:pt x="382" y="22"/>
                  </a:lnTo>
                  <a:lnTo>
                    <a:pt x="382" y="26"/>
                  </a:lnTo>
                  <a:lnTo>
                    <a:pt x="379" y="22"/>
                  </a:lnTo>
                  <a:lnTo>
                    <a:pt x="379" y="22"/>
                  </a:lnTo>
                  <a:lnTo>
                    <a:pt x="375" y="22"/>
                  </a:lnTo>
                  <a:lnTo>
                    <a:pt x="375" y="19"/>
                  </a:lnTo>
                  <a:lnTo>
                    <a:pt x="372" y="19"/>
                  </a:lnTo>
                  <a:lnTo>
                    <a:pt x="372" y="19"/>
                  </a:lnTo>
                  <a:lnTo>
                    <a:pt x="372" y="19"/>
                  </a:lnTo>
                  <a:close/>
                  <a:moveTo>
                    <a:pt x="372" y="22"/>
                  </a:moveTo>
                  <a:lnTo>
                    <a:pt x="372" y="29"/>
                  </a:lnTo>
                  <a:lnTo>
                    <a:pt x="375" y="29"/>
                  </a:lnTo>
                  <a:lnTo>
                    <a:pt x="379" y="29"/>
                  </a:lnTo>
                  <a:lnTo>
                    <a:pt x="372" y="29"/>
                  </a:lnTo>
                  <a:lnTo>
                    <a:pt x="372" y="29"/>
                  </a:lnTo>
                  <a:lnTo>
                    <a:pt x="368" y="29"/>
                  </a:lnTo>
                  <a:lnTo>
                    <a:pt x="368" y="26"/>
                  </a:lnTo>
                  <a:lnTo>
                    <a:pt x="368" y="26"/>
                  </a:lnTo>
                  <a:lnTo>
                    <a:pt x="372" y="26"/>
                  </a:lnTo>
                  <a:lnTo>
                    <a:pt x="372" y="26"/>
                  </a:lnTo>
                  <a:lnTo>
                    <a:pt x="368" y="26"/>
                  </a:lnTo>
                  <a:lnTo>
                    <a:pt x="368" y="22"/>
                  </a:lnTo>
                  <a:lnTo>
                    <a:pt x="368" y="22"/>
                  </a:lnTo>
                  <a:lnTo>
                    <a:pt x="372" y="22"/>
                  </a:lnTo>
                  <a:lnTo>
                    <a:pt x="372" y="22"/>
                  </a:lnTo>
                  <a:close/>
                  <a:moveTo>
                    <a:pt x="248" y="93"/>
                  </a:moveTo>
                  <a:lnTo>
                    <a:pt x="248" y="93"/>
                  </a:lnTo>
                  <a:lnTo>
                    <a:pt x="251" y="93"/>
                  </a:lnTo>
                  <a:lnTo>
                    <a:pt x="251" y="90"/>
                  </a:lnTo>
                  <a:lnTo>
                    <a:pt x="251" y="90"/>
                  </a:lnTo>
                  <a:lnTo>
                    <a:pt x="248" y="93"/>
                  </a:lnTo>
                  <a:lnTo>
                    <a:pt x="248" y="93"/>
                  </a:lnTo>
                  <a:close/>
                  <a:moveTo>
                    <a:pt x="248" y="103"/>
                  </a:moveTo>
                  <a:lnTo>
                    <a:pt x="248" y="100"/>
                  </a:lnTo>
                  <a:lnTo>
                    <a:pt x="248" y="97"/>
                  </a:lnTo>
                  <a:lnTo>
                    <a:pt x="248" y="103"/>
                  </a:lnTo>
                  <a:lnTo>
                    <a:pt x="248" y="103"/>
                  </a:lnTo>
                  <a:lnTo>
                    <a:pt x="248" y="103"/>
                  </a:lnTo>
                  <a:close/>
                  <a:moveTo>
                    <a:pt x="265" y="80"/>
                  </a:moveTo>
                  <a:lnTo>
                    <a:pt x="262" y="80"/>
                  </a:lnTo>
                  <a:lnTo>
                    <a:pt x="265" y="77"/>
                  </a:lnTo>
                  <a:lnTo>
                    <a:pt x="265" y="77"/>
                  </a:lnTo>
                  <a:lnTo>
                    <a:pt x="265" y="80"/>
                  </a:lnTo>
                  <a:lnTo>
                    <a:pt x="265" y="80"/>
                  </a:lnTo>
                  <a:close/>
                  <a:moveTo>
                    <a:pt x="59" y="194"/>
                  </a:moveTo>
                  <a:lnTo>
                    <a:pt x="59" y="190"/>
                  </a:lnTo>
                  <a:lnTo>
                    <a:pt x="62" y="187"/>
                  </a:lnTo>
                  <a:lnTo>
                    <a:pt x="62" y="190"/>
                  </a:lnTo>
                  <a:lnTo>
                    <a:pt x="59" y="194"/>
                  </a:lnTo>
                  <a:lnTo>
                    <a:pt x="59" y="194"/>
                  </a:lnTo>
                  <a:close/>
                  <a:moveTo>
                    <a:pt x="4" y="278"/>
                  </a:moveTo>
                  <a:lnTo>
                    <a:pt x="4" y="271"/>
                  </a:lnTo>
                  <a:lnTo>
                    <a:pt x="4" y="274"/>
                  </a:lnTo>
                  <a:lnTo>
                    <a:pt x="4" y="274"/>
                  </a:lnTo>
                  <a:lnTo>
                    <a:pt x="4" y="278"/>
                  </a:lnTo>
                  <a:lnTo>
                    <a:pt x="4" y="278"/>
                  </a:lnTo>
                  <a:close/>
                  <a:moveTo>
                    <a:pt x="4" y="290"/>
                  </a:moveTo>
                  <a:lnTo>
                    <a:pt x="0" y="284"/>
                  </a:lnTo>
                  <a:lnTo>
                    <a:pt x="0" y="281"/>
                  </a:lnTo>
                  <a:lnTo>
                    <a:pt x="4" y="284"/>
                  </a:lnTo>
                  <a:lnTo>
                    <a:pt x="4" y="290"/>
                  </a:lnTo>
                  <a:lnTo>
                    <a:pt x="4" y="290"/>
                  </a:lnTo>
                  <a:close/>
                  <a:moveTo>
                    <a:pt x="430" y="504"/>
                  </a:moveTo>
                  <a:lnTo>
                    <a:pt x="430" y="507"/>
                  </a:lnTo>
                  <a:lnTo>
                    <a:pt x="430" y="507"/>
                  </a:lnTo>
                  <a:lnTo>
                    <a:pt x="434" y="507"/>
                  </a:lnTo>
                  <a:lnTo>
                    <a:pt x="434" y="510"/>
                  </a:lnTo>
                  <a:lnTo>
                    <a:pt x="437" y="510"/>
                  </a:lnTo>
                  <a:lnTo>
                    <a:pt x="437" y="507"/>
                  </a:lnTo>
                  <a:lnTo>
                    <a:pt x="441" y="510"/>
                  </a:lnTo>
                  <a:lnTo>
                    <a:pt x="437" y="510"/>
                  </a:lnTo>
                  <a:lnTo>
                    <a:pt x="430" y="510"/>
                  </a:lnTo>
                  <a:lnTo>
                    <a:pt x="430" y="513"/>
                  </a:lnTo>
                  <a:lnTo>
                    <a:pt x="427" y="513"/>
                  </a:lnTo>
                  <a:lnTo>
                    <a:pt x="427" y="513"/>
                  </a:lnTo>
                  <a:lnTo>
                    <a:pt x="427" y="513"/>
                  </a:lnTo>
                  <a:lnTo>
                    <a:pt x="423" y="510"/>
                  </a:lnTo>
                  <a:lnTo>
                    <a:pt x="420" y="513"/>
                  </a:lnTo>
                  <a:lnTo>
                    <a:pt x="417" y="510"/>
                  </a:lnTo>
                  <a:lnTo>
                    <a:pt x="417" y="513"/>
                  </a:lnTo>
                  <a:lnTo>
                    <a:pt x="413" y="513"/>
                  </a:lnTo>
                  <a:lnTo>
                    <a:pt x="410" y="510"/>
                  </a:lnTo>
                  <a:lnTo>
                    <a:pt x="410" y="507"/>
                  </a:lnTo>
                  <a:lnTo>
                    <a:pt x="413" y="507"/>
                  </a:lnTo>
                  <a:lnTo>
                    <a:pt x="423" y="504"/>
                  </a:lnTo>
                  <a:lnTo>
                    <a:pt x="427" y="504"/>
                  </a:lnTo>
                  <a:lnTo>
                    <a:pt x="430" y="504"/>
                  </a:lnTo>
                  <a:lnTo>
                    <a:pt x="430" y="504"/>
                  </a:lnTo>
                  <a:close/>
                  <a:moveTo>
                    <a:pt x="558" y="581"/>
                  </a:moveTo>
                  <a:lnTo>
                    <a:pt x="558" y="581"/>
                  </a:lnTo>
                  <a:lnTo>
                    <a:pt x="561" y="581"/>
                  </a:lnTo>
                  <a:lnTo>
                    <a:pt x="561" y="584"/>
                  </a:lnTo>
                  <a:lnTo>
                    <a:pt x="558" y="581"/>
                  </a:lnTo>
                  <a:lnTo>
                    <a:pt x="558" y="581"/>
                  </a:lnTo>
                  <a:close/>
                  <a:moveTo>
                    <a:pt x="578" y="594"/>
                  </a:moveTo>
                  <a:lnTo>
                    <a:pt x="578" y="594"/>
                  </a:lnTo>
                  <a:lnTo>
                    <a:pt x="582" y="591"/>
                  </a:lnTo>
                  <a:lnTo>
                    <a:pt x="578" y="594"/>
                  </a:lnTo>
                  <a:lnTo>
                    <a:pt x="578" y="594"/>
                  </a:lnTo>
                  <a:close/>
                  <a:moveTo>
                    <a:pt x="530" y="636"/>
                  </a:moveTo>
                  <a:lnTo>
                    <a:pt x="530" y="639"/>
                  </a:lnTo>
                  <a:lnTo>
                    <a:pt x="533" y="639"/>
                  </a:lnTo>
                  <a:lnTo>
                    <a:pt x="537" y="639"/>
                  </a:lnTo>
                  <a:lnTo>
                    <a:pt x="533" y="636"/>
                  </a:lnTo>
                  <a:lnTo>
                    <a:pt x="530" y="636"/>
                  </a:lnTo>
                  <a:lnTo>
                    <a:pt x="530" y="636"/>
                  </a:lnTo>
                  <a:close/>
                  <a:moveTo>
                    <a:pt x="533" y="630"/>
                  </a:moveTo>
                  <a:lnTo>
                    <a:pt x="533" y="633"/>
                  </a:lnTo>
                  <a:lnTo>
                    <a:pt x="533" y="633"/>
                  </a:lnTo>
                  <a:lnTo>
                    <a:pt x="533" y="630"/>
                  </a:lnTo>
                  <a:lnTo>
                    <a:pt x="533" y="630"/>
                  </a:lnTo>
                  <a:lnTo>
                    <a:pt x="533" y="630"/>
                  </a:lnTo>
                  <a:close/>
                  <a:moveTo>
                    <a:pt x="530" y="633"/>
                  </a:moveTo>
                  <a:lnTo>
                    <a:pt x="527" y="633"/>
                  </a:lnTo>
                  <a:lnTo>
                    <a:pt x="527" y="630"/>
                  </a:lnTo>
                  <a:lnTo>
                    <a:pt x="530" y="630"/>
                  </a:lnTo>
                  <a:lnTo>
                    <a:pt x="530" y="633"/>
                  </a:lnTo>
                  <a:lnTo>
                    <a:pt x="530" y="633"/>
                  </a:lnTo>
                  <a:lnTo>
                    <a:pt x="530" y="633"/>
                  </a:lnTo>
                  <a:close/>
                  <a:moveTo>
                    <a:pt x="516" y="623"/>
                  </a:moveTo>
                  <a:lnTo>
                    <a:pt x="516" y="620"/>
                  </a:lnTo>
                  <a:lnTo>
                    <a:pt x="516" y="617"/>
                  </a:lnTo>
                  <a:lnTo>
                    <a:pt x="520" y="613"/>
                  </a:lnTo>
                  <a:lnTo>
                    <a:pt x="520" y="610"/>
                  </a:lnTo>
                  <a:lnTo>
                    <a:pt x="520" y="607"/>
                  </a:lnTo>
                  <a:lnTo>
                    <a:pt x="523" y="607"/>
                  </a:lnTo>
                  <a:lnTo>
                    <a:pt x="527" y="610"/>
                  </a:lnTo>
                  <a:lnTo>
                    <a:pt x="523" y="613"/>
                  </a:lnTo>
                  <a:lnTo>
                    <a:pt x="527" y="617"/>
                  </a:lnTo>
                  <a:lnTo>
                    <a:pt x="523" y="620"/>
                  </a:lnTo>
                  <a:lnTo>
                    <a:pt x="523" y="620"/>
                  </a:lnTo>
                  <a:lnTo>
                    <a:pt x="520" y="623"/>
                  </a:lnTo>
                  <a:lnTo>
                    <a:pt x="516" y="623"/>
                  </a:lnTo>
                  <a:lnTo>
                    <a:pt x="516" y="623"/>
                  </a:lnTo>
                  <a:close/>
                  <a:moveTo>
                    <a:pt x="595" y="630"/>
                  </a:moveTo>
                  <a:lnTo>
                    <a:pt x="602" y="626"/>
                  </a:lnTo>
                  <a:lnTo>
                    <a:pt x="602" y="623"/>
                  </a:lnTo>
                  <a:lnTo>
                    <a:pt x="595" y="620"/>
                  </a:lnTo>
                  <a:lnTo>
                    <a:pt x="592" y="620"/>
                  </a:lnTo>
                  <a:lnTo>
                    <a:pt x="592" y="623"/>
                  </a:lnTo>
                  <a:lnTo>
                    <a:pt x="592" y="626"/>
                  </a:lnTo>
                  <a:lnTo>
                    <a:pt x="592" y="626"/>
                  </a:lnTo>
                  <a:lnTo>
                    <a:pt x="595" y="630"/>
                  </a:lnTo>
                  <a:lnTo>
                    <a:pt x="595" y="630"/>
                  </a:lnTo>
                  <a:close/>
                  <a:moveTo>
                    <a:pt x="589" y="633"/>
                  </a:moveTo>
                  <a:lnTo>
                    <a:pt x="592" y="636"/>
                  </a:lnTo>
                  <a:lnTo>
                    <a:pt x="599" y="636"/>
                  </a:lnTo>
                  <a:lnTo>
                    <a:pt x="599" y="636"/>
                  </a:lnTo>
                  <a:lnTo>
                    <a:pt x="602" y="636"/>
                  </a:lnTo>
                  <a:lnTo>
                    <a:pt x="595" y="633"/>
                  </a:lnTo>
                  <a:lnTo>
                    <a:pt x="592" y="633"/>
                  </a:lnTo>
                  <a:lnTo>
                    <a:pt x="589" y="633"/>
                  </a:lnTo>
                  <a:lnTo>
                    <a:pt x="589" y="633"/>
                  </a:lnTo>
                  <a:close/>
                  <a:moveTo>
                    <a:pt x="595" y="643"/>
                  </a:moveTo>
                  <a:lnTo>
                    <a:pt x="592" y="639"/>
                  </a:lnTo>
                  <a:lnTo>
                    <a:pt x="595" y="639"/>
                  </a:lnTo>
                  <a:lnTo>
                    <a:pt x="595" y="643"/>
                  </a:lnTo>
                  <a:lnTo>
                    <a:pt x="595" y="643"/>
                  </a:lnTo>
                  <a:close/>
                  <a:moveTo>
                    <a:pt x="571" y="694"/>
                  </a:moveTo>
                  <a:lnTo>
                    <a:pt x="571" y="691"/>
                  </a:lnTo>
                  <a:lnTo>
                    <a:pt x="575" y="694"/>
                  </a:lnTo>
                  <a:lnTo>
                    <a:pt x="571" y="694"/>
                  </a:lnTo>
                  <a:lnTo>
                    <a:pt x="571" y="694"/>
                  </a:lnTo>
                  <a:close/>
                  <a:moveTo>
                    <a:pt x="551" y="714"/>
                  </a:moveTo>
                  <a:lnTo>
                    <a:pt x="547" y="714"/>
                  </a:lnTo>
                  <a:lnTo>
                    <a:pt x="551" y="710"/>
                  </a:lnTo>
                  <a:lnTo>
                    <a:pt x="551" y="707"/>
                  </a:lnTo>
                  <a:lnTo>
                    <a:pt x="554" y="707"/>
                  </a:lnTo>
                  <a:lnTo>
                    <a:pt x="554" y="707"/>
                  </a:lnTo>
                  <a:lnTo>
                    <a:pt x="551" y="710"/>
                  </a:lnTo>
                  <a:lnTo>
                    <a:pt x="551" y="714"/>
                  </a:lnTo>
                  <a:lnTo>
                    <a:pt x="551" y="714"/>
                  </a:lnTo>
                  <a:close/>
                  <a:moveTo>
                    <a:pt x="527" y="714"/>
                  </a:moveTo>
                  <a:lnTo>
                    <a:pt x="527" y="710"/>
                  </a:lnTo>
                  <a:lnTo>
                    <a:pt x="527" y="707"/>
                  </a:lnTo>
                  <a:lnTo>
                    <a:pt x="523" y="707"/>
                  </a:lnTo>
                  <a:lnTo>
                    <a:pt x="523" y="701"/>
                  </a:lnTo>
                  <a:lnTo>
                    <a:pt x="523" y="701"/>
                  </a:lnTo>
                  <a:lnTo>
                    <a:pt x="523" y="697"/>
                  </a:lnTo>
                  <a:lnTo>
                    <a:pt x="523" y="691"/>
                  </a:lnTo>
                  <a:lnTo>
                    <a:pt x="523" y="688"/>
                  </a:lnTo>
                  <a:lnTo>
                    <a:pt x="520" y="685"/>
                  </a:lnTo>
                  <a:lnTo>
                    <a:pt x="520" y="681"/>
                  </a:lnTo>
                  <a:lnTo>
                    <a:pt x="520" y="678"/>
                  </a:lnTo>
                  <a:lnTo>
                    <a:pt x="523" y="681"/>
                  </a:lnTo>
                  <a:lnTo>
                    <a:pt x="530" y="681"/>
                  </a:lnTo>
                  <a:lnTo>
                    <a:pt x="527" y="678"/>
                  </a:lnTo>
                  <a:lnTo>
                    <a:pt x="527" y="675"/>
                  </a:lnTo>
                  <a:lnTo>
                    <a:pt x="523" y="675"/>
                  </a:lnTo>
                  <a:lnTo>
                    <a:pt x="523" y="668"/>
                  </a:lnTo>
                  <a:lnTo>
                    <a:pt x="523" y="665"/>
                  </a:lnTo>
                  <a:lnTo>
                    <a:pt x="523" y="655"/>
                  </a:lnTo>
                  <a:lnTo>
                    <a:pt x="523" y="652"/>
                  </a:lnTo>
                  <a:lnTo>
                    <a:pt x="523" y="646"/>
                  </a:lnTo>
                  <a:lnTo>
                    <a:pt x="523" y="643"/>
                  </a:lnTo>
                  <a:lnTo>
                    <a:pt x="523" y="643"/>
                  </a:lnTo>
                  <a:lnTo>
                    <a:pt x="523" y="639"/>
                  </a:lnTo>
                  <a:lnTo>
                    <a:pt x="527" y="636"/>
                  </a:lnTo>
                  <a:lnTo>
                    <a:pt x="530" y="639"/>
                  </a:lnTo>
                  <a:lnTo>
                    <a:pt x="533" y="639"/>
                  </a:lnTo>
                  <a:lnTo>
                    <a:pt x="537" y="643"/>
                  </a:lnTo>
                  <a:lnTo>
                    <a:pt x="537" y="639"/>
                  </a:lnTo>
                  <a:lnTo>
                    <a:pt x="537" y="639"/>
                  </a:lnTo>
                  <a:lnTo>
                    <a:pt x="537" y="643"/>
                  </a:lnTo>
                  <a:lnTo>
                    <a:pt x="544" y="646"/>
                  </a:lnTo>
                  <a:lnTo>
                    <a:pt x="551" y="652"/>
                  </a:lnTo>
                  <a:lnTo>
                    <a:pt x="554" y="652"/>
                  </a:lnTo>
                  <a:lnTo>
                    <a:pt x="558" y="652"/>
                  </a:lnTo>
                  <a:lnTo>
                    <a:pt x="561" y="652"/>
                  </a:lnTo>
                  <a:lnTo>
                    <a:pt x="564" y="655"/>
                  </a:lnTo>
                  <a:lnTo>
                    <a:pt x="561" y="652"/>
                  </a:lnTo>
                  <a:lnTo>
                    <a:pt x="564" y="649"/>
                  </a:lnTo>
                  <a:lnTo>
                    <a:pt x="578" y="649"/>
                  </a:lnTo>
                  <a:lnTo>
                    <a:pt x="578" y="649"/>
                  </a:lnTo>
                  <a:lnTo>
                    <a:pt x="582" y="646"/>
                  </a:lnTo>
                  <a:lnTo>
                    <a:pt x="585" y="649"/>
                  </a:lnTo>
                  <a:lnTo>
                    <a:pt x="585" y="649"/>
                  </a:lnTo>
                  <a:lnTo>
                    <a:pt x="589" y="646"/>
                  </a:lnTo>
                  <a:lnTo>
                    <a:pt x="589" y="646"/>
                  </a:lnTo>
                  <a:lnTo>
                    <a:pt x="592" y="649"/>
                  </a:lnTo>
                  <a:lnTo>
                    <a:pt x="592" y="652"/>
                  </a:lnTo>
                  <a:lnTo>
                    <a:pt x="589" y="659"/>
                  </a:lnTo>
                  <a:lnTo>
                    <a:pt x="585" y="662"/>
                  </a:lnTo>
                  <a:lnTo>
                    <a:pt x="585" y="668"/>
                  </a:lnTo>
                  <a:lnTo>
                    <a:pt x="585" y="672"/>
                  </a:lnTo>
                  <a:lnTo>
                    <a:pt x="585" y="675"/>
                  </a:lnTo>
                  <a:lnTo>
                    <a:pt x="585" y="678"/>
                  </a:lnTo>
                  <a:lnTo>
                    <a:pt x="585" y="681"/>
                  </a:lnTo>
                  <a:lnTo>
                    <a:pt x="582" y="685"/>
                  </a:lnTo>
                  <a:lnTo>
                    <a:pt x="582" y="681"/>
                  </a:lnTo>
                  <a:lnTo>
                    <a:pt x="578" y="678"/>
                  </a:lnTo>
                  <a:lnTo>
                    <a:pt x="578" y="681"/>
                  </a:lnTo>
                  <a:lnTo>
                    <a:pt x="575" y="681"/>
                  </a:lnTo>
                  <a:lnTo>
                    <a:pt x="575" y="688"/>
                  </a:lnTo>
                  <a:lnTo>
                    <a:pt x="575" y="691"/>
                  </a:lnTo>
                  <a:lnTo>
                    <a:pt x="571" y="691"/>
                  </a:lnTo>
                  <a:lnTo>
                    <a:pt x="571" y="694"/>
                  </a:lnTo>
                  <a:lnTo>
                    <a:pt x="568" y="697"/>
                  </a:lnTo>
                  <a:lnTo>
                    <a:pt x="571" y="697"/>
                  </a:lnTo>
                  <a:lnTo>
                    <a:pt x="571" y="701"/>
                  </a:lnTo>
                  <a:lnTo>
                    <a:pt x="568" y="707"/>
                  </a:lnTo>
                  <a:lnTo>
                    <a:pt x="564" y="707"/>
                  </a:lnTo>
                  <a:lnTo>
                    <a:pt x="561" y="707"/>
                  </a:lnTo>
                  <a:lnTo>
                    <a:pt x="561" y="701"/>
                  </a:lnTo>
                  <a:lnTo>
                    <a:pt x="564" y="704"/>
                  </a:lnTo>
                  <a:lnTo>
                    <a:pt x="564" y="701"/>
                  </a:lnTo>
                  <a:lnTo>
                    <a:pt x="564" y="701"/>
                  </a:lnTo>
                  <a:lnTo>
                    <a:pt x="561" y="701"/>
                  </a:lnTo>
                  <a:lnTo>
                    <a:pt x="558" y="704"/>
                  </a:lnTo>
                  <a:lnTo>
                    <a:pt x="554" y="701"/>
                  </a:lnTo>
                  <a:lnTo>
                    <a:pt x="554" y="697"/>
                  </a:lnTo>
                  <a:lnTo>
                    <a:pt x="554" y="701"/>
                  </a:lnTo>
                  <a:lnTo>
                    <a:pt x="551" y="704"/>
                  </a:lnTo>
                  <a:lnTo>
                    <a:pt x="551" y="707"/>
                  </a:lnTo>
                  <a:lnTo>
                    <a:pt x="547" y="704"/>
                  </a:lnTo>
                  <a:lnTo>
                    <a:pt x="544" y="710"/>
                  </a:lnTo>
                  <a:lnTo>
                    <a:pt x="544" y="714"/>
                  </a:lnTo>
                  <a:lnTo>
                    <a:pt x="540" y="717"/>
                  </a:lnTo>
                  <a:lnTo>
                    <a:pt x="537" y="717"/>
                  </a:lnTo>
                  <a:lnTo>
                    <a:pt x="537" y="714"/>
                  </a:lnTo>
                  <a:lnTo>
                    <a:pt x="537" y="710"/>
                  </a:lnTo>
                  <a:lnTo>
                    <a:pt x="533" y="714"/>
                  </a:lnTo>
                  <a:lnTo>
                    <a:pt x="530" y="714"/>
                  </a:lnTo>
                  <a:lnTo>
                    <a:pt x="527" y="714"/>
                  </a:lnTo>
                  <a:lnTo>
                    <a:pt x="527" y="714"/>
                  </a:lnTo>
                  <a:lnTo>
                    <a:pt x="527" y="714"/>
                  </a:lnTo>
                  <a:lnTo>
                    <a:pt x="527" y="714"/>
                  </a:lnTo>
                  <a:close/>
                  <a:moveTo>
                    <a:pt x="7" y="455"/>
                  </a:moveTo>
                  <a:lnTo>
                    <a:pt x="11" y="455"/>
                  </a:lnTo>
                  <a:lnTo>
                    <a:pt x="14" y="458"/>
                  </a:lnTo>
                  <a:lnTo>
                    <a:pt x="21" y="465"/>
                  </a:lnTo>
                  <a:lnTo>
                    <a:pt x="21" y="468"/>
                  </a:lnTo>
                  <a:lnTo>
                    <a:pt x="24" y="468"/>
                  </a:lnTo>
                  <a:lnTo>
                    <a:pt x="28" y="468"/>
                  </a:lnTo>
                  <a:lnTo>
                    <a:pt x="31" y="471"/>
                  </a:lnTo>
                  <a:lnTo>
                    <a:pt x="35" y="471"/>
                  </a:lnTo>
                  <a:lnTo>
                    <a:pt x="38" y="471"/>
                  </a:lnTo>
                  <a:lnTo>
                    <a:pt x="38" y="471"/>
                  </a:lnTo>
                  <a:lnTo>
                    <a:pt x="42" y="471"/>
                  </a:lnTo>
                  <a:lnTo>
                    <a:pt x="48" y="471"/>
                  </a:lnTo>
                  <a:lnTo>
                    <a:pt x="48" y="475"/>
                  </a:lnTo>
                  <a:lnTo>
                    <a:pt x="52" y="471"/>
                  </a:lnTo>
                  <a:lnTo>
                    <a:pt x="52" y="475"/>
                  </a:lnTo>
                  <a:lnTo>
                    <a:pt x="59" y="471"/>
                  </a:lnTo>
                  <a:lnTo>
                    <a:pt x="62" y="471"/>
                  </a:lnTo>
                  <a:lnTo>
                    <a:pt x="62" y="471"/>
                  </a:lnTo>
                  <a:lnTo>
                    <a:pt x="66" y="471"/>
                  </a:lnTo>
                  <a:lnTo>
                    <a:pt x="69" y="465"/>
                  </a:lnTo>
                  <a:lnTo>
                    <a:pt x="76" y="465"/>
                  </a:lnTo>
                  <a:lnTo>
                    <a:pt x="76" y="465"/>
                  </a:lnTo>
                  <a:lnTo>
                    <a:pt x="79" y="462"/>
                  </a:lnTo>
                  <a:lnTo>
                    <a:pt x="83" y="462"/>
                  </a:lnTo>
                  <a:lnTo>
                    <a:pt x="86" y="465"/>
                  </a:lnTo>
                  <a:lnTo>
                    <a:pt x="90" y="462"/>
                  </a:lnTo>
                  <a:lnTo>
                    <a:pt x="90" y="462"/>
                  </a:lnTo>
                  <a:lnTo>
                    <a:pt x="93" y="462"/>
                  </a:lnTo>
                  <a:lnTo>
                    <a:pt x="93" y="455"/>
                  </a:lnTo>
                  <a:lnTo>
                    <a:pt x="103" y="452"/>
                  </a:lnTo>
                  <a:lnTo>
                    <a:pt x="107" y="452"/>
                  </a:lnTo>
                  <a:lnTo>
                    <a:pt x="110" y="452"/>
                  </a:lnTo>
                  <a:lnTo>
                    <a:pt x="114" y="452"/>
                  </a:lnTo>
                  <a:lnTo>
                    <a:pt x="124" y="449"/>
                  </a:lnTo>
                  <a:lnTo>
                    <a:pt x="124" y="452"/>
                  </a:lnTo>
                  <a:lnTo>
                    <a:pt x="131" y="449"/>
                  </a:lnTo>
                  <a:lnTo>
                    <a:pt x="134" y="452"/>
                  </a:lnTo>
                  <a:lnTo>
                    <a:pt x="138" y="452"/>
                  </a:lnTo>
                  <a:lnTo>
                    <a:pt x="141" y="449"/>
                  </a:lnTo>
                  <a:lnTo>
                    <a:pt x="141" y="452"/>
                  </a:lnTo>
                  <a:lnTo>
                    <a:pt x="145" y="452"/>
                  </a:lnTo>
                  <a:lnTo>
                    <a:pt x="148" y="452"/>
                  </a:lnTo>
                  <a:lnTo>
                    <a:pt x="148" y="452"/>
                  </a:lnTo>
                  <a:lnTo>
                    <a:pt x="152" y="452"/>
                  </a:lnTo>
                  <a:lnTo>
                    <a:pt x="159" y="452"/>
                  </a:lnTo>
                  <a:lnTo>
                    <a:pt x="159" y="455"/>
                  </a:lnTo>
                  <a:lnTo>
                    <a:pt x="162" y="455"/>
                  </a:lnTo>
                  <a:lnTo>
                    <a:pt x="165" y="452"/>
                  </a:lnTo>
                  <a:lnTo>
                    <a:pt x="169" y="452"/>
                  </a:lnTo>
                  <a:lnTo>
                    <a:pt x="176" y="449"/>
                  </a:lnTo>
                  <a:lnTo>
                    <a:pt x="176" y="446"/>
                  </a:lnTo>
                  <a:lnTo>
                    <a:pt x="179" y="446"/>
                  </a:lnTo>
                  <a:lnTo>
                    <a:pt x="183" y="442"/>
                  </a:lnTo>
                  <a:lnTo>
                    <a:pt x="186" y="436"/>
                  </a:lnTo>
                  <a:lnTo>
                    <a:pt x="189" y="433"/>
                  </a:lnTo>
                  <a:lnTo>
                    <a:pt x="196" y="433"/>
                  </a:lnTo>
                  <a:lnTo>
                    <a:pt x="196" y="433"/>
                  </a:lnTo>
                  <a:lnTo>
                    <a:pt x="207" y="429"/>
                  </a:lnTo>
                  <a:lnTo>
                    <a:pt x="214" y="426"/>
                  </a:lnTo>
                  <a:lnTo>
                    <a:pt x="220" y="420"/>
                  </a:lnTo>
                  <a:lnTo>
                    <a:pt x="224" y="420"/>
                  </a:lnTo>
                  <a:lnTo>
                    <a:pt x="227" y="420"/>
                  </a:lnTo>
                  <a:lnTo>
                    <a:pt x="231" y="420"/>
                  </a:lnTo>
                  <a:lnTo>
                    <a:pt x="238" y="420"/>
                  </a:lnTo>
                  <a:lnTo>
                    <a:pt x="241" y="420"/>
                  </a:lnTo>
                  <a:lnTo>
                    <a:pt x="245" y="420"/>
                  </a:lnTo>
                  <a:lnTo>
                    <a:pt x="251" y="420"/>
                  </a:lnTo>
                  <a:lnTo>
                    <a:pt x="265" y="416"/>
                  </a:lnTo>
                  <a:lnTo>
                    <a:pt x="269" y="416"/>
                  </a:lnTo>
                  <a:lnTo>
                    <a:pt x="275" y="413"/>
                  </a:lnTo>
                  <a:lnTo>
                    <a:pt x="279" y="413"/>
                  </a:lnTo>
                  <a:lnTo>
                    <a:pt x="282" y="410"/>
                  </a:lnTo>
                  <a:lnTo>
                    <a:pt x="293" y="410"/>
                  </a:lnTo>
                  <a:lnTo>
                    <a:pt x="313" y="407"/>
                  </a:lnTo>
                  <a:lnTo>
                    <a:pt x="320" y="410"/>
                  </a:lnTo>
                  <a:lnTo>
                    <a:pt x="324" y="410"/>
                  </a:lnTo>
                  <a:lnTo>
                    <a:pt x="331" y="407"/>
                  </a:lnTo>
                  <a:lnTo>
                    <a:pt x="334" y="407"/>
                  </a:lnTo>
                  <a:lnTo>
                    <a:pt x="341" y="413"/>
                  </a:lnTo>
                  <a:lnTo>
                    <a:pt x="344" y="420"/>
                  </a:lnTo>
                  <a:lnTo>
                    <a:pt x="348" y="420"/>
                  </a:lnTo>
                  <a:lnTo>
                    <a:pt x="351" y="420"/>
                  </a:lnTo>
                  <a:lnTo>
                    <a:pt x="355" y="420"/>
                  </a:lnTo>
                  <a:lnTo>
                    <a:pt x="355" y="420"/>
                  </a:lnTo>
                  <a:lnTo>
                    <a:pt x="358" y="420"/>
                  </a:lnTo>
                  <a:lnTo>
                    <a:pt x="361" y="420"/>
                  </a:lnTo>
                  <a:lnTo>
                    <a:pt x="365" y="423"/>
                  </a:lnTo>
                  <a:lnTo>
                    <a:pt x="368" y="426"/>
                  </a:lnTo>
                  <a:lnTo>
                    <a:pt x="372" y="423"/>
                  </a:lnTo>
                  <a:lnTo>
                    <a:pt x="379" y="429"/>
                  </a:lnTo>
                  <a:lnTo>
                    <a:pt x="379" y="433"/>
                  </a:lnTo>
                  <a:lnTo>
                    <a:pt x="382" y="433"/>
                  </a:lnTo>
                  <a:lnTo>
                    <a:pt x="386" y="436"/>
                  </a:lnTo>
                  <a:lnTo>
                    <a:pt x="386" y="436"/>
                  </a:lnTo>
                  <a:lnTo>
                    <a:pt x="382" y="436"/>
                  </a:lnTo>
                  <a:lnTo>
                    <a:pt x="379" y="439"/>
                  </a:lnTo>
                  <a:lnTo>
                    <a:pt x="382" y="446"/>
                  </a:lnTo>
                  <a:lnTo>
                    <a:pt x="386" y="446"/>
                  </a:lnTo>
                  <a:lnTo>
                    <a:pt x="392" y="449"/>
                  </a:lnTo>
                  <a:lnTo>
                    <a:pt x="392" y="455"/>
                  </a:lnTo>
                  <a:lnTo>
                    <a:pt x="392" y="458"/>
                  </a:lnTo>
                  <a:lnTo>
                    <a:pt x="396" y="465"/>
                  </a:lnTo>
                  <a:lnTo>
                    <a:pt x="396" y="468"/>
                  </a:lnTo>
                  <a:lnTo>
                    <a:pt x="396" y="471"/>
                  </a:lnTo>
                  <a:lnTo>
                    <a:pt x="396" y="475"/>
                  </a:lnTo>
                  <a:lnTo>
                    <a:pt x="392" y="478"/>
                  </a:lnTo>
                  <a:lnTo>
                    <a:pt x="392" y="478"/>
                  </a:lnTo>
                  <a:lnTo>
                    <a:pt x="389" y="478"/>
                  </a:lnTo>
                  <a:lnTo>
                    <a:pt x="392" y="481"/>
                  </a:lnTo>
                  <a:lnTo>
                    <a:pt x="396" y="481"/>
                  </a:lnTo>
                  <a:lnTo>
                    <a:pt x="399" y="484"/>
                  </a:lnTo>
                  <a:lnTo>
                    <a:pt x="399" y="484"/>
                  </a:lnTo>
                  <a:lnTo>
                    <a:pt x="403" y="488"/>
                  </a:lnTo>
                  <a:lnTo>
                    <a:pt x="403" y="484"/>
                  </a:lnTo>
                  <a:lnTo>
                    <a:pt x="403" y="481"/>
                  </a:lnTo>
                  <a:lnTo>
                    <a:pt x="406" y="478"/>
                  </a:lnTo>
                  <a:lnTo>
                    <a:pt x="406" y="475"/>
                  </a:lnTo>
                  <a:lnTo>
                    <a:pt x="410" y="475"/>
                  </a:lnTo>
                  <a:lnTo>
                    <a:pt x="413" y="471"/>
                  </a:lnTo>
                  <a:lnTo>
                    <a:pt x="413" y="471"/>
                  </a:lnTo>
                  <a:lnTo>
                    <a:pt x="417" y="468"/>
                  </a:lnTo>
                  <a:lnTo>
                    <a:pt x="420" y="465"/>
                  </a:lnTo>
                  <a:lnTo>
                    <a:pt x="427" y="462"/>
                  </a:lnTo>
                  <a:lnTo>
                    <a:pt x="427" y="458"/>
                  </a:lnTo>
                  <a:lnTo>
                    <a:pt x="430" y="458"/>
                  </a:lnTo>
                  <a:lnTo>
                    <a:pt x="437" y="455"/>
                  </a:lnTo>
                  <a:lnTo>
                    <a:pt x="437" y="452"/>
                  </a:lnTo>
                  <a:lnTo>
                    <a:pt x="444" y="446"/>
                  </a:lnTo>
                  <a:lnTo>
                    <a:pt x="447" y="446"/>
                  </a:lnTo>
                  <a:lnTo>
                    <a:pt x="451" y="442"/>
                  </a:lnTo>
                  <a:lnTo>
                    <a:pt x="451" y="439"/>
                  </a:lnTo>
                  <a:lnTo>
                    <a:pt x="451" y="433"/>
                  </a:lnTo>
                  <a:lnTo>
                    <a:pt x="454" y="439"/>
                  </a:lnTo>
                  <a:lnTo>
                    <a:pt x="454" y="442"/>
                  </a:lnTo>
                  <a:lnTo>
                    <a:pt x="454" y="446"/>
                  </a:lnTo>
                  <a:lnTo>
                    <a:pt x="451" y="449"/>
                  </a:lnTo>
                  <a:lnTo>
                    <a:pt x="451" y="458"/>
                  </a:lnTo>
                  <a:lnTo>
                    <a:pt x="441" y="462"/>
                  </a:lnTo>
                  <a:lnTo>
                    <a:pt x="441" y="465"/>
                  </a:lnTo>
                  <a:lnTo>
                    <a:pt x="437" y="468"/>
                  </a:lnTo>
                  <a:lnTo>
                    <a:pt x="437" y="471"/>
                  </a:lnTo>
                  <a:lnTo>
                    <a:pt x="434" y="478"/>
                  </a:lnTo>
                  <a:lnTo>
                    <a:pt x="434" y="481"/>
                  </a:lnTo>
                  <a:lnTo>
                    <a:pt x="430" y="488"/>
                  </a:lnTo>
                  <a:lnTo>
                    <a:pt x="423" y="488"/>
                  </a:lnTo>
                  <a:lnTo>
                    <a:pt x="420" y="491"/>
                  </a:lnTo>
                  <a:lnTo>
                    <a:pt x="417" y="494"/>
                  </a:lnTo>
                  <a:lnTo>
                    <a:pt x="417" y="497"/>
                  </a:lnTo>
                  <a:lnTo>
                    <a:pt x="423" y="494"/>
                  </a:lnTo>
                  <a:lnTo>
                    <a:pt x="430" y="491"/>
                  </a:lnTo>
                  <a:lnTo>
                    <a:pt x="437" y="494"/>
                  </a:lnTo>
                  <a:lnTo>
                    <a:pt x="444" y="484"/>
                  </a:lnTo>
                  <a:lnTo>
                    <a:pt x="444" y="478"/>
                  </a:lnTo>
                  <a:lnTo>
                    <a:pt x="451" y="471"/>
                  </a:lnTo>
                  <a:lnTo>
                    <a:pt x="451" y="475"/>
                  </a:lnTo>
                  <a:lnTo>
                    <a:pt x="451" y="481"/>
                  </a:lnTo>
                  <a:lnTo>
                    <a:pt x="454" y="484"/>
                  </a:lnTo>
                  <a:lnTo>
                    <a:pt x="451" y="488"/>
                  </a:lnTo>
                  <a:lnTo>
                    <a:pt x="451" y="494"/>
                  </a:lnTo>
                  <a:lnTo>
                    <a:pt x="447" y="500"/>
                  </a:lnTo>
                  <a:lnTo>
                    <a:pt x="441" y="504"/>
                  </a:lnTo>
                  <a:lnTo>
                    <a:pt x="441" y="507"/>
                  </a:lnTo>
                  <a:lnTo>
                    <a:pt x="447" y="504"/>
                  </a:lnTo>
                  <a:lnTo>
                    <a:pt x="451" y="504"/>
                  </a:lnTo>
                  <a:lnTo>
                    <a:pt x="454" y="504"/>
                  </a:lnTo>
                  <a:lnTo>
                    <a:pt x="458" y="504"/>
                  </a:lnTo>
                  <a:lnTo>
                    <a:pt x="461" y="500"/>
                  </a:lnTo>
                  <a:lnTo>
                    <a:pt x="465" y="500"/>
                  </a:lnTo>
                  <a:lnTo>
                    <a:pt x="468" y="500"/>
                  </a:lnTo>
                  <a:lnTo>
                    <a:pt x="465" y="504"/>
                  </a:lnTo>
                  <a:lnTo>
                    <a:pt x="461" y="507"/>
                  </a:lnTo>
                  <a:lnTo>
                    <a:pt x="458" y="507"/>
                  </a:lnTo>
                  <a:lnTo>
                    <a:pt x="458" y="507"/>
                  </a:lnTo>
                  <a:lnTo>
                    <a:pt x="461" y="510"/>
                  </a:lnTo>
                  <a:lnTo>
                    <a:pt x="465" y="517"/>
                  </a:lnTo>
                  <a:lnTo>
                    <a:pt x="465" y="520"/>
                  </a:lnTo>
                  <a:lnTo>
                    <a:pt x="465" y="526"/>
                  </a:lnTo>
                  <a:lnTo>
                    <a:pt x="465" y="533"/>
                  </a:lnTo>
                  <a:lnTo>
                    <a:pt x="461" y="539"/>
                  </a:lnTo>
                  <a:lnTo>
                    <a:pt x="461" y="539"/>
                  </a:lnTo>
                  <a:lnTo>
                    <a:pt x="461" y="546"/>
                  </a:lnTo>
                  <a:lnTo>
                    <a:pt x="465" y="549"/>
                  </a:lnTo>
                  <a:lnTo>
                    <a:pt x="468" y="552"/>
                  </a:lnTo>
                  <a:lnTo>
                    <a:pt x="468" y="559"/>
                  </a:lnTo>
                  <a:lnTo>
                    <a:pt x="475" y="565"/>
                  </a:lnTo>
                  <a:lnTo>
                    <a:pt x="478" y="568"/>
                  </a:lnTo>
                  <a:lnTo>
                    <a:pt x="482" y="568"/>
                  </a:lnTo>
                  <a:lnTo>
                    <a:pt x="485" y="575"/>
                  </a:lnTo>
                  <a:lnTo>
                    <a:pt x="489" y="575"/>
                  </a:lnTo>
                  <a:lnTo>
                    <a:pt x="489" y="572"/>
                  </a:lnTo>
                  <a:lnTo>
                    <a:pt x="492" y="572"/>
                  </a:lnTo>
                  <a:lnTo>
                    <a:pt x="499" y="572"/>
                  </a:lnTo>
                  <a:lnTo>
                    <a:pt x="503" y="578"/>
                  </a:lnTo>
                  <a:lnTo>
                    <a:pt x="506" y="578"/>
                  </a:lnTo>
                  <a:lnTo>
                    <a:pt x="509" y="581"/>
                  </a:lnTo>
                  <a:lnTo>
                    <a:pt x="513" y="584"/>
                  </a:lnTo>
                  <a:lnTo>
                    <a:pt x="516" y="584"/>
                  </a:lnTo>
                  <a:lnTo>
                    <a:pt x="520" y="591"/>
                  </a:lnTo>
                  <a:lnTo>
                    <a:pt x="523" y="591"/>
                  </a:lnTo>
                  <a:lnTo>
                    <a:pt x="523" y="588"/>
                  </a:lnTo>
                  <a:lnTo>
                    <a:pt x="530" y="584"/>
                  </a:lnTo>
                  <a:lnTo>
                    <a:pt x="533" y="581"/>
                  </a:lnTo>
                  <a:lnTo>
                    <a:pt x="537" y="581"/>
                  </a:lnTo>
                  <a:lnTo>
                    <a:pt x="544" y="578"/>
                  </a:lnTo>
                  <a:lnTo>
                    <a:pt x="547" y="578"/>
                  </a:lnTo>
                  <a:lnTo>
                    <a:pt x="547" y="578"/>
                  </a:lnTo>
                  <a:lnTo>
                    <a:pt x="547" y="575"/>
                  </a:lnTo>
                  <a:lnTo>
                    <a:pt x="544" y="575"/>
                  </a:lnTo>
                  <a:lnTo>
                    <a:pt x="544" y="572"/>
                  </a:lnTo>
                  <a:lnTo>
                    <a:pt x="551" y="568"/>
                  </a:lnTo>
                  <a:lnTo>
                    <a:pt x="558" y="572"/>
                  </a:lnTo>
                  <a:lnTo>
                    <a:pt x="558" y="575"/>
                  </a:lnTo>
                  <a:lnTo>
                    <a:pt x="551" y="578"/>
                  </a:lnTo>
                  <a:lnTo>
                    <a:pt x="551" y="581"/>
                  </a:lnTo>
                  <a:lnTo>
                    <a:pt x="554" y="581"/>
                  </a:lnTo>
                  <a:lnTo>
                    <a:pt x="558" y="578"/>
                  </a:lnTo>
                  <a:lnTo>
                    <a:pt x="561" y="578"/>
                  </a:lnTo>
                  <a:lnTo>
                    <a:pt x="564" y="578"/>
                  </a:lnTo>
                  <a:lnTo>
                    <a:pt x="564" y="581"/>
                  </a:lnTo>
                  <a:lnTo>
                    <a:pt x="561" y="581"/>
                  </a:lnTo>
                  <a:lnTo>
                    <a:pt x="558" y="584"/>
                  </a:lnTo>
                  <a:lnTo>
                    <a:pt x="564" y="591"/>
                  </a:lnTo>
                  <a:lnTo>
                    <a:pt x="564" y="594"/>
                  </a:lnTo>
                  <a:lnTo>
                    <a:pt x="568" y="594"/>
                  </a:lnTo>
                  <a:lnTo>
                    <a:pt x="568" y="594"/>
                  </a:lnTo>
                  <a:lnTo>
                    <a:pt x="571" y="597"/>
                  </a:lnTo>
                  <a:lnTo>
                    <a:pt x="571" y="601"/>
                  </a:lnTo>
                  <a:lnTo>
                    <a:pt x="575" y="597"/>
                  </a:lnTo>
                  <a:lnTo>
                    <a:pt x="575" y="594"/>
                  </a:lnTo>
                  <a:lnTo>
                    <a:pt x="571" y="594"/>
                  </a:lnTo>
                  <a:lnTo>
                    <a:pt x="571" y="594"/>
                  </a:lnTo>
                  <a:lnTo>
                    <a:pt x="575" y="591"/>
                  </a:lnTo>
                  <a:lnTo>
                    <a:pt x="582" y="591"/>
                  </a:lnTo>
                  <a:lnTo>
                    <a:pt x="585" y="594"/>
                  </a:lnTo>
                  <a:lnTo>
                    <a:pt x="585" y="591"/>
                  </a:lnTo>
                  <a:lnTo>
                    <a:pt x="592" y="584"/>
                  </a:lnTo>
                  <a:lnTo>
                    <a:pt x="599" y="581"/>
                  </a:lnTo>
                  <a:lnTo>
                    <a:pt x="606" y="575"/>
                  </a:lnTo>
                  <a:lnTo>
                    <a:pt x="602" y="575"/>
                  </a:lnTo>
                  <a:lnTo>
                    <a:pt x="602" y="578"/>
                  </a:lnTo>
                  <a:lnTo>
                    <a:pt x="602" y="575"/>
                  </a:lnTo>
                  <a:lnTo>
                    <a:pt x="599" y="575"/>
                  </a:lnTo>
                  <a:lnTo>
                    <a:pt x="602" y="575"/>
                  </a:lnTo>
                  <a:lnTo>
                    <a:pt x="606" y="575"/>
                  </a:lnTo>
                  <a:lnTo>
                    <a:pt x="613" y="575"/>
                  </a:lnTo>
                  <a:lnTo>
                    <a:pt x="630" y="572"/>
                  </a:lnTo>
                  <a:lnTo>
                    <a:pt x="640" y="572"/>
                  </a:lnTo>
                  <a:lnTo>
                    <a:pt x="647" y="572"/>
                  </a:lnTo>
                  <a:lnTo>
                    <a:pt x="647" y="568"/>
                  </a:lnTo>
                  <a:lnTo>
                    <a:pt x="650" y="568"/>
                  </a:lnTo>
                  <a:lnTo>
                    <a:pt x="654" y="565"/>
                  </a:lnTo>
                  <a:lnTo>
                    <a:pt x="657" y="559"/>
                  </a:lnTo>
                  <a:lnTo>
                    <a:pt x="654" y="552"/>
                  </a:lnTo>
                  <a:lnTo>
                    <a:pt x="654" y="549"/>
                  </a:lnTo>
                  <a:lnTo>
                    <a:pt x="661" y="542"/>
                  </a:lnTo>
                  <a:lnTo>
                    <a:pt x="661" y="533"/>
                  </a:lnTo>
                  <a:lnTo>
                    <a:pt x="664" y="530"/>
                  </a:lnTo>
                  <a:lnTo>
                    <a:pt x="668" y="523"/>
                  </a:lnTo>
                  <a:lnTo>
                    <a:pt x="671" y="523"/>
                  </a:lnTo>
                  <a:lnTo>
                    <a:pt x="671" y="520"/>
                  </a:lnTo>
                  <a:lnTo>
                    <a:pt x="681" y="507"/>
                  </a:lnTo>
                  <a:lnTo>
                    <a:pt x="685" y="507"/>
                  </a:lnTo>
                  <a:lnTo>
                    <a:pt x="685" y="500"/>
                  </a:lnTo>
                  <a:lnTo>
                    <a:pt x="692" y="494"/>
                  </a:lnTo>
                  <a:lnTo>
                    <a:pt x="695" y="488"/>
                  </a:lnTo>
                  <a:lnTo>
                    <a:pt x="699" y="484"/>
                  </a:lnTo>
                  <a:lnTo>
                    <a:pt x="699" y="481"/>
                  </a:lnTo>
                  <a:lnTo>
                    <a:pt x="702" y="478"/>
                  </a:lnTo>
                  <a:lnTo>
                    <a:pt x="705" y="471"/>
                  </a:lnTo>
                  <a:lnTo>
                    <a:pt x="702" y="471"/>
                  </a:lnTo>
                  <a:lnTo>
                    <a:pt x="709" y="468"/>
                  </a:lnTo>
                  <a:lnTo>
                    <a:pt x="712" y="462"/>
                  </a:lnTo>
                  <a:lnTo>
                    <a:pt x="716" y="462"/>
                  </a:lnTo>
                  <a:lnTo>
                    <a:pt x="719" y="455"/>
                  </a:lnTo>
                  <a:lnTo>
                    <a:pt x="723" y="452"/>
                  </a:lnTo>
                  <a:lnTo>
                    <a:pt x="726" y="452"/>
                  </a:lnTo>
                  <a:lnTo>
                    <a:pt x="723" y="452"/>
                  </a:lnTo>
                  <a:lnTo>
                    <a:pt x="723" y="449"/>
                  </a:lnTo>
                  <a:lnTo>
                    <a:pt x="730" y="449"/>
                  </a:lnTo>
                  <a:lnTo>
                    <a:pt x="736" y="446"/>
                  </a:lnTo>
                  <a:lnTo>
                    <a:pt x="736" y="442"/>
                  </a:lnTo>
                  <a:lnTo>
                    <a:pt x="736" y="439"/>
                  </a:lnTo>
                  <a:lnTo>
                    <a:pt x="736" y="436"/>
                  </a:lnTo>
                  <a:lnTo>
                    <a:pt x="743" y="433"/>
                  </a:lnTo>
                  <a:lnTo>
                    <a:pt x="743" y="429"/>
                  </a:lnTo>
                  <a:lnTo>
                    <a:pt x="747" y="429"/>
                  </a:lnTo>
                  <a:lnTo>
                    <a:pt x="754" y="423"/>
                  </a:lnTo>
                  <a:lnTo>
                    <a:pt x="750" y="420"/>
                  </a:lnTo>
                  <a:lnTo>
                    <a:pt x="754" y="413"/>
                  </a:lnTo>
                  <a:lnTo>
                    <a:pt x="754" y="413"/>
                  </a:lnTo>
                  <a:lnTo>
                    <a:pt x="754" y="410"/>
                  </a:lnTo>
                  <a:lnTo>
                    <a:pt x="757" y="400"/>
                  </a:lnTo>
                  <a:lnTo>
                    <a:pt x="761" y="394"/>
                  </a:lnTo>
                  <a:lnTo>
                    <a:pt x="767" y="381"/>
                  </a:lnTo>
                  <a:lnTo>
                    <a:pt x="767" y="378"/>
                  </a:lnTo>
                  <a:lnTo>
                    <a:pt x="771" y="371"/>
                  </a:lnTo>
                  <a:lnTo>
                    <a:pt x="774" y="368"/>
                  </a:lnTo>
                  <a:lnTo>
                    <a:pt x="778" y="362"/>
                  </a:lnTo>
                  <a:lnTo>
                    <a:pt x="774" y="358"/>
                  </a:lnTo>
                  <a:lnTo>
                    <a:pt x="778" y="355"/>
                  </a:lnTo>
                  <a:lnTo>
                    <a:pt x="774" y="345"/>
                  </a:lnTo>
                  <a:lnTo>
                    <a:pt x="778" y="342"/>
                  </a:lnTo>
                  <a:lnTo>
                    <a:pt x="774" y="336"/>
                  </a:lnTo>
                  <a:lnTo>
                    <a:pt x="771" y="336"/>
                  </a:lnTo>
                  <a:lnTo>
                    <a:pt x="771" y="332"/>
                  </a:lnTo>
                  <a:lnTo>
                    <a:pt x="774" y="329"/>
                  </a:lnTo>
                  <a:lnTo>
                    <a:pt x="774" y="326"/>
                  </a:lnTo>
                  <a:lnTo>
                    <a:pt x="778" y="320"/>
                  </a:lnTo>
                  <a:lnTo>
                    <a:pt x="778" y="320"/>
                  </a:lnTo>
                  <a:lnTo>
                    <a:pt x="778" y="310"/>
                  </a:lnTo>
                  <a:lnTo>
                    <a:pt x="778" y="307"/>
                  </a:lnTo>
                  <a:lnTo>
                    <a:pt x="778" y="303"/>
                  </a:lnTo>
                  <a:lnTo>
                    <a:pt x="774" y="300"/>
                  </a:lnTo>
                  <a:lnTo>
                    <a:pt x="778" y="294"/>
                  </a:lnTo>
                  <a:lnTo>
                    <a:pt x="774" y="294"/>
                  </a:lnTo>
                  <a:lnTo>
                    <a:pt x="778" y="290"/>
                  </a:lnTo>
                  <a:lnTo>
                    <a:pt x="774" y="290"/>
                  </a:lnTo>
                  <a:lnTo>
                    <a:pt x="771" y="287"/>
                  </a:lnTo>
                  <a:lnTo>
                    <a:pt x="771" y="284"/>
                  </a:lnTo>
                  <a:lnTo>
                    <a:pt x="767" y="281"/>
                  </a:lnTo>
                  <a:lnTo>
                    <a:pt x="764" y="274"/>
                  </a:lnTo>
                  <a:lnTo>
                    <a:pt x="764" y="271"/>
                  </a:lnTo>
                  <a:lnTo>
                    <a:pt x="761" y="265"/>
                  </a:lnTo>
                  <a:lnTo>
                    <a:pt x="757" y="265"/>
                  </a:lnTo>
                  <a:lnTo>
                    <a:pt x="754" y="268"/>
                  </a:lnTo>
                  <a:lnTo>
                    <a:pt x="754" y="265"/>
                  </a:lnTo>
                  <a:lnTo>
                    <a:pt x="750" y="261"/>
                  </a:lnTo>
                  <a:lnTo>
                    <a:pt x="750" y="261"/>
                  </a:lnTo>
                  <a:lnTo>
                    <a:pt x="750" y="258"/>
                  </a:lnTo>
                  <a:lnTo>
                    <a:pt x="743" y="255"/>
                  </a:lnTo>
                  <a:lnTo>
                    <a:pt x="743" y="252"/>
                  </a:lnTo>
                  <a:lnTo>
                    <a:pt x="743" y="248"/>
                  </a:lnTo>
                  <a:lnTo>
                    <a:pt x="740" y="245"/>
                  </a:lnTo>
                  <a:lnTo>
                    <a:pt x="743" y="242"/>
                  </a:lnTo>
                  <a:lnTo>
                    <a:pt x="747" y="236"/>
                  </a:lnTo>
                  <a:lnTo>
                    <a:pt x="743" y="236"/>
                  </a:lnTo>
                  <a:lnTo>
                    <a:pt x="743" y="232"/>
                  </a:lnTo>
                  <a:lnTo>
                    <a:pt x="743" y="229"/>
                  </a:lnTo>
                  <a:lnTo>
                    <a:pt x="740" y="232"/>
                  </a:lnTo>
                  <a:lnTo>
                    <a:pt x="743" y="232"/>
                  </a:lnTo>
                  <a:lnTo>
                    <a:pt x="740" y="236"/>
                  </a:lnTo>
                  <a:lnTo>
                    <a:pt x="733" y="229"/>
                  </a:lnTo>
                  <a:lnTo>
                    <a:pt x="730" y="226"/>
                  </a:lnTo>
                  <a:lnTo>
                    <a:pt x="730" y="226"/>
                  </a:lnTo>
                  <a:lnTo>
                    <a:pt x="730" y="229"/>
                  </a:lnTo>
                  <a:lnTo>
                    <a:pt x="726" y="229"/>
                  </a:lnTo>
                  <a:lnTo>
                    <a:pt x="730" y="236"/>
                  </a:lnTo>
                  <a:lnTo>
                    <a:pt x="726" y="232"/>
                  </a:lnTo>
                  <a:lnTo>
                    <a:pt x="723" y="232"/>
                  </a:lnTo>
                  <a:lnTo>
                    <a:pt x="723" y="229"/>
                  </a:lnTo>
                  <a:lnTo>
                    <a:pt x="723" y="226"/>
                  </a:lnTo>
                  <a:lnTo>
                    <a:pt x="723" y="219"/>
                  </a:lnTo>
                  <a:lnTo>
                    <a:pt x="723" y="216"/>
                  </a:lnTo>
                  <a:lnTo>
                    <a:pt x="723" y="216"/>
                  </a:lnTo>
                  <a:lnTo>
                    <a:pt x="719" y="213"/>
                  </a:lnTo>
                  <a:lnTo>
                    <a:pt x="719" y="210"/>
                  </a:lnTo>
                  <a:lnTo>
                    <a:pt x="716" y="206"/>
                  </a:lnTo>
                  <a:lnTo>
                    <a:pt x="719" y="206"/>
                  </a:lnTo>
                  <a:lnTo>
                    <a:pt x="712" y="200"/>
                  </a:lnTo>
                  <a:lnTo>
                    <a:pt x="709" y="197"/>
                  </a:lnTo>
                  <a:lnTo>
                    <a:pt x="709" y="194"/>
                  </a:lnTo>
                  <a:lnTo>
                    <a:pt x="712" y="194"/>
                  </a:lnTo>
                  <a:lnTo>
                    <a:pt x="712" y="190"/>
                  </a:lnTo>
                  <a:lnTo>
                    <a:pt x="709" y="187"/>
                  </a:lnTo>
                  <a:lnTo>
                    <a:pt x="709" y="187"/>
                  </a:lnTo>
                  <a:lnTo>
                    <a:pt x="705" y="187"/>
                  </a:lnTo>
                  <a:lnTo>
                    <a:pt x="702" y="181"/>
                  </a:lnTo>
                  <a:lnTo>
                    <a:pt x="699" y="181"/>
                  </a:lnTo>
                  <a:lnTo>
                    <a:pt x="695" y="181"/>
                  </a:lnTo>
                  <a:lnTo>
                    <a:pt x="692" y="181"/>
                  </a:lnTo>
                  <a:lnTo>
                    <a:pt x="692" y="181"/>
                  </a:lnTo>
                  <a:lnTo>
                    <a:pt x="688" y="177"/>
                  </a:lnTo>
                  <a:lnTo>
                    <a:pt x="685" y="181"/>
                  </a:lnTo>
                  <a:lnTo>
                    <a:pt x="688" y="177"/>
                  </a:lnTo>
                  <a:lnTo>
                    <a:pt x="692" y="177"/>
                  </a:lnTo>
                  <a:lnTo>
                    <a:pt x="692" y="174"/>
                  </a:lnTo>
                  <a:lnTo>
                    <a:pt x="688" y="171"/>
                  </a:lnTo>
                  <a:lnTo>
                    <a:pt x="685" y="171"/>
                  </a:lnTo>
                  <a:lnTo>
                    <a:pt x="681" y="171"/>
                  </a:lnTo>
                  <a:lnTo>
                    <a:pt x="681" y="171"/>
                  </a:lnTo>
                  <a:lnTo>
                    <a:pt x="678" y="171"/>
                  </a:lnTo>
                  <a:lnTo>
                    <a:pt x="671" y="168"/>
                  </a:lnTo>
                  <a:lnTo>
                    <a:pt x="668" y="161"/>
                  </a:lnTo>
                  <a:lnTo>
                    <a:pt x="668" y="155"/>
                  </a:lnTo>
                  <a:lnTo>
                    <a:pt x="664" y="152"/>
                  </a:lnTo>
                  <a:lnTo>
                    <a:pt x="664" y="148"/>
                  </a:lnTo>
                  <a:lnTo>
                    <a:pt x="668" y="148"/>
                  </a:lnTo>
                  <a:lnTo>
                    <a:pt x="668" y="142"/>
                  </a:lnTo>
                  <a:lnTo>
                    <a:pt x="664" y="132"/>
                  </a:lnTo>
                  <a:lnTo>
                    <a:pt x="664" y="129"/>
                  </a:lnTo>
                  <a:lnTo>
                    <a:pt x="664" y="126"/>
                  </a:lnTo>
                  <a:lnTo>
                    <a:pt x="664" y="126"/>
                  </a:lnTo>
                  <a:lnTo>
                    <a:pt x="661" y="126"/>
                  </a:lnTo>
                  <a:lnTo>
                    <a:pt x="657" y="119"/>
                  </a:lnTo>
                  <a:lnTo>
                    <a:pt x="657" y="110"/>
                  </a:lnTo>
                  <a:lnTo>
                    <a:pt x="657" y="110"/>
                  </a:lnTo>
                  <a:lnTo>
                    <a:pt x="657" y="106"/>
                  </a:lnTo>
                  <a:lnTo>
                    <a:pt x="657" y="106"/>
                  </a:lnTo>
                  <a:lnTo>
                    <a:pt x="654" y="97"/>
                  </a:lnTo>
                  <a:lnTo>
                    <a:pt x="657" y="93"/>
                  </a:lnTo>
                  <a:lnTo>
                    <a:pt x="654" y="90"/>
                  </a:lnTo>
                  <a:lnTo>
                    <a:pt x="657" y="87"/>
                  </a:lnTo>
                  <a:lnTo>
                    <a:pt x="657" y="87"/>
                  </a:lnTo>
                  <a:lnTo>
                    <a:pt x="650" y="80"/>
                  </a:lnTo>
                  <a:lnTo>
                    <a:pt x="647" y="77"/>
                  </a:lnTo>
                  <a:lnTo>
                    <a:pt x="647" y="77"/>
                  </a:lnTo>
                  <a:lnTo>
                    <a:pt x="644" y="74"/>
                  </a:lnTo>
                  <a:lnTo>
                    <a:pt x="640" y="74"/>
                  </a:lnTo>
                  <a:lnTo>
                    <a:pt x="637" y="74"/>
                  </a:lnTo>
                  <a:lnTo>
                    <a:pt x="633" y="77"/>
                  </a:lnTo>
                  <a:lnTo>
                    <a:pt x="633" y="77"/>
                  </a:lnTo>
                  <a:lnTo>
                    <a:pt x="626" y="74"/>
                  </a:lnTo>
                  <a:lnTo>
                    <a:pt x="630" y="71"/>
                  </a:lnTo>
                  <a:lnTo>
                    <a:pt x="626" y="64"/>
                  </a:lnTo>
                  <a:lnTo>
                    <a:pt x="626" y="61"/>
                  </a:lnTo>
                  <a:lnTo>
                    <a:pt x="626" y="51"/>
                  </a:lnTo>
                  <a:lnTo>
                    <a:pt x="626" y="51"/>
                  </a:lnTo>
                  <a:lnTo>
                    <a:pt x="623" y="51"/>
                  </a:lnTo>
                  <a:lnTo>
                    <a:pt x="626" y="48"/>
                  </a:lnTo>
                  <a:lnTo>
                    <a:pt x="623" y="45"/>
                  </a:lnTo>
                  <a:lnTo>
                    <a:pt x="623" y="42"/>
                  </a:lnTo>
                  <a:lnTo>
                    <a:pt x="619" y="38"/>
                  </a:lnTo>
                  <a:lnTo>
                    <a:pt x="619" y="35"/>
                  </a:lnTo>
                  <a:lnTo>
                    <a:pt x="623" y="35"/>
                  </a:lnTo>
                  <a:lnTo>
                    <a:pt x="619" y="32"/>
                  </a:lnTo>
                  <a:lnTo>
                    <a:pt x="616" y="32"/>
                  </a:lnTo>
                  <a:lnTo>
                    <a:pt x="613" y="32"/>
                  </a:lnTo>
                  <a:lnTo>
                    <a:pt x="616" y="22"/>
                  </a:lnTo>
                  <a:lnTo>
                    <a:pt x="613" y="22"/>
                  </a:lnTo>
                  <a:lnTo>
                    <a:pt x="613" y="16"/>
                  </a:lnTo>
                  <a:lnTo>
                    <a:pt x="609" y="16"/>
                  </a:lnTo>
                  <a:lnTo>
                    <a:pt x="609" y="13"/>
                  </a:lnTo>
                  <a:lnTo>
                    <a:pt x="606" y="16"/>
                  </a:lnTo>
                  <a:lnTo>
                    <a:pt x="602" y="19"/>
                  </a:lnTo>
                  <a:lnTo>
                    <a:pt x="602" y="26"/>
                  </a:lnTo>
                  <a:lnTo>
                    <a:pt x="599" y="29"/>
                  </a:lnTo>
                  <a:lnTo>
                    <a:pt x="599" y="29"/>
                  </a:lnTo>
                  <a:lnTo>
                    <a:pt x="599" y="35"/>
                  </a:lnTo>
                  <a:lnTo>
                    <a:pt x="599" y="32"/>
                  </a:lnTo>
                  <a:lnTo>
                    <a:pt x="595" y="38"/>
                  </a:lnTo>
                  <a:lnTo>
                    <a:pt x="592" y="42"/>
                  </a:lnTo>
                  <a:lnTo>
                    <a:pt x="595" y="45"/>
                  </a:lnTo>
                  <a:lnTo>
                    <a:pt x="599" y="48"/>
                  </a:lnTo>
                  <a:lnTo>
                    <a:pt x="595" y="48"/>
                  </a:lnTo>
                  <a:lnTo>
                    <a:pt x="592" y="48"/>
                  </a:lnTo>
                  <a:lnTo>
                    <a:pt x="592" y="51"/>
                  </a:lnTo>
                  <a:lnTo>
                    <a:pt x="589" y="55"/>
                  </a:lnTo>
                  <a:lnTo>
                    <a:pt x="592" y="58"/>
                  </a:lnTo>
                  <a:lnTo>
                    <a:pt x="592" y="61"/>
                  </a:lnTo>
                  <a:lnTo>
                    <a:pt x="589" y="61"/>
                  </a:lnTo>
                  <a:lnTo>
                    <a:pt x="589" y="61"/>
                  </a:lnTo>
                  <a:lnTo>
                    <a:pt x="585" y="71"/>
                  </a:lnTo>
                  <a:lnTo>
                    <a:pt x="589" y="74"/>
                  </a:lnTo>
                  <a:lnTo>
                    <a:pt x="585" y="80"/>
                  </a:lnTo>
                  <a:lnTo>
                    <a:pt x="589" y="87"/>
                  </a:lnTo>
                  <a:lnTo>
                    <a:pt x="589" y="90"/>
                  </a:lnTo>
                  <a:lnTo>
                    <a:pt x="585" y="93"/>
                  </a:lnTo>
                  <a:lnTo>
                    <a:pt x="585" y="97"/>
                  </a:lnTo>
                  <a:lnTo>
                    <a:pt x="582" y="103"/>
                  </a:lnTo>
                  <a:lnTo>
                    <a:pt x="578" y="113"/>
                  </a:lnTo>
                  <a:lnTo>
                    <a:pt x="575" y="116"/>
                  </a:lnTo>
                  <a:lnTo>
                    <a:pt x="578" y="119"/>
                  </a:lnTo>
                  <a:lnTo>
                    <a:pt x="575" y="122"/>
                  </a:lnTo>
                  <a:lnTo>
                    <a:pt x="571" y="126"/>
                  </a:lnTo>
                  <a:lnTo>
                    <a:pt x="571" y="132"/>
                  </a:lnTo>
                  <a:lnTo>
                    <a:pt x="564" y="135"/>
                  </a:lnTo>
                  <a:lnTo>
                    <a:pt x="554" y="142"/>
                  </a:lnTo>
                  <a:lnTo>
                    <a:pt x="547" y="139"/>
                  </a:lnTo>
                  <a:lnTo>
                    <a:pt x="544" y="139"/>
                  </a:lnTo>
                  <a:lnTo>
                    <a:pt x="540" y="135"/>
                  </a:lnTo>
                  <a:lnTo>
                    <a:pt x="537" y="132"/>
                  </a:lnTo>
                  <a:lnTo>
                    <a:pt x="537" y="129"/>
                  </a:lnTo>
                  <a:lnTo>
                    <a:pt x="533" y="129"/>
                  </a:lnTo>
                  <a:lnTo>
                    <a:pt x="533" y="126"/>
                  </a:lnTo>
                  <a:lnTo>
                    <a:pt x="527" y="122"/>
                  </a:lnTo>
                  <a:lnTo>
                    <a:pt x="523" y="122"/>
                  </a:lnTo>
                  <a:lnTo>
                    <a:pt x="520" y="122"/>
                  </a:lnTo>
                  <a:lnTo>
                    <a:pt x="513" y="119"/>
                  </a:lnTo>
                  <a:lnTo>
                    <a:pt x="513" y="116"/>
                  </a:lnTo>
                  <a:lnTo>
                    <a:pt x="506" y="113"/>
                  </a:lnTo>
                  <a:lnTo>
                    <a:pt x="503" y="110"/>
                  </a:lnTo>
                  <a:lnTo>
                    <a:pt x="499" y="110"/>
                  </a:lnTo>
                  <a:lnTo>
                    <a:pt x="499" y="106"/>
                  </a:lnTo>
                  <a:lnTo>
                    <a:pt x="496" y="106"/>
                  </a:lnTo>
                  <a:lnTo>
                    <a:pt x="492" y="106"/>
                  </a:lnTo>
                  <a:lnTo>
                    <a:pt x="489" y="106"/>
                  </a:lnTo>
                  <a:lnTo>
                    <a:pt x="485" y="103"/>
                  </a:lnTo>
                  <a:lnTo>
                    <a:pt x="485" y="103"/>
                  </a:lnTo>
                  <a:lnTo>
                    <a:pt x="482" y="100"/>
                  </a:lnTo>
                  <a:lnTo>
                    <a:pt x="482" y="97"/>
                  </a:lnTo>
                  <a:lnTo>
                    <a:pt x="475" y="93"/>
                  </a:lnTo>
                  <a:lnTo>
                    <a:pt x="472" y="90"/>
                  </a:lnTo>
                  <a:lnTo>
                    <a:pt x="468" y="87"/>
                  </a:lnTo>
                  <a:lnTo>
                    <a:pt x="468" y="84"/>
                  </a:lnTo>
                  <a:lnTo>
                    <a:pt x="472" y="77"/>
                  </a:lnTo>
                  <a:lnTo>
                    <a:pt x="472" y="74"/>
                  </a:lnTo>
                  <a:lnTo>
                    <a:pt x="475" y="71"/>
                  </a:lnTo>
                  <a:lnTo>
                    <a:pt x="478" y="68"/>
                  </a:lnTo>
                  <a:lnTo>
                    <a:pt x="478" y="64"/>
                  </a:lnTo>
                  <a:lnTo>
                    <a:pt x="475" y="68"/>
                  </a:lnTo>
                  <a:lnTo>
                    <a:pt x="472" y="61"/>
                  </a:lnTo>
                  <a:lnTo>
                    <a:pt x="478" y="61"/>
                  </a:lnTo>
                  <a:lnTo>
                    <a:pt x="475" y="58"/>
                  </a:lnTo>
                  <a:lnTo>
                    <a:pt x="478" y="58"/>
                  </a:lnTo>
                  <a:lnTo>
                    <a:pt x="482" y="55"/>
                  </a:lnTo>
                  <a:lnTo>
                    <a:pt x="482" y="58"/>
                  </a:lnTo>
                  <a:lnTo>
                    <a:pt x="485" y="58"/>
                  </a:lnTo>
                  <a:lnTo>
                    <a:pt x="489" y="55"/>
                  </a:lnTo>
                  <a:lnTo>
                    <a:pt x="492" y="51"/>
                  </a:lnTo>
                  <a:lnTo>
                    <a:pt x="489" y="48"/>
                  </a:lnTo>
                  <a:lnTo>
                    <a:pt x="492" y="48"/>
                  </a:lnTo>
                  <a:lnTo>
                    <a:pt x="492" y="48"/>
                  </a:lnTo>
                  <a:lnTo>
                    <a:pt x="496" y="42"/>
                  </a:lnTo>
                  <a:lnTo>
                    <a:pt x="499" y="42"/>
                  </a:lnTo>
                  <a:lnTo>
                    <a:pt x="499" y="38"/>
                  </a:lnTo>
                  <a:lnTo>
                    <a:pt x="499" y="38"/>
                  </a:lnTo>
                  <a:lnTo>
                    <a:pt x="496" y="35"/>
                  </a:lnTo>
                  <a:lnTo>
                    <a:pt x="496" y="38"/>
                  </a:lnTo>
                  <a:lnTo>
                    <a:pt x="492" y="38"/>
                  </a:lnTo>
                  <a:lnTo>
                    <a:pt x="492" y="32"/>
                  </a:lnTo>
                  <a:lnTo>
                    <a:pt x="489" y="32"/>
                  </a:lnTo>
                  <a:lnTo>
                    <a:pt x="482" y="38"/>
                  </a:lnTo>
                  <a:lnTo>
                    <a:pt x="485" y="38"/>
                  </a:lnTo>
                  <a:lnTo>
                    <a:pt x="485" y="42"/>
                  </a:lnTo>
                  <a:lnTo>
                    <a:pt x="482" y="42"/>
                  </a:lnTo>
                  <a:lnTo>
                    <a:pt x="478" y="42"/>
                  </a:lnTo>
                  <a:lnTo>
                    <a:pt x="478" y="38"/>
                  </a:lnTo>
                  <a:lnTo>
                    <a:pt x="478" y="35"/>
                  </a:lnTo>
                  <a:lnTo>
                    <a:pt x="475" y="38"/>
                  </a:lnTo>
                  <a:lnTo>
                    <a:pt x="472" y="38"/>
                  </a:lnTo>
                  <a:lnTo>
                    <a:pt x="475" y="38"/>
                  </a:lnTo>
                  <a:lnTo>
                    <a:pt x="475" y="35"/>
                  </a:lnTo>
                  <a:lnTo>
                    <a:pt x="475" y="32"/>
                  </a:lnTo>
                  <a:lnTo>
                    <a:pt x="475" y="35"/>
                  </a:lnTo>
                  <a:lnTo>
                    <a:pt x="472" y="35"/>
                  </a:lnTo>
                  <a:lnTo>
                    <a:pt x="468" y="38"/>
                  </a:lnTo>
                  <a:lnTo>
                    <a:pt x="468" y="38"/>
                  </a:lnTo>
                  <a:lnTo>
                    <a:pt x="465" y="38"/>
                  </a:lnTo>
                  <a:lnTo>
                    <a:pt x="465" y="38"/>
                  </a:lnTo>
                  <a:lnTo>
                    <a:pt x="458" y="38"/>
                  </a:lnTo>
                  <a:lnTo>
                    <a:pt x="458" y="35"/>
                  </a:lnTo>
                  <a:lnTo>
                    <a:pt x="458" y="32"/>
                  </a:lnTo>
                  <a:lnTo>
                    <a:pt x="454" y="32"/>
                  </a:lnTo>
                  <a:lnTo>
                    <a:pt x="451" y="35"/>
                  </a:lnTo>
                  <a:lnTo>
                    <a:pt x="447" y="32"/>
                  </a:lnTo>
                  <a:lnTo>
                    <a:pt x="444" y="35"/>
                  </a:lnTo>
                  <a:lnTo>
                    <a:pt x="444" y="32"/>
                  </a:lnTo>
                  <a:lnTo>
                    <a:pt x="441" y="32"/>
                  </a:lnTo>
                  <a:lnTo>
                    <a:pt x="441" y="29"/>
                  </a:lnTo>
                  <a:lnTo>
                    <a:pt x="434" y="29"/>
                  </a:lnTo>
                  <a:lnTo>
                    <a:pt x="430" y="29"/>
                  </a:lnTo>
                  <a:lnTo>
                    <a:pt x="427" y="29"/>
                  </a:lnTo>
                  <a:lnTo>
                    <a:pt x="427" y="26"/>
                  </a:lnTo>
                  <a:lnTo>
                    <a:pt x="423" y="22"/>
                  </a:lnTo>
                  <a:lnTo>
                    <a:pt x="423" y="22"/>
                  </a:lnTo>
                  <a:lnTo>
                    <a:pt x="423" y="22"/>
                  </a:lnTo>
                  <a:lnTo>
                    <a:pt x="417" y="26"/>
                  </a:lnTo>
                  <a:lnTo>
                    <a:pt x="417" y="22"/>
                  </a:lnTo>
                  <a:lnTo>
                    <a:pt x="413" y="22"/>
                  </a:lnTo>
                  <a:lnTo>
                    <a:pt x="406" y="19"/>
                  </a:lnTo>
                  <a:lnTo>
                    <a:pt x="406" y="19"/>
                  </a:lnTo>
                  <a:lnTo>
                    <a:pt x="403" y="19"/>
                  </a:lnTo>
                  <a:lnTo>
                    <a:pt x="399" y="19"/>
                  </a:lnTo>
                  <a:lnTo>
                    <a:pt x="403" y="22"/>
                  </a:lnTo>
                  <a:lnTo>
                    <a:pt x="403" y="26"/>
                  </a:lnTo>
                  <a:lnTo>
                    <a:pt x="406" y="26"/>
                  </a:lnTo>
                  <a:lnTo>
                    <a:pt x="410" y="22"/>
                  </a:lnTo>
                  <a:lnTo>
                    <a:pt x="417" y="29"/>
                  </a:lnTo>
                  <a:lnTo>
                    <a:pt x="413" y="29"/>
                  </a:lnTo>
                  <a:lnTo>
                    <a:pt x="417" y="35"/>
                  </a:lnTo>
                  <a:lnTo>
                    <a:pt x="413" y="35"/>
                  </a:lnTo>
                  <a:lnTo>
                    <a:pt x="410" y="38"/>
                  </a:lnTo>
                  <a:lnTo>
                    <a:pt x="410" y="35"/>
                  </a:lnTo>
                  <a:lnTo>
                    <a:pt x="406" y="35"/>
                  </a:lnTo>
                  <a:lnTo>
                    <a:pt x="403" y="38"/>
                  </a:lnTo>
                  <a:lnTo>
                    <a:pt x="392" y="38"/>
                  </a:lnTo>
                  <a:lnTo>
                    <a:pt x="389" y="35"/>
                  </a:lnTo>
                  <a:lnTo>
                    <a:pt x="386" y="35"/>
                  </a:lnTo>
                  <a:lnTo>
                    <a:pt x="382" y="38"/>
                  </a:lnTo>
                  <a:lnTo>
                    <a:pt x="382" y="42"/>
                  </a:lnTo>
                  <a:lnTo>
                    <a:pt x="379" y="42"/>
                  </a:lnTo>
                  <a:lnTo>
                    <a:pt x="382" y="45"/>
                  </a:lnTo>
                  <a:lnTo>
                    <a:pt x="379" y="42"/>
                  </a:lnTo>
                  <a:lnTo>
                    <a:pt x="375" y="42"/>
                  </a:lnTo>
                  <a:lnTo>
                    <a:pt x="372" y="45"/>
                  </a:lnTo>
                  <a:lnTo>
                    <a:pt x="375" y="45"/>
                  </a:lnTo>
                  <a:lnTo>
                    <a:pt x="375" y="48"/>
                  </a:lnTo>
                  <a:lnTo>
                    <a:pt x="368" y="45"/>
                  </a:lnTo>
                  <a:lnTo>
                    <a:pt x="368" y="48"/>
                  </a:lnTo>
                  <a:lnTo>
                    <a:pt x="368" y="51"/>
                  </a:lnTo>
                  <a:lnTo>
                    <a:pt x="368" y="51"/>
                  </a:lnTo>
                  <a:lnTo>
                    <a:pt x="365" y="51"/>
                  </a:lnTo>
                  <a:lnTo>
                    <a:pt x="365" y="55"/>
                  </a:lnTo>
                  <a:lnTo>
                    <a:pt x="368" y="58"/>
                  </a:lnTo>
                  <a:lnTo>
                    <a:pt x="368" y="58"/>
                  </a:lnTo>
                  <a:lnTo>
                    <a:pt x="365" y="58"/>
                  </a:lnTo>
                  <a:lnTo>
                    <a:pt x="361" y="58"/>
                  </a:lnTo>
                  <a:lnTo>
                    <a:pt x="358" y="58"/>
                  </a:lnTo>
                  <a:lnTo>
                    <a:pt x="355" y="64"/>
                  </a:lnTo>
                  <a:lnTo>
                    <a:pt x="351" y="68"/>
                  </a:lnTo>
                  <a:lnTo>
                    <a:pt x="351" y="71"/>
                  </a:lnTo>
                  <a:lnTo>
                    <a:pt x="348" y="74"/>
                  </a:lnTo>
                  <a:lnTo>
                    <a:pt x="344" y="77"/>
                  </a:lnTo>
                  <a:lnTo>
                    <a:pt x="348" y="77"/>
                  </a:lnTo>
                  <a:lnTo>
                    <a:pt x="355" y="80"/>
                  </a:lnTo>
                  <a:lnTo>
                    <a:pt x="351" y="80"/>
                  </a:lnTo>
                  <a:lnTo>
                    <a:pt x="351" y="80"/>
                  </a:lnTo>
                  <a:lnTo>
                    <a:pt x="358" y="84"/>
                  </a:lnTo>
                  <a:lnTo>
                    <a:pt x="355" y="87"/>
                  </a:lnTo>
                  <a:lnTo>
                    <a:pt x="351" y="84"/>
                  </a:lnTo>
                  <a:lnTo>
                    <a:pt x="348" y="84"/>
                  </a:lnTo>
                  <a:lnTo>
                    <a:pt x="348" y="84"/>
                  </a:lnTo>
                  <a:lnTo>
                    <a:pt x="351" y="87"/>
                  </a:lnTo>
                  <a:lnTo>
                    <a:pt x="351" y="90"/>
                  </a:lnTo>
                  <a:lnTo>
                    <a:pt x="355" y="93"/>
                  </a:lnTo>
                  <a:lnTo>
                    <a:pt x="351" y="90"/>
                  </a:lnTo>
                  <a:lnTo>
                    <a:pt x="348" y="87"/>
                  </a:lnTo>
                  <a:lnTo>
                    <a:pt x="344" y="87"/>
                  </a:lnTo>
                  <a:lnTo>
                    <a:pt x="344" y="87"/>
                  </a:lnTo>
                  <a:lnTo>
                    <a:pt x="341" y="90"/>
                  </a:lnTo>
                  <a:lnTo>
                    <a:pt x="341" y="87"/>
                  </a:lnTo>
                  <a:lnTo>
                    <a:pt x="334" y="84"/>
                  </a:lnTo>
                  <a:lnTo>
                    <a:pt x="327" y="84"/>
                  </a:lnTo>
                  <a:lnTo>
                    <a:pt x="331" y="87"/>
                  </a:lnTo>
                  <a:lnTo>
                    <a:pt x="327" y="87"/>
                  </a:lnTo>
                  <a:lnTo>
                    <a:pt x="324" y="87"/>
                  </a:lnTo>
                  <a:lnTo>
                    <a:pt x="324" y="87"/>
                  </a:lnTo>
                  <a:lnTo>
                    <a:pt x="320" y="87"/>
                  </a:lnTo>
                  <a:lnTo>
                    <a:pt x="324" y="90"/>
                  </a:lnTo>
                  <a:lnTo>
                    <a:pt x="324" y="93"/>
                  </a:lnTo>
                  <a:lnTo>
                    <a:pt x="324" y="90"/>
                  </a:lnTo>
                  <a:lnTo>
                    <a:pt x="320" y="93"/>
                  </a:lnTo>
                  <a:lnTo>
                    <a:pt x="320" y="93"/>
                  </a:lnTo>
                  <a:lnTo>
                    <a:pt x="317" y="97"/>
                  </a:lnTo>
                  <a:lnTo>
                    <a:pt x="313" y="97"/>
                  </a:lnTo>
                  <a:lnTo>
                    <a:pt x="317" y="93"/>
                  </a:lnTo>
                  <a:lnTo>
                    <a:pt x="320" y="90"/>
                  </a:lnTo>
                  <a:lnTo>
                    <a:pt x="320" y="87"/>
                  </a:lnTo>
                  <a:lnTo>
                    <a:pt x="324" y="84"/>
                  </a:lnTo>
                  <a:lnTo>
                    <a:pt x="320" y="80"/>
                  </a:lnTo>
                  <a:lnTo>
                    <a:pt x="317" y="80"/>
                  </a:lnTo>
                  <a:lnTo>
                    <a:pt x="310" y="71"/>
                  </a:lnTo>
                  <a:lnTo>
                    <a:pt x="310" y="68"/>
                  </a:lnTo>
                  <a:lnTo>
                    <a:pt x="303" y="68"/>
                  </a:lnTo>
                  <a:lnTo>
                    <a:pt x="300" y="64"/>
                  </a:lnTo>
                  <a:lnTo>
                    <a:pt x="296" y="68"/>
                  </a:lnTo>
                  <a:lnTo>
                    <a:pt x="300" y="68"/>
                  </a:lnTo>
                  <a:lnTo>
                    <a:pt x="296" y="68"/>
                  </a:lnTo>
                  <a:lnTo>
                    <a:pt x="293" y="71"/>
                  </a:lnTo>
                  <a:lnTo>
                    <a:pt x="293" y="71"/>
                  </a:lnTo>
                  <a:lnTo>
                    <a:pt x="293" y="71"/>
                  </a:lnTo>
                  <a:lnTo>
                    <a:pt x="289" y="71"/>
                  </a:lnTo>
                  <a:lnTo>
                    <a:pt x="289" y="74"/>
                  </a:lnTo>
                  <a:lnTo>
                    <a:pt x="286" y="68"/>
                  </a:lnTo>
                  <a:lnTo>
                    <a:pt x="282" y="68"/>
                  </a:lnTo>
                  <a:lnTo>
                    <a:pt x="282" y="71"/>
                  </a:lnTo>
                  <a:lnTo>
                    <a:pt x="286" y="71"/>
                  </a:lnTo>
                  <a:lnTo>
                    <a:pt x="282" y="74"/>
                  </a:lnTo>
                  <a:lnTo>
                    <a:pt x="279" y="77"/>
                  </a:lnTo>
                  <a:lnTo>
                    <a:pt x="282" y="80"/>
                  </a:lnTo>
                  <a:lnTo>
                    <a:pt x="279" y="80"/>
                  </a:lnTo>
                  <a:lnTo>
                    <a:pt x="275" y="77"/>
                  </a:lnTo>
                  <a:lnTo>
                    <a:pt x="272" y="77"/>
                  </a:lnTo>
                  <a:lnTo>
                    <a:pt x="272" y="77"/>
                  </a:lnTo>
                  <a:lnTo>
                    <a:pt x="275" y="74"/>
                  </a:lnTo>
                  <a:lnTo>
                    <a:pt x="272" y="74"/>
                  </a:lnTo>
                  <a:lnTo>
                    <a:pt x="272" y="77"/>
                  </a:lnTo>
                  <a:lnTo>
                    <a:pt x="269" y="77"/>
                  </a:lnTo>
                  <a:lnTo>
                    <a:pt x="265" y="80"/>
                  </a:lnTo>
                  <a:lnTo>
                    <a:pt x="265" y="84"/>
                  </a:lnTo>
                  <a:lnTo>
                    <a:pt x="272" y="87"/>
                  </a:lnTo>
                  <a:lnTo>
                    <a:pt x="265" y="90"/>
                  </a:lnTo>
                  <a:lnTo>
                    <a:pt x="262" y="87"/>
                  </a:lnTo>
                  <a:lnTo>
                    <a:pt x="258" y="90"/>
                  </a:lnTo>
                  <a:lnTo>
                    <a:pt x="258" y="93"/>
                  </a:lnTo>
                  <a:lnTo>
                    <a:pt x="265" y="93"/>
                  </a:lnTo>
                  <a:lnTo>
                    <a:pt x="262" y="97"/>
                  </a:lnTo>
                  <a:lnTo>
                    <a:pt x="258" y="97"/>
                  </a:lnTo>
                  <a:lnTo>
                    <a:pt x="255" y="93"/>
                  </a:lnTo>
                  <a:lnTo>
                    <a:pt x="251" y="97"/>
                  </a:lnTo>
                  <a:lnTo>
                    <a:pt x="248" y="97"/>
                  </a:lnTo>
                  <a:lnTo>
                    <a:pt x="248" y="100"/>
                  </a:lnTo>
                  <a:lnTo>
                    <a:pt x="251" y="100"/>
                  </a:lnTo>
                  <a:lnTo>
                    <a:pt x="251" y="103"/>
                  </a:lnTo>
                  <a:lnTo>
                    <a:pt x="251" y="103"/>
                  </a:lnTo>
                  <a:lnTo>
                    <a:pt x="248" y="106"/>
                  </a:lnTo>
                  <a:lnTo>
                    <a:pt x="251" y="106"/>
                  </a:lnTo>
                  <a:lnTo>
                    <a:pt x="248" y="110"/>
                  </a:lnTo>
                  <a:lnTo>
                    <a:pt x="248" y="113"/>
                  </a:lnTo>
                  <a:lnTo>
                    <a:pt x="251" y="113"/>
                  </a:lnTo>
                  <a:lnTo>
                    <a:pt x="248" y="113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1" y="113"/>
                  </a:lnTo>
                  <a:lnTo>
                    <a:pt x="238" y="110"/>
                  </a:lnTo>
                  <a:lnTo>
                    <a:pt x="238" y="113"/>
                  </a:lnTo>
                  <a:lnTo>
                    <a:pt x="234" y="110"/>
                  </a:lnTo>
                  <a:lnTo>
                    <a:pt x="231" y="110"/>
                  </a:lnTo>
                  <a:lnTo>
                    <a:pt x="227" y="110"/>
                  </a:lnTo>
                  <a:lnTo>
                    <a:pt x="234" y="113"/>
                  </a:lnTo>
                  <a:lnTo>
                    <a:pt x="231" y="113"/>
                  </a:lnTo>
                  <a:lnTo>
                    <a:pt x="231" y="116"/>
                  </a:lnTo>
                  <a:lnTo>
                    <a:pt x="234" y="119"/>
                  </a:lnTo>
                  <a:lnTo>
                    <a:pt x="238" y="119"/>
                  </a:lnTo>
                  <a:lnTo>
                    <a:pt x="234" y="122"/>
                  </a:lnTo>
                  <a:lnTo>
                    <a:pt x="234" y="126"/>
                  </a:lnTo>
                  <a:lnTo>
                    <a:pt x="234" y="126"/>
                  </a:lnTo>
                  <a:lnTo>
                    <a:pt x="231" y="126"/>
                  </a:lnTo>
                  <a:lnTo>
                    <a:pt x="234" y="129"/>
                  </a:lnTo>
                  <a:lnTo>
                    <a:pt x="231" y="132"/>
                  </a:lnTo>
                  <a:lnTo>
                    <a:pt x="231" y="135"/>
                  </a:lnTo>
                  <a:lnTo>
                    <a:pt x="224" y="126"/>
                  </a:lnTo>
                  <a:lnTo>
                    <a:pt x="220" y="119"/>
                  </a:lnTo>
                  <a:lnTo>
                    <a:pt x="217" y="116"/>
                  </a:lnTo>
                  <a:lnTo>
                    <a:pt x="220" y="113"/>
                  </a:lnTo>
                  <a:lnTo>
                    <a:pt x="217" y="113"/>
                  </a:lnTo>
                  <a:lnTo>
                    <a:pt x="214" y="116"/>
                  </a:lnTo>
                  <a:lnTo>
                    <a:pt x="214" y="119"/>
                  </a:lnTo>
                  <a:lnTo>
                    <a:pt x="210" y="119"/>
                  </a:lnTo>
                  <a:lnTo>
                    <a:pt x="210" y="122"/>
                  </a:lnTo>
                  <a:lnTo>
                    <a:pt x="207" y="122"/>
                  </a:lnTo>
                  <a:lnTo>
                    <a:pt x="203" y="126"/>
                  </a:lnTo>
                  <a:lnTo>
                    <a:pt x="200" y="126"/>
                  </a:lnTo>
                  <a:lnTo>
                    <a:pt x="200" y="132"/>
                  </a:lnTo>
                  <a:lnTo>
                    <a:pt x="200" y="139"/>
                  </a:lnTo>
                  <a:lnTo>
                    <a:pt x="203" y="142"/>
                  </a:lnTo>
                  <a:lnTo>
                    <a:pt x="203" y="145"/>
                  </a:lnTo>
                  <a:lnTo>
                    <a:pt x="200" y="145"/>
                  </a:lnTo>
                  <a:lnTo>
                    <a:pt x="196" y="148"/>
                  </a:lnTo>
                  <a:lnTo>
                    <a:pt x="193" y="148"/>
                  </a:lnTo>
                  <a:lnTo>
                    <a:pt x="193" y="152"/>
                  </a:lnTo>
                  <a:lnTo>
                    <a:pt x="186" y="155"/>
                  </a:lnTo>
                  <a:lnTo>
                    <a:pt x="186" y="158"/>
                  </a:lnTo>
                  <a:lnTo>
                    <a:pt x="186" y="161"/>
                  </a:lnTo>
                  <a:lnTo>
                    <a:pt x="179" y="168"/>
                  </a:lnTo>
                  <a:lnTo>
                    <a:pt x="169" y="174"/>
                  </a:lnTo>
                  <a:lnTo>
                    <a:pt x="159" y="174"/>
                  </a:lnTo>
                  <a:lnTo>
                    <a:pt x="155" y="174"/>
                  </a:lnTo>
                  <a:lnTo>
                    <a:pt x="148" y="174"/>
                  </a:lnTo>
                  <a:lnTo>
                    <a:pt x="141" y="177"/>
                  </a:lnTo>
                  <a:lnTo>
                    <a:pt x="138" y="174"/>
                  </a:lnTo>
                  <a:lnTo>
                    <a:pt x="131" y="177"/>
                  </a:lnTo>
                  <a:lnTo>
                    <a:pt x="131" y="181"/>
                  </a:lnTo>
                  <a:lnTo>
                    <a:pt x="128" y="184"/>
                  </a:lnTo>
                  <a:lnTo>
                    <a:pt x="114" y="181"/>
                  </a:lnTo>
                  <a:lnTo>
                    <a:pt x="110" y="184"/>
                  </a:lnTo>
                  <a:lnTo>
                    <a:pt x="110" y="187"/>
                  </a:lnTo>
                  <a:lnTo>
                    <a:pt x="103" y="190"/>
                  </a:lnTo>
                  <a:lnTo>
                    <a:pt x="97" y="190"/>
                  </a:lnTo>
                  <a:lnTo>
                    <a:pt x="93" y="187"/>
                  </a:lnTo>
                  <a:lnTo>
                    <a:pt x="90" y="187"/>
                  </a:lnTo>
                  <a:lnTo>
                    <a:pt x="90" y="187"/>
                  </a:lnTo>
                  <a:lnTo>
                    <a:pt x="86" y="187"/>
                  </a:lnTo>
                  <a:lnTo>
                    <a:pt x="83" y="190"/>
                  </a:lnTo>
                  <a:lnTo>
                    <a:pt x="76" y="194"/>
                  </a:lnTo>
                  <a:lnTo>
                    <a:pt x="73" y="194"/>
                  </a:lnTo>
                  <a:lnTo>
                    <a:pt x="73" y="194"/>
                  </a:lnTo>
                  <a:lnTo>
                    <a:pt x="66" y="200"/>
                  </a:lnTo>
                  <a:lnTo>
                    <a:pt x="59" y="203"/>
                  </a:lnTo>
                  <a:lnTo>
                    <a:pt x="45" y="206"/>
                  </a:lnTo>
                  <a:lnTo>
                    <a:pt x="42" y="213"/>
                  </a:lnTo>
                  <a:lnTo>
                    <a:pt x="42" y="216"/>
                  </a:lnTo>
                  <a:lnTo>
                    <a:pt x="38" y="219"/>
                  </a:lnTo>
                  <a:lnTo>
                    <a:pt x="35" y="219"/>
                  </a:lnTo>
                  <a:lnTo>
                    <a:pt x="35" y="216"/>
                  </a:lnTo>
                  <a:lnTo>
                    <a:pt x="35" y="213"/>
                  </a:lnTo>
                  <a:lnTo>
                    <a:pt x="38" y="210"/>
                  </a:lnTo>
                  <a:lnTo>
                    <a:pt x="38" y="206"/>
                  </a:lnTo>
                  <a:lnTo>
                    <a:pt x="31" y="210"/>
                  </a:lnTo>
                  <a:lnTo>
                    <a:pt x="28" y="216"/>
                  </a:lnTo>
                  <a:lnTo>
                    <a:pt x="24" y="223"/>
                  </a:lnTo>
                  <a:lnTo>
                    <a:pt x="28" y="226"/>
                  </a:lnTo>
                  <a:lnTo>
                    <a:pt x="24" y="232"/>
                  </a:lnTo>
                  <a:lnTo>
                    <a:pt x="24" y="239"/>
                  </a:lnTo>
                  <a:lnTo>
                    <a:pt x="17" y="248"/>
                  </a:lnTo>
                  <a:lnTo>
                    <a:pt x="14" y="258"/>
                  </a:lnTo>
                  <a:lnTo>
                    <a:pt x="17" y="265"/>
                  </a:lnTo>
                  <a:lnTo>
                    <a:pt x="17" y="271"/>
                  </a:lnTo>
                  <a:lnTo>
                    <a:pt x="24" y="281"/>
                  </a:lnTo>
                  <a:lnTo>
                    <a:pt x="24" y="284"/>
                  </a:lnTo>
                  <a:lnTo>
                    <a:pt x="28" y="287"/>
                  </a:lnTo>
                  <a:lnTo>
                    <a:pt x="24" y="294"/>
                  </a:lnTo>
                  <a:lnTo>
                    <a:pt x="24" y="297"/>
                  </a:lnTo>
                  <a:lnTo>
                    <a:pt x="21" y="297"/>
                  </a:lnTo>
                  <a:lnTo>
                    <a:pt x="21" y="297"/>
                  </a:lnTo>
                  <a:lnTo>
                    <a:pt x="17" y="290"/>
                  </a:lnTo>
                  <a:lnTo>
                    <a:pt x="17" y="294"/>
                  </a:lnTo>
                  <a:lnTo>
                    <a:pt x="14" y="290"/>
                  </a:lnTo>
                  <a:lnTo>
                    <a:pt x="14" y="287"/>
                  </a:lnTo>
                  <a:lnTo>
                    <a:pt x="11" y="281"/>
                  </a:lnTo>
                  <a:lnTo>
                    <a:pt x="11" y="284"/>
                  </a:lnTo>
                  <a:lnTo>
                    <a:pt x="11" y="290"/>
                  </a:lnTo>
                  <a:lnTo>
                    <a:pt x="14" y="294"/>
                  </a:lnTo>
                  <a:lnTo>
                    <a:pt x="17" y="300"/>
                  </a:lnTo>
                  <a:lnTo>
                    <a:pt x="14" y="300"/>
                  </a:lnTo>
                  <a:lnTo>
                    <a:pt x="11" y="297"/>
                  </a:lnTo>
                  <a:lnTo>
                    <a:pt x="7" y="290"/>
                  </a:lnTo>
                  <a:lnTo>
                    <a:pt x="7" y="294"/>
                  </a:lnTo>
                  <a:lnTo>
                    <a:pt x="4" y="294"/>
                  </a:lnTo>
                  <a:lnTo>
                    <a:pt x="7" y="300"/>
                  </a:lnTo>
                  <a:lnTo>
                    <a:pt x="14" y="307"/>
                  </a:lnTo>
                  <a:lnTo>
                    <a:pt x="17" y="316"/>
                  </a:lnTo>
                  <a:lnTo>
                    <a:pt x="17" y="332"/>
                  </a:lnTo>
                  <a:lnTo>
                    <a:pt x="21" y="336"/>
                  </a:lnTo>
                  <a:lnTo>
                    <a:pt x="21" y="345"/>
                  </a:lnTo>
                  <a:lnTo>
                    <a:pt x="28" y="358"/>
                  </a:lnTo>
                  <a:lnTo>
                    <a:pt x="28" y="362"/>
                  </a:lnTo>
                  <a:lnTo>
                    <a:pt x="28" y="381"/>
                  </a:lnTo>
                  <a:lnTo>
                    <a:pt x="24" y="384"/>
                  </a:lnTo>
                  <a:lnTo>
                    <a:pt x="28" y="387"/>
                  </a:lnTo>
                  <a:lnTo>
                    <a:pt x="28" y="394"/>
                  </a:lnTo>
                  <a:lnTo>
                    <a:pt x="31" y="400"/>
                  </a:lnTo>
                  <a:lnTo>
                    <a:pt x="31" y="407"/>
                  </a:lnTo>
                  <a:lnTo>
                    <a:pt x="28" y="407"/>
                  </a:lnTo>
                  <a:lnTo>
                    <a:pt x="31" y="410"/>
                  </a:lnTo>
                  <a:lnTo>
                    <a:pt x="28" y="413"/>
                  </a:lnTo>
                  <a:lnTo>
                    <a:pt x="28" y="420"/>
                  </a:lnTo>
                  <a:lnTo>
                    <a:pt x="24" y="423"/>
                  </a:lnTo>
                  <a:lnTo>
                    <a:pt x="24" y="426"/>
                  </a:lnTo>
                  <a:lnTo>
                    <a:pt x="24" y="429"/>
                  </a:lnTo>
                  <a:lnTo>
                    <a:pt x="21" y="433"/>
                  </a:lnTo>
                  <a:lnTo>
                    <a:pt x="21" y="436"/>
                  </a:lnTo>
                  <a:lnTo>
                    <a:pt x="17" y="439"/>
                  </a:lnTo>
                  <a:lnTo>
                    <a:pt x="14" y="439"/>
                  </a:lnTo>
                  <a:lnTo>
                    <a:pt x="7" y="446"/>
                  </a:lnTo>
                  <a:lnTo>
                    <a:pt x="7" y="4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5" name="Freeform 156"/>
            <p:cNvSpPr>
              <a:spLocks noEditPoints="1"/>
            </p:cNvSpPr>
            <p:nvPr/>
          </p:nvSpPr>
          <p:spPr bwMode="auto">
            <a:xfrm>
              <a:off x="5643563" y="2534305"/>
              <a:ext cx="273050" cy="149225"/>
            </a:xfrm>
            <a:custGeom>
              <a:avLst/>
              <a:gdLst>
                <a:gd name="T0" fmla="*/ 66 w 172"/>
                <a:gd name="T1" fmla="*/ 91 h 94"/>
                <a:gd name="T2" fmla="*/ 55 w 172"/>
                <a:gd name="T3" fmla="*/ 81 h 94"/>
                <a:gd name="T4" fmla="*/ 76 w 172"/>
                <a:gd name="T5" fmla="*/ 87 h 94"/>
                <a:gd name="T6" fmla="*/ 93 w 172"/>
                <a:gd name="T7" fmla="*/ 84 h 94"/>
                <a:gd name="T8" fmla="*/ 107 w 172"/>
                <a:gd name="T9" fmla="*/ 78 h 94"/>
                <a:gd name="T10" fmla="*/ 117 w 172"/>
                <a:gd name="T11" fmla="*/ 74 h 94"/>
                <a:gd name="T12" fmla="*/ 124 w 172"/>
                <a:gd name="T13" fmla="*/ 78 h 94"/>
                <a:gd name="T14" fmla="*/ 145 w 172"/>
                <a:gd name="T15" fmla="*/ 61 h 94"/>
                <a:gd name="T16" fmla="*/ 155 w 172"/>
                <a:gd name="T17" fmla="*/ 61 h 94"/>
                <a:gd name="T18" fmla="*/ 158 w 172"/>
                <a:gd name="T19" fmla="*/ 52 h 94"/>
                <a:gd name="T20" fmla="*/ 169 w 172"/>
                <a:gd name="T21" fmla="*/ 52 h 94"/>
                <a:gd name="T22" fmla="*/ 165 w 172"/>
                <a:gd name="T23" fmla="*/ 36 h 94"/>
                <a:gd name="T24" fmla="*/ 162 w 172"/>
                <a:gd name="T25" fmla="*/ 29 h 94"/>
                <a:gd name="T26" fmla="*/ 155 w 172"/>
                <a:gd name="T27" fmla="*/ 26 h 94"/>
                <a:gd name="T28" fmla="*/ 158 w 172"/>
                <a:gd name="T29" fmla="*/ 13 h 94"/>
                <a:gd name="T30" fmla="*/ 155 w 172"/>
                <a:gd name="T31" fmla="*/ 7 h 94"/>
                <a:gd name="T32" fmla="*/ 145 w 172"/>
                <a:gd name="T33" fmla="*/ 10 h 94"/>
                <a:gd name="T34" fmla="*/ 141 w 172"/>
                <a:gd name="T35" fmla="*/ 7 h 94"/>
                <a:gd name="T36" fmla="*/ 127 w 172"/>
                <a:gd name="T37" fmla="*/ 7 h 94"/>
                <a:gd name="T38" fmla="*/ 121 w 172"/>
                <a:gd name="T39" fmla="*/ 10 h 94"/>
                <a:gd name="T40" fmla="*/ 107 w 172"/>
                <a:gd name="T41" fmla="*/ 10 h 94"/>
                <a:gd name="T42" fmla="*/ 103 w 172"/>
                <a:gd name="T43" fmla="*/ 23 h 94"/>
                <a:gd name="T44" fmla="*/ 93 w 172"/>
                <a:gd name="T45" fmla="*/ 13 h 94"/>
                <a:gd name="T46" fmla="*/ 83 w 172"/>
                <a:gd name="T47" fmla="*/ 19 h 94"/>
                <a:gd name="T48" fmla="*/ 72 w 172"/>
                <a:gd name="T49" fmla="*/ 13 h 94"/>
                <a:gd name="T50" fmla="*/ 69 w 172"/>
                <a:gd name="T51" fmla="*/ 29 h 94"/>
                <a:gd name="T52" fmla="*/ 59 w 172"/>
                <a:gd name="T53" fmla="*/ 32 h 94"/>
                <a:gd name="T54" fmla="*/ 52 w 172"/>
                <a:gd name="T55" fmla="*/ 32 h 94"/>
                <a:gd name="T56" fmla="*/ 48 w 172"/>
                <a:gd name="T57" fmla="*/ 19 h 94"/>
                <a:gd name="T58" fmla="*/ 52 w 172"/>
                <a:gd name="T59" fmla="*/ 13 h 94"/>
                <a:gd name="T60" fmla="*/ 41 w 172"/>
                <a:gd name="T61" fmla="*/ 3 h 94"/>
                <a:gd name="T62" fmla="*/ 24 w 172"/>
                <a:gd name="T63" fmla="*/ 3 h 94"/>
                <a:gd name="T64" fmla="*/ 35 w 172"/>
                <a:gd name="T65" fmla="*/ 3 h 94"/>
                <a:gd name="T66" fmla="*/ 31 w 172"/>
                <a:gd name="T67" fmla="*/ 7 h 94"/>
                <a:gd name="T68" fmla="*/ 35 w 172"/>
                <a:gd name="T69" fmla="*/ 13 h 94"/>
                <a:gd name="T70" fmla="*/ 24 w 172"/>
                <a:gd name="T71" fmla="*/ 7 h 94"/>
                <a:gd name="T72" fmla="*/ 17 w 172"/>
                <a:gd name="T73" fmla="*/ 10 h 94"/>
                <a:gd name="T74" fmla="*/ 21 w 172"/>
                <a:gd name="T75" fmla="*/ 16 h 94"/>
                <a:gd name="T76" fmla="*/ 17 w 172"/>
                <a:gd name="T77" fmla="*/ 19 h 94"/>
                <a:gd name="T78" fmla="*/ 11 w 172"/>
                <a:gd name="T79" fmla="*/ 19 h 94"/>
                <a:gd name="T80" fmla="*/ 7 w 172"/>
                <a:gd name="T81" fmla="*/ 23 h 94"/>
                <a:gd name="T82" fmla="*/ 14 w 172"/>
                <a:gd name="T83" fmla="*/ 32 h 94"/>
                <a:gd name="T84" fmla="*/ 24 w 172"/>
                <a:gd name="T85" fmla="*/ 26 h 94"/>
                <a:gd name="T86" fmla="*/ 35 w 172"/>
                <a:gd name="T87" fmla="*/ 26 h 94"/>
                <a:gd name="T88" fmla="*/ 38 w 172"/>
                <a:gd name="T89" fmla="*/ 26 h 94"/>
                <a:gd name="T90" fmla="*/ 45 w 172"/>
                <a:gd name="T91" fmla="*/ 32 h 94"/>
                <a:gd name="T92" fmla="*/ 31 w 172"/>
                <a:gd name="T93" fmla="*/ 36 h 94"/>
                <a:gd name="T94" fmla="*/ 45 w 172"/>
                <a:gd name="T95" fmla="*/ 39 h 94"/>
                <a:gd name="T96" fmla="*/ 28 w 172"/>
                <a:gd name="T97" fmla="*/ 42 h 94"/>
                <a:gd name="T98" fmla="*/ 24 w 172"/>
                <a:gd name="T99" fmla="*/ 42 h 94"/>
                <a:gd name="T100" fmla="*/ 11 w 172"/>
                <a:gd name="T101" fmla="*/ 42 h 94"/>
                <a:gd name="T102" fmla="*/ 14 w 172"/>
                <a:gd name="T103" fmla="*/ 49 h 94"/>
                <a:gd name="T104" fmla="*/ 31 w 172"/>
                <a:gd name="T105" fmla="*/ 52 h 94"/>
                <a:gd name="T106" fmla="*/ 35 w 172"/>
                <a:gd name="T107" fmla="*/ 58 h 94"/>
                <a:gd name="T108" fmla="*/ 38 w 172"/>
                <a:gd name="T109" fmla="*/ 65 h 94"/>
                <a:gd name="T110" fmla="*/ 41 w 172"/>
                <a:gd name="T111" fmla="*/ 61 h 94"/>
                <a:gd name="T112" fmla="*/ 31 w 172"/>
                <a:gd name="T113" fmla="*/ 68 h 94"/>
                <a:gd name="T114" fmla="*/ 24 w 172"/>
                <a:gd name="T115" fmla="*/ 68 h 94"/>
                <a:gd name="T116" fmla="*/ 28 w 172"/>
                <a:gd name="T117" fmla="*/ 78 h 94"/>
                <a:gd name="T118" fmla="*/ 48 w 172"/>
                <a:gd name="T119" fmla="*/ 7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2" h="94">
                  <a:moveTo>
                    <a:pt x="62" y="94"/>
                  </a:moveTo>
                  <a:lnTo>
                    <a:pt x="62" y="91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6" y="91"/>
                  </a:lnTo>
                  <a:lnTo>
                    <a:pt x="62" y="94"/>
                  </a:lnTo>
                  <a:lnTo>
                    <a:pt x="62" y="94"/>
                  </a:lnTo>
                  <a:close/>
                  <a:moveTo>
                    <a:pt x="52" y="78"/>
                  </a:moveTo>
                  <a:lnTo>
                    <a:pt x="55" y="78"/>
                  </a:lnTo>
                  <a:lnTo>
                    <a:pt x="55" y="81"/>
                  </a:lnTo>
                  <a:lnTo>
                    <a:pt x="62" y="84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9" y="84"/>
                  </a:lnTo>
                  <a:lnTo>
                    <a:pt x="76" y="87"/>
                  </a:lnTo>
                  <a:lnTo>
                    <a:pt x="86" y="87"/>
                  </a:lnTo>
                  <a:lnTo>
                    <a:pt x="90" y="91"/>
                  </a:lnTo>
                  <a:lnTo>
                    <a:pt x="93" y="87"/>
                  </a:lnTo>
                  <a:lnTo>
                    <a:pt x="93" y="84"/>
                  </a:lnTo>
                  <a:lnTo>
                    <a:pt x="93" y="84"/>
                  </a:lnTo>
                  <a:lnTo>
                    <a:pt x="93" y="84"/>
                  </a:lnTo>
                  <a:lnTo>
                    <a:pt x="100" y="87"/>
                  </a:lnTo>
                  <a:lnTo>
                    <a:pt x="103" y="84"/>
                  </a:lnTo>
                  <a:lnTo>
                    <a:pt x="103" y="78"/>
                  </a:lnTo>
                  <a:lnTo>
                    <a:pt x="107" y="78"/>
                  </a:lnTo>
                  <a:lnTo>
                    <a:pt x="107" y="81"/>
                  </a:lnTo>
                  <a:lnTo>
                    <a:pt x="107" y="81"/>
                  </a:lnTo>
                  <a:lnTo>
                    <a:pt x="110" y="81"/>
                  </a:lnTo>
                  <a:lnTo>
                    <a:pt x="114" y="81"/>
                  </a:lnTo>
                  <a:lnTo>
                    <a:pt x="117" y="74"/>
                  </a:lnTo>
                  <a:lnTo>
                    <a:pt x="117" y="78"/>
                  </a:lnTo>
                  <a:lnTo>
                    <a:pt x="121" y="78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31" y="71"/>
                  </a:lnTo>
                  <a:lnTo>
                    <a:pt x="134" y="68"/>
                  </a:lnTo>
                  <a:lnTo>
                    <a:pt x="145" y="65"/>
                  </a:lnTo>
                  <a:lnTo>
                    <a:pt x="148" y="65"/>
                  </a:lnTo>
                  <a:lnTo>
                    <a:pt x="145" y="61"/>
                  </a:lnTo>
                  <a:lnTo>
                    <a:pt x="145" y="58"/>
                  </a:lnTo>
                  <a:lnTo>
                    <a:pt x="148" y="58"/>
                  </a:lnTo>
                  <a:lnTo>
                    <a:pt x="148" y="61"/>
                  </a:lnTo>
                  <a:lnTo>
                    <a:pt x="155" y="65"/>
                  </a:lnTo>
                  <a:lnTo>
                    <a:pt x="155" y="61"/>
                  </a:lnTo>
                  <a:lnTo>
                    <a:pt x="158" y="58"/>
                  </a:lnTo>
                  <a:lnTo>
                    <a:pt x="155" y="58"/>
                  </a:lnTo>
                  <a:lnTo>
                    <a:pt x="155" y="55"/>
                  </a:lnTo>
                  <a:lnTo>
                    <a:pt x="158" y="55"/>
                  </a:lnTo>
                  <a:lnTo>
                    <a:pt x="158" y="52"/>
                  </a:lnTo>
                  <a:lnTo>
                    <a:pt x="158" y="49"/>
                  </a:lnTo>
                  <a:lnTo>
                    <a:pt x="162" y="52"/>
                  </a:lnTo>
                  <a:lnTo>
                    <a:pt x="162" y="55"/>
                  </a:lnTo>
                  <a:lnTo>
                    <a:pt x="165" y="55"/>
                  </a:lnTo>
                  <a:lnTo>
                    <a:pt x="169" y="52"/>
                  </a:lnTo>
                  <a:lnTo>
                    <a:pt x="165" y="49"/>
                  </a:lnTo>
                  <a:lnTo>
                    <a:pt x="162" y="45"/>
                  </a:lnTo>
                  <a:lnTo>
                    <a:pt x="162" y="42"/>
                  </a:lnTo>
                  <a:lnTo>
                    <a:pt x="165" y="39"/>
                  </a:lnTo>
                  <a:lnTo>
                    <a:pt x="165" y="36"/>
                  </a:lnTo>
                  <a:lnTo>
                    <a:pt x="169" y="36"/>
                  </a:lnTo>
                  <a:lnTo>
                    <a:pt x="172" y="36"/>
                  </a:lnTo>
                  <a:lnTo>
                    <a:pt x="172" y="32"/>
                  </a:lnTo>
                  <a:lnTo>
                    <a:pt x="169" y="29"/>
                  </a:lnTo>
                  <a:lnTo>
                    <a:pt x="162" y="29"/>
                  </a:lnTo>
                  <a:lnTo>
                    <a:pt x="158" y="32"/>
                  </a:lnTo>
                  <a:lnTo>
                    <a:pt x="162" y="29"/>
                  </a:lnTo>
                  <a:lnTo>
                    <a:pt x="162" y="26"/>
                  </a:lnTo>
                  <a:lnTo>
                    <a:pt x="158" y="26"/>
                  </a:lnTo>
                  <a:lnTo>
                    <a:pt x="155" y="26"/>
                  </a:lnTo>
                  <a:lnTo>
                    <a:pt x="155" y="23"/>
                  </a:lnTo>
                  <a:lnTo>
                    <a:pt x="158" y="19"/>
                  </a:lnTo>
                  <a:lnTo>
                    <a:pt x="158" y="19"/>
                  </a:lnTo>
                  <a:lnTo>
                    <a:pt x="158" y="16"/>
                  </a:lnTo>
                  <a:lnTo>
                    <a:pt x="158" y="13"/>
                  </a:lnTo>
                  <a:lnTo>
                    <a:pt x="155" y="16"/>
                  </a:lnTo>
                  <a:lnTo>
                    <a:pt x="152" y="16"/>
                  </a:lnTo>
                  <a:lnTo>
                    <a:pt x="152" y="13"/>
                  </a:lnTo>
                  <a:lnTo>
                    <a:pt x="155" y="10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8" y="7"/>
                  </a:lnTo>
                  <a:lnTo>
                    <a:pt x="155" y="3"/>
                  </a:lnTo>
                  <a:lnTo>
                    <a:pt x="152" y="7"/>
                  </a:lnTo>
                  <a:lnTo>
                    <a:pt x="145" y="10"/>
                  </a:lnTo>
                  <a:lnTo>
                    <a:pt x="145" y="13"/>
                  </a:lnTo>
                  <a:lnTo>
                    <a:pt x="141" y="13"/>
                  </a:lnTo>
                  <a:lnTo>
                    <a:pt x="141" y="10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38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1" y="3"/>
                  </a:lnTo>
                  <a:lnTo>
                    <a:pt x="127" y="7"/>
                  </a:lnTo>
                  <a:lnTo>
                    <a:pt x="131" y="10"/>
                  </a:lnTo>
                  <a:lnTo>
                    <a:pt x="127" y="13"/>
                  </a:lnTo>
                  <a:lnTo>
                    <a:pt x="124" y="13"/>
                  </a:lnTo>
                  <a:lnTo>
                    <a:pt x="121" y="13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17" y="13"/>
                  </a:lnTo>
                  <a:lnTo>
                    <a:pt x="114" y="16"/>
                  </a:lnTo>
                  <a:lnTo>
                    <a:pt x="110" y="16"/>
                  </a:lnTo>
                  <a:lnTo>
                    <a:pt x="107" y="10"/>
                  </a:lnTo>
                  <a:lnTo>
                    <a:pt x="103" y="13"/>
                  </a:lnTo>
                  <a:lnTo>
                    <a:pt x="103" y="10"/>
                  </a:lnTo>
                  <a:lnTo>
                    <a:pt x="100" y="10"/>
                  </a:lnTo>
                  <a:lnTo>
                    <a:pt x="100" y="16"/>
                  </a:lnTo>
                  <a:lnTo>
                    <a:pt x="103" y="23"/>
                  </a:lnTo>
                  <a:lnTo>
                    <a:pt x="100" y="29"/>
                  </a:lnTo>
                  <a:lnTo>
                    <a:pt x="100" y="23"/>
                  </a:lnTo>
                  <a:lnTo>
                    <a:pt x="97" y="19"/>
                  </a:lnTo>
                  <a:lnTo>
                    <a:pt x="97" y="16"/>
                  </a:lnTo>
                  <a:lnTo>
                    <a:pt x="93" y="13"/>
                  </a:lnTo>
                  <a:lnTo>
                    <a:pt x="97" y="10"/>
                  </a:lnTo>
                  <a:lnTo>
                    <a:pt x="90" y="10"/>
                  </a:lnTo>
                  <a:lnTo>
                    <a:pt x="83" y="13"/>
                  </a:lnTo>
                  <a:lnTo>
                    <a:pt x="83" y="16"/>
                  </a:lnTo>
                  <a:lnTo>
                    <a:pt x="83" y="19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2" y="13"/>
                  </a:lnTo>
                  <a:lnTo>
                    <a:pt x="72" y="10"/>
                  </a:lnTo>
                  <a:lnTo>
                    <a:pt x="66" y="13"/>
                  </a:lnTo>
                  <a:lnTo>
                    <a:pt x="69" y="19"/>
                  </a:lnTo>
                  <a:lnTo>
                    <a:pt x="69" y="23"/>
                  </a:lnTo>
                  <a:lnTo>
                    <a:pt x="69" y="29"/>
                  </a:lnTo>
                  <a:lnTo>
                    <a:pt x="66" y="29"/>
                  </a:lnTo>
                  <a:lnTo>
                    <a:pt x="62" y="29"/>
                  </a:lnTo>
                  <a:lnTo>
                    <a:pt x="62" y="26"/>
                  </a:lnTo>
                  <a:lnTo>
                    <a:pt x="59" y="29"/>
                  </a:lnTo>
                  <a:lnTo>
                    <a:pt x="59" y="32"/>
                  </a:lnTo>
                  <a:lnTo>
                    <a:pt x="55" y="32"/>
                  </a:lnTo>
                  <a:lnTo>
                    <a:pt x="55" y="39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29"/>
                  </a:lnTo>
                  <a:lnTo>
                    <a:pt x="52" y="26"/>
                  </a:lnTo>
                  <a:lnTo>
                    <a:pt x="48" y="26"/>
                  </a:lnTo>
                  <a:lnTo>
                    <a:pt x="52" y="23"/>
                  </a:lnTo>
                  <a:lnTo>
                    <a:pt x="48" y="19"/>
                  </a:lnTo>
                  <a:lnTo>
                    <a:pt x="52" y="23"/>
                  </a:lnTo>
                  <a:lnTo>
                    <a:pt x="55" y="19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3"/>
                  </a:lnTo>
                  <a:lnTo>
                    <a:pt x="52" y="10"/>
                  </a:lnTo>
                  <a:lnTo>
                    <a:pt x="48" y="13"/>
                  </a:lnTo>
                  <a:lnTo>
                    <a:pt x="45" y="10"/>
                  </a:lnTo>
                  <a:lnTo>
                    <a:pt x="41" y="7"/>
                  </a:lnTo>
                  <a:lnTo>
                    <a:pt x="41" y="3"/>
                  </a:lnTo>
                  <a:lnTo>
                    <a:pt x="38" y="0"/>
                  </a:lnTo>
                  <a:lnTo>
                    <a:pt x="35" y="3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4" y="3"/>
                  </a:lnTo>
                  <a:lnTo>
                    <a:pt x="28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5" y="3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5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5" y="10"/>
                  </a:lnTo>
                  <a:lnTo>
                    <a:pt x="38" y="13"/>
                  </a:lnTo>
                  <a:lnTo>
                    <a:pt x="38" y="16"/>
                  </a:lnTo>
                  <a:lnTo>
                    <a:pt x="35" y="16"/>
                  </a:lnTo>
                  <a:lnTo>
                    <a:pt x="35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28" y="10"/>
                  </a:lnTo>
                  <a:lnTo>
                    <a:pt x="24" y="7"/>
                  </a:lnTo>
                  <a:lnTo>
                    <a:pt x="21" y="7"/>
                  </a:lnTo>
                  <a:lnTo>
                    <a:pt x="17" y="7"/>
                  </a:lnTo>
                  <a:lnTo>
                    <a:pt x="21" y="10"/>
                  </a:lnTo>
                  <a:lnTo>
                    <a:pt x="21" y="13"/>
                  </a:lnTo>
                  <a:lnTo>
                    <a:pt x="17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21" y="16"/>
                  </a:lnTo>
                  <a:lnTo>
                    <a:pt x="17" y="16"/>
                  </a:lnTo>
                  <a:lnTo>
                    <a:pt x="14" y="16"/>
                  </a:lnTo>
                  <a:lnTo>
                    <a:pt x="14" y="19"/>
                  </a:lnTo>
                  <a:lnTo>
                    <a:pt x="21" y="19"/>
                  </a:lnTo>
                  <a:lnTo>
                    <a:pt x="17" y="19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7" y="23"/>
                  </a:lnTo>
                  <a:lnTo>
                    <a:pt x="4" y="23"/>
                  </a:lnTo>
                  <a:lnTo>
                    <a:pt x="0" y="26"/>
                  </a:lnTo>
                  <a:lnTo>
                    <a:pt x="7" y="26"/>
                  </a:lnTo>
                  <a:lnTo>
                    <a:pt x="11" y="29"/>
                  </a:lnTo>
                  <a:lnTo>
                    <a:pt x="14" y="32"/>
                  </a:lnTo>
                  <a:lnTo>
                    <a:pt x="17" y="29"/>
                  </a:lnTo>
                  <a:lnTo>
                    <a:pt x="21" y="26"/>
                  </a:lnTo>
                  <a:lnTo>
                    <a:pt x="21" y="23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8" y="26"/>
                  </a:lnTo>
                  <a:lnTo>
                    <a:pt x="28" y="29"/>
                  </a:lnTo>
                  <a:lnTo>
                    <a:pt x="31" y="29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1" y="32"/>
                  </a:lnTo>
                  <a:lnTo>
                    <a:pt x="38" y="32"/>
                  </a:lnTo>
                  <a:lnTo>
                    <a:pt x="35" y="32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8" y="39"/>
                  </a:lnTo>
                  <a:lnTo>
                    <a:pt x="41" y="39"/>
                  </a:lnTo>
                  <a:lnTo>
                    <a:pt x="41" y="36"/>
                  </a:lnTo>
                  <a:lnTo>
                    <a:pt x="45" y="36"/>
                  </a:lnTo>
                  <a:lnTo>
                    <a:pt x="45" y="39"/>
                  </a:lnTo>
                  <a:lnTo>
                    <a:pt x="41" y="39"/>
                  </a:lnTo>
                  <a:lnTo>
                    <a:pt x="35" y="42"/>
                  </a:lnTo>
                  <a:lnTo>
                    <a:pt x="35" y="39"/>
                  </a:lnTo>
                  <a:lnTo>
                    <a:pt x="31" y="42"/>
                  </a:lnTo>
                  <a:lnTo>
                    <a:pt x="28" y="42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17" y="42"/>
                  </a:lnTo>
                  <a:lnTo>
                    <a:pt x="14" y="42"/>
                  </a:lnTo>
                  <a:lnTo>
                    <a:pt x="11" y="42"/>
                  </a:lnTo>
                  <a:lnTo>
                    <a:pt x="7" y="42"/>
                  </a:lnTo>
                  <a:lnTo>
                    <a:pt x="4" y="42"/>
                  </a:lnTo>
                  <a:lnTo>
                    <a:pt x="7" y="45"/>
                  </a:lnTo>
                  <a:lnTo>
                    <a:pt x="11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21" y="49"/>
                  </a:lnTo>
                  <a:lnTo>
                    <a:pt x="28" y="49"/>
                  </a:lnTo>
                  <a:lnTo>
                    <a:pt x="31" y="49"/>
                  </a:lnTo>
                  <a:lnTo>
                    <a:pt x="31" y="52"/>
                  </a:lnTo>
                  <a:lnTo>
                    <a:pt x="28" y="52"/>
                  </a:lnTo>
                  <a:lnTo>
                    <a:pt x="28" y="55"/>
                  </a:lnTo>
                  <a:lnTo>
                    <a:pt x="31" y="55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41" y="55"/>
                  </a:lnTo>
                  <a:lnTo>
                    <a:pt x="38" y="58"/>
                  </a:lnTo>
                  <a:lnTo>
                    <a:pt x="35" y="58"/>
                  </a:lnTo>
                  <a:lnTo>
                    <a:pt x="35" y="61"/>
                  </a:lnTo>
                  <a:lnTo>
                    <a:pt x="38" y="65"/>
                  </a:lnTo>
                  <a:lnTo>
                    <a:pt x="41" y="58"/>
                  </a:lnTo>
                  <a:lnTo>
                    <a:pt x="48" y="61"/>
                  </a:lnTo>
                  <a:lnTo>
                    <a:pt x="48" y="61"/>
                  </a:lnTo>
                  <a:lnTo>
                    <a:pt x="45" y="61"/>
                  </a:lnTo>
                  <a:lnTo>
                    <a:pt x="41" y="61"/>
                  </a:lnTo>
                  <a:lnTo>
                    <a:pt x="38" y="65"/>
                  </a:lnTo>
                  <a:lnTo>
                    <a:pt x="35" y="65"/>
                  </a:lnTo>
                  <a:lnTo>
                    <a:pt x="35" y="68"/>
                  </a:lnTo>
                  <a:lnTo>
                    <a:pt x="35" y="68"/>
                  </a:lnTo>
                  <a:lnTo>
                    <a:pt x="31" y="68"/>
                  </a:lnTo>
                  <a:lnTo>
                    <a:pt x="28" y="71"/>
                  </a:lnTo>
                  <a:lnTo>
                    <a:pt x="28" y="68"/>
                  </a:lnTo>
                  <a:lnTo>
                    <a:pt x="24" y="65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31" y="78"/>
                  </a:lnTo>
                  <a:lnTo>
                    <a:pt x="38" y="78"/>
                  </a:lnTo>
                  <a:lnTo>
                    <a:pt x="41" y="74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52" y="78"/>
                  </a:lnTo>
                  <a:lnTo>
                    <a:pt x="52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6" name="Freeform 157"/>
            <p:cNvSpPr>
              <a:spLocks noEditPoints="1"/>
            </p:cNvSpPr>
            <p:nvPr/>
          </p:nvSpPr>
          <p:spPr bwMode="auto">
            <a:xfrm>
              <a:off x="3470276" y="4631392"/>
              <a:ext cx="65088" cy="36512"/>
            </a:xfrm>
            <a:custGeom>
              <a:avLst/>
              <a:gdLst>
                <a:gd name="T0" fmla="*/ 38 w 41"/>
                <a:gd name="T1" fmla="*/ 16 h 23"/>
                <a:gd name="T2" fmla="*/ 34 w 41"/>
                <a:gd name="T3" fmla="*/ 20 h 23"/>
                <a:gd name="T4" fmla="*/ 34 w 41"/>
                <a:gd name="T5" fmla="*/ 23 h 23"/>
                <a:gd name="T6" fmla="*/ 41 w 41"/>
                <a:gd name="T7" fmla="*/ 20 h 23"/>
                <a:gd name="T8" fmla="*/ 41 w 41"/>
                <a:gd name="T9" fmla="*/ 16 h 23"/>
                <a:gd name="T10" fmla="*/ 38 w 41"/>
                <a:gd name="T11" fmla="*/ 16 h 23"/>
                <a:gd name="T12" fmla="*/ 38 w 41"/>
                <a:gd name="T13" fmla="*/ 16 h 23"/>
                <a:gd name="T14" fmla="*/ 21 w 41"/>
                <a:gd name="T15" fmla="*/ 13 h 23"/>
                <a:gd name="T16" fmla="*/ 24 w 41"/>
                <a:gd name="T17" fmla="*/ 13 h 23"/>
                <a:gd name="T18" fmla="*/ 28 w 41"/>
                <a:gd name="T19" fmla="*/ 13 h 23"/>
                <a:gd name="T20" fmla="*/ 24 w 41"/>
                <a:gd name="T21" fmla="*/ 16 h 23"/>
                <a:gd name="T22" fmla="*/ 21 w 41"/>
                <a:gd name="T23" fmla="*/ 13 h 23"/>
                <a:gd name="T24" fmla="*/ 21 w 41"/>
                <a:gd name="T25" fmla="*/ 13 h 23"/>
                <a:gd name="T26" fmla="*/ 17 w 41"/>
                <a:gd name="T27" fmla="*/ 7 h 23"/>
                <a:gd name="T28" fmla="*/ 14 w 41"/>
                <a:gd name="T29" fmla="*/ 7 h 23"/>
                <a:gd name="T30" fmla="*/ 17 w 41"/>
                <a:gd name="T31" fmla="*/ 10 h 23"/>
                <a:gd name="T32" fmla="*/ 17 w 41"/>
                <a:gd name="T33" fmla="*/ 7 h 23"/>
                <a:gd name="T34" fmla="*/ 17 w 41"/>
                <a:gd name="T35" fmla="*/ 7 h 23"/>
                <a:gd name="T36" fmla="*/ 0 w 41"/>
                <a:gd name="T37" fmla="*/ 10 h 23"/>
                <a:gd name="T38" fmla="*/ 3 w 41"/>
                <a:gd name="T39" fmla="*/ 10 h 23"/>
                <a:gd name="T40" fmla="*/ 3 w 41"/>
                <a:gd name="T41" fmla="*/ 13 h 23"/>
                <a:gd name="T42" fmla="*/ 0 w 41"/>
                <a:gd name="T43" fmla="*/ 13 h 23"/>
                <a:gd name="T44" fmla="*/ 0 w 41"/>
                <a:gd name="T45" fmla="*/ 10 h 23"/>
                <a:gd name="T46" fmla="*/ 0 w 41"/>
                <a:gd name="T47" fmla="*/ 10 h 23"/>
                <a:gd name="T48" fmla="*/ 0 w 41"/>
                <a:gd name="T49" fmla="*/ 10 h 23"/>
                <a:gd name="T50" fmla="*/ 3 w 41"/>
                <a:gd name="T51" fmla="*/ 4 h 23"/>
                <a:gd name="T52" fmla="*/ 7 w 41"/>
                <a:gd name="T53" fmla="*/ 4 h 23"/>
                <a:gd name="T54" fmla="*/ 7 w 41"/>
                <a:gd name="T55" fmla="*/ 10 h 23"/>
                <a:gd name="T56" fmla="*/ 10 w 41"/>
                <a:gd name="T57" fmla="*/ 13 h 23"/>
                <a:gd name="T58" fmla="*/ 7 w 41"/>
                <a:gd name="T59" fmla="*/ 16 h 23"/>
                <a:gd name="T60" fmla="*/ 3 w 41"/>
                <a:gd name="T61" fmla="*/ 20 h 23"/>
                <a:gd name="T62" fmla="*/ 7 w 41"/>
                <a:gd name="T63" fmla="*/ 20 h 23"/>
                <a:gd name="T64" fmla="*/ 14 w 41"/>
                <a:gd name="T65" fmla="*/ 20 h 23"/>
                <a:gd name="T66" fmla="*/ 14 w 41"/>
                <a:gd name="T67" fmla="*/ 16 h 23"/>
                <a:gd name="T68" fmla="*/ 10 w 41"/>
                <a:gd name="T69" fmla="*/ 13 h 23"/>
                <a:gd name="T70" fmla="*/ 10 w 41"/>
                <a:gd name="T71" fmla="*/ 10 h 23"/>
                <a:gd name="T72" fmla="*/ 10 w 41"/>
                <a:gd name="T73" fmla="*/ 7 h 23"/>
                <a:gd name="T74" fmla="*/ 10 w 41"/>
                <a:gd name="T75" fmla="*/ 4 h 23"/>
                <a:gd name="T76" fmla="*/ 7 w 41"/>
                <a:gd name="T77" fmla="*/ 0 h 23"/>
                <a:gd name="T78" fmla="*/ 3 w 41"/>
                <a:gd name="T79" fmla="*/ 4 h 23"/>
                <a:gd name="T80" fmla="*/ 3 w 41"/>
                <a:gd name="T81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" h="23">
                  <a:moveTo>
                    <a:pt x="38" y="16"/>
                  </a:moveTo>
                  <a:lnTo>
                    <a:pt x="34" y="20"/>
                  </a:lnTo>
                  <a:lnTo>
                    <a:pt x="34" y="23"/>
                  </a:lnTo>
                  <a:lnTo>
                    <a:pt x="41" y="20"/>
                  </a:lnTo>
                  <a:lnTo>
                    <a:pt x="41" y="16"/>
                  </a:lnTo>
                  <a:lnTo>
                    <a:pt x="38" y="16"/>
                  </a:lnTo>
                  <a:lnTo>
                    <a:pt x="38" y="16"/>
                  </a:lnTo>
                  <a:close/>
                  <a:moveTo>
                    <a:pt x="21" y="13"/>
                  </a:moveTo>
                  <a:lnTo>
                    <a:pt x="24" y="13"/>
                  </a:lnTo>
                  <a:lnTo>
                    <a:pt x="28" y="13"/>
                  </a:lnTo>
                  <a:lnTo>
                    <a:pt x="24" y="16"/>
                  </a:lnTo>
                  <a:lnTo>
                    <a:pt x="21" y="13"/>
                  </a:lnTo>
                  <a:lnTo>
                    <a:pt x="21" y="13"/>
                  </a:lnTo>
                  <a:close/>
                  <a:moveTo>
                    <a:pt x="17" y="7"/>
                  </a:moveTo>
                  <a:lnTo>
                    <a:pt x="14" y="7"/>
                  </a:lnTo>
                  <a:lnTo>
                    <a:pt x="17" y="10"/>
                  </a:lnTo>
                  <a:lnTo>
                    <a:pt x="17" y="7"/>
                  </a:lnTo>
                  <a:lnTo>
                    <a:pt x="17" y="7"/>
                  </a:lnTo>
                  <a:close/>
                  <a:moveTo>
                    <a:pt x="0" y="10"/>
                  </a:moveTo>
                  <a:lnTo>
                    <a:pt x="3" y="10"/>
                  </a:lnTo>
                  <a:lnTo>
                    <a:pt x="3" y="13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close/>
                  <a:moveTo>
                    <a:pt x="3" y="4"/>
                  </a:moveTo>
                  <a:lnTo>
                    <a:pt x="7" y="4"/>
                  </a:lnTo>
                  <a:lnTo>
                    <a:pt x="7" y="10"/>
                  </a:lnTo>
                  <a:lnTo>
                    <a:pt x="10" y="13"/>
                  </a:lnTo>
                  <a:lnTo>
                    <a:pt x="7" y="16"/>
                  </a:lnTo>
                  <a:lnTo>
                    <a:pt x="3" y="20"/>
                  </a:lnTo>
                  <a:lnTo>
                    <a:pt x="7" y="20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0" y="13"/>
                  </a:lnTo>
                  <a:lnTo>
                    <a:pt x="10" y="10"/>
                  </a:lnTo>
                  <a:lnTo>
                    <a:pt x="10" y="7"/>
                  </a:lnTo>
                  <a:lnTo>
                    <a:pt x="10" y="4"/>
                  </a:lnTo>
                  <a:lnTo>
                    <a:pt x="7" y="0"/>
                  </a:lnTo>
                  <a:lnTo>
                    <a:pt x="3" y="4"/>
                  </a:lnTo>
                  <a:lnTo>
                    <a:pt x="3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7" name="Freeform 158"/>
            <p:cNvSpPr>
              <a:spLocks noEditPoints="1"/>
            </p:cNvSpPr>
            <p:nvPr/>
          </p:nvSpPr>
          <p:spPr bwMode="auto">
            <a:xfrm>
              <a:off x="4305301" y="4139267"/>
              <a:ext cx="98425" cy="31750"/>
            </a:xfrm>
            <a:custGeom>
              <a:avLst/>
              <a:gdLst>
                <a:gd name="T0" fmla="*/ 55 w 62"/>
                <a:gd name="T1" fmla="*/ 16 h 20"/>
                <a:gd name="T2" fmla="*/ 62 w 62"/>
                <a:gd name="T3" fmla="*/ 20 h 20"/>
                <a:gd name="T4" fmla="*/ 55 w 62"/>
                <a:gd name="T5" fmla="*/ 20 h 20"/>
                <a:gd name="T6" fmla="*/ 55 w 62"/>
                <a:gd name="T7" fmla="*/ 20 h 20"/>
                <a:gd name="T8" fmla="*/ 55 w 62"/>
                <a:gd name="T9" fmla="*/ 16 h 20"/>
                <a:gd name="T10" fmla="*/ 55 w 62"/>
                <a:gd name="T11" fmla="*/ 16 h 20"/>
                <a:gd name="T12" fmla="*/ 59 w 62"/>
                <a:gd name="T13" fmla="*/ 7 h 20"/>
                <a:gd name="T14" fmla="*/ 55 w 62"/>
                <a:gd name="T15" fmla="*/ 10 h 20"/>
                <a:gd name="T16" fmla="*/ 59 w 62"/>
                <a:gd name="T17" fmla="*/ 13 h 20"/>
                <a:gd name="T18" fmla="*/ 59 w 62"/>
                <a:gd name="T19" fmla="*/ 10 h 20"/>
                <a:gd name="T20" fmla="*/ 59 w 62"/>
                <a:gd name="T21" fmla="*/ 7 h 20"/>
                <a:gd name="T22" fmla="*/ 59 w 62"/>
                <a:gd name="T23" fmla="*/ 7 h 20"/>
                <a:gd name="T24" fmla="*/ 38 w 62"/>
                <a:gd name="T25" fmla="*/ 13 h 20"/>
                <a:gd name="T26" fmla="*/ 35 w 62"/>
                <a:gd name="T27" fmla="*/ 13 h 20"/>
                <a:gd name="T28" fmla="*/ 38 w 62"/>
                <a:gd name="T29" fmla="*/ 16 h 20"/>
                <a:gd name="T30" fmla="*/ 42 w 62"/>
                <a:gd name="T31" fmla="*/ 16 h 20"/>
                <a:gd name="T32" fmla="*/ 38 w 62"/>
                <a:gd name="T33" fmla="*/ 13 h 20"/>
                <a:gd name="T34" fmla="*/ 38 w 62"/>
                <a:gd name="T35" fmla="*/ 13 h 20"/>
                <a:gd name="T36" fmla="*/ 31 w 62"/>
                <a:gd name="T37" fmla="*/ 0 h 20"/>
                <a:gd name="T38" fmla="*/ 31 w 62"/>
                <a:gd name="T39" fmla="*/ 0 h 20"/>
                <a:gd name="T40" fmla="*/ 38 w 62"/>
                <a:gd name="T41" fmla="*/ 0 h 20"/>
                <a:gd name="T42" fmla="*/ 35 w 62"/>
                <a:gd name="T43" fmla="*/ 3 h 20"/>
                <a:gd name="T44" fmla="*/ 35 w 62"/>
                <a:gd name="T45" fmla="*/ 7 h 20"/>
                <a:gd name="T46" fmla="*/ 31 w 62"/>
                <a:gd name="T47" fmla="*/ 3 h 20"/>
                <a:gd name="T48" fmla="*/ 31 w 62"/>
                <a:gd name="T49" fmla="*/ 0 h 20"/>
                <a:gd name="T50" fmla="*/ 31 w 62"/>
                <a:gd name="T51" fmla="*/ 0 h 20"/>
                <a:gd name="T52" fmla="*/ 4 w 62"/>
                <a:gd name="T53" fmla="*/ 7 h 20"/>
                <a:gd name="T54" fmla="*/ 7 w 62"/>
                <a:gd name="T55" fmla="*/ 7 h 20"/>
                <a:gd name="T56" fmla="*/ 0 w 62"/>
                <a:gd name="T57" fmla="*/ 10 h 20"/>
                <a:gd name="T58" fmla="*/ 4 w 62"/>
                <a:gd name="T59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2" h="20">
                  <a:moveTo>
                    <a:pt x="55" y="16"/>
                  </a:moveTo>
                  <a:lnTo>
                    <a:pt x="62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5" y="16"/>
                  </a:lnTo>
                  <a:lnTo>
                    <a:pt x="55" y="16"/>
                  </a:lnTo>
                  <a:close/>
                  <a:moveTo>
                    <a:pt x="59" y="7"/>
                  </a:moveTo>
                  <a:lnTo>
                    <a:pt x="55" y="10"/>
                  </a:lnTo>
                  <a:lnTo>
                    <a:pt x="59" y="13"/>
                  </a:lnTo>
                  <a:lnTo>
                    <a:pt x="59" y="10"/>
                  </a:lnTo>
                  <a:lnTo>
                    <a:pt x="59" y="7"/>
                  </a:lnTo>
                  <a:lnTo>
                    <a:pt x="59" y="7"/>
                  </a:lnTo>
                  <a:close/>
                  <a:moveTo>
                    <a:pt x="38" y="13"/>
                  </a:moveTo>
                  <a:lnTo>
                    <a:pt x="35" y="13"/>
                  </a:lnTo>
                  <a:lnTo>
                    <a:pt x="38" y="16"/>
                  </a:lnTo>
                  <a:lnTo>
                    <a:pt x="42" y="16"/>
                  </a:lnTo>
                  <a:lnTo>
                    <a:pt x="38" y="13"/>
                  </a:lnTo>
                  <a:lnTo>
                    <a:pt x="38" y="13"/>
                  </a:lnTo>
                  <a:close/>
                  <a:moveTo>
                    <a:pt x="31" y="0"/>
                  </a:moveTo>
                  <a:lnTo>
                    <a:pt x="31" y="0"/>
                  </a:lnTo>
                  <a:lnTo>
                    <a:pt x="38" y="0"/>
                  </a:lnTo>
                  <a:lnTo>
                    <a:pt x="35" y="3"/>
                  </a:lnTo>
                  <a:lnTo>
                    <a:pt x="35" y="7"/>
                  </a:lnTo>
                  <a:lnTo>
                    <a:pt x="31" y="3"/>
                  </a:lnTo>
                  <a:lnTo>
                    <a:pt x="31" y="0"/>
                  </a:lnTo>
                  <a:lnTo>
                    <a:pt x="31" y="0"/>
                  </a:lnTo>
                  <a:close/>
                  <a:moveTo>
                    <a:pt x="4" y="7"/>
                  </a:moveTo>
                  <a:lnTo>
                    <a:pt x="7" y="7"/>
                  </a:lnTo>
                  <a:lnTo>
                    <a:pt x="0" y="10"/>
                  </a:lnTo>
                  <a:lnTo>
                    <a:pt x="4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8" name="Freeform 159"/>
            <p:cNvSpPr>
              <a:spLocks noEditPoints="1"/>
            </p:cNvSpPr>
            <p:nvPr/>
          </p:nvSpPr>
          <p:spPr bwMode="auto">
            <a:xfrm>
              <a:off x="4229101" y="4129742"/>
              <a:ext cx="71438" cy="20637"/>
            </a:xfrm>
            <a:custGeom>
              <a:avLst/>
              <a:gdLst>
                <a:gd name="T0" fmla="*/ 35 w 45"/>
                <a:gd name="T1" fmla="*/ 9 h 13"/>
                <a:gd name="T2" fmla="*/ 38 w 45"/>
                <a:gd name="T3" fmla="*/ 9 h 13"/>
                <a:gd name="T4" fmla="*/ 45 w 45"/>
                <a:gd name="T5" fmla="*/ 9 h 13"/>
                <a:gd name="T6" fmla="*/ 42 w 45"/>
                <a:gd name="T7" fmla="*/ 9 h 13"/>
                <a:gd name="T8" fmla="*/ 35 w 45"/>
                <a:gd name="T9" fmla="*/ 9 h 13"/>
                <a:gd name="T10" fmla="*/ 35 w 45"/>
                <a:gd name="T11" fmla="*/ 9 h 13"/>
                <a:gd name="T12" fmla="*/ 31 w 45"/>
                <a:gd name="T13" fmla="*/ 3 h 13"/>
                <a:gd name="T14" fmla="*/ 28 w 45"/>
                <a:gd name="T15" fmla="*/ 3 h 13"/>
                <a:gd name="T16" fmla="*/ 21 w 45"/>
                <a:gd name="T17" fmla="*/ 3 h 13"/>
                <a:gd name="T18" fmla="*/ 7 w 45"/>
                <a:gd name="T19" fmla="*/ 0 h 13"/>
                <a:gd name="T20" fmla="*/ 4 w 45"/>
                <a:gd name="T21" fmla="*/ 3 h 13"/>
                <a:gd name="T22" fmla="*/ 4 w 45"/>
                <a:gd name="T23" fmla="*/ 6 h 13"/>
                <a:gd name="T24" fmla="*/ 4 w 45"/>
                <a:gd name="T25" fmla="*/ 6 h 13"/>
                <a:gd name="T26" fmla="*/ 0 w 45"/>
                <a:gd name="T27" fmla="*/ 9 h 13"/>
                <a:gd name="T28" fmla="*/ 4 w 45"/>
                <a:gd name="T29" fmla="*/ 13 h 13"/>
                <a:gd name="T30" fmla="*/ 14 w 45"/>
                <a:gd name="T31" fmla="*/ 13 h 13"/>
                <a:gd name="T32" fmla="*/ 14 w 45"/>
                <a:gd name="T33" fmla="*/ 13 h 13"/>
                <a:gd name="T34" fmla="*/ 21 w 45"/>
                <a:gd name="T35" fmla="*/ 13 h 13"/>
                <a:gd name="T36" fmla="*/ 24 w 45"/>
                <a:gd name="T37" fmla="*/ 13 h 13"/>
                <a:gd name="T38" fmla="*/ 31 w 45"/>
                <a:gd name="T39" fmla="*/ 9 h 13"/>
                <a:gd name="T40" fmla="*/ 35 w 45"/>
                <a:gd name="T41" fmla="*/ 6 h 13"/>
                <a:gd name="T42" fmla="*/ 31 w 45"/>
                <a:gd name="T43" fmla="*/ 3 h 13"/>
                <a:gd name="T44" fmla="*/ 31 w 45"/>
                <a:gd name="T4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" h="13">
                  <a:moveTo>
                    <a:pt x="35" y="9"/>
                  </a:moveTo>
                  <a:lnTo>
                    <a:pt x="38" y="9"/>
                  </a:lnTo>
                  <a:lnTo>
                    <a:pt x="45" y="9"/>
                  </a:lnTo>
                  <a:lnTo>
                    <a:pt x="42" y="9"/>
                  </a:lnTo>
                  <a:lnTo>
                    <a:pt x="35" y="9"/>
                  </a:lnTo>
                  <a:lnTo>
                    <a:pt x="35" y="9"/>
                  </a:lnTo>
                  <a:close/>
                  <a:moveTo>
                    <a:pt x="31" y="3"/>
                  </a:moveTo>
                  <a:lnTo>
                    <a:pt x="28" y="3"/>
                  </a:lnTo>
                  <a:lnTo>
                    <a:pt x="21" y="3"/>
                  </a:lnTo>
                  <a:lnTo>
                    <a:pt x="7" y="0"/>
                  </a:lnTo>
                  <a:lnTo>
                    <a:pt x="4" y="3"/>
                  </a:lnTo>
                  <a:lnTo>
                    <a:pt x="4" y="6"/>
                  </a:lnTo>
                  <a:lnTo>
                    <a:pt x="4" y="6"/>
                  </a:lnTo>
                  <a:lnTo>
                    <a:pt x="0" y="9"/>
                  </a:lnTo>
                  <a:lnTo>
                    <a:pt x="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21" y="13"/>
                  </a:lnTo>
                  <a:lnTo>
                    <a:pt x="24" y="13"/>
                  </a:lnTo>
                  <a:lnTo>
                    <a:pt x="31" y="9"/>
                  </a:lnTo>
                  <a:lnTo>
                    <a:pt x="35" y="6"/>
                  </a:lnTo>
                  <a:lnTo>
                    <a:pt x="31" y="3"/>
                  </a:lnTo>
                  <a:lnTo>
                    <a:pt x="31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9" name="Freeform 160"/>
            <p:cNvSpPr>
              <a:spLocks noEditPoints="1"/>
            </p:cNvSpPr>
            <p:nvPr/>
          </p:nvSpPr>
          <p:spPr bwMode="auto">
            <a:xfrm>
              <a:off x="4087813" y="4093230"/>
              <a:ext cx="114300" cy="66675"/>
            </a:xfrm>
            <a:custGeom>
              <a:avLst/>
              <a:gdLst>
                <a:gd name="T0" fmla="*/ 69 w 72"/>
                <a:gd name="T1" fmla="*/ 29 h 42"/>
                <a:gd name="T2" fmla="*/ 69 w 72"/>
                <a:gd name="T3" fmla="*/ 32 h 42"/>
                <a:gd name="T4" fmla="*/ 65 w 72"/>
                <a:gd name="T5" fmla="*/ 29 h 42"/>
                <a:gd name="T6" fmla="*/ 65 w 72"/>
                <a:gd name="T7" fmla="*/ 29 h 42"/>
                <a:gd name="T8" fmla="*/ 7 w 72"/>
                <a:gd name="T9" fmla="*/ 7 h 42"/>
                <a:gd name="T10" fmla="*/ 7 w 72"/>
                <a:gd name="T11" fmla="*/ 10 h 42"/>
                <a:gd name="T12" fmla="*/ 3 w 72"/>
                <a:gd name="T13" fmla="*/ 16 h 42"/>
                <a:gd name="T14" fmla="*/ 3 w 72"/>
                <a:gd name="T15" fmla="*/ 19 h 42"/>
                <a:gd name="T16" fmla="*/ 3 w 72"/>
                <a:gd name="T17" fmla="*/ 26 h 42"/>
                <a:gd name="T18" fmla="*/ 0 w 72"/>
                <a:gd name="T19" fmla="*/ 32 h 42"/>
                <a:gd name="T20" fmla="*/ 3 w 72"/>
                <a:gd name="T21" fmla="*/ 36 h 42"/>
                <a:gd name="T22" fmla="*/ 7 w 72"/>
                <a:gd name="T23" fmla="*/ 39 h 42"/>
                <a:gd name="T24" fmla="*/ 10 w 72"/>
                <a:gd name="T25" fmla="*/ 42 h 42"/>
                <a:gd name="T26" fmla="*/ 17 w 72"/>
                <a:gd name="T27" fmla="*/ 32 h 42"/>
                <a:gd name="T28" fmla="*/ 17 w 72"/>
                <a:gd name="T29" fmla="*/ 26 h 42"/>
                <a:gd name="T30" fmla="*/ 24 w 72"/>
                <a:gd name="T31" fmla="*/ 29 h 42"/>
                <a:gd name="T32" fmla="*/ 27 w 72"/>
                <a:gd name="T33" fmla="*/ 26 h 42"/>
                <a:gd name="T34" fmla="*/ 31 w 72"/>
                <a:gd name="T35" fmla="*/ 32 h 42"/>
                <a:gd name="T36" fmla="*/ 41 w 72"/>
                <a:gd name="T37" fmla="*/ 26 h 42"/>
                <a:gd name="T38" fmla="*/ 51 w 72"/>
                <a:gd name="T39" fmla="*/ 26 h 42"/>
                <a:gd name="T40" fmla="*/ 58 w 72"/>
                <a:gd name="T41" fmla="*/ 26 h 42"/>
                <a:gd name="T42" fmla="*/ 69 w 72"/>
                <a:gd name="T43" fmla="*/ 29 h 42"/>
                <a:gd name="T44" fmla="*/ 72 w 72"/>
                <a:gd name="T45" fmla="*/ 26 h 42"/>
                <a:gd name="T46" fmla="*/ 72 w 72"/>
                <a:gd name="T47" fmla="*/ 19 h 42"/>
                <a:gd name="T48" fmla="*/ 62 w 72"/>
                <a:gd name="T49" fmla="*/ 16 h 42"/>
                <a:gd name="T50" fmla="*/ 55 w 72"/>
                <a:gd name="T51" fmla="*/ 16 h 42"/>
                <a:gd name="T52" fmla="*/ 41 w 72"/>
                <a:gd name="T53" fmla="*/ 10 h 42"/>
                <a:gd name="T54" fmla="*/ 41 w 72"/>
                <a:gd name="T55" fmla="*/ 10 h 42"/>
                <a:gd name="T56" fmla="*/ 55 w 72"/>
                <a:gd name="T57" fmla="*/ 13 h 42"/>
                <a:gd name="T58" fmla="*/ 55 w 72"/>
                <a:gd name="T59" fmla="*/ 10 h 42"/>
                <a:gd name="T60" fmla="*/ 48 w 72"/>
                <a:gd name="T61" fmla="*/ 10 h 42"/>
                <a:gd name="T62" fmla="*/ 41 w 72"/>
                <a:gd name="T63" fmla="*/ 3 h 42"/>
                <a:gd name="T64" fmla="*/ 38 w 72"/>
                <a:gd name="T65" fmla="*/ 3 h 42"/>
                <a:gd name="T66" fmla="*/ 20 w 72"/>
                <a:gd name="T67" fmla="*/ 0 h 42"/>
                <a:gd name="T68" fmla="*/ 10 w 72"/>
                <a:gd name="T6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2" h="42">
                  <a:moveTo>
                    <a:pt x="65" y="29"/>
                  </a:moveTo>
                  <a:lnTo>
                    <a:pt x="69" y="29"/>
                  </a:lnTo>
                  <a:lnTo>
                    <a:pt x="72" y="32"/>
                  </a:lnTo>
                  <a:lnTo>
                    <a:pt x="69" y="32"/>
                  </a:lnTo>
                  <a:lnTo>
                    <a:pt x="65" y="32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close/>
                  <a:moveTo>
                    <a:pt x="7" y="3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7" y="10"/>
                  </a:lnTo>
                  <a:lnTo>
                    <a:pt x="7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3" y="36"/>
                  </a:lnTo>
                  <a:lnTo>
                    <a:pt x="3" y="39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10" y="42"/>
                  </a:lnTo>
                  <a:lnTo>
                    <a:pt x="10" y="36"/>
                  </a:lnTo>
                  <a:lnTo>
                    <a:pt x="17" y="32"/>
                  </a:lnTo>
                  <a:lnTo>
                    <a:pt x="17" y="29"/>
                  </a:lnTo>
                  <a:lnTo>
                    <a:pt x="17" y="26"/>
                  </a:lnTo>
                  <a:lnTo>
                    <a:pt x="20" y="29"/>
                  </a:lnTo>
                  <a:lnTo>
                    <a:pt x="24" y="29"/>
                  </a:lnTo>
                  <a:lnTo>
                    <a:pt x="24" y="26"/>
                  </a:lnTo>
                  <a:lnTo>
                    <a:pt x="27" y="26"/>
                  </a:lnTo>
                  <a:lnTo>
                    <a:pt x="27" y="29"/>
                  </a:lnTo>
                  <a:lnTo>
                    <a:pt x="31" y="32"/>
                  </a:lnTo>
                  <a:lnTo>
                    <a:pt x="34" y="29"/>
                  </a:lnTo>
                  <a:lnTo>
                    <a:pt x="41" y="26"/>
                  </a:lnTo>
                  <a:lnTo>
                    <a:pt x="45" y="26"/>
                  </a:lnTo>
                  <a:lnTo>
                    <a:pt x="51" y="26"/>
                  </a:lnTo>
                  <a:lnTo>
                    <a:pt x="55" y="26"/>
                  </a:lnTo>
                  <a:lnTo>
                    <a:pt x="58" y="26"/>
                  </a:lnTo>
                  <a:lnTo>
                    <a:pt x="62" y="26"/>
                  </a:lnTo>
                  <a:lnTo>
                    <a:pt x="69" y="29"/>
                  </a:lnTo>
                  <a:lnTo>
                    <a:pt x="69" y="26"/>
                  </a:lnTo>
                  <a:lnTo>
                    <a:pt x="72" y="26"/>
                  </a:lnTo>
                  <a:lnTo>
                    <a:pt x="72" y="23"/>
                  </a:lnTo>
                  <a:lnTo>
                    <a:pt x="72" y="19"/>
                  </a:lnTo>
                  <a:lnTo>
                    <a:pt x="65" y="16"/>
                  </a:lnTo>
                  <a:lnTo>
                    <a:pt x="62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48" y="13"/>
                  </a:lnTo>
                  <a:lnTo>
                    <a:pt x="41" y="10"/>
                  </a:lnTo>
                  <a:lnTo>
                    <a:pt x="38" y="10"/>
                  </a:lnTo>
                  <a:lnTo>
                    <a:pt x="41" y="10"/>
                  </a:lnTo>
                  <a:lnTo>
                    <a:pt x="48" y="10"/>
                  </a:lnTo>
                  <a:lnTo>
                    <a:pt x="55" y="13"/>
                  </a:lnTo>
                  <a:lnTo>
                    <a:pt x="58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48" y="10"/>
                  </a:lnTo>
                  <a:lnTo>
                    <a:pt x="45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38" y="3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0" y="0"/>
                  </a:lnTo>
                  <a:lnTo>
                    <a:pt x="7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0" name="Freeform 161"/>
            <p:cNvSpPr>
              <a:spLocks noEditPoints="1"/>
            </p:cNvSpPr>
            <p:nvPr/>
          </p:nvSpPr>
          <p:spPr bwMode="auto">
            <a:xfrm>
              <a:off x="4737101" y="1384955"/>
              <a:ext cx="1300163" cy="1416050"/>
            </a:xfrm>
            <a:custGeom>
              <a:avLst/>
              <a:gdLst>
                <a:gd name="T0" fmla="*/ 207 w 819"/>
                <a:gd name="T1" fmla="*/ 850 h 892"/>
                <a:gd name="T2" fmla="*/ 148 w 819"/>
                <a:gd name="T3" fmla="*/ 827 h 892"/>
                <a:gd name="T4" fmla="*/ 138 w 819"/>
                <a:gd name="T5" fmla="*/ 773 h 892"/>
                <a:gd name="T6" fmla="*/ 138 w 819"/>
                <a:gd name="T7" fmla="*/ 743 h 892"/>
                <a:gd name="T8" fmla="*/ 121 w 819"/>
                <a:gd name="T9" fmla="*/ 711 h 892"/>
                <a:gd name="T10" fmla="*/ 121 w 819"/>
                <a:gd name="T11" fmla="*/ 676 h 892"/>
                <a:gd name="T12" fmla="*/ 162 w 819"/>
                <a:gd name="T13" fmla="*/ 659 h 892"/>
                <a:gd name="T14" fmla="*/ 162 w 819"/>
                <a:gd name="T15" fmla="*/ 640 h 892"/>
                <a:gd name="T16" fmla="*/ 196 w 819"/>
                <a:gd name="T17" fmla="*/ 595 h 892"/>
                <a:gd name="T18" fmla="*/ 193 w 819"/>
                <a:gd name="T19" fmla="*/ 563 h 892"/>
                <a:gd name="T20" fmla="*/ 176 w 819"/>
                <a:gd name="T21" fmla="*/ 521 h 892"/>
                <a:gd name="T22" fmla="*/ 158 w 819"/>
                <a:gd name="T23" fmla="*/ 498 h 892"/>
                <a:gd name="T24" fmla="*/ 162 w 819"/>
                <a:gd name="T25" fmla="*/ 407 h 892"/>
                <a:gd name="T26" fmla="*/ 69 w 819"/>
                <a:gd name="T27" fmla="*/ 330 h 892"/>
                <a:gd name="T28" fmla="*/ 10 w 819"/>
                <a:gd name="T29" fmla="*/ 278 h 892"/>
                <a:gd name="T30" fmla="*/ 31 w 819"/>
                <a:gd name="T31" fmla="*/ 249 h 892"/>
                <a:gd name="T32" fmla="*/ 121 w 819"/>
                <a:gd name="T33" fmla="*/ 194 h 892"/>
                <a:gd name="T34" fmla="*/ 165 w 819"/>
                <a:gd name="T35" fmla="*/ 117 h 892"/>
                <a:gd name="T36" fmla="*/ 268 w 819"/>
                <a:gd name="T37" fmla="*/ 94 h 892"/>
                <a:gd name="T38" fmla="*/ 334 w 819"/>
                <a:gd name="T39" fmla="*/ 97 h 892"/>
                <a:gd name="T40" fmla="*/ 427 w 819"/>
                <a:gd name="T41" fmla="*/ 114 h 892"/>
                <a:gd name="T42" fmla="*/ 492 w 819"/>
                <a:gd name="T43" fmla="*/ 78 h 892"/>
                <a:gd name="T44" fmla="*/ 526 w 819"/>
                <a:gd name="T45" fmla="*/ 36 h 892"/>
                <a:gd name="T46" fmla="*/ 674 w 819"/>
                <a:gd name="T47" fmla="*/ 33 h 892"/>
                <a:gd name="T48" fmla="*/ 582 w 819"/>
                <a:gd name="T49" fmla="*/ 42 h 892"/>
                <a:gd name="T50" fmla="*/ 702 w 819"/>
                <a:gd name="T51" fmla="*/ 65 h 892"/>
                <a:gd name="T52" fmla="*/ 595 w 819"/>
                <a:gd name="T53" fmla="*/ 97 h 892"/>
                <a:gd name="T54" fmla="*/ 640 w 819"/>
                <a:gd name="T55" fmla="*/ 136 h 892"/>
                <a:gd name="T56" fmla="*/ 661 w 819"/>
                <a:gd name="T57" fmla="*/ 181 h 892"/>
                <a:gd name="T58" fmla="*/ 815 w 819"/>
                <a:gd name="T59" fmla="*/ 152 h 892"/>
                <a:gd name="T60" fmla="*/ 757 w 819"/>
                <a:gd name="T61" fmla="*/ 207 h 892"/>
                <a:gd name="T62" fmla="*/ 695 w 819"/>
                <a:gd name="T63" fmla="*/ 311 h 892"/>
                <a:gd name="T64" fmla="*/ 695 w 819"/>
                <a:gd name="T65" fmla="*/ 365 h 892"/>
                <a:gd name="T66" fmla="*/ 664 w 819"/>
                <a:gd name="T67" fmla="*/ 401 h 892"/>
                <a:gd name="T68" fmla="*/ 654 w 819"/>
                <a:gd name="T69" fmla="*/ 437 h 892"/>
                <a:gd name="T70" fmla="*/ 657 w 819"/>
                <a:gd name="T71" fmla="*/ 479 h 892"/>
                <a:gd name="T72" fmla="*/ 602 w 819"/>
                <a:gd name="T73" fmla="*/ 488 h 892"/>
                <a:gd name="T74" fmla="*/ 575 w 819"/>
                <a:gd name="T75" fmla="*/ 514 h 892"/>
                <a:gd name="T76" fmla="*/ 637 w 819"/>
                <a:gd name="T77" fmla="*/ 559 h 892"/>
                <a:gd name="T78" fmla="*/ 595 w 819"/>
                <a:gd name="T79" fmla="*/ 572 h 892"/>
                <a:gd name="T80" fmla="*/ 544 w 819"/>
                <a:gd name="T81" fmla="*/ 579 h 892"/>
                <a:gd name="T82" fmla="*/ 609 w 819"/>
                <a:gd name="T83" fmla="*/ 611 h 892"/>
                <a:gd name="T84" fmla="*/ 537 w 819"/>
                <a:gd name="T85" fmla="*/ 656 h 892"/>
                <a:gd name="T86" fmla="*/ 458 w 819"/>
                <a:gd name="T87" fmla="*/ 676 h 892"/>
                <a:gd name="T88" fmla="*/ 375 w 819"/>
                <a:gd name="T89" fmla="*/ 724 h 892"/>
                <a:gd name="T90" fmla="*/ 306 w 819"/>
                <a:gd name="T91" fmla="*/ 747 h 892"/>
                <a:gd name="T92" fmla="*/ 286 w 819"/>
                <a:gd name="T93" fmla="*/ 802 h 892"/>
                <a:gd name="T94" fmla="*/ 255 w 819"/>
                <a:gd name="T95" fmla="*/ 844 h 892"/>
                <a:gd name="T96" fmla="*/ 231 w 819"/>
                <a:gd name="T97" fmla="*/ 882 h 892"/>
                <a:gd name="T98" fmla="*/ 289 w 819"/>
                <a:gd name="T99" fmla="*/ 811 h 892"/>
                <a:gd name="T100" fmla="*/ 568 w 819"/>
                <a:gd name="T101" fmla="*/ 598 h 892"/>
                <a:gd name="T102" fmla="*/ 633 w 819"/>
                <a:gd name="T103" fmla="*/ 517 h 892"/>
                <a:gd name="T104" fmla="*/ 692 w 819"/>
                <a:gd name="T105" fmla="*/ 456 h 892"/>
                <a:gd name="T106" fmla="*/ 671 w 819"/>
                <a:gd name="T107" fmla="*/ 385 h 892"/>
                <a:gd name="T108" fmla="*/ 716 w 819"/>
                <a:gd name="T109" fmla="*/ 214 h 892"/>
                <a:gd name="T110" fmla="*/ 506 w 819"/>
                <a:gd name="T111" fmla="*/ 20 h 892"/>
                <a:gd name="T112" fmla="*/ 420 w 819"/>
                <a:gd name="T113" fmla="*/ 101 h 892"/>
                <a:gd name="T114" fmla="*/ 152 w 819"/>
                <a:gd name="T115" fmla="*/ 398 h 892"/>
                <a:gd name="T116" fmla="*/ 152 w 819"/>
                <a:gd name="T117" fmla="*/ 466 h 892"/>
                <a:gd name="T118" fmla="*/ 141 w 819"/>
                <a:gd name="T119" fmla="*/ 511 h 892"/>
                <a:gd name="T120" fmla="*/ 121 w 819"/>
                <a:gd name="T121" fmla="*/ 724 h 892"/>
                <a:gd name="T122" fmla="*/ 186 w 819"/>
                <a:gd name="T123" fmla="*/ 563 h 892"/>
                <a:gd name="T124" fmla="*/ 162 w 819"/>
                <a:gd name="T125" fmla="*/ 605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19" h="892">
                  <a:moveTo>
                    <a:pt x="241" y="886"/>
                  </a:moveTo>
                  <a:lnTo>
                    <a:pt x="234" y="879"/>
                  </a:lnTo>
                  <a:lnTo>
                    <a:pt x="227" y="879"/>
                  </a:lnTo>
                  <a:lnTo>
                    <a:pt x="227" y="879"/>
                  </a:lnTo>
                  <a:lnTo>
                    <a:pt x="231" y="876"/>
                  </a:lnTo>
                  <a:lnTo>
                    <a:pt x="231" y="876"/>
                  </a:lnTo>
                  <a:lnTo>
                    <a:pt x="231" y="876"/>
                  </a:lnTo>
                  <a:lnTo>
                    <a:pt x="227" y="876"/>
                  </a:lnTo>
                  <a:lnTo>
                    <a:pt x="227" y="876"/>
                  </a:lnTo>
                  <a:lnTo>
                    <a:pt x="224" y="876"/>
                  </a:lnTo>
                  <a:lnTo>
                    <a:pt x="224" y="882"/>
                  </a:lnTo>
                  <a:lnTo>
                    <a:pt x="224" y="879"/>
                  </a:lnTo>
                  <a:lnTo>
                    <a:pt x="220" y="879"/>
                  </a:lnTo>
                  <a:lnTo>
                    <a:pt x="220" y="882"/>
                  </a:lnTo>
                  <a:lnTo>
                    <a:pt x="220" y="882"/>
                  </a:lnTo>
                  <a:lnTo>
                    <a:pt x="220" y="886"/>
                  </a:lnTo>
                  <a:lnTo>
                    <a:pt x="217" y="886"/>
                  </a:lnTo>
                  <a:lnTo>
                    <a:pt x="217" y="882"/>
                  </a:lnTo>
                  <a:lnTo>
                    <a:pt x="220" y="879"/>
                  </a:lnTo>
                  <a:lnTo>
                    <a:pt x="220" y="876"/>
                  </a:lnTo>
                  <a:lnTo>
                    <a:pt x="224" y="873"/>
                  </a:lnTo>
                  <a:lnTo>
                    <a:pt x="220" y="873"/>
                  </a:lnTo>
                  <a:lnTo>
                    <a:pt x="220" y="873"/>
                  </a:lnTo>
                  <a:lnTo>
                    <a:pt x="217" y="879"/>
                  </a:lnTo>
                  <a:lnTo>
                    <a:pt x="213" y="882"/>
                  </a:lnTo>
                  <a:lnTo>
                    <a:pt x="213" y="879"/>
                  </a:lnTo>
                  <a:lnTo>
                    <a:pt x="213" y="879"/>
                  </a:lnTo>
                  <a:lnTo>
                    <a:pt x="217" y="876"/>
                  </a:lnTo>
                  <a:lnTo>
                    <a:pt x="217" y="873"/>
                  </a:lnTo>
                  <a:lnTo>
                    <a:pt x="220" y="869"/>
                  </a:lnTo>
                  <a:lnTo>
                    <a:pt x="217" y="869"/>
                  </a:lnTo>
                  <a:lnTo>
                    <a:pt x="217" y="869"/>
                  </a:lnTo>
                  <a:lnTo>
                    <a:pt x="213" y="873"/>
                  </a:lnTo>
                  <a:lnTo>
                    <a:pt x="210" y="873"/>
                  </a:lnTo>
                  <a:lnTo>
                    <a:pt x="210" y="873"/>
                  </a:lnTo>
                  <a:lnTo>
                    <a:pt x="210" y="869"/>
                  </a:lnTo>
                  <a:lnTo>
                    <a:pt x="213" y="869"/>
                  </a:lnTo>
                  <a:lnTo>
                    <a:pt x="213" y="866"/>
                  </a:lnTo>
                  <a:lnTo>
                    <a:pt x="210" y="866"/>
                  </a:lnTo>
                  <a:lnTo>
                    <a:pt x="210" y="869"/>
                  </a:lnTo>
                  <a:lnTo>
                    <a:pt x="207" y="869"/>
                  </a:lnTo>
                  <a:lnTo>
                    <a:pt x="207" y="873"/>
                  </a:lnTo>
                  <a:lnTo>
                    <a:pt x="207" y="869"/>
                  </a:lnTo>
                  <a:lnTo>
                    <a:pt x="207" y="869"/>
                  </a:lnTo>
                  <a:lnTo>
                    <a:pt x="203" y="869"/>
                  </a:lnTo>
                  <a:lnTo>
                    <a:pt x="203" y="869"/>
                  </a:lnTo>
                  <a:lnTo>
                    <a:pt x="200" y="869"/>
                  </a:lnTo>
                  <a:lnTo>
                    <a:pt x="200" y="869"/>
                  </a:lnTo>
                  <a:lnTo>
                    <a:pt x="207" y="866"/>
                  </a:lnTo>
                  <a:lnTo>
                    <a:pt x="207" y="863"/>
                  </a:lnTo>
                  <a:lnTo>
                    <a:pt x="210" y="863"/>
                  </a:lnTo>
                  <a:lnTo>
                    <a:pt x="213" y="860"/>
                  </a:lnTo>
                  <a:lnTo>
                    <a:pt x="213" y="860"/>
                  </a:lnTo>
                  <a:lnTo>
                    <a:pt x="210" y="863"/>
                  </a:lnTo>
                  <a:lnTo>
                    <a:pt x="207" y="863"/>
                  </a:lnTo>
                  <a:lnTo>
                    <a:pt x="203" y="863"/>
                  </a:lnTo>
                  <a:lnTo>
                    <a:pt x="207" y="860"/>
                  </a:lnTo>
                  <a:lnTo>
                    <a:pt x="210" y="860"/>
                  </a:lnTo>
                  <a:lnTo>
                    <a:pt x="213" y="857"/>
                  </a:lnTo>
                  <a:lnTo>
                    <a:pt x="213" y="857"/>
                  </a:lnTo>
                  <a:lnTo>
                    <a:pt x="217" y="857"/>
                  </a:lnTo>
                  <a:lnTo>
                    <a:pt x="217" y="853"/>
                  </a:lnTo>
                  <a:lnTo>
                    <a:pt x="217" y="850"/>
                  </a:lnTo>
                  <a:lnTo>
                    <a:pt x="213" y="850"/>
                  </a:lnTo>
                  <a:lnTo>
                    <a:pt x="210" y="857"/>
                  </a:lnTo>
                  <a:lnTo>
                    <a:pt x="207" y="860"/>
                  </a:lnTo>
                  <a:lnTo>
                    <a:pt x="200" y="860"/>
                  </a:lnTo>
                  <a:lnTo>
                    <a:pt x="200" y="860"/>
                  </a:lnTo>
                  <a:lnTo>
                    <a:pt x="203" y="857"/>
                  </a:lnTo>
                  <a:lnTo>
                    <a:pt x="203" y="857"/>
                  </a:lnTo>
                  <a:lnTo>
                    <a:pt x="207" y="853"/>
                  </a:lnTo>
                  <a:lnTo>
                    <a:pt x="207" y="850"/>
                  </a:lnTo>
                  <a:lnTo>
                    <a:pt x="207" y="850"/>
                  </a:lnTo>
                  <a:lnTo>
                    <a:pt x="203" y="847"/>
                  </a:lnTo>
                  <a:lnTo>
                    <a:pt x="203" y="850"/>
                  </a:lnTo>
                  <a:lnTo>
                    <a:pt x="203" y="850"/>
                  </a:lnTo>
                  <a:lnTo>
                    <a:pt x="203" y="853"/>
                  </a:lnTo>
                  <a:lnTo>
                    <a:pt x="203" y="853"/>
                  </a:lnTo>
                  <a:lnTo>
                    <a:pt x="203" y="853"/>
                  </a:lnTo>
                  <a:lnTo>
                    <a:pt x="200" y="853"/>
                  </a:lnTo>
                  <a:lnTo>
                    <a:pt x="196" y="853"/>
                  </a:lnTo>
                  <a:lnTo>
                    <a:pt x="193" y="853"/>
                  </a:lnTo>
                  <a:lnTo>
                    <a:pt x="193" y="857"/>
                  </a:lnTo>
                  <a:lnTo>
                    <a:pt x="189" y="857"/>
                  </a:lnTo>
                  <a:lnTo>
                    <a:pt x="189" y="860"/>
                  </a:lnTo>
                  <a:lnTo>
                    <a:pt x="186" y="857"/>
                  </a:lnTo>
                  <a:lnTo>
                    <a:pt x="186" y="857"/>
                  </a:lnTo>
                  <a:lnTo>
                    <a:pt x="182" y="857"/>
                  </a:lnTo>
                  <a:lnTo>
                    <a:pt x="179" y="860"/>
                  </a:lnTo>
                  <a:lnTo>
                    <a:pt x="179" y="857"/>
                  </a:lnTo>
                  <a:lnTo>
                    <a:pt x="176" y="860"/>
                  </a:lnTo>
                  <a:lnTo>
                    <a:pt x="176" y="860"/>
                  </a:lnTo>
                  <a:lnTo>
                    <a:pt x="176" y="863"/>
                  </a:lnTo>
                  <a:lnTo>
                    <a:pt x="176" y="863"/>
                  </a:lnTo>
                  <a:lnTo>
                    <a:pt x="169" y="860"/>
                  </a:lnTo>
                  <a:lnTo>
                    <a:pt x="169" y="860"/>
                  </a:lnTo>
                  <a:lnTo>
                    <a:pt x="172" y="857"/>
                  </a:lnTo>
                  <a:lnTo>
                    <a:pt x="172" y="857"/>
                  </a:lnTo>
                  <a:lnTo>
                    <a:pt x="176" y="857"/>
                  </a:lnTo>
                  <a:lnTo>
                    <a:pt x="176" y="853"/>
                  </a:lnTo>
                  <a:lnTo>
                    <a:pt x="172" y="853"/>
                  </a:lnTo>
                  <a:lnTo>
                    <a:pt x="172" y="850"/>
                  </a:lnTo>
                  <a:lnTo>
                    <a:pt x="169" y="847"/>
                  </a:lnTo>
                  <a:lnTo>
                    <a:pt x="169" y="847"/>
                  </a:lnTo>
                  <a:lnTo>
                    <a:pt x="165" y="847"/>
                  </a:lnTo>
                  <a:lnTo>
                    <a:pt x="162" y="850"/>
                  </a:lnTo>
                  <a:lnTo>
                    <a:pt x="158" y="850"/>
                  </a:lnTo>
                  <a:lnTo>
                    <a:pt x="158" y="847"/>
                  </a:lnTo>
                  <a:lnTo>
                    <a:pt x="162" y="847"/>
                  </a:lnTo>
                  <a:lnTo>
                    <a:pt x="158" y="844"/>
                  </a:lnTo>
                  <a:lnTo>
                    <a:pt x="158" y="844"/>
                  </a:lnTo>
                  <a:lnTo>
                    <a:pt x="158" y="844"/>
                  </a:lnTo>
                  <a:lnTo>
                    <a:pt x="162" y="840"/>
                  </a:lnTo>
                  <a:lnTo>
                    <a:pt x="165" y="840"/>
                  </a:lnTo>
                  <a:lnTo>
                    <a:pt x="165" y="840"/>
                  </a:lnTo>
                  <a:lnTo>
                    <a:pt x="165" y="837"/>
                  </a:lnTo>
                  <a:lnTo>
                    <a:pt x="162" y="837"/>
                  </a:lnTo>
                  <a:lnTo>
                    <a:pt x="158" y="840"/>
                  </a:lnTo>
                  <a:lnTo>
                    <a:pt x="155" y="840"/>
                  </a:lnTo>
                  <a:lnTo>
                    <a:pt x="152" y="840"/>
                  </a:lnTo>
                  <a:lnTo>
                    <a:pt x="148" y="840"/>
                  </a:lnTo>
                  <a:lnTo>
                    <a:pt x="148" y="837"/>
                  </a:lnTo>
                  <a:lnTo>
                    <a:pt x="152" y="837"/>
                  </a:lnTo>
                  <a:lnTo>
                    <a:pt x="155" y="837"/>
                  </a:lnTo>
                  <a:lnTo>
                    <a:pt x="155" y="834"/>
                  </a:lnTo>
                  <a:lnTo>
                    <a:pt x="158" y="834"/>
                  </a:lnTo>
                  <a:lnTo>
                    <a:pt x="158" y="831"/>
                  </a:lnTo>
                  <a:lnTo>
                    <a:pt x="158" y="831"/>
                  </a:lnTo>
                  <a:lnTo>
                    <a:pt x="155" y="831"/>
                  </a:lnTo>
                  <a:lnTo>
                    <a:pt x="155" y="831"/>
                  </a:lnTo>
                  <a:lnTo>
                    <a:pt x="152" y="831"/>
                  </a:lnTo>
                  <a:lnTo>
                    <a:pt x="148" y="831"/>
                  </a:lnTo>
                  <a:lnTo>
                    <a:pt x="152" y="827"/>
                  </a:lnTo>
                  <a:lnTo>
                    <a:pt x="152" y="827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8" y="824"/>
                  </a:lnTo>
                  <a:lnTo>
                    <a:pt x="158" y="824"/>
                  </a:lnTo>
                  <a:lnTo>
                    <a:pt x="158" y="821"/>
                  </a:lnTo>
                  <a:lnTo>
                    <a:pt x="158" y="821"/>
                  </a:lnTo>
                  <a:lnTo>
                    <a:pt x="155" y="824"/>
                  </a:lnTo>
                  <a:lnTo>
                    <a:pt x="152" y="824"/>
                  </a:lnTo>
                  <a:lnTo>
                    <a:pt x="152" y="824"/>
                  </a:lnTo>
                  <a:lnTo>
                    <a:pt x="148" y="827"/>
                  </a:lnTo>
                  <a:lnTo>
                    <a:pt x="148" y="824"/>
                  </a:lnTo>
                  <a:lnTo>
                    <a:pt x="152" y="824"/>
                  </a:lnTo>
                  <a:lnTo>
                    <a:pt x="152" y="821"/>
                  </a:lnTo>
                  <a:lnTo>
                    <a:pt x="152" y="821"/>
                  </a:lnTo>
                  <a:lnTo>
                    <a:pt x="152" y="818"/>
                  </a:lnTo>
                  <a:lnTo>
                    <a:pt x="152" y="818"/>
                  </a:lnTo>
                  <a:lnTo>
                    <a:pt x="152" y="818"/>
                  </a:lnTo>
                  <a:lnTo>
                    <a:pt x="148" y="818"/>
                  </a:lnTo>
                  <a:lnTo>
                    <a:pt x="148" y="815"/>
                  </a:lnTo>
                  <a:lnTo>
                    <a:pt x="148" y="815"/>
                  </a:lnTo>
                  <a:lnTo>
                    <a:pt x="148" y="811"/>
                  </a:lnTo>
                  <a:lnTo>
                    <a:pt x="148" y="811"/>
                  </a:lnTo>
                  <a:lnTo>
                    <a:pt x="145" y="811"/>
                  </a:lnTo>
                  <a:lnTo>
                    <a:pt x="141" y="815"/>
                  </a:lnTo>
                  <a:lnTo>
                    <a:pt x="141" y="811"/>
                  </a:lnTo>
                  <a:lnTo>
                    <a:pt x="145" y="808"/>
                  </a:lnTo>
                  <a:lnTo>
                    <a:pt x="145" y="808"/>
                  </a:lnTo>
                  <a:lnTo>
                    <a:pt x="148" y="808"/>
                  </a:lnTo>
                  <a:lnTo>
                    <a:pt x="152" y="805"/>
                  </a:lnTo>
                  <a:lnTo>
                    <a:pt x="148" y="802"/>
                  </a:lnTo>
                  <a:lnTo>
                    <a:pt x="148" y="802"/>
                  </a:lnTo>
                  <a:lnTo>
                    <a:pt x="152" y="798"/>
                  </a:lnTo>
                  <a:lnTo>
                    <a:pt x="148" y="798"/>
                  </a:lnTo>
                  <a:lnTo>
                    <a:pt x="148" y="798"/>
                  </a:lnTo>
                  <a:lnTo>
                    <a:pt x="148" y="802"/>
                  </a:lnTo>
                  <a:lnTo>
                    <a:pt x="145" y="798"/>
                  </a:lnTo>
                  <a:lnTo>
                    <a:pt x="145" y="798"/>
                  </a:lnTo>
                  <a:lnTo>
                    <a:pt x="141" y="798"/>
                  </a:lnTo>
                  <a:lnTo>
                    <a:pt x="141" y="798"/>
                  </a:lnTo>
                  <a:lnTo>
                    <a:pt x="138" y="795"/>
                  </a:lnTo>
                  <a:lnTo>
                    <a:pt x="141" y="795"/>
                  </a:lnTo>
                  <a:lnTo>
                    <a:pt x="145" y="792"/>
                  </a:lnTo>
                  <a:lnTo>
                    <a:pt x="145" y="792"/>
                  </a:lnTo>
                  <a:lnTo>
                    <a:pt x="141" y="789"/>
                  </a:lnTo>
                  <a:lnTo>
                    <a:pt x="141" y="789"/>
                  </a:lnTo>
                  <a:lnTo>
                    <a:pt x="138" y="792"/>
                  </a:lnTo>
                  <a:lnTo>
                    <a:pt x="134" y="792"/>
                  </a:lnTo>
                  <a:lnTo>
                    <a:pt x="134" y="789"/>
                  </a:lnTo>
                  <a:lnTo>
                    <a:pt x="134" y="789"/>
                  </a:lnTo>
                  <a:lnTo>
                    <a:pt x="138" y="789"/>
                  </a:lnTo>
                  <a:lnTo>
                    <a:pt x="141" y="789"/>
                  </a:lnTo>
                  <a:lnTo>
                    <a:pt x="145" y="789"/>
                  </a:lnTo>
                  <a:lnTo>
                    <a:pt x="148" y="785"/>
                  </a:lnTo>
                  <a:lnTo>
                    <a:pt x="145" y="785"/>
                  </a:lnTo>
                  <a:lnTo>
                    <a:pt x="145" y="785"/>
                  </a:lnTo>
                  <a:lnTo>
                    <a:pt x="138" y="785"/>
                  </a:lnTo>
                  <a:lnTo>
                    <a:pt x="138" y="785"/>
                  </a:lnTo>
                  <a:lnTo>
                    <a:pt x="134" y="785"/>
                  </a:lnTo>
                  <a:lnTo>
                    <a:pt x="134" y="785"/>
                  </a:lnTo>
                  <a:lnTo>
                    <a:pt x="138" y="782"/>
                  </a:lnTo>
                  <a:lnTo>
                    <a:pt x="141" y="782"/>
                  </a:lnTo>
                  <a:lnTo>
                    <a:pt x="145" y="782"/>
                  </a:lnTo>
                  <a:lnTo>
                    <a:pt x="141" y="782"/>
                  </a:lnTo>
                  <a:lnTo>
                    <a:pt x="138" y="782"/>
                  </a:lnTo>
                  <a:lnTo>
                    <a:pt x="138" y="779"/>
                  </a:lnTo>
                  <a:lnTo>
                    <a:pt x="138" y="779"/>
                  </a:lnTo>
                  <a:lnTo>
                    <a:pt x="141" y="779"/>
                  </a:lnTo>
                  <a:lnTo>
                    <a:pt x="141" y="779"/>
                  </a:lnTo>
                  <a:lnTo>
                    <a:pt x="148" y="779"/>
                  </a:lnTo>
                  <a:lnTo>
                    <a:pt x="148" y="776"/>
                  </a:lnTo>
                  <a:lnTo>
                    <a:pt x="148" y="776"/>
                  </a:lnTo>
                  <a:lnTo>
                    <a:pt x="145" y="776"/>
                  </a:lnTo>
                  <a:lnTo>
                    <a:pt x="145" y="779"/>
                  </a:lnTo>
                  <a:lnTo>
                    <a:pt x="141" y="776"/>
                  </a:lnTo>
                  <a:lnTo>
                    <a:pt x="141" y="776"/>
                  </a:lnTo>
                  <a:lnTo>
                    <a:pt x="138" y="776"/>
                  </a:lnTo>
                  <a:lnTo>
                    <a:pt x="134" y="779"/>
                  </a:lnTo>
                  <a:lnTo>
                    <a:pt x="134" y="779"/>
                  </a:lnTo>
                  <a:lnTo>
                    <a:pt x="131" y="779"/>
                  </a:lnTo>
                  <a:lnTo>
                    <a:pt x="131" y="776"/>
                  </a:lnTo>
                  <a:lnTo>
                    <a:pt x="131" y="773"/>
                  </a:lnTo>
                  <a:lnTo>
                    <a:pt x="138" y="773"/>
                  </a:lnTo>
                  <a:lnTo>
                    <a:pt x="138" y="773"/>
                  </a:lnTo>
                  <a:lnTo>
                    <a:pt x="138" y="773"/>
                  </a:lnTo>
                  <a:lnTo>
                    <a:pt x="134" y="773"/>
                  </a:lnTo>
                  <a:lnTo>
                    <a:pt x="131" y="773"/>
                  </a:lnTo>
                  <a:lnTo>
                    <a:pt x="131" y="769"/>
                  </a:lnTo>
                  <a:lnTo>
                    <a:pt x="131" y="766"/>
                  </a:lnTo>
                  <a:lnTo>
                    <a:pt x="134" y="766"/>
                  </a:lnTo>
                  <a:lnTo>
                    <a:pt x="141" y="766"/>
                  </a:lnTo>
                  <a:lnTo>
                    <a:pt x="148" y="766"/>
                  </a:lnTo>
                  <a:lnTo>
                    <a:pt x="152" y="766"/>
                  </a:lnTo>
                  <a:lnTo>
                    <a:pt x="155" y="763"/>
                  </a:lnTo>
                  <a:lnTo>
                    <a:pt x="155" y="763"/>
                  </a:lnTo>
                  <a:lnTo>
                    <a:pt x="152" y="763"/>
                  </a:lnTo>
                  <a:lnTo>
                    <a:pt x="148" y="763"/>
                  </a:lnTo>
                  <a:lnTo>
                    <a:pt x="145" y="763"/>
                  </a:lnTo>
                  <a:lnTo>
                    <a:pt x="141" y="766"/>
                  </a:lnTo>
                  <a:lnTo>
                    <a:pt x="138" y="766"/>
                  </a:lnTo>
                  <a:lnTo>
                    <a:pt x="134" y="766"/>
                  </a:lnTo>
                  <a:lnTo>
                    <a:pt x="131" y="766"/>
                  </a:lnTo>
                  <a:lnTo>
                    <a:pt x="134" y="763"/>
                  </a:lnTo>
                  <a:lnTo>
                    <a:pt x="138" y="763"/>
                  </a:lnTo>
                  <a:lnTo>
                    <a:pt x="141" y="763"/>
                  </a:lnTo>
                  <a:lnTo>
                    <a:pt x="145" y="760"/>
                  </a:lnTo>
                  <a:lnTo>
                    <a:pt x="148" y="760"/>
                  </a:lnTo>
                  <a:lnTo>
                    <a:pt x="148" y="760"/>
                  </a:lnTo>
                  <a:lnTo>
                    <a:pt x="152" y="760"/>
                  </a:lnTo>
                  <a:lnTo>
                    <a:pt x="155" y="760"/>
                  </a:lnTo>
                  <a:lnTo>
                    <a:pt x="155" y="760"/>
                  </a:lnTo>
                  <a:lnTo>
                    <a:pt x="155" y="760"/>
                  </a:lnTo>
                  <a:lnTo>
                    <a:pt x="152" y="756"/>
                  </a:lnTo>
                  <a:lnTo>
                    <a:pt x="148" y="756"/>
                  </a:lnTo>
                  <a:lnTo>
                    <a:pt x="148" y="756"/>
                  </a:lnTo>
                  <a:lnTo>
                    <a:pt x="148" y="753"/>
                  </a:lnTo>
                  <a:lnTo>
                    <a:pt x="152" y="753"/>
                  </a:lnTo>
                  <a:lnTo>
                    <a:pt x="152" y="753"/>
                  </a:lnTo>
                  <a:lnTo>
                    <a:pt x="152" y="753"/>
                  </a:lnTo>
                  <a:lnTo>
                    <a:pt x="155" y="756"/>
                  </a:lnTo>
                  <a:lnTo>
                    <a:pt x="158" y="760"/>
                  </a:lnTo>
                  <a:lnTo>
                    <a:pt x="158" y="760"/>
                  </a:lnTo>
                  <a:lnTo>
                    <a:pt x="162" y="760"/>
                  </a:lnTo>
                  <a:lnTo>
                    <a:pt x="158" y="756"/>
                  </a:lnTo>
                  <a:lnTo>
                    <a:pt x="158" y="756"/>
                  </a:lnTo>
                  <a:lnTo>
                    <a:pt x="158" y="750"/>
                  </a:lnTo>
                  <a:lnTo>
                    <a:pt x="158" y="747"/>
                  </a:lnTo>
                  <a:lnTo>
                    <a:pt x="158" y="747"/>
                  </a:lnTo>
                  <a:lnTo>
                    <a:pt x="158" y="747"/>
                  </a:lnTo>
                  <a:lnTo>
                    <a:pt x="155" y="750"/>
                  </a:lnTo>
                  <a:lnTo>
                    <a:pt x="155" y="750"/>
                  </a:lnTo>
                  <a:lnTo>
                    <a:pt x="152" y="747"/>
                  </a:lnTo>
                  <a:lnTo>
                    <a:pt x="152" y="747"/>
                  </a:lnTo>
                  <a:lnTo>
                    <a:pt x="145" y="753"/>
                  </a:lnTo>
                  <a:lnTo>
                    <a:pt x="145" y="753"/>
                  </a:lnTo>
                  <a:lnTo>
                    <a:pt x="141" y="753"/>
                  </a:lnTo>
                  <a:lnTo>
                    <a:pt x="141" y="750"/>
                  </a:lnTo>
                  <a:lnTo>
                    <a:pt x="145" y="750"/>
                  </a:lnTo>
                  <a:lnTo>
                    <a:pt x="145" y="750"/>
                  </a:lnTo>
                  <a:lnTo>
                    <a:pt x="141" y="750"/>
                  </a:lnTo>
                  <a:lnTo>
                    <a:pt x="141" y="753"/>
                  </a:lnTo>
                  <a:lnTo>
                    <a:pt x="138" y="753"/>
                  </a:lnTo>
                  <a:lnTo>
                    <a:pt x="134" y="756"/>
                  </a:lnTo>
                  <a:lnTo>
                    <a:pt x="131" y="756"/>
                  </a:lnTo>
                  <a:lnTo>
                    <a:pt x="131" y="760"/>
                  </a:lnTo>
                  <a:lnTo>
                    <a:pt x="127" y="760"/>
                  </a:lnTo>
                  <a:lnTo>
                    <a:pt x="127" y="756"/>
                  </a:lnTo>
                  <a:lnTo>
                    <a:pt x="127" y="753"/>
                  </a:lnTo>
                  <a:lnTo>
                    <a:pt x="131" y="753"/>
                  </a:lnTo>
                  <a:lnTo>
                    <a:pt x="127" y="750"/>
                  </a:lnTo>
                  <a:lnTo>
                    <a:pt x="127" y="747"/>
                  </a:lnTo>
                  <a:lnTo>
                    <a:pt x="127" y="747"/>
                  </a:lnTo>
                  <a:lnTo>
                    <a:pt x="131" y="747"/>
                  </a:lnTo>
                  <a:lnTo>
                    <a:pt x="134" y="743"/>
                  </a:lnTo>
                  <a:lnTo>
                    <a:pt x="138" y="743"/>
                  </a:lnTo>
                  <a:lnTo>
                    <a:pt x="141" y="740"/>
                  </a:lnTo>
                  <a:lnTo>
                    <a:pt x="141" y="740"/>
                  </a:lnTo>
                  <a:lnTo>
                    <a:pt x="141" y="740"/>
                  </a:lnTo>
                  <a:lnTo>
                    <a:pt x="138" y="740"/>
                  </a:lnTo>
                  <a:lnTo>
                    <a:pt x="138" y="740"/>
                  </a:lnTo>
                  <a:lnTo>
                    <a:pt x="134" y="740"/>
                  </a:lnTo>
                  <a:lnTo>
                    <a:pt x="134" y="743"/>
                  </a:lnTo>
                  <a:lnTo>
                    <a:pt x="131" y="743"/>
                  </a:lnTo>
                  <a:lnTo>
                    <a:pt x="127" y="743"/>
                  </a:lnTo>
                  <a:lnTo>
                    <a:pt x="127" y="740"/>
                  </a:lnTo>
                  <a:lnTo>
                    <a:pt x="127" y="737"/>
                  </a:lnTo>
                  <a:lnTo>
                    <a:pt x="131" y="737"/>
                  </a:lnTo>
                  <a:lnTo>
                    <a:pt x="131" y="734"/>
                  </a:lnTo>
                  <a:lnTo>
                    <a:pt x="127" y="731"/>
                  </a:lnTo>
                  <a:lnTo>
                    <a:pt x="127" y="731"/>
                  </a:lnTo>
                  <a:lnTo>
                    <a:pt x="127" y="734"/>
                  </a:lnTo>
                  <a:lnTo>
                    <a:pt x="124" y="734"/>
                  </a:lnTo>
                  <a:lnTo>
                    <a:pt x="124" y="731"/>
                  </a:lnTo>
                  <a:lnTo>
                    <a:pt x="124" y="727"/>
                  </a:lnTo>
                  <a:lnTo>
                    <a:pt x="131" y="727"/>
                  </a:lnTo>
                  <a:lnTo>
                    <a:pt x="131" y="727"/>
                  </a:lnTo>
                  <a:lnTo>
                    <a:pt x="138" y="724"/>
                  </a:lnTo>
                  <a:lnTo>
                    <a:pt x="138" y="724"/>
                  </a:lnTo>
                  <a:lnTo>
                    <a:pt x="141" y="724"/>
                  </a:lnTo>
                  <a:lnTo>
                    <a:pt x="141" y="721"/>
                  </a:lnTo>
                  <a:lnTo>
                    <a:pt x="141" y="721"/>
                  </a:lnTo>
                  <a:lnTo>
                    <a:pt x="145" y="721"/>
                  </a:lnTo>
                  <a:lnTo>
                    <a:pt x="145" y="721"/>
                  </a:lnTo>
                  <a:lnTo>
                    <a:pt x="152" y="721"/>
                  </a:lnTo>
                  <a:lnTo>
                    <a:pt x="152" y="721"/>
                  </a:lnTo>
                  <a:lnTo>
                    <a:pt x="155" y="721"/>
                  </a:lnTo>
                  <a:lnTo>
                    <a:pt x="155" y="718"/>
                  </a:lnTo>
                  <a:lnTo>
                    <a:pt x="152" y="718"/>
                  </a:lnTo>
                  <a:lnTo>
                    <a:pt x="152" y="714"/>
                  </a:lnTo>
                  <a:lnTo>
                    <a:pt x="148" y="714"/>
                  </a:lnTo>
                  <a:lnTo>
                    <a:pt x="141" y="718"/>
                  </a:lnTo>
                  <a:lnTo>
                    <a:pt x="138" y="718"/>
                  </a:lnTo>
                  <a:lnTo>
                    <a:pt x="138" y="721"/>
                  </a:lnTo>
                  <a:lnTo>
                    <a:pt x="138" y="721"/>
                  </a:lnTo>
                  <a:lnTo>
                    <a:pt x="134" y="724"/>
                  </a:lnTo>
                  <a:lnTo>
                    <a:pt x="131" y="724"/>
                  </a:lnTo>
                  <a:lnTo>
                    <a:pt x="127" y="727"/>
                  </a:lnTo>
                  <a:lnTo>
                    <a:pt x="127" y="727"/>
                  </a:lnTo>
                  <a:lnTo>
                    <a:pt x="127" y="724"/>
                  </a:lnTo>
                  <a:lnTo>
                    <a:pt x="127" y="724"/>
                  </a:lnTo>
                  <a:lnTo>
                    <a:pt x="124" y="724"/>
                  </a:lnTo>
                  <a:lnTo>
                    <a:pt x="124" y="721"/>
                  </a:lnTo>
                  <a:lnTo>
                    <a:pt x="127" y="721"/>
                  </a:lnTo>
                  <a:lnTo>
                    <a:pt x="124" y="718"/>
                  </a:lnTo>
                  <a:lnTo>
                    <a:pt x="124" y="718"/>
                  </a:lnTo>
                  <a:lnTo>
                    <a:pt x="121" y="718"/>
                  </a:lnTo>
                  <a:lnTo>
                    <a:pt x="121" y="714"/>
                  </a:lnTo>
                  <a:lnTo>
                    <a:pt x="124" y="714"/>
                  </a:lnTo>
                  <a:lnTo>
                    <a:pt x="127" y="711"/>
                  </a:lnTo>
                  <a:lnTo>
                    <a:pt x="127" y="711"/>
                  </a:lnTo>
                  <a:lnTo>
                    <a:pt x="131" y="711"/>
                  </a:lnTo>
                  <a:lnTo>
                    <a:pt x="134" y="714"/>
                  </a:lnTo>
                  <a:lnTo>
                    <a:pt x="138" y="711"/>
                  </a:lnTo>
                  <a:lnTo>
                    <a:pt x="138" y="711"/>
                  </a:lnTo>
                  <a:lnTo>
                    <a:pt x="141" y="711"/>
                  </a:lnTo>
                  <a:lnTo>
                    <a:pt x="141" y="708"/>
                  </a:lnTo>
                  <a:lnTo>
                    <a:pt x="141" y="708"/>
                  </a:lnTo>
                  <a:lnTo>
                    <a:pt x="138" y="708"/>
                  </a:lnTo>
                  <a:lnTo>
                    <a:pt x="134" y="708"/>
                  </a:lnTo>
                  <a:lnTo>
                    <a:pt x="134" y="711"/>
                  </a:lnTo>
                  <a:lnTo>
                    <a:pt x="131" y="711"/>
                  </a:lnTo>
                  <a:lnTo>
                    <a:pt x="127" y="708"/>
                  </a:lnTo>
                  <a:lnTo>
                    <a:pt x="127" y="708"/>
                  </a:lnTo>
                  <a:lnTo>
                    <a:pt x="127" y="711"/>
                  </a:lnTo>
                  <a:lnTo>
                    <a:pt x="121" y="711"/>
                  </a:lnTo>
                  <a:lnTo>
                    <a:pt x="124" y="711"/>
                  </a:lnTo>
                  <a:lnTo>
                    <a:pt x="121" y="711"/>
                  </a:lnTo>
                  <a:lnTo>
                    <a:pt x="117" y="711"/>
                  </a:lnTo>
                  <a:lnTo>
                    <a:pt x="117" y="711"/>
                  </a:lnTo>
                  <a:lnTo>
                    <a:pt x="117" y="708"/>
                  </a:lnTo>
                  <a:lnTo>
                    <a:pt x="121" y="708"/>
                  </a:lnTo>
                  <a:lnTo>
                    <a:pt x="124" y="708"/>
                  </a:lnTo>
                  <a:lnTo>
                    <a:pt x="131" y="705"/>
                  </a:lnTo>
                  <a:lnTo>
                    <a:pt x="134" y="701"/>
                  </a:lnTo>
                  <a:lnTo>
                    <a:pt x="138" y="701"/>
                  </a:lnTo>
                  <a:lnTo>
                    <a:pt x="141" y="698"/>
                  </a:lnTo>
                  <a:lnTo>
                    <a:pt x="148" y="695"/>
                  </a:lnTo>
                  <a:lnTo>
                    <a:pt x="155" y="692"/>
                  </a:lnTo>
                  <a:lnTo>
                    <a:pt x="158" y="689"/>
                  </a:lnTo>
                  <a:lnTo>
                    <a:pt x="162" y="689"/>
                  </a:lnTo>
                  <a:lnTo>
                    <a:pt x="162" y="689"/>
                  </a:lnTo>
                  <a:lnTo>
                    <a:pt x="162" y="689"/>
                  </a:lnTo>
                  <a:lnTo>
                    <a:pt x="158" y="685"/>
                  </a:lnTo>
                  <a:lnTo>
                    <a:pt x="155" y="689"/>
                  </a:lnTo>
                  <a:lnTo>
                    <a:pt x="145" y="692"/>
                  </a:lnTo>
                  <a:lnTo>
                    <a:pt x="141" y="695"/>
                  </a:lnTo>
                  <a:lnTo>
                    <a:pt x="138" y="698"/>
                  </a:lnTo>
                  <a:lnTo>
                    <a:pt x="134" y="701"/>
                  </a:lnTo>
                  <a:lnTo>
                    <a:pt x="127" y="701"/>
                  </a:lnTo>
                  <a:lnTo>
                    <a:pt x="127" y="701"/>
                  </a:lnTo>
                  <a:lnTo>
                    <a:pt x="117" y="705"/>
                  </a:lnTo>
                  <a:lnTo>
                    <a:pt x="117" y="705"/>
                  </a:lnTo>
                  <a:lnTo>
                    <a:pt x="114" y="705"/>
                  </a:lnTo>
                  <a:lnTo>
                    <a:pt x="117" y="701"/>
                  </a:lnTo>
                  <a:lnTo>
                    <a:pt x="117" y="698"/>
                  </a:lnTo>
                  <a:lnTo>
                    <a:pt x="117" y="695"/>
                  </a:lnTo>
                  <a:lnTo>
                    <a:pt x="121" y="695"/>
                  </a:lnTo>
                  <a:lnTo>
                    <a:pt x="124" y="698"/>
                  </a:lnTo>
                  <a:lnTo>
                    <a:pt x="124" y="695"/>
                  </a:lnTo>
                  <a:lnTo>
                    <a:pt x="131" y="695"/>
                  </a:lnTo>
                  <a:lnTo>
                    <a:pt x="134" y="695"/>
                  </a:lnTo>
                  <a:lnTo>
                    <a:pt x="131" y="695"/>
                  </a:lnTo>
                  <a:lnTo>
                    <a:pt x="131" y="692"/>
                  </a:lnTo>
                  <a:lnTo>
                    <a:pt x="127" y="692"/>
                  </a:lnTo>
                  <a:lnTo>
                    <a:pt x="124" y="695"/>
                  </a:lnTo>
                  <a:lnTo>
                    <a:pt x="121" y="695"/>
                  </a:lnTo>
                  <a:lnTo>
                    <a:pt x="121" y="692"/>
                  </a:lnTo>
                  <a:lnTo>
                    <a:pt x="121" y="692"/>
                  </a:lnTo>
                  <a:lnTo>
                    <a:pt x="124" y="689"/>
                  </a:lnTo>
                  <a:lnTo>
                    <a:pt x="127" y="692"/>
                  </a:lnTo>
                  <a:lnTo>
                    <a:pt x="131" y="692"/>
                  </a:lnTo>
                  <a:lnTo>
                    <a:pt x="134" y="692"/>
                  </a:lnTo>
                  <a:lnTo>
                    <a:pt x="134" y="689"/>
                  </a:lnTo>
                  <a:lnTo>
                    <a:pt x="131" y="689"/>
                  </a:lnTo>
                  <a:lnTo>
                    <a:pt x="131" y="689"/>
                  </a:lnTo>
                  <a:lnTo>
                    <a:pt x="131" y="689"/>
                  </a:lnTo>
                  <a:lnTo>
                    <a:pt x="131" y="685"/>
                  </a:lnTo>
                  <a:lnTo>
                    <a:pt x="134" y="685"/>
                  </a:lnTo>
                  <a:lnTo>
                    <a:pt x="134" y="685"/>
                  </a:lnTo>
                  <a:lnTo>
                    <a:pt x="134" y="685"/>
                  </a:lnTo>
                  <a:lnTo>
                    <a:pt x="138" y="685"/>
                  </a:lnTo>
                  <a:lnTo>
                    <a:pt x="138" y="685"/>
                  </a:lnTo>
                  <a:lnTo>
                    <a:pt x="138" y="685"/>
                  </a:lnTo>
                  <a:lnTo>
                    <a:pt x="138" y="682"/>
                  </a:lnTo>
                  <a:lnTo>
                    <a:pt x="138" y="682"/>
                  </a:lnTo>
                  <a:lnTo>
                    <a:pt x="134" y="682"/>
                  </a:lnTo>
                  <a:lnTo>
                    <a:pt x="134" y="682"/>
                  </a:lnTo>
                  <a:lnTo>
                    <a:pt x="131" y="682"/>
                  </a:lnTo>
                  <a:lnTo>
                    <a:pt x="124" y="679"/>
                  </a:lnTo>
                  <a:lnTo>
                    <a:pt x="121" y="679"/>
                  </a:lnTo>
                  <a:lnTo>
                    <a:pt x="117" y="679"/>
                  </a:lnTo>
                  <a:lnTo>
                    <a:pt x="117" y="679"/>
                  </a:lnTo>
                  <a:lnTo>
                    <a:pt x="121" y="679"/>
                  </a:lnTo>
                  <a:lnTo>
                    <a:pt x="124" y="679"/>
                  </a:lnTo>
                  <a:lnTo>
                    <a:pt x="124" y="679"/>
                  </a:lnTo>
                  <a:lnTo>
                    <a:pt x="124" y="676"/>
                  </a:lnTo>
                  <a:lnTo>
                    <a:pt x="121" y="676"/>
                  </a:lnTo>
                  <a:lnTo>
                    <a:pt x="121" y="676"/>
                  </a:lnTo>
                  <a:lnTo>
                    <a:pt x="121" y="676"/>
                  </a:lnTo>
                  <a:lnTo>
                    <a:pt x="124" y="676"/>
                  </a:lnTo>
                  <a:lnTo>
                    <a:pt x="127" y="672"/>
                  </a:lnTo>
                  <a:lnTo>
                    <a:pt x="131" y="672"/>
                  </a:lnTo>
                  <a:lnTo>
                    <a:pt x="145" y="672"/>
                  </a:lnTo>
                  <a:lnTo>
                    <a:pt x="145" y="672"/>
                  </a:lnTo>
                  <a:lnTo>
                    <a:pt x="152" y="672"/>
                  </a:lnTo>
                  <a:lnTo>
                    <a:pt x="152" y="672"/>
                  </a:lnTo>
                  <a:lnTo>
                    <a:pt x="152" y="672"/>
                  </a:lnTo>
                  <a:lnTo>
                    <a:pt x="148" y="669"/>
                  </a:lnTo>
                  <a:lnTo>
                    <a:pt x="141" y="669"/>
                  </a:lnTo>
                  <a:lnTo>
                    <a:pt x="134" y="672"/>
                  </a:lnTo>
                  <a:lnTo>
                    <a:pt x="131" y="672"/>
                  </a:lnTo>
                  <a:lnTo>
                    <a:pt x="131" y="669"/>
                  </a:lnTo>
                  <a:lnTo>
                    <a:pt x="127" y="669"/>
                  </a:lnTo>
                  <a:lnTo>
                    <a:pt x="124" y="672"/>
                  </a:lnTo>
                  <a:lnTo>
                    <a:pt x="121" y="672"/>
                  </a:lnTo>
                  <a:lnTo>
                    <a:pt x="121" y="672"/>
                  </a:lnTo>
                  <a:lnTo>
                    <a:pt x="121" y="669"/>
                  </a:lnTo>
                  <a:lnTo>
                    <a:pt x="124" y="666"/>
                  </a:lnTo>
                  <a:lnTo>
                    <a:pt x="127" y="666"/>
                  </a:lnTo>
                  <a:lnTo>
                    <a:pt x="131" y="663"/>
                  </a:lnTo>
                  <a:lnTo>
                    <a:pt x="134" y="663"/>
                  </a:lnTo>
                  <a:lnTo>
                    <a:pt x="134" y="659"/>
                  </a:lnTo>
                  <a:lnTo>
                    <a:pt x="138" y="659"/>
                  </a:lnTo>
                  <a:lnTo>
                    <a:pt x="138" y="656"/>
                  </a:lnTo>
                  <a:lnTo>
                    <a:pt x="141" y="659"/>
                  </a:lnTo>
                  <a:lnTo>
                    <a:pt x="145" y="659"/>
                  </a:lnTo>
                  <a:lnTo>
                    <a:pt x="145" y="656"/>
                  </a:lnTo>
                  <a:lnTo>
                    <a:pt x="148" y="656"/>
                  </a:lnTo>
                  <a:lnTo>
                    <a:pt x="148" y="659"/>
                  </a:lnTo>
                  <a:lnTo>
                    <a:pt x="155" y="659"/>
                  </a:lnTo>
                  <a:lnTo>
                    <a:pt x="158" y="663"/>
                  </a:lnTo>
                  <a:lnTo>
                    <a:pt x="162" y="663"/>
                  </a:lnTo>
                  <a:lnTo>
                    <a:pt x="165" y="663"/>
                  </a:lnTo>
                  <a:lnTo>
                    <a:pt x="169" y="666"/>
                  </a:lnTo>
                  <a:lnTo>
                    <a:pt x="172" y="669"/>
                  </a:lnTo>
                  <a:lnTo>
                    <a:pt x="179" y="669"/>
                  </a:lnTo>
                  <a:lnTo>
                    <a:pt x="179" y="669"/>
                  </a:lnTo>
                  <a:lnTo>
                    <a:pt x="182" y="669"/>
                  </a:lnTo>
                  <a:lnTo>
                    <a:pt x="182" y="669"/>
                  </a:lnTo>
                  <a:lnTo>
                    <a:pt x="182" y="666"/>
                  </a:lnTo>
                  <a:lnTo>
                    <a:pt x="179" y="669"/>
                  </a:lnTo>
                  <a:lnTo>
                    <a:pt x="176" y="669"/>
                  </a:lnTo>
                  <a:lnTo>
                    <a:pt x="176" y="669"/>
                  </a:lnTo>
                  <a:lnTo>
                    <a:pt x="169" y="666"/>
                  </a:lnTo>
                  <a:lnTo>
                    <a:pt x="165" y="663"/>
                  </a:lnTo>
                  <a:lnTo>
                    <a:pt x="165" y="659"/>
                  </a:lnTo>
                  <a:lnTo>
                    <a:pt x="169" y="659"/>
                  </a:lnTo>
                  <a:lnTo>
                    <a:pt x="176" y="659"/>
                  </a:lnTo>
                  <a:lnTo>
                    <a:pt x="179" y="659"/>
                  </a:lnTo>
                  <a:lnTo>
                    <a:pt x="182" y="656"/>
                  </a:lnTo>
                  <a:lnTo>
                    <a:pt x="179" y="656"/>
                  </a:lnTo>
                  <a:lnTo>
                    <a:pt x="176" y="656"/>
                  </a:lnTo>
                  <a:lnTo>
                    <a:pt x="172" y="656"/>
                  </a:lnTo>
                  <a:lnTo>
                    <a:pt x="172" y="656"/>
                  </a:lnTo>
                  <a:lnTo>
                    <a:pt x="176" y="656"/>
                  </a:lnTo>
                  <a:lnTo>
                    <a:pt x="172" y="659"/>
                  </a:lnTo>
                  <a:lnTo>
                    <a:pt x="169" y="659"/>
                  </a:lnTo>
                  <a:lnTo>
                    <a:pt x="165" y="656"/>
                  </a:lnTo>
                  <a:lnTo>
                    <a:pt x="165" y="656"/>
                  </a:lnTo>
                  <a:lnTo>
                    <a:pt x="169" y="653"/>
                  </a:lnTo>
                  <a:lnTo>
                    <a:pt x="169" y="656"/>
                  </a:lnTo>
                  <a:lnTo>
                    <a:pt x="172" y="653"/>
                  </a:lnTo>
                  <a:lnTo>
                    <a:pt x="169" y="653"/>
                  </a:lnTo>
                  <a:lnTo>
                    <a:pt x="165" y="653"/>
                  </a:lnTo>
                  <a:lnTo>
                    <a:pt x="165" y="653"/>
                  </a:lnTo>
                  <a:lnTo>
                    <a:pt x="165" y="653"/>
                  </a:lnTo>
                  <a:lnTo>
                    <a:pt x="162" y="653"/>
                  </a:lnTo>
                  <a:lnTo>
                    <a:pt x="162" y="653"/>
                  </a:lnTo>
                  <a:lnTo>
                    <a:pt x="162" y="656"/>
                  </a:lnTo>
                  <a:lnTo>
                    <a:pt x="162" y="656"/>
                  </a:lnTo>
                  <a:lnTo>
                    <a:pt x="162" y="659"/>
                  </a:lnTo>
                  <a:lnTo>
                    <a:pt x="158" y="659"/>
                  </a:lnTo>
                  <a:lnTo>
                    <a:pt x="155" y="659"/>
                  </a:lnTo>
                  <a:lnTo>
                    <a:pt x="152" y="656"/>
                  </a:lnTo>
                  <a:lnTo>
                    <a:pt x="148" y="656"/>
                  </a:lnTo>
                  <a:lnTo>
                    <a:pt x="148" y="656"/>
                  </a:lnTo>
                  <a:lnTo>
                    <a:pt x="148" y="653"/>
                  </a:lnTo>
                  <a:lnTo>
                    <a:pt x="145" y="653"/>
                  </a:lnTo>
                  <a:lnTo>
                    <a:pt x="145" y="656"/>
                  </a:lnTo>
                  <a:lnTo>
                    <a:pt x="141" y="656"/>
                  </a:lnTo>
                  <a:lnTo>
                    <a:pt x="138" y="656"/>
                  </a:lnTo>
                  <a:lnTo>
                    <a:pt x="134" y="656"/>
                  </a:lnTo>
                  <a:lnTo>
                    <a:pt x="131" y="659"/>
                  </a:lnTo>
                  <a:lnTo>
                    <a:pt x="127" y="663"/>
                  </a:lnTo>
                  <a:lnTo>
                    <a:pt x="127" y="663"/>
                  </a:lnTo>
                  <a:lnTo>
                    <a:pt x="127" y="659"/>
                  </a:lnTo>
                  <a:lnTo>
                    <a:pt x="131" y="656"/>
                  </a:lnTo>
                  <a:lnTo>
                    <a:pt x="134" y="656"/>
                  </a:lnTo>
                  <a:lnTo>
                    <a:pt x="134" y="653"/>
                  </a:lnTo>
                  <a:lnTo>
                    <a:pt x="134" y="653"/>
                  </a:lnTo>
                  <a:lnTo>
                    <a:pt x="134" y="653"/>
                  </a:lnTo>
                  <a:lnTo>
                    <a:pt x="138" y="650"/>
                  </a:lnTo>
                  <a:lnTo>
                    <a:pt x="138" y="650"/>
                  </a:lnTo>
                  <a:lnTo>
                    <a:pt x="138" y="647"/>
                  </a:lnTo>
                  <a:lnTo>
                    <a:pt x="141" y="647"/>
                  </a:lnTo>
                  <a:lnTo>
                    <a:pt x="145" y="650"/>
                  </a:lnTo>
                  <a:lnTo>
                    <a:pt x="148" y="650"/>
                  </a:lnTo>
                  <a:lnTo>
                    <a:pt x="152" y="650"/>
                  </a:lnTo>
                  <a:lnTo>
                    <a:pt x="152" y="650"/>
                  </a:lnTo>
                  <a:lnTo>
                    <a:pt x="148" y="650"/>
                  </a:lnTo>
                  <a:lnTo>
                    <a:pt x="148" y="650"/>
                  </a:lnTo>
                  <a:lnTo>
                    <a:pt x="145" y="647"/>
                  </a:lnTo>
                  <a:lnTo>
                    <a:pt x="141" y="643"/>
                  </a:lnTo>
                  <a:lnTo>
                    <a:pt x="141" y="640"/>
                  </a:lnTo>
                  <a:lnTo>
                    <a:pt x="138" y="640"/>
                  </a:lnTo>
                  <a:lnTo>
                    <a:pt x="138" y="640"/>
                  </a:lnTo>
                  <a:lnTo>
                    <a:pt x="138" y="640"/>
                  </a:lnTo>
                  <a:lnTo>
                    <a:pt x="141" y="640"/>
                  </a:lnTo>
                  <a:lnTo>
                    <a:pt x="148" y="643"/>
                  </a:lnTo>
                  <a:lnTo>
                    <a:pt x="152" y="647"/>
                  </a:lnTo>
                  <a:lnTo>
                    <a:pt x="152" y="647"/>
                  </a:lnTo>
                  <a:lnTo>
                    <a:pt x="148" y="643"/>
                  </a:lnTo>
                  <a:lnTo>
                    <a:pt x="148" y="640"/>
                  </a:lnTo>
                  <a:lnTo>
                    <a:pt x="148" y="640"/>
                  </a:lnTo>
                  <a:lnTo>
                    <a:pt x="152" y="643"/>
                  </a:lnTo>
                  <a:lnTo>
                    <a:pt x="152" y="647"/>
                  </a:lnTo>
                  <a:lnTo>
                    <a:pt x="158" y="650"/>
                  </a:lnTo>
                  <a:lnTo>
                    <a:pt x="162" y="650"/>
                  </a:lnTo>
                  <a:lnTo>
                    <a:pt x="162" y="647"/>
                  </a:lnTo>
                  <a:lnTo>
                    <a:pt x="165" y="647"/>
                  </a:lnTo>
                  <a:lnTo>
                    <a:pt x="169" y="650"/>
                  </a:lnTo>
                  <a:lnTo>
                    <a:pt x="172" y="650"/>
                  </a:lnTo>
                  <a:lnTo>
                    <a:pt x="176" y="653"/>
                  </a:lnTo>
                  <a:lnTo>
                    <a:pt x="176" y="653"/>
                  </a:lnTo>
                  <a:lnTo>
                    <a:pt x="179" y="653"/>
                  </a:lnTo>
                  <a:lnTo>
                    <a:pt x="179" y="653"/>
                  </a:lnTo>
                  <a:lnTo>
                    <a:pt x="176" y="650"/>
                  </a:lnTo>
                  <a:lnTo>
                    <a:pt x="169" y="643"/>
                  </a:lnTo>
                  <a:lnTo>
                    <a:pt x="169" y="643"/>
                  </a:lnTo>
                  <a:lnTo>
                    <a:pt x="169" y="640"/>
                  </a:lnTo>
                  <a:lnTo>
                    <a:pt x="172" y="640"/>
                  </a:lnTo>
                  <a:lnTo>
                    <a:pt x="172" y="637"/>
                  </a:lnTo>
                  <a:lnTo>
                    <a:pt x="172" y="637"/>
                  </a:lnTo>
                  <a:lnTo>
                    <a:pt x="176" y="637"/>
                  </a:lnTo>
                  <a:lnTo>
                    <a:pt x="176" y="634"/>
                  </a:lnTo>
                  <a:lnTo>
                    <a:pt x="172" y="634"/>
                  </a:lnTo>
                  <a:lnTo>
                    <a:pt x="169" y="634"/>
                  </a:lnTo>
                  <a:lnTo>
                    <a:pt x="165" y="634"/>
                  </a:lnTo>
                  <a:lnTo>
                    <a:pt x="165" y="637"/>
                  </a:lnTo>
                  <a:lnTo>
                    <a:pt x="165" y="637"/>
                  </a:lnTo>
                  <a:lnTo>
                    <a:pt x="169" y="640"/>
                  </a:lnTo>
                  <a:lnTo>
                    <a:pt x="165" y="640"/>
                  </a:lnTo>
                  <a:lnTo>
                    <a:pt x="162" y="640"/>
                  </a:lnTo>
                  <a:lnTo>
                    <a:pt x="162" y="640"/>
                  </a:lnTo>
                  <a:lnTo>
                    <a:pt x="158" y="640"/>
                  </a:lnTo>
                  <a:lnTo>
                    <a:pt x="155" y="640"/>
                  </a:lnTo>
                  <a:lnTo>
                    <a:pt x="152" y="640"/>
                  </a:lnTo>
                  <a:lnTo>
                    <a:pt x="148" y="637"/>
                  </a:lnTo>
                  <a:lnTo>
                    <a:pt x="148" y="637"/>
                  </a:lnTo>
                  <a:lnTo>
                    <a:pt x="152" y="637"/>
                  </a:lnTo>
                  <a:lnTo>
                    <a:pt x="152" y="634"/>
                  </a:lnTo>
                  <a:lnTo>
                    <a:pt x="152" y="634"/>
                  </a:lnTo>
                  <a:lnTo>
                    <a:pt x="148" y="634"/>
                  </a:lnTo>
                  <a:lnTo>
                    <a:pt x="145" y="634"/>
                  </a:lnTo>
                  <a:lnTo>
                    <a:pt x="152" y="634"/>
                  </a:lnTo>
                  <a:lnTo>
                    <a:pt x="155" y="630"/>
                  </a:lnTo>
                  <a:lnTo>
                    <a:pt x="158" y="630"/>
                  </a:lnTo>
                  <a:lnTo>
                    <a:pt x="162" y="630"/>
                  </a:lnTo>
                  <a:lnTo>
                    <a:pt x="162" y="630"/>
                  </a:lnTo>
                  <a:lnTo>
                    <a:pt x="165" y="630"/>
                  </a:lnTo>
                  <a:lnTo>
                    <a:pt x="169" y="630"/>
                  </a:lnTo>
                  <a:lnTo>
                    <a:pt x="176" y="630"/>
                  </a:lnTo>
                  <a:lnTo>
                    <a:pt x="176" y="630"/>
                  </a:lnTo>
                  <a:lnTo>
                    <a:pt x="176" y="627"/>
                  </a:lnTo>
                  <a:lnTo>
                    <a:pt x="176" y="627"/>
                  </a:lnTo>
                  <a:lnTo>
                    <a:pt x="179" y="627"/>
                  </a:lnTo>
                  <a:lnTo>
                    <a:pt x="182" y="624"/>
                  </a:lnTo>
                  <a:lnTo>
                    <a:pt x="179" y="624"/>
                  </a:lnTo>
                  <a:lnTo>
                    <a:pt x="176" y="627"/>
                  </a:lnTo>
                  <a:lnTo>
                    <a:pt x="176" y="627"/>
                  </a:lnTo>
                  <a:lnTo>
                    <a:pt x="176" y="624"/>
                  </a:lnTo>
                  <a:lnTo>
                    <a:pt x="176" y="621"/>
                  </a:lnTo>
                  <a:lnTo>
                    <a:pt x="179" y="614"/>
                  </a:lnTo>
                  <a:lnTo>
                    <a:pt x="179" y="614"/>
                  </a:lnTo>
                  <a:lnTo>
                    <a:pt x="179" y="611"/>
                  </a:lnTo>
                  <a:lnTo>
                    <a:pt x="182" y="614"/>
                  </a:lnTo>
                  <a:lnTo>
                    <a:pt x="182" y="617"/>
                  </a:lnTo>
                  <a:lnTo>
                    <a:pt x="182" y="617"/>
                  </a:lnTo>
                  <a:lnTo>
                    <a:pt x="182" y="617"/>
                  </a:lnTo>
                  <a:lnTo>
                    <a:pt x="186" y="617"/>
                  </a:lnTo>
                  <a:lnTo>
                    <a:pt x="189" y="617"/>
                  </a:lnTo>
                  <a:lnTo>
                    <a:pt x="189" y="621"/>
                  </a:lnTo>
                  <a:lnTo>
                    <a:pt x="193" y="621"/>
                  </a:lnTo>
                  <a:lnTo>
                    <a:pt x="193" y="621"/>
                  </a:lnTo>
                  <a:lnTo>
                    <a:pt x="193" y="621"/>
                  </a:lnTo>
                  <a:lnTo>
                    <a:pt x="196" y="621"/>
                  </a:lnTo>
                  <a:lnTo>
                    <a:pt x="196" y="617"/>
                  </a:lnTo>
                  <a:lnTo>
                    <a:pt x="193" y="617"/>
                  </a:lnTo>
                  <a:lnTo>
                    <a:pt x="189" y="617"/>
                  </a:lnTo>
                  <a:lnTo>
                    <a:pt x="189" y="614"/>
                  </a:lnTo>
                  <a:lnTo>
                    <a:pt x="189" y="614"/>
                  </a:lnTo>
                  <a:lnTo>
                    <a:pt x="196" y="614"/>
                  </a:lnTo>
                  <a:lnTo>
                    <a:pt x="196" y="614"/>
                  </a:lnTo>
                  <a:lnTo>
                    <a:pt x="193" y="611"/>
                  </a:lnTo>
                  <a:lnTo>
                    <a:pt x="189" y="611"/>
                  </a:lnTo>
                  <a:lnTo>
                    <a:pt x="189" y="611"/>
                  </a:lnTo>
                  <a:lnTo>
                    <a:pt x="189" y="611"/>
                  </a:lnTo>
                  <a:lnTo>
                    <a:pt x="186" y="611"/>
                  </a:lnTo>
                  <a:lnTo>
                    <a:pt x="186" y="611"/>
                  </a:lnTo>
                  <a:lnTo>
                    <a:pt x="182" y="611"/>
                  </a:lnTo>
                  <a:lnTo>
                    <a:pt x="182" y="608"/>
                  </a:lnTo>
                  <a:lnTo>
                    <a:pt x="182" y="608"/>
                  </a:lnTo>
                  <a:lnTo>
                    <a:pt x="186" y="608"/>
                  </a:lnTo>
                  <a:lnTo>
                    <a:pt x="189" y="605"/>
                  </a:lnTo>
                  <a:lnTo>
                    <a:pt x="189" y="601"/>
                  </a:lnTo>
                  <a:lnTo>
                    <a:pt x="193" y="605"/>
                  </a:lnTo>
                  <a:lnTo>
                    <a:pt x="193" y="601"/>
                  </a:lnTo>
                  <a:lnTo>
                    <a:pt x="196" y="601"/>
                  </a:lnTo>
                  <a:lnTo>
                    <a:pt x="196" y="601"/>
                  </a:lnTo>
                  <a:lnTo>
                    <a:pt x="193" y="601"/>
                  </a:lnTo>
                  <a:lnTo>
                    <a:pt x="189" y="601"/>
                  </a:lnTo>
                  <a:lnTo>
                    <a:pt x="189" y="598"/>
                  </a:lnTo>
                  <a:lnTo>
                    <a:pt x="189" y="598"/>
                  </a:lnTo>
                  <a:lnTo>
                    <a:pt x="193" y="598"/>
                  </a:lnTo>
                  <a:lnTo>
                    <a:pt x="196" y="595"/>
                  </a:lnTo>
                  <a:lnTo>
                    <a:pt x="200" y="595"/>
                  </a:lnTo>
                  <a:lnTo>
                    <a:pt x="200" y="595"/>
                  </a:lnTo>
                  <a:lnTo>
                    <a:pt x="200" y="592"/>
                  </a:lnTo>
                  <a:lnTo>
                    <a:pt x="200" y="592"/>
                  </a:lnTo>
                  <a:lnTo>
                    <a:pt x="196" y="592"/>
                  </a:lnTo>
                  <a:lnTo>
                    <a:pt x="196" y="588"/>
                  </a:lnTo>
                  <a:lnTo>
                    <a:pt x="200" y="588"/>
                  </a:lnTo>
                  <a:lnTo>
                    <a:pt x="203" y="588"/>
                  </a:lnTo>
                  <a:lnTo>
                    <a:pt x="203" y="585"/>
                  </a:lnTo>
                  <a:lnTo>
                    <a:pt x="200" y="585"/>
                  </a:lnTo>
                  <a:lnTo>
                    <a:pt x="196" y="585"/>
                  </a:lnTo>
                  <a:lnTo>
                    <a:pt x="193" y="588"/>
                  </a:lnTo>
                  <a:lnTo>
                    <a:pt x="189" y="588"/>
                  </a:lnTo>
                  <a:lnTo>
                    <a:pt x="189" y="585"/>
                  </a:lnTo>
                  <a:lnTo>
                    <a:pt x="186" y="585"/>
                  </a:lnTo>
                  <a:lnTo>
                    <a:pt x="182" y="585"/>
                  </a:lnTo>
                  <a:lnTo>
                    <a:pt x="182" y="585"/>
                  </a:lnTo>
                  <a:lnTo>
                    <a:pt x="179" y="585"/>
                  </a:lnTo>
                  <a:lnTo>
                    <a:pt x="176" y="585"/>
                  </a:lnTo>
                  <a:lnTo>
                    <a:pt x="172" y="582"/>
                  </a:lnTo>
                  <a:lnTo>
                    <a:pt x="172" y="582"/>
                  </a:lnTo>
                  <a:lnTo>
                    <a:pt x="169" y="582"/>
                  </a:lnTo>
                  <a:lnTo>
                    <a:pt x="169" y="579"/>
                  </a:lnTo>
                  <a:lnTo>
                    <a:pt x="165" y="575"/>
                  </a:lnTo>
                  <a:lnTo>
                    <a:pt x="162" y="575"/>
                  </a:lnTo>
                  <a:lnTo>
                    <a:pt x="155" y="572"/>
                  </a:lnTo>
                  <a:lnTo>
                    <a:pt x="152" y="569"/>
                  </a:lnTo>
                  <a:lnTo>
                    <a:pt x="148" y="566"/>
                  </a:lnTo>
                  <a:lnTo>
                    <a:pt x="148" y="566"/>
                  </a:lnTo>
                  <a:lnTo>
                    <a:pt x="145" y="563"/>
                  </a:lnTo>
                  <a:lnTo>
                    <a:pt x="145" y="559"/>
                  </a:lnTo>
                  <a:lnTo>
                    <a:pt x="141" y="559"/>
                  </a:lnTo>
                  <a:lnTo>
                    <a:pt x="141" y="556"/>
                  </a:lnTo>
                  <a:lnTo>
                    <a:pt x="145" y="553"/>
                  </a:lnTo>
                  <a:lnTo>
                    <a:pt x="148" y="553"/>
                  </a:lnTo>
                  <a:lnTo>
                    <a:pt x="152" y="553"/>
                  </a:lnTo>
                  <a:lnTo>
                    <a:pt x="155" y="553"/>
                  </a:lnTo>
                  <a:lnTo>
                    <a:pt x="158" y="553"/>
                  </a:lnTo>
                  <a:lnTo>
                    <a:pt x="162" y="556"/>
                  </a:lnTo>
                  <a:lnTo>
                    <a:pt x="165" y="556"/>
                  </a:lnTo>
                  <a:lnTo>
                    <a:pt x="165" y="556"/>
                  </a:lnTo>
                  <a:lnTo>
                    <a:pt x="169" y="559"/>
                  </a:lnTo>
                  <a:lnTo>
                    <a:pt x="172" y="559"/>
                  </a:lnTo>
                  <a:lnTo>
                    <a:pt x="176" y="559"/>
                  </a:lnTo>
                  <a:lnTo>
                    <a:pt x="176" y="559"/>
                  </a:lnTo>
                  <a:lnTo>
                    <a:pt x="179" y="559"/>
                  </a:lnTo>
                  <a:lnTo>
                    <a:pt x="182" y="563"/>
                  </a:lnTo>
                  <a:lnTo>
                    <a:pt x="182" y="569"/>
                  </a:lnTo>
                  <a:lnTo>
                    <a:pt x="186" y="572"/>
                  </a:lnTo>
                  <a:lnTo>
                    <a:pt x="189" y="572"/>
                  </a:lnTo>
                  <a:lnTo>
                    <a:pt x="193" y="575"/>
                  </a:lnTo>
                  <a:lnTo>
                    <a:pt x="196" y="575"/>
                  </a:lnTo>
                  <a:lnTo>
                    <a:pt x="200" y="575"/>
                  </a:lnTo>
                  <a:lnTo>
                    <a:pt x="200" y="572"/>
                  </a:lnTo>
                  <a:lnTo>
                    <a:pt x="200" y="572"/>
                  </a:lnTo>
                  <a:lnTo>
                    <a:pt x="196" y="575"/>
                  </a:lnTo>
                  <a:lnTo>
                    <a:pt x="196" y="575"/>
                  </a:lnTo>
                  <a:lnTo>
                    <a:pt x="193" y="572"/>
                  </a:lnTo>
                  <a:lnTo>
                    <a:pt x="189" y="569"/>
                  </a:lnTo>
                  <a:lnTo>
                    <a:pt x="189" y="569"/>
                  </a:lnTo>
                  <a:lnTo>
                    <a:pt x="189" y="566"/>
                  </a:lnTo>
                  <a:lnTo>
                    <a:pt x="193" y="569"/>
                  </a:lnTo>
                  <a:lnTo>
                    <a:pt x="196" y="569"/>
                  </a:lnTo>
                  <a:lnTo>
                    <a:pt x="196" y="569"/>
                  </a:lnTo>
                  <a:lnTo>
                    <a:pt x="200" y="569"/>
                  </a:lnTo>
                  <a:lnTo>
                    <a:pt x="200" y="566"/>
                  </a:lnTo>
                  <a:lnTo>
                    <a:pt x="193" y="566"/>
                  </a:lnTo>
                  <a:lnTo>
                    <a:pt x="189" y="563"/>
                  </a:lnTo>
                  <a:lnTo>
                    <a:pt x="189" y="559"/>
                  </a:lnTo>
                  <a:lnTo>
                    <a:pt x="189" y="559"/>
                  </a:lnTo>
                  <a:lnTo>
                    <a:pt x="189" y="559"/>
                  </a:lnTo>
                  <a:lnTo>
                    <a:pt x="193" y="563"/>
                  </a:lnTo>
                  <a:lnTo>
                    <a:pt x="196" y="563"/>
                  </a:lnTo>
                  <a:lnTo>
                    <a:pt x="193" y="559"/>
                  </a:lnTo>
                  <a:lnTo>
                    <a:pt x="189" y="556"/>
                  </a:lnTo>
                  <a:lnTo>
                    <a:pt x="186" y="553"/>
                  </a:lnTo>
                  <a:lnTo>
                    <a:pt x="186" y="553"/>
                  </a:lnTo>
                  <a:lnTo>
                    <a:pt x="186" y="550"/>
                  </a:lnTo>
                  <a:lnTo>
                    <a:pt x="189" y="553"/>
                  </a:lnTo>
                  <a:lnTo>
                    <a:pt x="196" y="553"/>
                  </a:lnTo>
                  <a:lnTo>
                    <a:pt x="200" y="553"/>
                  </a:lnTo>
                  <a:lnTo>
                    <a:pt x="200" y="550"/>
                  </a:lnTo>
                  <a:lnTo>
                    <a:pt x="196" y="546"/>
                  </a:lnTo>
                  <a:lnTo>
                    <a:pt x="196" y="546"/>
                  </a:lnTo>
                  <a:lnTo>
                    <a:pt x="193" y="550"/>
                  </a:lnTo>
                  <a:lnTo>
                    <a:pt x="189" y="550"/>
                  </a:lnTo>
                  <a:lnTo>
                    <a:pt x="186" y="550"/>
                  </a:lnTo>
                  <a:lnTo>
                    <a:pt x="186" y="546"/>
                  </a:lnTo>
                  <a:lnTo>
                    <a:pt x="186" y="546"/>
                  </a:lnTo>
                  <a:lnTo>
                    <a:pt x="189" y="543"/>
                  </a:lnTo>
                  <a:lnTo>
                    <a:pt x="193" y="543"/>
                  </a:lnTo>
                  <a:lnTo>
                    <a:pt x="196" y="546"/>
                  </a:lnTo>
                  <a:lnTo>
                    <a:pt x="196" y="543"/>
                  </a:lnTo>
                  <a:lnTo>
                    <a:pt x="196" y="543"/>
                  </a:lnTo>
                  <a:lnTo>
                    <a:pt x="193" y="540"/>
                  </a:lnTo>
                  <a:lnTo>
                    <a:pt x="193" y="540"/>
                  </a:lnTo>
                  <a:lnTo>
                    <a:pt x="189" y="543"/>
                  </a:lnTo>
                  <a:lnTo>
                    <a:pt x="189" y="543"/>
                  </a:lnTo>
                  <a:lnTo>
                    <a:pt x="186" y="543"/>
                  </a:lnTo>
                  <a:lnTo>
                    <a:pt x="182" y="546"/>
                  </a:lnTo>
                  <a:lnTo>
                    <a:pt x="179" y="546"/>
                  </a:lnTo>
                  <a:lnTo>
                    <a:pt x="179" y="546"/>
                  </a:lnTo>
                  <a:lnTo>
                    <a:pt x="182" y="543"/>
                  </a:lnTo>
                  <a:lnTo>
                    <a:pt x="182" y="540"/>
                  </a:lnTo>
                  <a:lnTo>
                    <a:pt x="186" y="540"/>
                  </a:lnTo>
                  <a:lnTo>
                    <a:pt x="186" y="540"/>
                  </a:lnTo>
                  <a:lnTo>
                    <a:pt x="189" y="540"/>
                  </a:lnTo>
                  <a:lnTo>
                    <a:pt x="193" y="537"/>
                  </a:lnTo>
                  <a:lnTo>
                    <a:pt x="193" y="537"/>
                  </a:lnTo>
                  <a:lnTo>
                    <a:pt x="196" y="537"/>
                  </a:lnTo>
                  <a:lnTo>
                    <a:pt x="196" y="533"/>
                  </a:lnTo>
                  <a:lnTo>
                    <a:pt x="189" y="533"/>
                  </a:lnTo>
                  <a:lnTo>
                    <a:pt x="186" y="537"/>
                  </a:lnTo>
                  <a:lnTo>
                    <a:pt x="186" y="537"/>
                  </a:lnTo>
                  <a:lnTo>
                    <a:pt x="182" y="537"/>
                  </a:lnTo>
                  <a:lnTo>
                    <a:pt x="179" y="537"/>
                  </a:lnTo>
                  <a:lnTo>
                    <a:pt x="179" y="537"/>
                  </a:lnTo>
                  <a:lnTo>
                    <a:pt x="179" y="533"/>
                  </a:lnTo>
                  <a:lnTo>
                    <a:pt x="179" y="533"/>
                  </a:lnTo>
                  <a:lnTo>
                    <a:pt x="182" y="530"/>
                  </a:lnTo>
                  <a:lnTo>
                    <a:pt x="186" y="530"/>
                  </a:lnTo>
                  <a:lnTo>
                    <a:pt x="193" y="530"/>
                  </a:lnTo>
                  <a:lnTo>
                    <a:pt x="196" y="527"/>
                  </a:lnTo>
                  <a:lnTo>
                    <a:pt x="200" y="527"/>
                  </a:lnTo>
                  <a:lnTo>
                    <a:pt x="196" y="527"/>
                  </a:lnTo>
                  <a:lnTo>
                    <a:pt x="196" y="527"/>
                  </a:lnTo>
                  <a:lnTo>
                    <a:pt x="193" y="527"/>
                  </a:lnTo>
                  <a:lnTo>
                    <a:pt x="189" y="527"/>
                  </a:lnTo>
                  <a:lnTo>
                    <a:pt x="186" y="527"/>
                  </a:lnTo>
                  <a:lnTo>
                    <a:pt x="186" y="524"/>
                  </a:lnTo>
                  <a:lnTo>
                    <a:pt x="182" y="524"/>
                  </a:lnTo>
                  <a:lnTo>
                    <a:pt x="179" y="524"/>
                  </a:lnTo>
                  <a:lnTo>
                    <a:pt x="179" y="524"/>
                  </a:lnTo>
                  <a:lnTo>
                    <a:pt x="179" y="524"/>
                  </a:lnTo>
                  <a:lnTo>
                    <a:pt x="182" y="521"/>
                  </a:lnTo>
                  <a:lnTo>
                    <a:pt x="182" y="517"/>
                  </a:lnTo>
                  <a:lnTo>
                    <a:pt x="186" y="517"/>
                  </a:lnTo>
                  <a:lnTo>
                    <a:pt x="189" y="514"/>
                  </a:lnTo>
                  <a:lnTo>
                    <a:pt x="186" y="514"/>
                  </a:lnTo>
                  <a:lnTo>
                    <a:pt x="186" y="514"/>
                  </a:lnTo>
                  <a:lnTo>
                    <a:pt x="182" y="514"/>
                  </a:lnTo>
                  <a:lnTo>
                    <a:pt x="179" y="517"/>
                  </a:lnTo>
                  <a:lnTo>
                    <a:pt x="179" y="521"/>
                  </a:lnTo>
                  <a:lnTo>
                    <a:pt x="176" y="521"/>
                  </a:lnTo>
                  <a:lnTo>
                    <a:pt x="176" y="524"/>
                  </a:lnTo>
                  <a:lnTo>
                    <a:pt x="176" y="524"/>
                  </a:lnTo>
                  <a:lnTo>
                    <a:pt x="176" y="521"/>
                  </a:lnTo>
                  <a:lnTo>
                    <a:pt x="176" y="517"/>
                  </a:lnTo>
                  <a:lnTo>
                    <a:pt x="176" y="511"/>
                  </a:lnTo>
                  <a:lnTo>
                    <a:pt x="172" y="508"/>
                  </a:lnTo>
                  <a:lnTo>
                    <a:pt x="172" y="504"/>
                  </a:lnTo>
                  <a:lnTo>
                    <a:pt x="176" y="504"/>
                  </a:lnTo>
                  <a:lnTo>
                    <a:pt x="176" y="501"/>
                  </a:lnTo>
                  <a:lnTo>
                    <a:pt x="172" y="501"/>
                  </a:lnTo>
                  <a:lnTo>
                    <a:pt x="172" y="501"/>
                  </a:lnTo>
                  <a:lnTo>
                    <a:pt x="172" y="508"/>
                  </a:lnTo>
                  <a:lnTo>
                    <a:pt x="172" y="511"/>
                  </a:lnTo>
                  <a:lnTo>
                    <a:pt x="172" y="514"/>
                  </a:lnTo>
                  <a:lnTo>
                    <a:pt x="172" y="517"/>
                  </a:lnTo>
                  <a:lnTo>
                    <a:pt x="172" y="521"/>
                  </a:lnTo>
                  <a:lnTo>
                    <a:pt x="172" y="524"/>
                  </a:lnTo>
                  <a:lnTo>
                    <a:pt x="169" y="524"/>
                  </a:lnTo>
                  <a:lnTo>
                    <a:pt x="169" y="521"/>
                  </a:lnTo>
                  <a:lnTo>
                    <a:pt x="165" y="521"/>
                  </a:lnTo>
                  <a:lnTo>
                    <a:pt x="165" y="524"/>
                  </a:lnTo>
                  <a:lnTo>
                    <a:pt x="165" y="524"/>
                  </a:lnTo>
                  <a:lnTo>
                    <a:pt x="165" y="524"/>
                  </a:lnTo>
                  <a:lnTo>
                    <a:pt x="162" y="524"/>
                  </a:lnTo>
                  <a:lnTo>
                    <a:pt x="165" y="527"/>
                  </a:lnTo>
                  <a:lnTo>
                    <a:pt x="165" y="527"/>
                  </a:lnTo>
                  <a:lnTo>
                    <a:pt x="162" y="530"/>
                  </a:lnTo>
                  <a:lnTo>
                    <a:pt x="162" y="533"/>
                  </a:lnTo>
                  <a:lnTo>
                    <a:pt x="158" y="533"/>
                  </a:lnTo>
                  <a:lnTo>
                    <a:pt x="158" y="533"/>
                  </a:lnTo>
                  <a:lnTo>
                    <a:pt x="155" y="533"/>
                  </a:lnTo>
                  <a:lnTo>
                    <a:pt x="155" y="537"/>
                  </a:lnTo>
                  <a:lnTo>
                    <a:pt x="148" y="537"/>
                  </a:lnTo>
                  <a:lnTo>
                    <a:pt x="148" y="533"/>
                  </a:lnTo>
                  <a:lnTo>
                    <a:pt x="148" y="530"/>
                  </a:lnTo>
                  <a:lnTo>
                    <a:pt x="145" y="530"/>
                  </a:lnTo>
                  <a:lnTo>
                    <a:pt x="145" y="527"/>
                  </a:lnTo>
                  <a:lnTo>
                    <a:pt x="145" y="527"/>
                  </a:lnTo>
                  <a:lnTo>
                    <a:pt x="141" y="530"/>
                  </a:lnTo>
                  <a:lnTo>
                    <a:pt x="141" y="530"/>
                  </a:lnTo>
                  <a:lnTo>
                    <a:pt x="141" y="527"/>
                  </a:lnTo>
                  <a:lnTo>
                    <a:pt x="141" y="524"/>
                  </a:lnTo>
                  <a:lnTo>
                    <a:pt x="141" y="524"/>
                  </a:lnTo>
                  <a:lnTo>
                    <a:pt x="138" y="521"/>
                  </a:lnTo>
                  <a:lnTo>
                    <a:pt x="138" y="521"/>
                  </a:lnTo>
                  <a:lnTo>
                    <a:pt x="141" y="517"/>
                  </a:lnTo>
                  <a:lnTo>
                    <a:pt x="145" y="517"/>
                  </a:lnTo>
                  <a:lnTo>
                    <a:pt x="148" y="517"/>
                  </a:lnTo>
                  <a:lnTo>
                    <a:pt x="148" y="517"/>
                  </a:lnTo>
                  <a:lnTo>
                    <a:pt x="152" y="517"/>
                  </a:lnTo>
                  <a:lnTo>
                    <a:pt x="155" y="514"/>
                  </a:lnTo>
                  <a:lnTo>
                    <a:pt x="158" y="514"/>
                  </a:lnTo>
                  <a:lnTo>
                    <a:pt x="162" y="511"/>
                  </a:lnTo>
                  <a:lnTo>
                    <a:pt x="165" y="508"/>
                  </a:lnTo>
                  <a:lnTo>
                    <a:pt x="165" y="504"/>
                  </a:lnTo>
                  <a:lnTo>
                    <a:pt x="165" y="504"/>
                  </a:lnTo>
                  <a:lnTo>
                    <a:pt x="162" y="508"/>
                  </a:lnTo>
                  <a:lnTo>
                    <a:pt x="162" y="511"/>
                  </a:lnTo>
                  <a:lnTo>
                    <a:pt x="158" y="511"/>
                  </a:lnTo>
                  <a:lnTo>
                    <a:pt x="155" y="514"/>
                  </a:lnTo>
                  <a:lnTo>
                    <a:pt x="148" y="514"/>
                  </a:lnTo>
                  <a:lnTo>
                    <a:pt x="145" y="511"/>
                  </a:lnTo>
                  <a:lnTo>
                    <a:pt x="145" y="508"/>
                  </a:lnTo>
                  <a:lnTo>
                    <a:pt x="148" y="508"/>
                  </a:lnTo>
                  <a:lnTo>
                    <a:pt x="155" y="504"/>
                  </a:lnTo>
                  <a:lnTo>
                    <a:pt x="155" y="504"/>
                  </a:lnTo>
                  <a:lnTo>
                    <a:pt x="158" y="501"/>
                  </a:lnTo>
                  <a:lnTo>
                    <a:pt x="155" y="501"/>
                  </a:lnTo>
                  <a:lnTo>
                    <a:pt x="158" y="501"/>
                  </a:lnTo>
                  <a:lnTo>
                    <a:pt x="158" y="498"/>
                  </a:lnTo>
                  <a:lnTo>
                    <a:pt x="162" y="498"/>
                  </a:lnTo>
                  <a:lnTo>
                    <a:pt x="158" y="498"/>
                  </a:lnTo>
                  <a:lnTo>
                    <a:pt x="158" y="495"/>
                  </a:lnTo>
                  <a:lnTo>
                    <a:pt x="158" y="495"/>
                  </a:lnTo>
                  <a:lnTo>
                    <a:pt x="158" y="495"/>
                  </a:lnTo>
                  <a:lnTo>
                    <a:pt x="155" y="498"/>
                  </a:lnTo>
                  <a:lnTo>
                    <a:pt x="152" y="498"/>
                  </a:lnTo>
                  <a:lnTo>
                    <a:pt x="148" y="498"/>
                  </a:lnTo>
                  <a:lnTo>
                    <a:pt x="148" y="495"/>
                  </a:lnTo>
                  <a:lnTo>
                    <a:pt x="148" y="495"/>
                  </a:lnTo>
                  <a:lnTo>
                    <a:pt x="155" y="491"/>
                  </a:lnTo>
                  <a:lnTo>
                    <a:pt x="155" y="491"/>
                  </a:lnTo>
                  <a:lnTo>
                    <a:pt x="158" y="495"/>
                  </a:lnTo>
                  <a:lnTo>
                    <a:pt x="158" y="491"/>
                  </a:lnTo>
                  <a:lnTo>
                    <a:pt x="165" y="491"/>
                  </a:lnTo>
                  <a:lnTo>
                    <a:pt x="165" y="488"/>
                  </a:lnTo>
                  <a:lnTo>
                    <a:pt x="165" y="485"/>
                  </a:lnTo>
                  <a:lnTo>
                    <a:pt x="165" y="485"/>
                  </a:lnTo>
                  <a:lnTo>
                    <a:pt x="169" y="482"/>
                  </a:lnTo>
                  <a:lnTo>
                    <a:pt x="169" y="475"/>
                  </a:lnTo>
                  <a:lnTo>
                    <a:pt x="169" y="472"/>
                  </a:lnTo>
                  <a:lnTo>
                    <a:pt x="169" y="472"/>
                  </a:lnTo>
                  <a:lnTo>
                    <a:pt x="165" y="472"/>
                  </a:lnTo>
                  <a:lnTo>
                    <a:pt x="162" y="472"/>
                  </a:lnTo>
                  <a:lnTo>
                    <a:pt x="162" y="469"/>
                  </a:lnTo>
                  <a:lnTo>
                    <a:pt x="158" y="469"/>
                  </a:lnTo>
                  <a:lnTo>
                    <a:pt x="155" y="469"/>
                  </a:lnTo>
                  <a:lnTo>
                    <a:pt x="155" y="469"/>
                  </a:lnTo>
                  <a:lnTo>
                    <a:pt x="158" y="466"/>
                  </a:lnTo>
                  <a:lnTo>
                    <a:pt x="162" y="466"/>
                  </a:lnTo>
                  <a:lnTo>
                    <a:pt x="162" y="466"/>
                  </a:lnTo>
                  <a:lnTo>
                    <a:pt x="165" y="466"/>
                  </a:lnTo>
                  <a:lnTo>
                    <a:pt x="165" y="462"/>
                  </a:lnTo>
                  <a:lnTo>
                    <a:pt x="165" y="459"/>
                  </a:lnTo>
                  <a:lnTo>
                    <a:pt x="165" y="459"/>
                  </a:lnTo>
                  <a:lnTo>
                    <a:pt x="165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3"/>
                  </a:lnTo>
                  <a:lnTo>
                    <a:pt x="162" y="453"/>
                  </a:lnTo>
                  <a:lnTo>
                    <a:pt x="165" y="453"/>
                  </a:lnTo>
                  <a:lnTo>
                    <a:pt x="165" y="449"/>
                  </a:lnTo>
                  <a:lnTo>
                    <a:pt x="162" y="449"/>
                  </a:lnTo>
                  <a:lnTo>
                    <a:pt x="162" y="443"/>
                  </a:lnTo>
                  <a:lnTo>
                    <a:pt x="162" y="443"/>
                  </a:lnTo>
                  <a:lnTo>
                    <a:pt x="165" y="446"/>
                  </a:lnTo>
                  <a:lnTo>
                    <a:pt x="165" y="446"/>
                  </a:lnTo>
                  <a:lnTo>
                    <a:pt x="162" y="443"/>
                  </a:lnTo>
                  <a:lnTo>
                    <a:pt x="162" y="440"/>
                  </a:lnTo>
                  <a:lnTo>
                    <a:pt x="165" y="440"/>
                  </a:lnTo>
                  <a:lnTo>
                    <a:pt x="165" y="437"/>
                  </a:lnTo>
                  <a:lnTo>
                    <a:pt x="162" y="433"/>
                  </a:lnTo>
                  <a:lnTo>
                    <a:pt x="162" y="430"/>
                  </a:lnTo>
                  <a:lnTo>
                    <a:pt x="162" y="430"/>
                  </a:lnTo>
                  <a:lnTo>
                    <a:pt x="162" y="427"/>
                  </a:lnTo>
                  <a:lnTo>
                    <a:pt x="165" y="424"/>
                  </a:lnTo>
                  <a:lnTo>
                    <a:pt x="162" y="424"/>
                  </a:lnTo>
                  <a:lnTo>
                    <a:pt x="162" y="424"/>
                  </a:lnTo>
                  <a:lnTo>
                    <a:pt x="158" y="427"/>
                  </a:lnTo>
                  <a:lnTo>
                    <a:pt x="155" y="427"/>
                  </a:lnTo>
                  <a:lnTo>
                    <a:pt x="155" y="427"/>
                  </a:lnTo>
                  <a:lnTo>
                    <a:pt x="152" y="430"/>
                  </a:lnTo>
                  <a:lnTo>
                    <a:pt x="152" y="427"/>
                  </a:lnTo>
                  <a:lnTo>
                    <a:pt x="152" y="427"/>
                  </a:lnTo>
                  <a:lnTo>
                    <a:pt x="155" y="424"/>
                  </a:lnTo>
                  <a:lnTo>
                    <a:pt x="158" y="424"/>
                  </a:lnTo>
                  <a:lnTo>
                    <a:pt x="158" y="424"/>
                  </a:lnTo>
                  <a:lnTo>
                    <a:pt x="158" y="420"/>
                  </a:lnTo>
                  <a:lnTo>
                    <a:pt x="162" y="417"/>
                  </a:lnTo>
                  <a:lnTo>
                    <a:pt x="165" y="417"/>
                  </a:lnTo>
                  <a:lnTo>
                    <a:pt x="169" y="414"/>
                  </a:lnTo>
                  <a:lnTo>
                    <a:pt x="165" y="411"/>
                  </a:lnTo>
                  <a:lnTo>
                    <a:pt x="165" y="411"/>
                  </a:lnTo>
                  <a:lnTo>
                    <a:pt x="162" y="407"/>
                  </a:lnTo>
                  <a:lnTo>
                    <a:pt x="162" y="404"/>
                  </a:lnTo>
                  <a:lnTo>
                    <a:pt x="162" y="404"/>
                  </a:lnTo>
                  <a:lnTo>
                    <a:pt x="158" y="404"/>
                  </a:lnTo>
                  <a:lnTo>
                    <a:pt x="158" y="401"/>
                  </a:lnTo>
                  <a:lnTo>
                    <a:pt x="158" y="401"/>
                  </a:lnTo>
                  <a:lnTo>
                    <a:pt x="158" y="398"/>
                  </a:lnTo>
                  <a:lnTo>
                    <a:pt x="158" y="398"/>
                  </a:lnTo>
                  <a:lnTo>
                    <a:pt x="158" y="395"/>
                  </a:lnTo>
                  <a:lnTo>
                    <a:pt x="155" y="391"/>
                  </a:lnTo>
                  <a:lnTo>
                    <a:pt x="152" y="388"/>
                  </a:lnTo>
                  <a:lnTo>
                    <a:pt x="148" y="385"/>
                  </a:lnTo>
                  <a:lnTo>
                    <a:pt x="148" y="385"/>
                  </a:lnTo>
                  <a:lnTo>
                    <a:pt x="148" y="382"/>
                  </a:lnTo>
                  <a:lnTo>
                    <a:pt x="148" y="382"/>
                  </a:lnTo>
                  <a:lnTo>
                    <a:pt x="148" y="382"/>
                  </a:lnTo>
                  <a:lnTo>
                    <a:pt x="152" y="378"/>
                  </a:lnTo>
                  <a:lnTo>
                    <a:pt x="155" y="375"/>
                  </a:lnTo>
                  <a:lnTo>
                    <a:pt x="155" y="375"/>
                  </a:lnTo>
                  <a:lnTo>
                    <a:pt x="155" y="375"/>
                  </a:lnTo>
                  <a:lnTo>
                    <a:pt x="152" y="375"/>
                  </a:lnTo>
                  <a:lnTo>
                    <a:pt x="152" y="372"/>
                  </a:lnTo>
                  <a:lnTo>
                    <a:pt x="155" y="372"/>
                  </a:lnTo>
                  <a:lnTo>
                    <a:pt x="155" y="369"/>
                  </a:lnTo>
                  <a:lnTo>
                    <a:pt x="158" y="365"/>
                  </a:lnTo>
                  <a:lnTo>
                    <a:pt x="158" y="365"/>
                  </a:lnTo>
                  <a:lnTo>
                    <a:pt x="155" y="365"/>
                  </a:lnTo>
                  <a:lnTo>
                    <a:pt x="158" y="362"/>
                  </a:lnTo>
                  <a:lnTo>
                    <a:pt x="155" y="362"/>
                  </a:lnTo>
                  <a:lnTo>
                    <a:pt x="155" y="359"/>
                  </a:lnTo>
                  <a:lnTo>
                    <a:pt x="152" y="356"/>
                  </a:lnTo>
                  <a:lnTo>
                    <a:pt x="148" y="356"/>
                  </a:lnTo>
                  <a:lnTo>
                    <a:pt x="145" y="353"/>
                  </a:lnTo>
                  <a:lnTo>
                    <a:pt x="145" y="349"/>
                  </a:lnTo>
                  <a:lnTo>
                    <a:pt x="141" y="353"/>
                  </a:lnTo>
                  <a:lnTo>
                    <a:pt x="141" y="353"/>
                  </a:lnTo>
                  <a:lnTo>
                    <a:pt x="141" y="353"/>
                  </a:lnTo>
                  <a:lnTo>
                    <a:pt x="141" y="353"/>
                  </a:lnTo>
                  <a:lnTo>
                    <a:pt x="138" y="349"/>
                  </a:lnTo>
                  <a:lnTo>
                    <a:pt x="138" y="349"/>
                  </a:lnTo>
                  <a:lnTo>
                    <a:pt x="134" y="346"/>
                  </a:lnTo>
                  <a:lnTo>
                    <a:pt x="131" y="346"/>
                  </a:lnTo>
                  <a:lnTo>
                    <a:pt x="131" y="343"/>
                  </a:lnTo>
                  <a:lnTo>
                    <a:pt x="131" y="346"/>
                  </a:lnTo>
                  <a:lnTo>
                    <a:pt x="127" y="346"/>
                  </a:lnTo>
                  <a:lnTo>
                    <a:pt x="127" y="343"/>
                  </a:lnTo>
                  <a:lnTo>
                    <a:pt x="127" y="343"/>
                  </a:lnTo>
                  <a:lnTo>
                    <a:pt x="124" y="340"/>
                  </a:lnTo>
                  <a:lnTo>
                    <a:pt x="121" y="336"/>
                  </a:lnTo>
                  <a:lnTo>
                    <a:pt x="121" y="336"/>
                  </a:lnTo>
                  <a:lnTo>
                    <a:pt x="117" y="336"/>
                  </a:lnTo>
                  <a:lnTo>
                    <a:pt x="114" y="336"/>
                  </a:lnTo>
                  <a:lnTo>
                    <a:pt x="110" y="333"/>
                  </a:lnTo>
                  <a:lnTo>
                    <a:pt x="103" y="330"/>
                  </a:lnTo>
                  <a:lnTo>
                    <a:pt x="103" y="330"/>
                  </a:lnTo>
                  <a:lnTo>
                    <a:pt x="100" y="327"/>
                  </a:lnTo>
                  <a:lnTo>
                    <a:pt x="93" y="327"/>
                  </a:lnTo>
                  <a:lnTo>
                    <a:pt x="93" y="330"/>
                  </a:lnTo>
                  <a:lnTo>
                    <a:pt x="90" y="333"/>
                  </a:lnTo>
                  <a:lnTo>
                    <a:pt x="86" y="336"/>
                  </a:lnTo>
                  <a:lnTo>
                    <a:pt x="86" y="336"/>
                  </a:lnTo>
                  <a:lnTo>
                    <a:pt x="86" y="333"/>
                  </a:lnTo>
                  <a:lnTo>
                    <a:pt x="86" y="330"/>
                  </a:lnTo>
                  <a:lnTo>
                    <a:pt x="86" y="330"/>
                  </a:lnTo>
                  <a:lnTo>
                    <a:pt x="86" y="327"/>
                  </a:lnTo>
                  <a:lnTo>
                    <a:pt x="83" y="327"/>
                  </a:lnTo>
                  <a:lnTo>
                    <a:pt x="79" y="330"/>
                  </a:lnTo>
                  <a:lnTo>
                    <a:pt x="79" y="330"/>
                  </a:lnTo>
                  <a:lnTo>
                    <a:pt x="76" y="333"/>
                  </a:lnTo>
                  <a:lnTo>
                    <a:pt x="76" y="333"/>
                  </a:lnTo>
                  <a:lnTo>
                    <a:pt x="72" y="327"/>
                  </a:lnTo>
                  <a:lnTo>
                    <a:pt x="69" y="327"/>
                  </a:lnTo>
                  <a:lnTo>
                    <a:pt x="69" y="330"/>
                  </a:lnTo>
                  <a:lnTo>
                    <a:pt x="69" y="333"/>
                  </a:lnTo>
                  <a:lnTo>
                    <a:pt x="66" y="336"/>
                  </a:lnTo>
                  <a:lnTo>
                    <a:pt x="66" y="333"/>
                  </a:lnTo>
                  <a:lnTo>
                    <a:pt x="62" y="330"/>
                  </a:lnTo>
                  <a:lnTo>
                    <a:pt x="66" y="330"/>
                  </a:lnTo>
                  <a:lnTo>
                    <a:pt x="69" y="327"/>
                  </a:lnTo>
                  <a:lnTo>
                    <a:pt x="69" y="327"/>
                  </a:lnTo>
                  <a:lnTo>
                    <a:pt x="66" y="327"/>
                  </a:lnTo>
                  <a:lnTo>
                    <a:pt x="62" y="323"/>
                  </a:lnTo>
                  <a:lnTo>
                    <a:pt x="59" y="327"/>
                  </a:lnTo>
                  <a:lnTo>
                    <a:pt x="59" y="327"/>
                  </a:lnTo>
                  <a:lnTo>
                    <a:pt x="55" y="330"/>
                  </a:lnTo>
                  <a:lnTo>
                    <a:pt x="55" y="330"/>
                  </a:lnTo>
                  <a:lnTo>
                    <a:pt x="55" y="327"/>
                  </a:lnTo>
                  <a:lnTo>
                    <a:pt x="55" y="327"/>
                  </a:lnTo>
                  <a:lnTo>
                    <a:pt x="52" y="323"/>
                  </a:lnTo>
                  <a:lnTo>
                    <a:pt x="52" y="320"/>
                  </a:lnTo>
                  <a:lnTo>
                    <a:pt x="52" y="320"/>
                  </a:lnTo>
                  <a:lnTo>
                    <a:pt x="48" y="320"/>
                  </a:lnTo>
                  <a:lnTo>
                    <a:pt x="48" y="323"/>
                  </a:lnTo>
                  <a:lnTo>
                    <a:pt x="48" y="327"/>
                  </a:lnTo>
                  <a:lnTo>
                    <a:pt x="45" y="327"/>
                  </a:lnTo>
                  <a:lnTo>
                    <a:pt x="45" y="330"/>
                  </a:lnTo>
                  <a:lnTo>
                    <a:pt x="48" y="333"/>
                  </a:lnTo>
                  <a:lnTo>
                    <a:pt x="48" y="336"/>
                  </a:lnTo>
                  <a:lnTo>
                    <a:pt x="45" y="336"/>
                  </a:lnTo>
                  <a:lnTo>
                    <a:pt x="41" y="336"/>
                  </a:lnTo>
                  <a:lnTo>
                    <a:pt x="41" y="333"/>
                  </a:lnTo>
                  <a:lnTo>
                    <a:pt x="35" y="330"/>
                  </a:lnTo>
                  <a:lnTo>
                    <a:pt x="31" y="330"/>
                  </a:lnTo>
                  <a:lnTo>
                    <a:pt x="28" y="327"/>
                  </a:lnTo>
                  <a:lnTo>
                    <a:pt x="28" y="323"/>
                  </a:lnTo>
                  <a:lnTo>
                    <a:pt x="28" y="323"/>
                  </a:lnTo>
                  <a:lnTo>
                    <a:pt x="28" y="323"/>
                  </a:lnTo>
                  <a:lnTo>
                    <a:pt x="24" y="323"/>
                  </a:lnTo>
                  <a:lnTo>
                    <a:pt x="21" y="317"/>
                  </a:lnTo>
                  <a:lnTo>
                    <a:pt x="21" y="314"/>
                  </a:lnTo>
                  <a:lnTo>
                    <a:pt x="17" y="311"/>
                  </a:lnTo>
                  <a:lnTo>
                    <a:pt x="17" y="307"/>
                  </a:lnTo>
                  <a:lnTo>
                    <a:pt x="17" y="307"/>
                  </a:lnTo>
                  <a:lnTo>
                    <a:pt x="24" y="307"/>
                  </a:lnTo>
                  <a:lnTo>
                    <a:pt x="24" y="304"/>
                  </a:lnTo>
                  <a:lnTo>
                    <a:pt x="28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8" y="304"/>
                  </a:lnTo>
                  <a:lnTo>
                    <a:pt x="38" y="301"/>
                  </a:lnTo>
                  <a:lnTo>
                    <a:pt x="38" y="301"/>
                  </a:lnTo>
                  <a:lnTo>
                    <a:pt x="35" y="301"/>
                  </a:lnTo>
                  <a:lnTo>
                    <a:pt x="31" y="298"/>
                  </a:lnTo>
                  <a:lnTo>
                    <a:pt x="28" y="298"/>
                  </a:lnTo>
                  <a:lnTo>
                    <a:pt x="28" y="301"/>
                  </a:lnTo>
                  <a:lnTo>
                    <a:pt x="21" y="294"/>
                  </a:lnTo>
                  <a:lnTo>
                    <a:pt x="21" y="291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8" y="285"/>
                  </a:lnTo>
                  <a:lnTo>
                    <a:pt x="28" y="281"/>
                  </a:lnTo>
                  <a:lnTo>
                    <a:pt x="28" y="281"/>
                  </a:lnTo>
                  <a:lnTo>
                    <a:pt x="24" y="285"/>
                  </a:lnTo>
                  <a:lnTo>
                    <a:pt x="21" y="288"/>
                  </a:lnTo>
                  <a:lnTo>
                    <a:pt x="21" y="288"/>
                  </a:lnTo>
                  <a:lnTo>
                    <a:pt x="17" y="288"/>
                  </a:lnTo>
                  <a:lnTo>
                    <a:pt x="17" y="291"/>
                  </a:lnTo>
                  <a:lnTo>
                    <a:pt x="10" y="288"/>
                  </a:lnTo>
                  <a:lnTo>
                    <a:pt x="10" y="285"/>
                  </a:lnTo>
                  <a:lnTo>
                    <a:pt x="10" y="285"/>
                  </a:lnTo>
                  <a:lnTo>
                    <a:pt x="14" y="281"/>
                  </a:lnTo>
                  <a:lnTo>
                    <a:pt x="14" y="281"/>
                  </a:lnTo>
                  <a:lnTo>
                    <a:pt x="10" y="281"/>
                  </a:lnTo>
                  <a:lnTo>
                    <a:pt x="10" y="281"/>
                  </a:lnTo>
                  <a:lnTo>
                    <a:pt x="10" y="278"/>
                  </a:lnTo>
                  <a:lnTo>
                    <a:pt x="10" y="278"/>
                  </a:lnTo>
                  <a:lnTo>
                    <a:pt x="10" y="275"/>
                  </a:lnTo>
                  <a:lnTo>
                    <a:pt x="14" y="275"/>
                  </a:lnTo>
                  <a:lnTo>
                    <a:pt x="14" y="275"/>
                  </a:lnTo>
                  <a:lnTo>
                    <a:pt x="17" y="275"/>
                  </a:lnTo>
                  <a:lnTo>
                    <a:pt x="17" y="275"/>
                  </a:lnTo>
                  <a:lnTo>
                    <a:pt x="17" y="272"/>
                  </a:lnTo>
                  <a:lnTo>
                    <a:pt x="24" y="269"/>
                  </a:lnTo>
                  <a:lnTo>
                    <a:pt x="31" y="272"/>
                  </a:lnTo>
                  <a:lnTo>
                    <a:pt x="35" y="272"/>
                  </a:lnTo>
                  <a:lnTo>
                    <a:pt x="41" y="275"/>
                  </a:lnTo>
                  <a:lnTo>
                    <a:pt x="48" y="275"/>
                  </a:lnTo>
                  <a:lnTo>
                    <a:pt x="55" y="275"/>
                  </a:lnTo>
                  <a:lnTo>
                    <a:pt x="59" y="278"/>
                  </a:lnTo>
                  <a:lnTo>
                    <a:pt x="66" y="281"/>
                  </a:lnTo>
                  <a:lnTo>
                    <a:pt x="66" y="281"/>
                  </a:lnTo>
                  <a:lnTo>
                    <a:pt x="69" y="281"/>
                  </a:lnTo>
                  <a:lnTo>
                    <a:pt x="72" y="281"/>
                  </a:lnTo>
                  <a:lnTo>
                    <a:pt x="69" y="278"/>
                  </a:lnTo>
                  <a:lnTo>
                    <a:pt x="66" y="278"/>
                  </a:lnTo>
                  <a:lnTo>
                    <a:pt x="62" y="278"/>
                  </a:lnTo>
                  <a:lnTo>
                    <a:pt x="55" y="275"/>
                  </a:lnTo>
                  <a:lnTo>
                    <a:pt x="52" y="275"/>
                  </a:lnTo>
                  <a:lnTo>
                    <a:pt x="48" y="272"/>
                  </a:lnTo>
                  <a:lnTo>
                    <a:pt x="41" y="272"/>
                  </a:lnTo>
                  <a:lnTo>
                    <a:pt x="45" y="269"/>
                  </a:lnTo>
                  <a:lnTo>
                    <a:pt x="52" y="269"/>
                  </a:lnTo>
                  <a:lnTo>
                    <a:pt x="55" y="269"/>
                  </a:lnTo>
                  <a:lnTo>
                    <a:pt x="62" y="269"/>
                  </a:lnTo>
                  <a:lnTo>
                    <a:pt x="69" y="269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6" y="275"/>
                  </a:lnTo>
                  <a:lnTo>
                    <a:pt x="79" y="275"/>
                  </a:lnTo>
                  <a:lnTo>
                    <a:pt x="79" y="275"/>
                  </a:lnTo>
                  <a:lnTo>
                    <a:pt x="76" y="272"/>
                  </a:lnTo>
                  <a:lnTo>
                    <a:pt x="76" y="272"/>
                  </a:lnTo>
                  <a:lnTo>
                    <a:pt x="83" y="269"/>
                  </a:lnTo>
                  <a:lnTo>
                    <a:pt x="83" y="269"/>
                  </a:lnTo>
                  <a:lnTo>
                    <a:pt x="83" y="262"/>
                  </a:lnTo>
                  <a:lnTo>
                    <a:pt x="79" y="262"/>
                  </a:lnTo>
                  <a:lnTo>
                    <a:pt x="79" y="262"/>
                  </a:lnTo>
                  <a:lnTo>
                    <a:pt x="76" y="262"/>
                  </a:lnTo>
                  <a:lnTo>
                    <a:pt x="76" y="259"/>
                  </a:lnTo>
                  <a:lnTo>
                    <a:pt x="76" y="259"/>
                  </a:lnTo>
                  <a:lnTo>
                    <a:pt x="72" y="259"/>
                  </a:lnTo>
                  <a:lnTo>
                    <a:pt x="69" y="262"/>
                  </a:lnTo>
                  <a:lnTo>
                    <a:pt x="66" y="262"/>
                  </a:lnTo>
                  <a:lnTo>
                    <a:pt x="59" y="262"/>
                  </a:lnTo>
                  <a:lnTo>
                    <a:pt x="55" y="259"/>
                  </a:lnTo>
                  <a:lnTo>
                    <a:pt x="55" y="259"/>
                  </a:lnTo>
                  <a:lnTo>
                    <a:pt x="55" y="256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48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62"/>
                  </a:lnTo>
                  <a:lnTo>
                    <a:pt x="48" y="262"/>
                  </a:lnTo>
                  <a:lnTo>
                    <a:pt x="45" y="262"/>
                  </a:lnTo>
                  <a:lnTo>
                    <a:pt x="41" y="262"/>
                  </a:lnTo>
                  <a:lnTo>
                    <a:pt x="35" y="256"/>
                  </a:lnTo>
                  <a:lnTo>
                    <a:pt x="35" y="256"/>
                  </a:lnTo>
                  <a:lnTo>
                    <a:pt x="38" y="252"/>
                  </a:lnTo>
                  <a:lnTo>
                    <a:pt x="45" y="252"/>
                  </a:lnTo>
                  <a:lnTo>
                    <a:pt x="45" y="249"/>
                  </a:lnTo>
                  <a:lnTo>
                    <a:pt x="41" y="249"/>
                  </a:lnTo>
                  <a:lnTo>
                    <a:pt x="38" y="252"/>
                  </a:lnTo>
                  <a:lnTo>
                    <a:pt x="35" y="252"/>
                  </a:lnTo>
                  <a:lnTo>
                    <a:pt x="31" y="252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41" y="243"/>
                  </a:lnTo>
                  <a:lnTo>
                    <a:pt x="41" y="240"/>
                  </a:lnTo>
                  <a:lnTo>
                    <a:pt x="38" y="240"/>
                  </a:lnTo>
                  <a:lnTo>
                    <a:pt x="38" y="240"/>
                  </a:lnTo>
                  <a:lnTo>
                    <a:pt x="38" y="243"/>
                  </a:lnTo>
                  <a:lnTo>
                    <a:pt x="35" y="243"/>
                  </a:lnTo>
                  <a:lnTo>
                    <a:pt x="28" y="246"/>
                  </a:lnTo>
                  <a:lnTo>
                    <a:pt x="24" y="243"/>
                  </a:lnTo>
                  <a:lnTo>
                    <a:pt x="24" y="243"/>
                  </a:lnTo>
                  <a:lnTo>
                    <a:pt x="24" y="240"/>
                  </a:lnTo>
                  <a:lnTo>
                    <a:pt x="28" y="240"/>
                  </a:lnTo>
                  <a:lnTo>
                    <a:pt x="28" y="236"/>
                  </a:lnTo>
                  <a:lnTo>
                    <a:pt x="28" y="236"/>
                  </a:lnTo>
                  <a:lnTo>
                    <a:pt x="28" y="236"/>
                  </a:lnTo>
                  <a:lnTo>
                    <a:pt x="24" y="236"/>
                  </a:lnTo>
                  <a:lnTo>
                    <a:pt x="21" y="233"/>
                  </a:lnTo>
                  <a:lnTo>
                    <a:pt x="17" y="227"/>
                  </a:lnTo>
                  <a:lnTo>
                    <a:pt x="14" y="227"/>
                  </a:lnTo>
                  <a:lnTo>
                    <a:pt x="10" y="223"/>
                  </a:lnTo>
                  <a:lnTo>
                    <a:pt x="10" y="223"/>
                  </a:lnTo>
                  <a:lnTo>
                    <a:pt x="14" y="220"/>
                  </a:lnTo>
                  <a:lnTo>
                    <a:pt x="17" y="220"/>
                  </a:lnTo>
                  <a:lnTo>
                    <a:pt x="17" y="217"/>
                  </a:lnTo>
                  <a:lnTo>
                    <a:pt x="21" y="217"/>
                  </a:lnTo>
                  <a:lnTo>
                    <a:pt x="21" y="217"/>
                  </a:lnTo>
                  <a:lnTo>
                    <a:pt x="24" y="217"/>
                  </a:lnTo>
                  <a:lnTo>
                    <a:pt x="21" y="217"/>
                  </a:lnTo>
                  <a:lnTo>
                    <a:pt x="21" y="214"/>
                  </a:lnTo>
                  <a:lnTo>
                    <a:pt x="17" y="214"/>
                  </a:lnTo>
                  <a:lnTo>
                    <a:pt x="17" y="214"/>
                  </a:lnTo>
                  <a:lnTo>
                    <a:pt x="17" y="210"/>
                  </a:lnTo>
                  <a:lnTo>
                    <a:pt x="21" y="210"/>
                  </a:lnTo>
                  <a:lnTo>
                    <a:pt x="28" y="210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1" y="204"/>
                  </a:lnTo>
                  <a:lnTo>
                    <a:pt x="35" y="204"/>
                  </a:lnTo>
                  <a:lnTo>
                    <a:pt x="35" y="204"/>
                  </a:lnTo>
                  <a:lnTo>
                    <a:pt x="38" y="204"/>
                  </a:lnTo>
                  <a:lnTo>
                    <a:pt x="41" y="204"/>
                  </a:lnTo>
                  <a:lnTo>
                    <a:pt x="41" y="204"/>
                  </a:lnTo>
                  <a:lnTo>
                    <a:pt x="45" y="204"/>
                  </a:lnTo>
                  <a:lnTo>
                    <a:pt x="45" y="204"/>
                  </a:lnTo>
                  <a:lnTo>
                    <a:pt x="48" y="204"/>
                  </a:lnTo>
                  <a:lnTo>
                    <a:pt x="48" y="204"/>
                  </a:lnTo>
                  <a:lnTo>
                    <a:pt x="52" y="204"/>
                  </a:lnTo>
                  <a:lnTo>
                    <a:pt x="52" y="201"/>
                  </a:lnTo>
                  <a:lnTo>
                    <a:pt x="55" y="201"/>
                  </a:lnTo>
                  <a:lnTo>
                    <a:pt x="55" y="201"/>
                  </a:lnTo>
                  <a:lnTo>
                    <a:pt x="59" y="201"/>
                  </a:lnTo>
                  <a:lnTo>
                    <a:pt x="59" y="201"/>
                  </a:lnTo>
                  <a:lnTo>
                    <a:pt x="62" y="201"/>
                  </a:lnTo>
                  <a:lnTo>
                    <a:pt x="76" y="198"/>
                  </a:lnTo>
                  <a:lnTo>
                    <a:pt x="79" y="198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79" y="198"/>
                  </a:lnTo>
                  <a:lnTo>
                    <a:pt x="83" y="194"/>
                  </a:lnTo>
                  <a:lnTo>
                    <a:pt x="86" y="191"/>
                  </a:lnTo>
                  <a:lnTo>
                    <a:pt x="93" y="191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103" y="194"/>
                  </a:lnTo>
                  <a:lnTo>
                    <a:pt x="107" y="191"/>
                  </a:lnTo>
                  <a:lnTo>
                    <a:pt x="110" y="191"/>
                  </a:lnTo>
                  <a:lnTo>
                    <a:pt x="114" y="191"/>
                  </a:lnTo>
                  <a:lnTo>
                    <a:pt x="117" y="194"/>
                  </a:lnTo>
                  <a:lnTo>
                    <a:pt x="121" y="194"/>
                  </a:lnTo>
                  <a:lnTo>
                    <a:pt x="121" y="194"/>
                  </a:lnTo>
                  <a:lnTo>
                    <a:pt x="124" y="198"/>
                  </a:lnTo>
                  <a:lnTo>
                    <a:pt x="127" y="198"/>
                  </a:lnTo>
                  <a:lnTo>
                    <a:pt x="131" y="198"/>
                  </a:lnTo>
                  <a:lnTo>
                    <a:pt x="131" y="194"/>
                  </a:lnTo>
                  <a:lnTo>
                    <a:pt x="134" y="191"/>
                  </a:lnTo>
                  <a:lnTo>
                    <a:pt x="138" y="188"/>
                  </a:lnTo>
                  <a:lnTo>
                    <a:pt x="141" y="185"/>
                  </a:lnTo>
                  <a:lnTo>
                    <a:pt x="145" y="185"/>
                  </a:lnTo>
                  <a:lnTo>
                    <a:pt x="145" y="181"/>
                  </a:lnTo>
                  <a:lnTo>
                    <a:pt x="148" y="178"/>
                  </a:lnTo>
                  <a:lnTo>
                    <a:pt x="152" y="175"/>
                  </a:lnTo>
                  <a:lnTo>
                    <a:pt x="152" y="172"/>
                  </a:lnTo>
                  <a:lnTo>
                    <a:pt x="152" y="172"/>
                  </a:lnTo>
                  <a:lnTo>
                    <a:pt x="152" y="168"/>
                  </a:lnTo>
                  <a:lnTo>
                    <a:pt x="155" y="165"/>
                  </a:lnTo>
                  <a:lnTo>
                    <a:pt x="158" y="165"/>
                  </a:lnTo>
                  <a:lnTo>
                    <a:pt x="162" y="165"/>
                  </a:lnTo>
                  <a:lnTo>
                    <a:pt x="165" y="165"/>
                  </a:lnTo>
                  <a:lnTo>
                    <a:pt x="165" y="162"/>
                  </a:lnTo>
                  <a:lnTo>
                    <a:pt x="165" y="162"/>
                  </a:lnTo>
                  <a:lnTo>
                    <a:pt x="162" y="162"/>
                  </a:lnTo>
                  <a:lnTo>
                    <a:pt x="158" y="159"/>
                  </a:lnTo>
                  <a:lnTo>
                    <a:pt x="158" y="156"/>
                  </a:lnTo>
                  <a:lnTo>
                    <a:pt x="158" y="156"/>
                  </a:lnTo>
                  <a:lnTo>
                    <a:pt x="162" y="156"/>
                  </a:lnTo>
                  <a:lnTo>
                    <a:pt x="165" y="156"/>
                  </a:lnTo>
                  <a:lnTo>
                    <a:pt x="169" y="152"/>
                  </a:lnTo>
                  <a:lnTo>
                    <a:pt x="176" y="152"/>
                  </a:lnTo>
                  <a:lnTo>
                    <a:pt x="176" y="149"/>
                  </a:lnTo>
                  <a:lnTo>
                    <a:pt x="176" y="149"/>
                  </a:lnTo>
                  <a:lnTo>
                    <a:pt x="176" y="146"/>
                  </a:lnTo>
                  <a:lnTo>
                    <a:pt x="172" y="146"/>
                  </a:lnTo>
                  <a:lnTo>
                    <a:pt x="172" y="149"/>
                  </a:lnTo>
                  <a:lnTo>
                    <a:pt x="172" y="152"/>
                  </a:lnTo>
                  <a:lnTo>
                    <a:pt x="169" y="152"/>
                  </a:lnTo>
                  <a:lnTo>
                    <a:pt x="162" y="152"/>
                  </a:lnTo>
                  <a:lnTo>
                    <a:pt x="158" y="152"/>
                  </a:lnTo>
                  <a:lnTo>
                    <a:pt x="158" y="152"/>
                  </a:lnTo>
                  <a:lnTo>
                    <a:pt x="155" y="152"/>
                  </a:lnTo>
                  <a:lnTo>
                    <a:pt x="152" y="156"/>
                  </a:lnTo>
                  <a:lnTo>
                    <a:pt x="152" y="152"/>
                  </a:lnTo>
                  <a:lnTo>
                    <a:pt x="148" y="149"/>
                  </a:lnTo>
                  <a:lnTo>
                    <a:pt x="145" y="149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38" y="149"/>
                  </a:lnTo>
                  <a:lnTo>
                    <a:pt x="138" y="149"/>
                  </a:lnTo>
                  <a:lnTo>
                    <a:pt x="134" y="149"/>
                  </a:lnTo>
                  <a:lnTo>
                    <a:pt x="134" y="149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4" y="143"/>
                  </a:lnTo>
                  <a:lnTo>
                    <a:pt x="134" y="143"/>
                  </a:lnTo>
                  <a:lnTo>
                    <a:pt x="138" y="139"/>
                  </a:lnTo>
                  <a:lnTo>
                    <a:pt x="138" y="139"/>
                  </a:lnTo>
                  <a:lnTo>
                    <a:pt x="141" y="136"/>
                  </a:lnTo>
                  <a:lnTo>
                    <a:pt x="141" y="136"/>
                  </a:lnTo>
                  <a:lnTo>
                    <a:pt x="145" y="136"/>
                  </a:lnTo>
                  <a:lnTo>
                    <a:pt x="141" y="133"/>
                  </a:lnTo>
                  <a:lnTo>
                    <a:pt x="141" y="133"/>
                  </a:lnTo>
                  <a:lnTo>
                    <a:pt x="141" y="130"/>
                  </a:lnTo>
                  <a:lnTo>
                    <a:pt x="145" y="130"/>
                  </a:lnTo>
                  <a:lnTo>
                    <a:pt x="148" y="130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8" y="123"/>
                  </a:lnTo>
                  <a:lnTo>
                    <a:pt x="158" y="120"/>
                  </a:lnTo>
                  <a:lnTo>
                    <a:pt x="162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5" y="117"/>
                  </a:lnTo>
                  <a:lnTo>
                    <a:pt x="165" y="117"/>
                  </a:lnTo>
                  <a:lnTo>
                    <a:pt x="169" y="117"/>
                  </a:lnTo>
                  <a:lnTo>
                    <a:pt x="172" y="117"/>
                  </a:lnTo>
                  <a:lnTo>
                    <a:pt x="172" y="117"/>
                  </a:lnTo>
                  <a:lnTo>
                    <a:pt x="176" y="117"/>
                  </a:lnTo>
                  <a:lnTo>
                    <a:pt x="179" y="114"/>
                  </a:lnTo>
                  <a:lnTo>
                    <a:pt x="179" y="110"/>
                  </a:lnTo>
                  <a:lnTo>
                    <a:pt x="179" y="107"/>
                  </a:lnTo>
                  <a:lnTo>
                    <a:pt x="182" y="107"/>
                  </a:lnTo>
                  <a:lnTo>
                    <a:pt x="186" y="104"/>
                  </a:lnTo>
                  <a:lnTo>
                    <a:pt x="189" y="104"/>
                  </a:lnTo>
                  <a:lnTo>
                    <a:pt x="193" y="104"/>
                  </a:lnTo>
                  <a:lnTo>
                    <a:pt x="193" y="101"/>
                  </a:lnTo>
                  <a:lnTo>
                    <a:pt x="196" y="104"/>
                  </a:lnTo>
                  <a:lnTo>
                    <a:pt x="196" y="107"/>
                  </a:lnTo>
                  <a:lnTo>
                    <a:pt x="196" y="110"/>
                  </a:lnTo>
                  <a:lnTo>
                    <a:pt x="196" y="114"/>
                  </a:lnTo>
                  <a:lnTo>
                    <a:pt x="196" y="120"/>
                  </a:lnTo>
                  <a:lnTo>
                    <a:pt x="196" y="123"/>
                  </a:lnTo>
                  <a:lnTo>
                    <a:pt x="196" y="123"/>
                  </a:lnTo>
                  <a:lnTo>
                    <a:pt x="200" y="123"/>
                  </a:lnTo>
                  <a:lnTo>
                    <a:pt x="200" y="117"/>
                  </a:lnTo>
                  <a:lnTo>
                    <a:pt x="200" y="114"/>
                  </a:lnTo>
                  <a:lnTo>
                    <a:pt x="200" y="110"/>
                  </a:lnTo>
                  <a:lnTo>
                    <a:pt x="200" y="107"/>
                  </a:lnTo>
                  <a:lnTo>
                    <a:pt x="200" y="104"/>
                  </a:lnTo>
                  <a:lnTo>
                    <a:pt x="200" y="101"/>
                  </a:lnTo>
                  <a:lnTo>
                    <a:pt x="203" y="101"/>
                  </a:lnTo>
                  <a:lnTo>
                    <a:pt x="203" y="101"/>
                  </a:lnTo>
                  <a:lnTo>
                    <a:pt x="207" y="101"/>
                  </a:lnTo>
                  <a:lnTo>
                    <a:pt x="207" y="101"/>
                  </a:lnTo>
                  <a:lnTo>
                    <a:pt x="207" y="101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7"/>
                  </a:lnTo>
                  <a:lnTo>
                    <a:pt x="213" y="107"/>
                  </a:lnTo>
                  <a:lnTo>
                    <a:pt x="217" y="110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4" y="107"/>
                  </a:lnTo>
                  <a:lnTo>
                    <a:pt x="224" y="107"/>
                  </a:lnTo>
                  <a:lnTo>
                    <a:pt x="224" y="104"/>
                  </a:lnTo>
                  <a:lnTo>
                    <a:pt x="224" y="101"/>
                  </a:lnTo>
                  <a:lnTo>
                    <a:pt x="227" y="101"/>
                  </a:lnTo>
                  <a:lnTo>
                    <a:pt x="227" y="97"/>
                  </a:lnTo>
                  <a:lnTo>
                    <a:pt x="227" y="97"/>
                  </a:lnTo>
                  <a:lnTo>
                    <a:pt x="231" y="97"/>
                  </a:lnTo>
                  <a:lnTo>
                    <a:pt x="238" y="94"/>
                  </a:lnTo>
                  <a:lnTo>
                    <a:pt x="241" y="91"/>
                  </a:lnTo>
                  <a:lnTo>
                    <a:pt x="238" y="88"/>
                  </a:lnTo>
                  <a:lnTo>
                    <a:pt x="238" y="88"/>
                  </a:lnTo>
                  <a:lnTo>
                    <a:pt x="238" y="88"/>
                  </a:lnTo>
                  <a:lnTo>
                    <a:pt x="234" y="84"/>
                  </a:lnTo>
                  <a:lnTo>
                    <a:pt x="238" y="84"/>
                  </a:lnTo>
                  <a:lnTo>
                    <a:pt x="238" y="81"/>
                  </a:lnTo>
                  <a:lnTo>
                    <a:pt x="241" y="78"/>
                  </a:lnTo>
                  <a:lnTo>
                    <a:pt x="238" y="75"/>
                  </a:lnTo>
                  <a:lnTo>
                    <a:pt x="241" y="72"/>
                  </a:lnTo>
                  <a:lnTo>
                    <a:pt x="241" y="68"/>
                  </a:lnTo>
                  <a:lnTo>
                    <a:pt x="248" y="68"/>
                  </a:lnTo>
                  <a:lnTo>
                    <a:pt x="251" y="65"/>
                  </a:lnTo>
                  <a:lnTo>
                    <a:pt x="258" y="65"/>
                  </a:lnTo>
                  <a:lnTo>
                    <a:pt x="258" y="65"/>
                  </a:lnTo>
                  <a:lnTo>
                    <a:pt x="258" y="68"/>
                  </a:lnTo>
                  <a:lnTo>
                    <a:pt x="258" y="72"/>
                  </a:lnTo>
                  <a:lnTo>
                    <a:pt x="262" y="75"/>
                  </a:lnTo>
                  <a:lnTo>
                    <a:pt x="262" y="78"/>
                  </a:lnTo>
                  <a:lnTo>
                    <a:pt x="262" y="84"/>
                  </a:lnTo>
                  <a:lnTo>
                    <a:pt x="262" y="88"/>
                  </a:lnTo>
                  <a:lnTo>
                    <a:pt x="265" y="91"/>
                  </a:lnTo>
                  <a:lnTo>
                    <a:pt x="268" y="94"/>
                  </a:lnTo>
                  <a:lnTo>
                    <a:pt x="268" y="97"/>
                  </a:lnTo>
                  <a:lnTo>
                    <a:pt x="272" y="97"/>
                  </a:lnTo>
                  <a:lnTo>
                    <a:pt x="272" y="97"/>
                  </a:lnTo>
                  <a:lnTo>
                    <a:pt x="272" y="91"/>
                  </a:lnTo>
                  <a:lnTo>
                    <a:pt x="272" y="88"/>
                  </a:lnTo>
                  <a:lnTo>
                    <a:pt x="268" y="84"/>
                  </a:lnTo>
                  <a:lnTo>
                    <a:pt x="265" y="78"/>
                  </a:lnTo>
                  <a:lnTo>
                    <a:pt x="268" y="75"/>
                  </a:lnTo>
                  <a:lnTo>
                    <a:pt x="268" y="72"/>
                  </a:lnTo>
                  <a:lnTo>
                    <a:pt x="268" y="72"/>
                  </a:lnTo>
                  <a:lnTo>
                    <a:pt x="265" y="68"/>
                  </a:lnTo>
                  <a:lnTo>
                    <a:pt x="265" y="65"/>
                  </a:lnTo>
                  <a:lnTo>
                    <a:pt x="265" y="62"/>
                  </a:lnTo>
                  <a:lnTo>
                    <a:pt x="265" y="62"/>
                  </a:lnTo>
                  <a:lnTo>
                    <a:pt x="268" y="59"/>
                  </a:lnTo>
                  <a:lnTo>
                    <a:pt x="272" y="59"/>
                  </a:lnTo>
                  <a:lnTo>
                    <a:pt x="275" y="59"/>
                  </a:lnTo>
                  <a:lnTo>
                    <a:pt x="279" y="59"/>
                  </a:lnTo>
                  <a:lnTo>
                    <a:pt x="282" y="59"/>
                  </a:lnTo>
                  <a:lnTo>
                    <a:pt x="286" y="59"/>
                  </a:lnTo>
                  <a:lnTo>
                    <a:pt x="296" y="59"/>
                  </a:lnTo>
                  <a:lnTo>
                    <a:pt x="303" y="55"/>
                  </a:lnTo>
                  <a:lnTo>
                    <a:pt x="310" y="55"/>
                  </a:lnTo>
                  <a:lnTo>
                    <a:pt x="310" y="59"/>
                  </a:lnTo>
                  <a:lnTo>
                    <a:pt x="313" y="62"/>
                  </a:lnTo>
                  <a:lnTo>
                    <a:pt x="310" y="65"/>
                  </a:lnTo>
                  <a:lnTo>
                    <a:pt x="310" y="65"/>
                  </a:lnTo>
                  <a:lnTo>
                    <a:pt x="313" y="65"/>
                  </a:lnTo>
                  <a:lnTo>
                    <a:pt x="317" y="62"/>
                  </a:lnTo>
                  <a:lnTo>
                    <a:pt x="313" y="62"/>
                  </a:lnTo>
                  <a:lnTo>
                    <a:pt x="313" y="59"/>
                  </a:lnTo>
                  <a:lnTo>
                    <a:pt x="320" y="55"/>
                  </a:lnTo>
                  <a:lnTo>
                    <a:pt x="324" y="55"/>
                  </a:lnTo>
                  <a:lnTo>
                    <a:pt x="327" y="55"/>
                  </a:lnTo>
                  <a:lnTo>
                    <a:pt x="327" y="62"/>
                  </a:lnTo>
                  <a:lnTo>
                    <a:pt x="327" y="62"/>
                  </a:lnTo>
                  <a:lnTo>
                    <a:pt x="330" y="59"/>
                  </a:lnTo>
                  <a:lnTo>
                    <a:pt x="330" y="55"/>
                  </a:lnTo>
                  <a:lnTo>
                    <a:pt x="327" y="52"/>
                  </a:lnTo>
                  <a:lnTo>
                    <a:pt x="324" y="52"/>
                  </a:lnTo>
                  <a:lnTo>
                    <a:pt x="327" y="49"/>
                  </a:lnTo>
                  <a:lnTo>
                    <a:pt x="330" y="52"/>
                  </a:lnTo>
                  <a:lnTo>
                    <a:pt x="334" y="52"/>
                  </a:lnTo>
                  <a:lnTo>
                    <a:pt x="337" y="49"/>
                  </a:lnTo>
                  <a:lnTo>
                    <a:pt x="341" y="49"/>
                  </a:lnTo>
                  <a:lnTo>
                    <a:pt x="344" y="49"/>
                  </a:lnTo>
                  <a:lnTo>
                    <a:pt x="348" y="52"/>
                  </a:lnTo>
                  <a:lnTo>
                    <a:pt x="344" y="59"/>
                  </a:lnTo>
                  <a:lnTo>
                    <a:pt x="344" y="65"/>
                  </a:lnTo>
                  <a:lnTo>
                    <a:pt x="344" y="68"/>
                  </a:lnTo>
                  <a:lnTo>
                    <a:pt x="341" y="72"/>
                  </a:lnTo>
                  <a:lnTo>
                    <a:pt x="341" y="75"/>
                  </a:lnTo>
                  <a:lnTo>
                    <a:pt x="341" y="78"/>
                  </a:lnTo>
                  <a:lnTo>
                    <a:pt x="337" y="78"/>
                  </a:lnTo>
                  <a:lnTo>
                    <a:pt x="337" y="81"/>
                  </a:lnTo>
                  <a:lnTo>
                    <a:pt x="334" y="81"/>
                  </a:lnTo>
                  <a:lnTo>
                    <a:pt x="337" y="84"/>
                  </a:lnTo>
                  <a:lnTo>
                    <a:pt x="337" y="84"/>
                  </a:lnTo>
                  <a:lnTo>
                    <a:pt x="337" y="88"/>
                  </a:lnTo>
                  <a:lnTo>
                    <a:pt x="334" y="91"/>
                  </a:lnTo>
                  <a:lnTo>
                    <a:pt x="330" y="94"/>
                  </a:lnTo>
                  <a:lnTo>
                    <a:pt x="327" y="94"/>
                  </a:lnTo>
                  <a:lnTo>
                    <a:pt x="327" y="97"/>
                  </a:lnTo>
                  <a:lnTo>
                    <a:pt x="327" y="101"/>
                  </a:lnTo>
                  <a:lnTo>
                    <a:pt x="324" y="104"/>
                  </a:lnTo>
                  <a:lnTo>
                    <a:pt x="324" y="107"/>
                  </a:lnTo>
                  <a:lnTo>
                    <a:pt x="324" y="107"/>
                  </a:lnTo>
                  <a:lnTo>
                    <a:pt x="327" y="107"/>
                  </a:lnTo>
                  <a:lnTo>
                    <a:pt x="327" y="104"/>
                  </a:lnTo>
                  <a:lnTo>
                    <a:pt x="330" y="104"/>
                  </a:lnTo>
                  <a:lnTo>
                    <a:pt x="330" y="101"/>
                  </a:lnTo>
                  <a:lnTo>
                    <a:pt x="334" y="97"/>
                  </a:lnTo>
                  <a:lnTo>
                    <a:pt x="337" y="94"/>
                  </a:lnTo>
                  <a:lnTo>
                    <a:pt x="337" y="91"/>
                  </a:lnTo>
                  <a:lnTo>
                    <a:pt x="341" y="91"/>
                  </a:lnTo>
                  <a:lnTo>
                    <a:pt x="344" y="88"/>
                  </a:lnTo>
                  <a:lnTo>
                    <a:pt x="344" y="88"/>
                  </a:lnTo>
                  <a:lnTo>
                    <a:pt x="344" y="84"/>
                  </a:lnTo>
                  <a:lnTo>
                    <a:pt x="344" y="84"/>
                  </a:lnTo>
                  <a:lnTo>
                    <a:pt x="348" y="81"/>
                  </a:lnTo>
                  <a:lnTo>
                    <a:pt x="351" y="78"/>
                  </a:lnTo>
                  <a:lnTo>
                    <a:pt x="351" y="81"/>
                  </a:lnTo>
                  <a:lnTo>
                    <a:pt x="351" y="84"/>
                  </a:lnTo>
                  <a:lnTo>
                    <a:pt x="354" y="84"/>
                  </a:lnTo>
                  <a:lnTo>
                    <a:pt x="354" y="88"/>
                  </a:lnTo>
                  <a:lnTo>
                    <a:pt x="354" y="91"/>
                  </a:lnTo>
                  <a:lnTo>
                    <a:pt x="358" y="94"/>
                  </a:lnTo>
                  <a:lnTo>
                    <a:pt x="358" y="101"/>
                  </a:lnTo>
                  <a:lnTo>
                    <a:pt x="361" y="101"/>
                  </a:lnTo>
                  <a:lnTo>
                    <a:pt x="361" y="101"/>
                  </a:lnTo>
                  <a:lnTo>
                    <a:pt x="365" y="101"/>
                  </a:lnTo>
                  <a:lnTo>
                    <a:pt x="365" y="101"/>
                  </a:lnTo>
                  <a:lnTo>
                    <a:pt x="365" y="101"/>
                  </a:lnTo>
                  <a:lnTo>
                    <a:pt x="368" y="97"/>
                  </a:lnTo>
                  <a:lnTo>
                    <a:pt x="368" y="97"/>
                  </a:lnTo>
                  <a:lnTo>
                    <a:pt x="365" y="94"/>
                  </a:lnTo>
                  <a:lnTo>
                    <a:pt x="365" y="94"/>
                  </a:lnTo>
                  <a:lnTo>
                    <a:pt x="365" y="91"/>
                  </a:lnTo>
                  <a:lnTo>
                    <a:pt x="365" y="91"/>
                  </a:lnTo>
                  <a:lnTo>
                    <a:pt x="368" y="94"/>
                  </a:lnTo>
                  <a:lnTo>
                    <a:pt x="372" y="94"/>
                  </a:lnTo>
                  <a:lnTo>
                    <a:pt x="375" y="97"/>
                  </a:lnTo>
                  <a:lnTo>
                    <a:pt x="375" y="97"/>
                  </a:lnTo>
                  <a:lnTo>
                    <a:pt x="379" y="97"/>
                  </a:lnTo>
                  <a:lnTo>
                    <a:pt x="379" y="97"/>
                  </a:lnTo>
                  <a:lnTo>
                    <a:pt x="382" y="97"/>
                  </a:lnTo>
                  <a:lnTo>
                    <a:pt x="382" y="97"/>
                  </a:lnTo>
                  <a:lnTo>
                    <a:pt x="385" y="97"/>
                  </a:lnTo>
                  <a:lnTo>
                    <a:pt x="385" y="91"/>
                  </a:lnTo>
                  <a:lnTo>
                    <a:pt x="382" y="88"/>
                  </a:lnTo>
                  <a:lnTo>
                    <a:pt x="385" y="84"/>
                  </a:lnTo>
                  <a:lnTo>
                    <a:pt x="385" y="78"/>
                  </a:lnTo>
                  <a:lnTo>
                    <a:pt x="382" y="78"/>
                  </a:lnTo>
                  <a:lnTo>
                    <a:pt x="382" y="75"/>
                  </a:lnTo>
                  <a:lnTo>
                    <a:pt x="382" y="68"/>
                  </a:lnTo>
                  <a:lnTo>
                    <a:pt x="385" y="65"/>
                  </a:lnTo>
                  <a:lnTo>
                    <a:pt x="385" y="62"/>
                  </a:lnTo>
                  <a:lnTo>
                    <a:pt x="385" y="59"/>
                  </a:lnTo>
                  <a:lnTo>
                    <a:pt x="385" y="59"/>
                  </a:lnTo>
                  <a:lnTo>
                    <a:pt x="385" y="55"/>
                  </a:lnTo>
                  <a:lnTo>
                    <a:pt x="389" y="52"/>
                  </a:lnTo>
                  <a:lnTo>
                    <a:pt x="392" y="52"/>
                  </a:lnTo>
                  <a:lnTo>
                    <a:pt x="392" y="52"/>
                  </a:lnTo>
                  <a:lnTo>
                    <a:pt x="396" y="55"/>
                  </a:lnTo>
                  <a:lnTo>
                    <a:pt x="399" y="55"/>
                  </a:lnTo>
                  <a:lnTo>
                    <a:pt x="399" y="55"/>
                  </a:lnTo>
                  <a:lnTo>
                    <a:pt x="403" y="59"/>
                  </a:lnTo>
                  <a:lnTo>
                    <a:pt x="406" y="62"/>
                  </a:lnTo>
                  <a:lnTo>
                    <a:pt x="410" y="68"/>
                  </a:lnTo>
                  <a:lnTo>
                    <a:pt x="410" y="72"/>
                  </a:lnTo>
                  <a:lnTo>
                    <a:pt x="413" y="75"/>
                  </a:lnTo>
                  <a:lnTo>
                    <a:pt x="413" y="78"/>
                  </a:lnTo>
                  <a:lnTo>
                    <a:pt x="413" y="88"/>
                  </a:lnTo>
                  <a:lnTo>
                    <a:pt x="413" y="88"/>
                  </a:lnTo>
                  <a:lnTo>
                    <a:pt x="413" y="91"/>
                  </a:lnTo>
                  <a:lnTo>
                    <a:pt x="413" y="94"/>
                  </a:lnTo>
                  <a:lnTo>
                    <a:pt x="413" y="97"/>
                  </a:lnTo>
                  <a:lnTo>
                    <a:pt x="413" y="97"/>
                  </a:lnTo>
                  <a:lnTo>
                    <a:pt x="416" y="104"/>
                  </a:lnTo>
                  <a:lnTo>
                    <a:pt x="416" y="107"/>
                  </a:lnTo>
                  <a:lnTo>
                    <a:pt x="416" y="110"/>
                  </a:lnTo>
                  <a:lnTo>
                    <a:pt x="420" y="110"/>
                  </a:lnTo>
                  <a:lnTo>
                    <a:pt x="420" y="110"/>
                  </a:lnTo>
                  <a:lnTo>
                    <a:pt x="427" y="114"/>
                  </a:lnTo>
                  <a:lnTo>
                    <a:pt x="430" y="114"/>
                  </a:lnTo>
                  <a:lnTo>
                    <a:pt x="434" y="114"/>
                  </a:lnTo>
                  <a:lnTo>
                    <a:pt x="437" y="110"/>
                  </a:lnTo>
                  <a:lnTo>
                    <a:pt x="437" y="107"/>
                  </a:lnTo>
                  <a:lnTo>
                    <a:pt x="437" y="107"/>
                  </a:lnTo>
                  <a:lnTo>
                    <a:pt x="437" y="110"/>
                  </a:lnTo>
                  <a:lnTo>
                    <a:pt x="437" y="114"/>
                  </a:lnTo>
                  <a:lnTo>
                    <a:pt x="440" y="114"/>
                  </a:lnTo>
                  <a:lnTo>
                    <a:pt x="444" y="110"/>
                  </a:lnTo>
                  <a:lnTo>
                    <a:pt x="444" y="114"/>
                  </a:lnTo>
                  <a:lnTo>
                    <a:pt x="447" y="114"/>
                  </a:lnTo>
                  <a:lnTo>
                    <a:pt x="447" y="117"/>
                  </a:lnTo>
                  <a:lnTo>
                    <a:pt x="447" y="117"/>
                  </a:lnTo>
                  <a:lnTo>
                    <a:pt x="451" y="117"/>
                  </a:lnTo>
                  <a:lnTo>
                    <a:pt x="451" y="120"/>
                  </a:lnTo>
                  <a:lnTo>
                    <a:pt x="454" y="120"/>
                  </a:lnTo>
                  <a:lnTo>
                    <a:pt x="458" y="117"/>
                  </a:lnTo>
                  <a:lnTo>
                    <a:pt x="454" y="117"/>
                  </a:lnTo>
                  <a:lnTo>
                    <a:pt x="451" y="117"/>
                  </a:lnTo>
                  <a:lnTo>
                    <a:pt x="451" y="114"/>
                  </a:lnTo>
                  <a:lnTo>
                    <a:pt x="451" y="110"/>
                  </a:lnTo>
                  <a:lnTo>
                    <a:pt x="447" y="110"/>
                  </a:lnTo>
                  <a:lnTo>
                    <a:pt x="447" y="110"/>
                  </a:lnTo>
                  <a:lnTo>
                    <a:pt x="447" y="107"/>
                  </a:lnTo>
                  <a:lnTo>
                    <a:pt x="444" y="104"/>
                  </a:lnTo>
                  <a:lnTo>
                    <a:pt x="440" y="101"/>
                  </a:lnTo>
                  <a:lnTo>
                    <a:pt x="440" y="101"/>
                  </a:lnTo>
                  <a:lnTo>
                    <a:pt x="440" y="94"/>
                  </a:lnTo>
                  <a:lnTo>
                    <a:pt x="437" y="94"/>
                  </a:lnTo>
                  <a:lnTo>
                    <a:pt x="437" y="91"/>
                  </a:lnTo>
                  <a:lnTo>
                    <a:pt x="440" y="88"/>
                  </a:lnTo>
                  <a:lnTo>
                    <a:pt x="437" y="84"/>
                  </a:lnTo>
                  <a:lnTo>
                    <a:pt x="434" y="78"/>
                  </a:lnTo>
                  <a:lnTo>
                    <a:pt x="434" y="78"/>
                  </a:lnTo>
                  <a:lnTo>
                    <a:pt x="437" y="75"/>
                  </a:lnTo>
                  <a:lnTo>
                    <a:pt x="434" y="72"/>
                  </a:lnTo>
                  <a:lnTo>
                    <a:pt x="434" y="68"/>
                  </a:lnTo>
                  <a:lnTo>
                    <a:pt x="434" y="65"/>
                  </a:lnTo>
                  <a:lnTo>
                    <a:pt x="434" y="62"/>
                  </a:lnTo>
                  <a:lnTo>
                    <a:pt x="430" y="59"/>
                  </a:lnTo>
                  <a:lnTo>
                    <a:pt x="434" y="55"/>
                  </a:lnTo>
                  <a:lnTo>
                    <a:pt x="430" y="52"/>
                  </a:lnTo>
                  <a:lnTo>
                    <a:pt x="430" y="49"/>
                  </a:lnTo>
                  <a:lnTo>
                    <a:pt x="430" y="49"/>
                  </a:lnTo>
                  <a:lnTo>
                    <a:pt x="437" y="49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49"/>
                  </a:lnTo>
                  <a:lnTo>
                    <a:pt x="444" y="49"/>
                  </a:lnTo>
                  <a:lnTo>
                    <a:pt x="451" y="55"/>
                  </a:lnTo>
                  <a:lnTo>
                    <a:pt x="454" y="59"/>
                  </a:lnTo>
                  <a:lnTo>
                    <a:pt x="458" y="55"/>
                  </a:lnTo>
                  <a:lnTo>
                    <a:pt x="458" y="52"/>
                  </a:lnTo>
                  <a:lnTo>
                    <a:pt x="454" y="52"/>
                  </a:lnTo>
                  <a:lnTo>
                    <a:pt x="458" y="46"/>
                  </a:lnTo>
                  <a:lnTo>
                    <a:pt x="461" y="46"/>
                  </a:lnTo>
                  <a:lnTo>
                    <a:pt x="465" y="49"/>
                  </a:lnTo>
                  <a:lnTo>
                    <a:pt x="468" y="46"/>
                  </a:lnTo>
                  <a:lnTo>
                    <a:pt x="471" y="46"/>
                  </a:lnTo>
                  <a:lnTo>
                    <a:pt x="475" y="46"/>
                  </a:lnTo>
                  <a:lnTo>
                    <a:pt x="478" y="49"/>
                  </a:lnTo>
                  <a:lnTo>
                    <a:pt x="478" y="49"/>
                  </a:lnTo>
                  <a:lnTo>
                    <a:pt x="482" y="49"/>
                  </a:lnTo>
                  <a:lnTo>
                    <a:pt x="482" y="55"/>
                  </a:lnTo>
                  <a:lnTo>
                    <a:pt x="485" y="55"/>
                  </a:lnTo>
                  <a:lnTo>
                    <a:pt x="489" y="59"/>
                  </a:lnTo>
                  <a:lnTo>
                    <a:pt x="489" y="62"/>
                  </a:lnTo>
                  <a:lnTo>
                    <a:pt x="485" y="65"/>
                  </a:lnTo>
                  <a:lnTo>
                    <a:pt x="489" y="72"/>
                  </a:lnTo>
                  <a:lnTo>
                    <a:pt x="489" y="75"/>
                  </a:lnTo>
                  <a:lnTo>
                    <a:pt x="489" y="78"/>
                  </a:lnTo>
                  <a:lnTo>
                    <a:pt x="492" y="78"/>
                  </a:lnTo>
                  <a:lnTo>
                    <a:pt x="496" y="78"/>
                  </a:lnTo>
                  <a:lnTo>
                    <a:pt x="502" y="81"/>
                  </a:lnTo>
                  <a:lnTo>
                    <a:pt x="506" y="84"/>
                  </a:lnTo>
                  <a:lnTo>
                    <a:pt x="506" y="81"/>
                  </a:lnTo>
                  <a:lnTo>
                    <a:pt x="506" y="81"/>
                  </a:lnTo>
                  <a:lnTo>
                    <a:pt x="502" y="78"/>
                  </a:lnTo>
                  <a:lnTo>
                    <a:pt x="499" y="75"/>
                  </a:lnTo>
                  <a:lnTo>
                    <a:pt x="496" y="75"/>
                  </a:lnTo>
                  <a:lnTo>
                    <a:pt x="492" y="75"/>
                  </a:lnTo>
                  <a:lnTo>
                    <a:pt x="492" y="72"/>
                  </a:lnTo>
                  <a:lnTo>
                    <a:pt x="492" y="68"/>
                  </a:lnTo>
                  <a:lnTo>
                    <a:pt x="489" y="65"/>
                  </a:lnTo>
                  <a:lnTo>
                    <a:pt x="489" y="62"/>
                  </a:lnTo>
                  <a:lnTo>
                    <a:pt x="492" y="59"/>
                  </a:lnTo>
                  <a:lnTo>
                    <a:pt x="492" y="55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89" y="49"/>
                  </a:lnTo>
                  <a:lnTo>
                    <a:pt x="485" y="49"/>
                  </a:lnTo>
                  <a:lnTo>
                    <a:pt x="482" y="42"/>
                  </a:lnTo>
                  <a:lnTo>
                    <a:pt x="478" y="42"/>
                  </a:lnTo>
                  <a:lnTo>
                    <a:pt x="475" y="42"/>
                  </a:lnTo>
                  <a:lnTo>
                    <a:pt x="475" y="42"/>
                  </a:lnTo>
                  <a:lnTo>
                    <a:pt x="471" y="46"/>
                  </a:lnTo>
                  <a:lnTo>
                    <a:pt x="468" y="42"/>
                  </a:lnTo>
                  <a:lnTo>
                    <a:pt x="468" y="39"/>
                  </a:lnTo>
                  <a:lnTo>
                    <a:pt x="468" y="36"/>
                  </a:lnTo>
                  <a:lnTo>
                    <a:pt x="471" y="36"/>
                  </a:lnTo>
                  <a:lnTo>
                    <a:pt x="471" y="33"/>
                  </a:lnTo>
                  <a:lnTo>
                    <a:pt x="468" y="30"/>
                  </a:lnTo>
                  <a:lnTo>
                    <a:pt x="465" y="26"/>
                  </a:lnTo>
                  <a:lnTo>
                    <a:pt x="468" y="23"/>
                  </a:lnTo>
                  <a:lnTo>
                    <a:pt x="468" y="20"/>
                  </a:lnTo>
                  <a:lnTo>
                    <a:pt x="468" y="20"/>
                  </a:lnTo>
                  <a:lnTo>
                    <a:pt x="471" y="23"/>
                  </a:lnTo>
                  <a:lnTo>
                    <a:pt x="475" y="26"/>
                  </a:lnTo>
                  <a:lnTo>
                    <a:pt x="475" y="26"/>
                  </a:lnTo>
                  <a:lnTo>
                    <a:pt x="478" y="23"/>
                  </a:lnTo>
                  <a:lnTo>
                    <a:pt x="482" y="20"/>
                  </a:lnTo>
                  <a:lnTo>
                    <a:pt x="485" y="20"/>
                  </a:lnTo>
                  <a:lnTo>
                    <a:pt x="485" y="17"/>
                  </a:lnTo>
                  <a:lnTo>
                    <a:pt x="489" y="13"/>
                  </a:lnTo>
                  <a:lnTo>
                    <a:pt x="492" y="13"/>
                  </a:lnTo>
                  <a:lnTo>
                    <a:pt x="492" y="17"/>
                  </a:lnTo>
                  <a:lnTo>
                    <a:pt x="489" y="17"/>
                  </a:lnTo>
                  <a:lnTo>
                    <a:pt x="489" y="20"/>
                  </a:lnTo>
                  <a:lnTo>
                    <a:pt x="492" y="17"/>
                  </a:lnTo>
                  <a:lnTo>
                    <a:pt x="496" y="17"/>
                  </a:lnTo>
                  <a:lnTo>
                    <a:pt x="499" y="20"/>
                  </a:lnTo>
                  <a:lnTo>
                    <a:pt x="499" y="20"/>
                  </a:lnTo>
                  <a:lnTo>
                    <a:pt x="502" y="23"/>
                  </a:lnTo>
                  <a:lnTo>
                    <a:pt x="502" y="23"/>
                  </a:lnTo>
                  <a:lnTo>
                    <a:pt x="499" y="26"/>
                  </a:lnTo>
                  <a:lnTo>
                    <a:pt x="499" y="30"/>
                  </a:lnTo>
                  <a:lnTo>
                    <a:pt x="502" y="26"/>
                  </a:lnTo>
                  <a:lnTo>
                    <a:pt x="506" y="23"/>
                  </a:lnTo>
                  <a:lnTo>
                    <a:pt x="509" y="23"/>
                  </a:lnTo>
                  <a:lnTo>
                    <a:pt x="513" y="26"/>
                  </a:lnTo>
                  <a:lnTo>
                    <a:pt x="513" y="30"/>
                  </a:lnTo>
                  <a:lnTo>
                    <a:pt x="513" y="33"/>
                  </a:lnTo>
                  <a:lnTo>
                    <a:pt x="516" y="39"/>
                  </a:lnTo>
                  <a:lnTo>
                    <a:pt x="516" y="42"/>
                  </a:lnTo>
                  <a:lnTo>
                    <a:pt x="516" y="39"/>
                  </a:lnTo>
                  <a:lnTo>
                    <a:pt x="516" y="36"/>
                  </a:lnTo>
                  <a:lnTo>
                    <a:pt x="516" y="33"/>
                  </a:lnTo>
                  <a:lnTo>
                    <a:pt x="516" y="33"/>
                  </a:lnTo>
                  <a:lnTo>
                    <a:pt x="516" y="30"/>
                  </a:lnTo>
                  <a:lnTo>
                    <a:pt x="513" y="26"/>
                  </a:lnTo>
                  <a:lnTo>
                    <a:pt x="516" y="26"/>
                  </a:lnTo>
                  <a:lnTo>
                    <a:pt x="516" y="26"/>
                  </a:lnTo>
                  <a:lnTo>
                    <a:pt x="523" y="33"/>
                  </a:lnTo>
                  <a:lnTo>
                    <a:pt x="526" y="36"/>
                  </a:lnTo>
                  <a:lnTo>
                    <a:pt x="530" y="39"/>
                  </a:lnTo>
                  <a:lnTo>
                    <a:pt x="537" y="39"/>
                  </a:lnTo>
                  <a:lnTo>
                    <a:pt x="537" y="39"/>
                  </a:lnTo>
                  <a:lnTo>
                    <a:pt x="533" y="36"/>
                  </a:lnTo>
                  <a:lnTo>
                    <a:pt x="530" y="36"/>
                  </a:lnTo>
                  <a:lnTo>
                    <a:pt x="526" y="30"/>
                  </a:lnTo>
                  <a:lnTo>
                    <a:pt x="526" y="26"/>
                  </a:lnTo>
                  <a:lnTo>
                    <a:pt x="526" y="23"/>
                  </a:lnTo>
                  <a:lnTo>
                    <a:pt x="530" y="20"/>
                  </a:lnTo>
                  <a:lnTo>
                    <a:pt x="533" y="23"/>
                  </a:lnTo>
                  <a:lnTo>
                    <a:pt x="540" y="23"/>
                  </a:lnTo>
                  <a:lnTo>
                    <a:pt x="544" y="23"/>
                  </a:lnTo>
                  <a:lnTo>
                    <a:pt x="544" y="23"/>
                  </a:lnTo>
                  <a:lnTo>
                    <a:pt x="544" y="20"/>
                  </a:lnTo>
                  <a:lnTo>
                    <a:pt x="540" y="20"/>
                  </a:lnTo>
                  <a:lnTo>
                    <a:pt x="540" y="20"/>
                  </a:lnTo>
                  <a:lnTo>
                    <a:pt x="544" y="17"/>
                  </a:lnTo>
                  <a:lnTo>
                    <a:pt x="547" y="13"/>
                  </a:lnTo>
                  <a:lnTo>
                    <a:pt x="544" y="10"/>
                  </a:lnTo>
                  <a:lnTo>
                    <a:pt x="544" y="10"/>
                  </a:lnTo>
                  <a:lnTo>
                    <a:pt x="544" y="7"/>
                  </a:lnTo>
                  <a:lnTo>
                    <a:pt x="547" y="7"/>
                  </a:lnTo>
                  <a:lnTo>
                    <a:pt x="551" y="7"/>
                  </a:lnTo>
                  <a:lnTo>
                    <a:pt x="551" y="4"/>
                  </a:lnTo>
                  <a:lnTo>
                    <a:pt x="551" y="0"/>
                  </a:lnTo>
                  <a:lnTo>
                    <a:pt x="554" y="0"/>
                  </a:lnTo>
                  <a:lnTo>
                    <a:pt x="554" y="0"/>
                  </a:lnTo>
                  <a:lnTo>
                    <a:pt x="557" y="4"/>
                  </a:lnTo>
                  <a:lnTo>
                    <a:pt x="557" y="4"/>
                  </a:lnTo>
                  <a:lnTo>
                    <a:pt x="561" y="4"/>
                  </a:lnTo>
                  <a:lnTo>
                    <a:pt x="561" y="10"/>
                  </a:lnTo>
                  <a:lnTo>
                    <a:pt x="564" y="10"/>
                  </a:lnTo>
                  <a:lnTo>
                    <a:pt x="564" y="10"/>
                  </a:lnTo>
                  <a:lnTo>
                    <a:pt x="564" y="7"/>
                  </a:lnTo>
                  <a:lnTo>
                    <a:pt x="564" y="4"/>
                  </a:lnTo>
                  <a:lnTo>
                    <a:pt x="564" y="0"/>
                  </a:lnTo>
                  <a:lnTo>
                    <a:pt x="564" y="0"/>
                  </a:lnTo>
                  <a:lnTo>
                    <a:pt x="568" y="0"/>
                  </a:lnTo>
                  <a:lnTo>
                    <a:pt x="571" y="0"/>
                  </a:lnTo>
                  <a:lnTo>
                    <a:pt x="578" y="0"/>
                  </a:lnTo>
                  <a:lnTo>
                    <a:pt x="582" y="0"/>
                  </a:lnTo>
                  <a:lnTo>
                    <a:pt x="582" y="4"/>
                  </a:lnTo>
                  <a:lnTo>
                    <a:pt x="585" y="4"/>
                  </a:lnTo>
                  <a:lnTo>
                    <a:pt x="585" y="0"/>
                  </a:lnTo>
                  <a:lnTo>
                    <a:pt x="588" y="0"/>
                  </a:lnTo>
                  <a:lnTo>
                    <a:pt x="595" y="4"/>
                  </a:lnTo>
                  <a:lnTo>
                    <a:pt x="599" y="4"/>
                  </a:lnTo>
                  <a:lnTo>
                    <a:pt x="602" y="4"/>
                  </a:lnTo>
                  <a:lnTo>
                    <a:pt x="602" y="4"/>
                  </a:lnTo>
                  <a:lnTo>
                    <a:pt x="606" y="4"/>
                  </a:lnTo>
                  <a:lnTo>
                    <a:pt x="606" y="7"/>
                  </a:lnTo>
                  <a:lnTo>
                    <a:pt x="612" y="10"/>
                  </a:lnTo>
                  <a:lnTo>
                    <a:pt x="612" y="7"/>
                  </a:lnTo>
                  <a:lnTo>
                    <a:pt x="612" y="7"/>
                  </a:lnTo>
                  <a:lnTo>
                    <a:pt x="616" y="7"/>
                  </a:lnTo>
                  <a:lnTo>
                    <a:pt x="623" y="10"/>
                  </a:lnTo>
                  <a:lnTo>
                    <a:pt x="623" y="10"/>
                  </a:lnTo>
                  <a:lnTo>
                    <a:pt x="630" y="13"/>
                  </a:lnTo>
                  <a:lnTo>
                    <a:pt x="637" y="13"/>
                  </a:lnTo>
                  <a:lnTo>
                    <a:pt x="637" y="17"/>
                  </a:lnTo>
                  <a:lnTo>
                    <a:pt x="643" y="13"/>
                  </a:lnTo>
                  <a:lnTo>
                    <a:pt x="643" y="17"/>
                  </a:lnTo>
                  <a:lnTo>
                    <a:pt x="643" y="17"/>
                  </a:lnTo>
                  <a:lnTo>
                    <a:pt x="650" y="17"/>
                  </a:lnTo>
                  <a:lnTo>
                    <a:pt x="650" y="17"/>
                  </a:lnTo>
                  <a:lnTo>
                    <a:pt x="654" y="20"/>
                  </a:lnTo>
                  <a:lnTo>
                    <a:pt x="661" y="20"/>
                  </a:lnTo>
                  <a:lnTo>
                    <a:pt x="664" y="23"/>
                  </a:lnTo>
                  <a:lnTo>
                    <a:pt x="668" y="26"/>
                  </a:lnTo>
                  <a:lnTo>
                    <a:pt x="671" y="26"/>
                  </a:lnTo>
                  <a:lnTo>
                    <a:pt x="674" y="30"/>
                  </a:lnTo>
                  <a:lnTo>
                    <a:pt x="674" y="33"/>
                  </a:lnTo>
                  <a:lnTo>
                    <a:pt x="671" y="36"/>
                  </a:lnTo>
                  <a:lnTo>
                    <a:pt x="671" y="36"/>
                  </a:lnTo>
                  <a:lnTo>
                    <a:pt x="668" y="33"/>
                  </a:lnTo>
                  <a:lnTo>
                    <a:pt x="664" y="36"/>
                  </a:lnTo>
                  <a:lnTo>
                    <a:pt x="661" y="36"/>
                  </a:lnTo>
                  <a:lnTo>
                    <a:pt x="657" y="36"/>
                  </a:lnTo>
                  <a:lnTo>
                    <a:pt x="657" y="36"/>
                  </a:lnTo>
                  <a:lnTo>
                    <a:pt x="654" y="39"/>
                  </a:lnTo>
                  <a:lnTo>
                    <a:pt x="650" y="36"/>
                  </a:lnTo>
                  <a:lnTo>
                    <a:pt x="643" y="36"/>
                  </a:lnTo>
                  <a:lnTo>
                    <a:pt x="640" y="33"/>
                  </a:lnTo>
                  <a:lnTo>
                    <a:pt x="637" y="33"/>
                  </a:lnTo>
                  <a:lnTo>
                    <a:pt x="633" y="33"/>
                  </a:lnTo>
                  <a:lnTo>
                    <a:pt x="630" y="33"/>
                  </a:lnTo>
                  <a:lnTo>
                    <a:pt x="626" y="33"/>
                  </a:lnTo>
                  <a:lnTo>
                    <a:pt x="623" y="33"/>
                  </a:lnTo>
                  <a:lnTo>
                    <a:pt x="623" y="33"/>
                  </a:lnTo>
                  <a:lnTo>
                    <a:pt x="619" y="33"/>
                  </a:lnTo>
                  <a:lnTo>
                    <a:pt x="612" y="36"/>
                  </a:lnTo>
                  <a:lnTo>
                    <a:pt x="609" y="36"/>
                  </a:lnTo>
                  <a:lnTo>
                    <a:pt x="606" y="36"/>
                  </a:lnTo>
                  <a:lnTo>
                    <a:pt x="606" y="36"/>
                  </a:lnTo>
                  <a:lnTo>
                    <a:pt x="599" y="36"/>
                  </a:lnTo>
                  <a:lnTo>
                    <a:pt x="595" y="36"/>
                  </a:lnTo>
                  <a:lnTo>
                    <a:pt x="592" y="33"/>
                  </a:lnTo>
                  <a:lnTo>
                    <a:pt x="592" y="30"/>
                  </a:lnTo>
                  <a:lnTo>
                    <a:pt x="595" y="30"/>
                  </a:lnTo>
                  <a:lnTo>
                    <a:pt x="595" y="30"/>
                  </a:lnTo>
                  <a:lnTo>
                    <a:pt x="595" y="26"/>
                  </a:lnTo>
                  <a:lnTo>
                    <a:pt x="595" y="26"/>
                  </a:lnTo>
                  <a:lnTo>
                    <a:pt x="592" y="26"/>
                  </a:lnTo>
                  <a:lnTo>
                    <a:pt x="588" y="26"/>
                  </a:lnTo>
                  <a:lnTo>
                    <a:pt x="585" y="30"/>
                  </a:lnTo>
                  <a:lnTo>
                    <a:pt x="588" y="33"/>
                  </a:lnTo>
                  <a:lnTo>
                    <a:pt x="588" y="36"/>
                  </a:lnTo>
                  <a:lnTo>
                    <a:pt x="592" y="36"/>
                  </a:lnTo>
                  <a:lnTo>
                    <a:pt x="592" y="36"/>
                  </a:lnTo>
                  <a:lnTo>
                    <a:pt x="588" y="39"/>
                  </a:lnTo>
                  <a:lnTo>
                    <a:pt x="585" y="39"/>
                  </a:lnTo>
                  <a:lnTo>
                    <a:pt x="582" y="39"/>
                  </a:lnTo>
                  <a:lnTo>
                    <a:pt x="578" y="39"/>
                  </a:lnTo>
                  <a:lnTo>
                    <a:pt x="578" y="39"/>
                  </a:lnTo>
                  <a:lnTo>
                    <a:pt x="575" y="39"/>
                  </a:lnTo>
                  <a:lnTo>
                    <a:pt x="571" y="39"/>
                  </a:lnTo>
                  <a:lnTo>
                    <a:pt x="564" y="39"/>
                  </a:lnTo>
                  <a:lnTo>
                    <a:pt x="561" y="42"/>
                  </a:lnTo>
                  <a:lnTo>
                    <a:pt x="554" y="46"/>
                  </a:lnTo>
                  <a:lnTo>
                    <a:pt x="551" y="46"/>
                  </a:lnTo>
                  <a:lnTo>
                    <a:pt x="554" y="52"/>
                  </a:lnTo>
                  <a:lnTo>
                    <a:pt x="551" y="55"/>
                  </a:lnTo>
                  <a:lnTo>
                    <a:pt x="551" y="55"/>
                  </a:lnTo>
                  <a:lnTo>
                    <a:pt x="551" y="55"/>
                  </a:lnTo>
                  <a:lnTo>
                    <a:pt x="554" y="55"/>
                  </a:lnTo>
                  <a:lnTo>
                    <a:pt x="554" y="52"/>
                  </a:lnTo>
                  <a:lnTo>
                    <a:pt x="554" y="52"/>
                  </a:lnTo>
                  <a:lnTo>
                    <a:pt x="554" y="49"/>
                  </a:lnTo>
                  <a:lnTo>
                    <a:pt x="557" y="49"/>
                  </a:lnTo>
                  <a:lnTo>
                    <a:pt x="561" y="49"/>
                  </a:lnTo>
                  <a:lnTo>
                    <a:pt x="564" y="49"/>
                  </a:lnTo>
                  <a:lnTo>
                    <a:pt x="564" y="49"/>
                  </a:lnTo>
                  <a:lnTo>
                    <a:pt x="564" y="52"/>
                  </a:lnTo>
                  <a:lnTo>
                    <a:pt x="561" y="52"/>
                  </a:lnTo>
                  <a:lnTo>
                    <a:pt x="561" y="55"/>
                  </a:lnTo>
                  <a:lnTo>
                    <a:pt x="564" y="55"/>
                  </a:lnTo>
                  <a:lnTo>
                    <a:pt x="564" y="52"/>
                  </a:lnTo>
                  <a:lnTo>
                    <a:pt x="568" y="49"/>
                  </a:lnTo>
                  <a:lnTo>
                    <a:pt x="568" y="49"/>
                  </a:lnTo>
                  <a:lnTo>
                    <a:pt x="568" y="46"/>
                  </a:lnTo>
                  <a:lnTo>
                    <a:pt x="568" y="46"/>
                  </a:lnTo>
                  <a:lnTo>
                    <a:pt x="575" y="42"/>
                  </a:lnTo>
                  <a:lnTo>
                    <a:pt x="575" y="42"/>
                  </a:lnTo>
                  <a:lnTo>
                    <a:pt x="582" y="42"/>
                  </a:lnTo>
                  <a:lnTo>
                    <a:pt x="585" y="42"/>
                  </a:lnTo>
                  <a:lnTo>
                    <a:pt x="588" y="42"/>
                  </a:lnTo>
                  <a:lnTo>
                    <a:pt x="588" y="42"/>
                  </a:lnTo>
                  <a:lnTo>
                    <a:pt x="588" y="46"/>
                  </a:lnTo>
                  <a:lnTo>
                    <a:pt x="592" y="49"/>
                  </a:lnTo>
                  <a:lnTo>
                    <a:pt x="592" y="49"/>
                  </a:lnTo>
                  <a:lnTo>
                    <a:pt x="595" y="49"/>
                  </a:lnTo>
                  <a:lnTo>
                    <a:pt x="595" y="49"/>
                  </a:lnTo>
                  <a:lnTo>
                    <a:pt x="592" y="42"/>
                  </a:lnTo>
                  <a:lnTo>
                    <a:pt x="595" y="42"/>
                  </a:lnTo>
                  <a:lnTo>
                    <a:pt x="599" y="42"/>
                  </a:lnTo>
                  <a:lnTo>
                    <a:pt x="602" y="42"/>
                  </a:lnTo>
                  <a:lnTo>
                    <a:pt x="606" y="42"/>
                  </a:lnTo>
                  <a:lnTo>
                    <a:pt x="612" y="42"/>
                  </a:lnTo>
                  <a:lnTo>
                    <a:pt x="616" y="39"/>
                  </a:lnTo>
                  <a:lnTo>
                    <a:pt x="619" y="39"/>
                  </a:lnTo>
                  <a:lnTo>
                    <a:pt x="626" y="39"/>
                  </a:lnTo>
                  <a:lnTo>
                    <a:pt x="633" y="39"/>
                  </a:lnTo>
                  <a:lnTo>
                    <a:pt x="637" y="42"/>
                  </a:lnTo>
                  <a:lnTo>
                    <a:pt x="640" y="42"/>
                  </a:lnTo>
                  <a:lnTo>
                    <a:pt x="643" y="42"/>
                  </a:lnTo>
                  <a:lnTo>
                    <a:pt x="647" y="42"/>
                  </a:lnTo>
                  <a:lnTo>
                    <a:pt x="650" y="46"/>
                  </a:lnTo>
                  <a:lnTo>
                    <a:pt x="650" y="46"/>
                  </a:lnTo>
                  <a:lnTo>
                    <a:pt x="654" y="46"/>
                  </a:lnTo>
                  <a:lnTo>
                    <a:pt x="657" y="46"/>
                  </a:lnTo>
                  <a:lnTo>
                    <a:pt x="657" y="46"/>
                  </a:lnTo>
                  <a:lnTo>
                    <a:pt x="661" y="49"/>
                  </a:lnTo>
                  <a:lnTo>
                    <a:pt x="661" y="49"/>
                  </a:lnTo>
                  <a:lnTo>
                    <a:pt x="664" y="46"/>
                  </a:lnTo>
                  <a:lnTo>
                    <a:pt x="668" y="46"/>
                  </a:lnTo>
                  <a:lnTo>
                    <a:pt x="671" y="46"/>
                  </a:lnTo>
                  <a:lnTo>
                    <a:pt x="674" y="42"/>
                  </a:lnTo>
                  <a:lnTo>
                    <a:pt x="678" y="39"/>
                  </a:lnTo>
                  <a:lnTo>
                    <a:pt x="681" y="39"/>
                  </a:lnTo>
                  <a:lnTo>
                    <a:pt x="681" y="39"/>
                  </a:lnTo>
                  <a:lnTo>
                    <a:pt x="685" y="42"/>
                  </a:lnTo>
                  <a:lnTo>
                    <a:pt x="688" y="46"/>
                  </a:lnTo>
                  <a:lnTo>
                    <a:pt x="688" y="46"/>
                  </a:lnTo>
                  <a:lnTo>
                    <a:pt x="685" y="49"/>
                  </a:lnTo>
                  <a:lnTo>
                    <a:pt x="685" y="49"/>
                  </a:lnTo>
                  <a:lnTo>
                    <a:pt x="688" y="52"/>
                  </a:lnTo>
                  <a:lnTo>
                    <a:pt x="688" y="52"/>
                  </a:lnTo>
                  <a:lnTo>
                    <a:pt x="688" y="55"/>
                  </a:lnTo>
                  <a:lnTo>
                    <a:pt x="685" y="59"/>
                  </a:lnTo>
                  <a:lnTo>
                    <a:pt x="678" y="59"/>
                  </a:lnTo>
                  <a:lnTo>
                    <a:pt x="674" y="59"/>
                  </a:lnTo>
                  <a:lnTo>
                    <a:pt x="671" y="55"/>
                  </a:lnTo>
                  <a:lnTo>
                    <a:pt x="668" y="55"/>
                  </a:lnTo>
                  <a:lnTo>
                    <a:pt x="668" y="55"/>
                  </a:lnTo>
                  <a:lnTo>
                    <a:pt x="668" y="59"/>
                  </a:lnTo>
                  <a:lnTo>
                    <a:pt x="671" y="62"/>
                  </a:lnTo>
                  <a:lnTo>
                    <a:pt x="671" y="62"/>
                  </a:lnTo>
                  <a:lnTo>
                    <a:pt x="671" y="62"/>
                  </a:lnTo>
                  <a:lnTo>
                    <a:pt x="668" y="62"/>
                  </a:lnTo>
                  <a:lnTo>
                    <a:pt x="664" y="59"/>
                  </a:lnTo>
                  <a:lnTo>
                    <a:pt x="664" y="59"/>
                  </a:lnTo>
                  <a:lnTo>
                    <a:pt x="664" y="62"/>
                  </a:lnTo>
                  <a:lnTo>
                    <a:pt x="664" y="65"/>
                  </a:lnTo>
                  <a:lnTo>
                    <a:pt x="668" y="65"/>
                  </a:lnTo>
                  <a:lnTo>
                    <a:pt x="671" y="65"/>
                  </a:lnTo>
                  <a:lnTo>
                    <a:pt x="674" y="65"/>
                  </a:lnTo>
                  <a:lnTo>
                    <a:pt x="678" y="65"/>
                  </a:lnTo>
                  <a:lnTo>
                    <a:pt x="685" y="65"/>
                  </a:lnTo>
                  <a:lnTo>
                    <a:pt x="685" y="65"/>
                  </a:lnTo>
                  <a:lnTo>
                    <a:pt x="688" y="65"/>
                  </a:lnTo>
                  <a:lnTo>
                    <a:pt x="688" y="65"/>
                  </a:lnTo>
                  <a:lnTo>
                    <a:pt x="688" y="62"/>
                  </a:lnTo>
                  <a:lnTo>
                    <a:pt x="692" y="62"/>
                  </a:lnTo>
                  <a:lnTo>
                    <a:pt x="698" y="62"/>
                  </a:lnTo>
                  <a:lnTo>
                    <a:pt x="702" y="62"/>
                  </a:lnTo>
                  <a:lnTo>
                    <a:pt x="702" y="65"/>
                  </a:lnTo>
                  <a:lnTo>
                    <a:pt x="702" y="65"/>
                  </a:lnTo>
                  <a:lnTo>
                    <a:pt x="705" y="65"/>
                  </a:lnTo>
                  <a:lnTo>
                    <a:pt x="705" y="65"/>
                  </a:lnTo>
                  <a:lnTo>
                    <a:pt x="709" y="65"/>
                  </a:lnTo>
                  <a:lnTo>
                    <a:pt x="709" y="65"/>
                  </a:lnTo>
                  <a:lnTo>
                    <a:pt x="712" y="68"/>
                  </a:lnTo>
                  <a:lnTo>
                    <a:pt x="716" y="68"/>
                  </a:lnTo>
                  <a:lnTo>
                    <a:pt x="719" y="72"/>
                  </a:lnTo>
                  <a:lnTo>
                    <a:pt x="719" y="72"/>
                  </a:lnTo>
                  <a:lnTo>
                    <a:pt x="723" y="75"/>
                  </a:lnTo>
                  <a:lnTo>
                    <a:pt x="726" y="78"/>
                  </a:lnTo>
                  <a:lnTo>
                    <a:pt x="733" y="78"/>
                  </a:lnTo>
                  <a:lnTo>
                    <a:pt x="733" y="81"/>
                  </a:lnTo>
                  <a:lnTo>
                    <a:pt x="733" y="84"/>
                  </a:lnTo>
                  <a:lnTo>
                    <a:pt x="729" y="84"/>
                  </a:lnTo>
                  <a:lnTo>
                    <a:pt x="729" y="88"/>
                  </a:lnTo>
                  <a:lnTo>
                    <a:pt x="729" y="88"/>
                  </a:lnTo>
                  <a:lnTo>
                    <a:pt x="726" y="91"/>
                  </a:lnTo>
                  <a:lnTo>
                    <a:pt x="723" y="91"/>
                  </a:lnTo>
                  <a:lnTo>
                    <a:pt x="723" y="94"/>
                  </a:lnTo>
                  <a:lnTo>
                    <a:pt x="719" y="91"/>
                  </a:lnTo>
                  <a:lnTo>
                    <a:pt x="719" y="94"/>
                  </a:lnTo>
                  <a:lnTo>
                    <a:pt x="719" y="94"/>
                  </a:lnTo>
                  <a:lnTo>
                    <a:pt x="716" y="94"/>
                  </a:lnTo>
                  <a:lnTo>
                    <a:pt x="712" y="97"/>
                  </a:lnTo>
                  <a:lnTo>
                    <a:pt x="709" y="101"/>
                  </a:lnTo>
                  <a:lnTo>
                    <a:pt x="702" y="101"/>
                  </a:lnTo>
                  <a:lnTo>
                    <a:pt x="702" y="101"/>
                  </a:lnTo>
                  <a:lnTo>
                    <a:pt x="698" y="101"/>
                  </a:lnTo>
                  <a:lnTo>
                    <a:pt x="695" y="97"/>
                  </a:lnTo>
                  <a:lnTo>
                    <a:pt x="695" y="97"/>
                  </a:lnTo>
                  <a:lnTo>
                    <a:pt x="692" y="97"/>
                  </a:lnTo>
                  <a:lnTo>
                    <a:pt x="692" y="101"/>
                  </a:lnTo>
                  <a:lnTo>
                    <a:pt x="695" y="101"/>
                  </a:lnTo>
                  <a:lnTo>
                    <a:pt x="695" y="101"/>
                  </a:lnTo>
                  <a:lnTo>
                    <a:pt x="692" y="101"/>
                  </a:lnTo>
                  <a:lnTo>
                    <a:pt x="688" y="101"/>
                  </a:lnTo>
                  <a:lnTo>
                    <a:pt x="685" y="104"/>
                  </a:lnTo>
                  <a:lnTo>
                    <a:pt x="685" y="104"/>
                  </a:lnTo>
                  <a:lnTo>
                    <a:pt x="681" y="101"/>
                  </a:lnTo>
                  <a:lnTo>
                    <a:pt x="678" y="101"/>
                  </a:lnTo>
                  <a:lnTo>
                    <a:pt x="674" y="104"/>
                  </a:lnTo>
                  <a:lnTo>
                    <a:pt x="671" y="104"/>
                  </a:lnTo>
                  <a:lnTo>
                    <a:pt x="668" y="104"/>
                  </a:lnTo>
                  <a:lnTo>
                    <a:pt x="664" y="104"/>
                  </a:lnTo>
                  <a:lnTo>
                    <a:pt x="661" y="104"/>
                  </a:lnTo>
                  <a:lnTo>
                    <a:pt x="661" y="104"/>
                  </a:lnTo>
                  <a:lnTo>
                    <a:pt x="657" y="101"/>
                  </a:lnTo>
                  <a:lnTo>
                    <a:pt x="654" y="104"/>
                  </a:lnTo>
                  <a:lnTo>
                    <a:pt x="650" y="104"/>
                  </a:lnTo>
                  <a:lnTo>
                    <a:pt x="647" y="104"/>
                  </a:lnTo>
                  <a:lnTo>
                    <a:pt x="643" y="101"/>
                  </a:lnTo>
                  <a:lnTo>
                    <a:pt x="643" y="101"/>
                  </a:lnTo>
                  <a:lnTo>
                    <a:pt x="640" y="101"/>
                  </a:lnTo>
                  <a:lnTo>
                    <a:pt x="637" y="101"/>
                  </a:lnTo>
                  <a:lnTo>
                    <a:pt x="633" y="97"/>
                  </a:lnTo>
                  <a:lnTo>
                    <a:pt x="630" y="97"/>
                  </a:lnTo>
                  <a:lnTo>
                    <a:pt x="626" y="97"/>
                  </a:lnTo>
                  <a:lnTo>
                    <a:pt x="623" y="97"/>
                  </a:lnTo>
                  <a:lnTo>
                    <a:pt x="619" y="97"/>
                  </a:lnTo>
                  <a:lnTo>
                    <a:pt x="619" y="97"/>
                  </a:lnTo>
                  <a:lnTo>
                    <a:pt x="616" y="101"/>
                  </a:lnTo>
                  <a:lnTo>
                    <a:pt x="612" y="101"/>
                  </a:lnTo>
                  <a:lnTo>
                    <a:pt x="609" y="101"/>
                  </a:lnTo>
                  <a:lnTo>
                    <a:pt x="606" y="101"/>
                  </a:lnTo>
                  <a:lnTo>
                    <a:pt x="606" y="104"/>
                  </a:lnTo>
                  <a:lnTo>
                    <a:pt x="602" y="104"/>
                  </a:lnTo>
                  <a:lnTo>
                    <a:pt x="602" y="101"/>
                  </a:lnTo>
                  <a:lnTo>
                    <a:pt x="602" y="97"/>
                  </a:lnTo>
                  <a:lnTo>
                    <a:pt x="599" y="97"/>
                  </a:lnTo>
                  <a:lnTo>
                    <a:pt x="595" y="97"/>
                  </a:lnTo>
                  <a:lnTo>
                    <a:pt x="595" y="97"/>
                  </a:lnTo>
                  <a:lnTo>
                    <a:pt x="592" y="101"/>
                  </a:lnTo>
                  <a:lnTo>
                    <a:pt x="595" y="101"/>
                  </a:lnTo>
                  <a:lnTo>
                    <a:pt x="599" y="101"/>
                  </a:lnTo>
                  <a:lnTo>
                    <a:pt x="599" y="101"/>
                  </a:lnTo>
                  <a:lnTo>
                    <a:pt x="602" y="104"/>
                  </a:lnTo>
                  <a:lnTo>
                    <a:pt x="599" y="104"/>
                  </a:lnTo>
                  <a:lnTo>
                    <a:pt x="599" y="107"/>
                  </a:lnTo>
                  <a:lnTo>
                    <a:pt x="595" y="107"/>
                  </a:lnTo>
                  <a:lnTo>
                    <a:pt x="592" y="107"/>
                  </a:lnTo>
                  <a:lnTo>
                    <a:pt x="588" y="107"/>
                  </a:lnTo>
                  <a:lnTo>
                    <a:pt x="585" y="110"/>
                  </a:lnTo>
                  <a:lnTo>
                    <a:pt x="582" y="110"/>
                  </a:lnTo>
                  <a:lnTo>
                    <a:pt x="578" y="110"/>
                  </a:lnTo>
                  <a:lnTo>
                    <a:pt x="578" y="110"/>
                  </a:lnTo>
                  <a:lnTo>
                    <a:pt x="575" y="114"/>
                  </a:lnTo>
                  <a:lnTo>
                    <a:pt x="571" y="114"/>
                  </a:lnTo>
                  <a:lnTo>
                    <a:pt x="568" y="114"/>
                  </a:lnTo>
                  <a:lnTo>
                    <a:pt x="564" y="114"/>
                  </a:lnTo>
                  <a:lnTo>
                    <a:pt x="561" y="117"/>
                  </a:lnTo>
                  <a:lnTo>
                    <a:pt x="561" y="120"/>
                  </a:lnTo>
                  <a:lnTo>
                    <a:pt x="564" y="120"/>
                  </a:lnTo>
                  <a:lnTo>
                    <a:pt x="564" y="123"/>
                  </a:lnTo>
                  <a:lnTo>
                    <a:pt x="564" y="126"/>
                  </a:lnTo>
                  <a:lnTo>
                    <a:pt x="568" y="126"/>
                  </a:lnTo>
                  <a:lnTo>
                    <a:pt x="568" y="126"/>
                  </a:lnTo>
                  <a:lnTo>
                    <a:pt x="571" y="126"/>
                  </a:lnTo>
                  <a:lnTo>
                    <a:pt x="571" y="123"/>
                  </a:lnTo>
                  <a:lnTo>
                    <a:pt x="571" y="120"/>
                  </a:lnTo>
                  <a:lnTo>
                    <a:pt x="575" y="120"/>
                  </a:lnTo>
                  <a:lnTo>
                    <a:pt x="578" y="120"/>
                  </a:lnTo>
                  <a:lnTo>
                    <a:pt x="582" y="120"/>
                  </a:lnTo>
                  <a:lnTo>
                    <a:pt x="585" y="120"/>
                  </a:lnTo>
                  <a:lnTo>
                    <a:pt x="585" y="117"/>
                  </a:lnTo>
                  <a:lnTo>
                    <a:pt x="588" y="117"/>
                  </a:lnTo>
                  <a:lnTo>
                    <a:pt x="595" y="114"/>
                  </a:lnTo>
                  <a:lnTo>
                    <a:pt x="602" y="110"/>
                  </a:lnTo>
                  <a:lnTo>
                    <a:pt x="606" y="114"/>
                  </a:lnTo>
                  <a:lnTo>
                    <a:pt x="606" y="114"/>
                  </a:lnTo>
                  <a:lnTo>
                    <a:pt x="602" y="114"/>
                  </a:lnTo>
                  <a:lnTo>
                    <a:pt x="606" y="117"/>
                  </a:lnTo>
                  <a:lnTo>
                    <a:pt x="606" y="114"/>
                  </a:lnTo>
                  <a:lnTo>
                    <a:pt x="609" y="110"/>
                  </a:lnTo>
                  <a:lnTo>
                    <a:pt x="609" y="107"/>
                  </a:lnTo>
                  <a:lnTo>
                    <a:pt x="612" y="107"/>
                  </a:lnTo>
                  <a:lnTo>
                    <a:pt x="616" y="107"/>
                  </a:lnTo>
                  <a:lnTo>
                    <a:pt x="619" y="107"/>
                  </a:lnTo>
                  <a:lnTo>
                    <a:pt x="623" y="107"/>
                  </a:lnTo>
                  <a:lnTo>
                    <a:pt x="626" y="107"/>
                  </a:lnTo>
                  <a:lnTo>
                    <a:pt x="630" y="110"/>
                  </a:lnTo>
                  <a:lnTo>
                    <a:pt x="633" y="110"/>
                  </a:lnTo>
                  <a:lnTo>
                    <a:pt x="643" y="110"/>
                  </a:lnTo>
                  <a:lnTo>
                    <a:pt x="647" y="110"/>
                  </a:lnTo>
                  <a:lnTo>
                    <a:pt x="650" y="110"/>
                  </a:lnTo>
                  <a:lnTo>
                    <a:pt x="657" y="114"/>
                  </a:lnTo>
                  <a:lnTo>
                    <a:pt x="664" y="114"/>
                  </a:lnTo>
                  <a:lnTo>
                    <a:pt x="668" y="114"/>
                  </a:lnTo>
                  <a:lnTo>
                    <a:pt x="668" y="114"/>
                  </a:lnTo>
                  <a:lnTo>
                    <a:pt x="668" y="117"/>
                  </a:lnTo>
                  <a:lnTo>
                    <a:pt x="668" y="117"/>
                  </a:lnTo>
                  <a:lnTo>
                    <a:pt x="664" y="120"/>
                  </a:lnTo>
                  <a:lnTo>
                    <a:pt x="664" y="120"/>
                  </a:lnTo>
                  <a:lnTo>
                    <a:pt x="661" y="123"/>
                  </a:lnTo>
                  <a:lnTo>
                    <a:pt x="661" y="126"/>
                  </a:lnTo>
                  <a:lnTo>
                    <a:pt x="650" y="126"/>
                  </a:lnTo>
                  <a:lnTo>
                    <a:pt x="647" y="126"/>
                  </a:lnTo>
                  <a:lnTo>
                    <a:pt x="643" y="126"/>
                  </a:lnTo>
                  <a:lnTo>
                    <a:pt x="643" y="126"/>
                  </a:lnTo>
                  <a:lnTo>
                    <a:pt x="643" y="126"/>
                  </a:lnTo>
                  <a:lnTo>
                    <a:pt x="640" y="130"/>
                  </a:lnTo>
                  <a:lnTo>
                    <a:pt x="640" y="133"/>
                  </a:lnTo>
                  <a:lnTo>
                    <a:pt x="640" y="133"/>
                  </a:lnTo>
                  <a:lnTo>
                    <a:pt x="640" y="136"/>
                  </a:lnTo>
                  <a:lnTo>
                    <a:pt x="643" y="136"/>
                  </a:lnTo>
                  <a:lnTo>
                    <a:pt x="647" y="136"/>
                  </a:lnTo>
                  <a:lnTo>
                    <a:pt x="654" y="133"/>
                  </a:lnTo>
                  <a:lnTo>
                    <a:pt x="657" y="133"/>
                  </a:lnTo>
                  <a:lnTo>
                    <a:pt x="657" y="133"/>
                  </a:lnTo>
                  <a:lnTo>
                    <a:pt x="664" y="133"/>
                  </a:lnTo>
                  <a:lnTo>
                    <a:pt x="664" y="133"/>
                  </a:lnTo>
                  <a:lnTo>
                    <a:pt x="668" y="136"/>
                  </a:lnTo>
                  <a:lnTo>
                    <a:pt x="671" y="136"/>
                  </a:lnTo>
                  <a:lnTo>
                    <a:pt x="674" y="136"/>
                  </a:lnTo>
                  <a:lnTo>
                    <a:pt x="674" y="136"/>
                  </a:lnTo>
                  <a:lnTo>
                    <a:pt x="678" y="133"/>
                  </a:lnTo>
                  <a:lnTo>
                    <a:pt x="678" y="133"/>
                  </a:lnTo>
                  <a:lnTo>
                    <a:pt x="681" y="133"/>
                  </a:lnTo>
                  <a:lnTo>
                    <a:pt x="681" y="136"/>
                  </a:lnTo>
                  <a:lnTo>
                    <a:pt x="685" y="133"/>
                  </a:lnTo>
                  <a:lnTo>
                    <a:pt x="688" y="126"/>
                  </a:lnTo>
                  <a:lnTo>
                    <a:pt x="688" y="123"/>
                  </a:lnTo>
                  <a:lnTo>
                    <a:pt x="688" y="120"/>
                  </a:lnTo>
                  <a:lnTo>
                    <a:pt x="688" y="120"/>
                  </a:lnTo>
                  <a:lnTo>
                    <a:pt x="688" y="117"/>
                  </a:lnTo>
                  <a:lnTo>
                    <a:pt x="692" y="117"/>
                  </a:lnTo>
                  <a:lnTo>
                    <a:pt x="695" y="117"/>
                  </a:lnTo>
                  <a:lnTo>
                    <a:pt x="698" y="117"/>
                  </a:lnTo>
                  <a:lnTo>
                    <a:pt x="705" y="117"/>
                  </a:lnTo>
                  <a:lnTo>
                    <a:pt x="709" y="117"/>
                  </a:lnTo>
                  <a:lnTo>
                    <a:pt x="712" y="117"/>
                  </a:lnTo>
                  <a:lnTo>
                    <a:pt x="712" y="120"/>
                  </a:lnTo>
                  <a:lnTo>
                    <a:pt x="712" y="126"/>
                  </a:lnTo>
                  <a:lnTo>
                    <a:pt x="712" y="130"/>
                  </a:lnTo>
                  <a:lnTo>
                    <a:pt x="709" y="133"/>
                  </a:lnTo>
                  <a:lnTo>
                    <a:pt x="705" y="136"/>
                  </a:lnTo>
                  <a:lnTo>
                    <a:pt x="705" y="143"/>
                  </a:lnTo>
                  <a:lnTo>
                    <a:pt x="702" y="146"/>
                  </a:lnTo>
                  <a:lnTo>
                    <a:pt x="692" y="152"/>
                  </a:lnTo>
                  <a:lnTo>
                    <a:pt x="692" y="152"/>
                  </a:lnTo>
                  <a:lnTo>
                    <a:pt x="688" y="152"/>
                  </a:lnTo>
                  <a:lnTo>
                    <a:pt x="685" y="152"/>
                  </a:lnTo>
                  <a:lnTo>
                    <a:pt x="685" y="156"/>
                  </a:lnTo>
                  <a:lnTo>
                    <a:pt x="681" y="156"/>
                  </a:lnTo>
                  <a:lnTo>
                    <a:pt x="681" y="156"/>
                  </a:lnTo>
                  <a:lnTo>
                    <a:pt x="678" y="159"/>
                  </a:lnTo>
                  <a:lnTo>
                    <a:pt x="678" y="162"/>
                  </a:lnTo>
                  <a:lnTo>
                    <a:pt x="674" y="162"/>
                  </a:lnTo>
                  <a:lnTo>
                    <a:pt x="671" y="165"/>
                  </a:lnTo>
                  <a:lnTo>
                    <a:pt x="671" y="165"/>
                  </a:lnTo>
                  <a:lnTo>
                    <a:pt x="668" y="162"/>
                  </a:lnTo>
                  <a:lnTo>
                    <a:pt x="668" y="165"/>
                  </a:lnTo>
                  <a:lnTo>
                    <a:pt x="668" y="165"/>
                  </a:lnTo>
                  <a:lnTo>
                    <a:pt x="668" y="168"/>
                  </a:lnTo>
                  <a:lnTo>
                    <a:pt x="664" y="172"/>
                  </a:lnTo>
                  <a:lnTo>
                    <a:pt x="661" y="175"/>
                  </a:lnTo>
                  <a:lnTo>
                    <a:pt x="657" y="178"/>
                  </a:lnTo>
                  <a:lnTo>
                    <a:pt x="654" y="181"/>
                  </a:lnTo>
                  <a:lnTo>
                    <a:pt x="650" y="185"/>
                  </a:lnTo>
                  <a:lnTo>
                    <a:pt x="647" y="185"/>
                  </a:lnTo>
                  <a:lnTo>
                    <a:pt x="643" y="188"/>
                  </a:lnTo>
                  <a:lnTo>
                    <a:pt x="640" y="188"/>
                  </a:lnTo>
                  <a:lnTo>
                    <a:pt x="637" y="188"/>
                  </a:lnTo>
                  <a:lnTo>
                    <a:pt x="637" y="191"/>
                  </a:lnTo>
                  <a:lnTo>
                    <a:pt x="640" y="194"/>
                  </a:lnTo>
                  <a:lnTo>
                    <a:pt x="637" y="198"/>
                  </a:lnTo>
                  <a:lnTo>
                    <a:pt x="637" y="201"/>
                  </a:lnTo>
                  <a:lnTo>
                    <a:pt x="640" y="198"/>
                  </a:lnTo>
                  <a:lnTo>
                    <a:pt x="640" y="194"/>
                  </a:lnTo>
                  <a:lnTo>
                    <a:pt x="643" y="191"/>
                  </a:lnTo>
                  <a:lnTo>
                    <a:pt x="647" y="188"/>
                  </a:lnTo>
                  <a:lnTo>
                    <a:pt x="650" y="188"/>
                  </a:lnTo>
                  <a:lnTo>
                    <a:pt x="650" y="188"/>
                  </a:lnTo>
                  <a:lnTo>
                    <a:pt x="650" y="188"/>
                  </a:lnTo>
                  <a:lnTo>
                    <a:pt x="654" y="185"/>
                  </a:lnTo>
                  <a:lnTo>
                    <a:pt x="661" y="181"/>
                  </a:lnTo>
                  <a:lnTo>
                    <a:pt x="664" y="178"/>
                  </a:lnTo>
                  <a:lnTo>
                    <a:pt x="664" y="178"/>
                  </a:lnTo>
                  <a:lnTo>
                    <a:pt x="671" y="172"/>
                  </a:lnTo>
                  <a:lnTo>
                    <a:pt x="674" y="168"/>
                  </a:lnTo>
                  <a:lnTo>
                    <a:pt x="678" y="168"/>
                  </a:lnTo>
                  <a:lnTo>
                    <a:pt x="681" y="168"/>
                  </a:lnTo>
                  <a:lnTo>
                    <a:pt x="685" y="168"/>
                  </a:lnTo>
                  <a:lnTo>
                    <a:pt x="685" y="165"/>
                  </a:lnTo>
                  <a:lnTo>
                    <a:pt x="685" y="165"/>
                  </a:lnTo>
                  <a:lnTo>
                    <a:pt x="692" y="165"/>
                  </a:lnTo>
                  <a:lnTo>
                    <a:pt x="695" y="165"/>
                  </a:lnTo>
                  <a:lnTo>
                    <a:pt x="702" y="162"/>
                  </a:lnTo>
                  <a:lnTo>
                    <a:pt x="705" y="159"/>
                  </a:lnTo>
                  <a:lnTo>
                    <a:pt x="709" y="159"/>
                  </a:lnTo>
                  <a:lnTo>
                    <a:pt x="709" y="156"/>
                  </a:lnTo>
                  <a:lnTo>
                    <a:pt x="712" y="156"/>
                  </a:lnTo>
                  <a:lnTo>
                    <a:pt x="716" y="156"/>
                  </a:lnTo>
                  <a:lnTo>
                    <a:pt x="719" y="152"/>
                  </a:lnTo>
                  <a:lnTo>
                    <a:pt x="723" y="149"/>
                  </a:lnTo>
                  <a:lnTo>
                    <a:pt x="723" y="146"/>
                  </a:lnTo>
                  <a:lnTo>
                    <a:pt x="723" y="143"/>
                  </a:lnTo>
                  <a:lnTo>
                    <a:pt x="726" y="139"/>
                  </a:lnTo>
                  <a:lnTo>
                    <a:pt x="726" y="139"/>
                  </a:lnTo>
                  <a:lnTo>
                    <a:pt x="729" y="139"/>
                  </a:lnTo>
                  <a:lnTo>
                    <a:pt x="729" y="139"/>
                  </a:lnTo>
                  <a:lnTo>
                    <a:pt x="729" y="143"/>
                  </a:lnTo>
                  <a:lnTo>
                    <a:pt x="729" y="146"/>
                  </a:lnTo>
                  <a:lnTo>
                    <a:pt x="729" y="146"/>
                  </a:lnTo>
                  <a:lnTo>
                    <a:pt x="733" y="149"/>
                  </a:lnTo>
                  <a:lnTo>
                    <a:pt x="733" y="152"/>
                  </a:lnTo>
                  <a:lnTo>
                    <a:pt x="733" y="156"/>
                  </a:lnTo>
                  <a:lnTo>
                    <a:pt x="733" y="156"/>
                  </a:lnTo>
                  <a:lnTo>
                    <a:pt x="733" y="156"/>
                  </a:lnTo>
                  <a:lnTo>
                    <a:pt x="733" y="152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6" y="146"/>
                  </a:lnTo>
                  <a:lnTo>
                    <a:pt x="736" y="143"/>
                  </a:lnTo>
                  <a:lnTo>
                    <a:pt x="736" y="146"/>
                  </a:lnTo>
                  <a:lnTo>
                    <a:pt x="736" y="146"/>
                  </a:lnTo>
                  <a:lnTo>
                    <a:pt x="740" y="149"/>
                  </a:lnTo>
                  <a:lnTo>
                    <a:pt x="743" y="149"/>
                  </a:lnTo>
                  <a:lnTo>
                    <a:pt x="747" y="149"/>
                  </a:lnTo>
                  <a:lnTo>
                    <a:pt x="747" y="146"/>
                  </a:lnTo>
                  <a:lnTo>
                    <a:pt x="747" y="146"/>
                  </a:lnTo>
                  <a:lnTo>
                    <a:pt x="747" y="143"/>
                  </a:lnTo>
                  <a:lnTo>
                    <a:pt x="750" y="143"/>
                  </a:lnTo>
                  <a:lnTo>
                    <a:pt x="750" y="139"/>
                  </a:lnTo>
                  <a:lnTo>
                    <a:pt x="750" y="136"/>
                  </a:lnTo>
                  <a:lnTo>
                    <a:pt x="750" y="136"/>
                  </a:lnTo>
                  <a:lnTo>
                    <a:pt x="750" y="133"/>
                  </a:lnTo>
                  <a:lnTo>
                    <a:pt x="754" y="133"/>
                  </a:lnTo>
                  <a:lnTo>
                    <a:pt x="754" y="133"/>
                  </a:lnTo>
                  <a:lnTo>
                    <a:pt x="757" y="136"/>
                  </a:lnTo>
                  <a:lnTo>
                    <a:pt x="760" y="133"/>
                  </a:lnTo>
                  <a:lnTo>
                    <a:pt x="764" y="133"/>
                  </a:lnTo>
                  <a:lnTo>
                    <a:pt x="767" y="130"/>
                  </a:lnTo>
                  <a:lnTo>
                    <a:pt x="774" y="130"/>
                  </a:lnTo>
                  <a:lnTo>
                    <a:pt x="774" y="130"/>
                  </a:lnTo>
                  <a:lnTo>
                    <a:pt x="781" y="130"/>
                  </a:lnTo>
                  <a:lnTo>
                    <a:pt x="784" y="133"/>
                  </a:lnTo>
                  <a:lnTo>
                    <a:pt x="791" y="133"/>
                  </a:lnTo>
                  <a:lnTo>
                    <a:pt x="795" y="136"/>
                  </a:lnTo>
                  <a:lnTo>
                    <a:pt x="798" y="136"/>
                  </a:lnTo>
                  <a:lnTo>
                    <a:pt x="802" y="139"/>
                  </a:lnTo>
                  <a:lnTo>
                    <a:pt x="802" y="139"/>
                  </a:lnTo>
                  <a:lnTo>
                    <a:pt x="805" y="139"/>
                  </a:lnTo>
                  <a:lnTo>
                    <a:pt x="809" y="143"/>
                  </a:lnTo>
                  <a:lnTo>
                    <a:pt x="809" y="143"/>
                  </a:lnTo>
                  <a:lnTo>
                    <a:pt x="812" y="149"/>
                  </a:lnTo>
                  <a:lnTo>
                    <a:pt x="815" y="149"/>
                  </a:lnTo>
                  <a:lnTo>
                    <a:pt x="815" y="152"/>
                  </a:lnTo>
                  <a:lnTo>
                    <a:pt x="819" y="156"/>
                  </a:lnTo>
                  <a:lnTo>
                    <a:pt x="819" y="162"/>
                  </a:lnTo>
                  <a:lnTo>
                    <a:pt x="815" y="162"/>
                  </a:lnTo>
                  <a:lnTo>
                    <a:pt x="812" y="165"/>
                  </a:lnTo>
                  <a:lnTo>
                    <a:pt x="809" y="165"/>
                  </a:lnTo>
                  <a:lnTo>
                    <a:pt x="809" y="168"/>
                  </a:lnTo>
                  <a:lnTo>
                    <a:pt x="805" y="168"/>
                  </a:lnTo>
                  <a:lnTo>
                    <a:pt x="802" y="172"/>
                  </a:lnTo>
                  <a:lnTo>
                    <a:pt x="798" y="175"/>
                  </a:lnTo>
                  <a:lnTo>
                    <a:pt x="798" y="178"/>
                  </a:lnTo>
                  <a:lnTo>
                    <a:pt x="795" y="178"/>
                  </a:lnTo>
                  <a:lnTo>
                    <a:pt x="795" y="178"/>
                  </a:lnTo>
                  <a:lnTo>
                    <a:pt x="788" y="175"/>
                  </a:lnTo>
                  <a:lnTo>
                    <a:pt x="784" y="175"/>
                  </a:lnTo>
                  <a:lnTo>
                    <a:pt x="784" y="175"/>
                  </a:lnTo>
                  <a:lnTo>
                    <a:pt x="781" y="178"/>
                  </a:lnTo>
                  <a:lnTo>
                    <a:pt x="781" y="181"/>
                  </a:lnTo>
                  <a:lnTo>
                    <a:pt x="781" y="181"/>
                  </a:lnTo>
                  <a:lnTo>
                    <a:pt x="781" y="181"/>
                  </a:lnTo>
                  <a:lnTo>
                    <a:pt x="784" y="185"/>
                  </a:lnTo>
                  <a:lnTo>
                    <a:pt x="784" y="185"/>
                  </a:lnTo>
                  <a:lnTo>
                    <a:pt x="784" y="188"/>
                  </a:lnTo>
                  <a:lnTo>
                    <a:pt x="784" y="191"/>
                  </a:lnTo>
                  <a:lnTo>
                    <a:pt x="781" y="191"/>
                  </a:lnTo>
                  <a:lnTo>
                    <a:pt x="781" y="191"/>
                  </a:lnTo>
                  <a:lnTo>
                    <a:pt x="774" y="191"/>
                  </a:lnTo>
                  <a:lnTo>
                    <a:pt x="771" y="194"/>
                  </a:lnTo>
                  <a:lnTo>
                    <a:pt x="767" y="194"/>
                  </a:lnTo>
                  <a:lnTo>
                    <a:pt x="764" y="194"/>
                  </a:lnTo>
                  <a:lnTo>
                    <a:pt x="764" y="194"/>
                  </a:lnTo>
                  <a:lnTo>
                    <a:pt x="760" y="191"/>
                  </a:lnTo>
                  <a:lnTo>
                    <a:pt x="757" y="191"/>
                  </a:lnTo>
                  <a:lnTo>
                    <a:pt x="754" y="191"/>
                  </a:lnTo>
                  <a:lnTo>
                    <a:pt x="754" y="191"/>
                  </a:lnTo>
                  <a:lnTo>
                    <a:pt x="754" y="191"/>
                  </a:lnTo>
                  <a:lnTo>
                    <a:pt x="750" y="191"/>
                  </a:lnTo>
                  <a:lnTo>
                    <a:pt x="750" y="191"/>
                  </a:lnTo>
                  <a:lnTo>
                    <a:pt x="747" y="191"/>
                  </a:lnTo>
                  <a:lnTo>
                    <a:pt x="747" y="191"/>
                  </a:lnTo>
                  <a:lnTo>
                    <a:pt x="743" y="191"/>
                  </a:lnTo>
                  <a:lnTo>
                    <a:pt x="743" y="191"/>
                  </a:lnTo>
                  <a:lnTo>
                    <a:pt x="740" y="194"/>
                  </a:lnTo>
                  <a:lnTo>
                    <a:pt x="740" y="194"/>
                  </a:lnTo>
                  <a:lnTo>
                    <a:pt x="736" y="194"/>
                  </a:lnTo>
                  <a:lnTo>
                    <a:pt x="736" y="194"/>
                  </a:lnTo>
                  <a:lnTo>
                    <a:pt x="733" y="194"/>
                  </a:lnTo>
                  <a:lnTo>
                    <a:pt x="729" y="194"/>
                  </a:lnTo>
                  <a:lnTo>
                    <a:pt x="726" y="194"/>
                  </a:lnTo>
                  <a:lnTo>
                    <a:pt x="723" y="194"/>
                  </a:lnTo>
                  <a:lnTo>
                    <a:pt x="719" y="198"/>
                  </a:lnTo>
                  <a:lnTo>
                    <a:pt x="716" y="198"/>
                  </a:lnTo>
                  <a:lnTo>
                    <a:pt x="712" y="198"/>
                  </a:lnTo>
                  <a:lnTo>
                    <a:pt x="716" y="198"/>
                  </a:lnTo>
                  <a:lnTo>
                    <a:pt x="719" y="198"/>
                  </a:lnTo>
                  <a:lnTo>
                    <a:pt x="726" y="198"/>
                  </a:lnTo>
                  <a:lnTo>
                    <a:pt x="729" y="198"/>
                  </a:lnTo>
                  <a:lnTo>
                    <a:pt x="733" y="198"/>
                  </a:lnTo>
                  <a:lnTo>
                    <a:pt x="736" y="198"/>
                  </a:lnTo>
                  <a:lnTo>
                    <a:pt x="740" y="198"/>
                  </a:lnTo>
                  <a:lnTo>
                    <a:pt x="747" y="198"/>
                  </a:lnTo>
                  <a:lnTo>
                    <a:pt x="750" y="201"/>
                  </a:lnTo>
                  <a:lnTo>
                    <a:pt x="750" y="201"/>
                  </a:lnTo>
                  <a:lnTo>
                    <a:pt x="754" y="198"/>
                  </a:lnTo>
                  <a:lnTo>
                    <a:pt x="757" y="198"/>
                  </a:lnTo>
                  <a:lnTo>
                    <a:pt x="760" y="198"/>
                  </a:lnTo>
                  <a:lnTo>
                    <a:pt x="760" y="201"/>
                  </a:lnTo>
                  <a:lnTo>
                    <a:pt x="764" y="201"/>
                  </a:lnTo>
                  <a:lnTo>
                    <a:pt x="767" y="204"/>
                  </a:lnTo>
                  <a:lnTo>
                    <a:pt x="767" y="207"/>
                  </a:lnTo>
                  <a:lnTo>
                    <a:pt x="764" y="207"/>
                  </a:lnTo>
                  <a:lnTo>
                    <a:pt x="760" y="207"/>
                  </a:lnTo>
                  <a:lnTo>
                    <a:pt x="757" y="207"/>
                  </a:lnTo>
                  <a:lnTo>
                    <a:pt x="760" y="210"/>
                  </a:lnTo>
                  <a:lnTo>
                    <a:pt x="760" y="214"/>
                  </a:lnTo>
                  <a:lnTo>
                    <a:pt x="757" y="214"/>
                  </a:lnTo>
                  <a:lnTo>
                    <a:pt x="750" y="217"/>
                  </a:lnTo>
                  <a:lnTo>
                    <a:pt x="747" y="214"/>
                  </a:lnTo>
                  <a:lnTo>
                    <a:pt x="743" y="217"/>
                  </a:lnTo>
                  <a:lnTo>
                    <a:pt x="736" y="217"/>
                  </a:lnTo>
                  <a:lnTo>
                    <a:pt x="733" y="214"/>
                  </a:lnTo>
                  <a:lnTo>
                    <a:pt x="726" y="210"/>
                  </a:lnTo>
                  <a:lnTo>
                    <a:pt x="719" y="207"/>
                  </a:lnTo>
                  <a:lnTo>
                    <a:pt x="719" y="207"/>
                  </a:lnTo>
                  <a:lnTo>
                    <a:pt x="716" y="210"/>
                  </a:lnTo>
                  <a:lnTo>
                    <a:pt x="712" y="214"/>
                  </a:lnTo>
                  <a:lnTo>
                    <a:pt x="709" y="217"/>
                  </a:lnTo>
                  <a:lnTo>
                    <a:pt x="705" y="217"/>
                  </a:lnTo>
                  <a:lnTo>
                    <a:pt x="705" y="220"/>
                  </a:lnTo>
                  <a:lnTo>
                    <a:pt x="705" y="220"/>
                  </a:lnTo>
                  <a:lnTo>
                    <a:pt x="709" y="220"/>
                  </a:lnTo>
                  <a:lnTo>
                    <a:pt x="709" y="220"/>
                  </a:lnTo>
                  <a:lnTo>
                    <a:pt x="709" y="223"/>
                  </a:lnTo>
                  <a:lnTo>
                    <a:pt x="709" y="227"/>
                  </a:lnTo>
                  <a:lnTo>
                    <a:pt x="705" y="227"/>
                  </a:lnTo>
                  <a:lnTo>
                    <a:pt x="705" y="227"/>
                  </a:lnTo>
                  <a:lnTo>
                    <a:pt x="709" y="230"/>
                  </a:lnTo>
                  <a:lnTo>
                    <a:pt x="709" y="230"/>
                  </a:lnTo>
                  <a:lnTo>
                    <a:pt x="712" y="230"/>
                  </a:lnTo>
                  <a:lnTo>
                    <a:pt x="712" y="227"/>
                  </a:lnTo>
                  <a:lnTo>
                    <a:pt x="716" y="227"/>
                  </a:lnTo>
                  <a:lnTo>
                    <a:pt x="719" y="223"/>
                  </a:lnTo>
                  <a:lnTo>
                    <a:pt x="723" y="220"/>
                  </a:lnTo>
                  <a:lnTo>
                    <a:pt x="729" y="220"/>
                  </a:lnTo>
                  <a:lnTo>
                    <a:pt x="736" y="220"/>
                  </a:lnTo>
                  <a:lnTo>
                    <a:pt x="736" y="217"/>
                  </a:lnTo>
                  <a:lnTo>
                    <a:pt x="740" y="220"/>
                  </a:lnTo>
                  <a:lnTo>
                    <a:pt x="740" y="220"/>
                  </a:lnTo>
                  <a:lnTo>
                    <a:pt x="743" y="220"/>
                  </a:lnTo>
                  <a:lnTo>
                    <a:pt x="747" y="223"/>
                  </a:lnTo>
                  <a:lnTo>
                    <a:pt x="747" y="223"/>
                  </a:lnTo>
                  <a:lnTo>
                    <a:pt x="747" y="227"/>
                  </a:lnTo>
                  <a:lnTo>
                    <a:pt x="743" y="230"/>
                  </a:lnTo>
                  <a:lnTo>
                    <a:pt x="740" y="233"/>
                  </a:lnTo>
                  <a:lnTo>
                    <a:pt x="736" y="236"/>
                  </a:lnTo>
                  <a:lnTo>
                    <a:pt x="736" y="236"/>
                  </a:lnTo>
                  <a:lnTo>
                    <a:pt x="729" y="243"/>
                  </a:lnTo>
                  <a:lnTo>
                    <a:pt x="726" y="246"/>
                  </a:lnTo>
                  <a:lnTo>
                    <a:pt x="723" y="252"/>
                  </a:lnTo>
                  <a:lnTo>
                    <a:pt x="719" y="256"/>
                  </a:lnTo>
                  <a:lnTo>
                    <a:pt x="716" y="259"/>
                  </a:lnTo>
                  <a:lnTo>
                    <a:pt x="716" y="262"/>
                  </a:lnTo>
                  <a:lnTo>
                    <a:pt x="716" y="265"/>
                  </a:lnTo>
                  <a:lnTo>
                    <a:pt x="716" y="269"/>
                  </a:lnTo>
                  <a:lnTo>
                    <a:pt x="712" y="272"/>
                  </a:lnTo>
                  <a:lnTo>
                    <a:pt x="712" y="275"/>
                  </a:lnTo>
                  <a:lnTo>
                    <a:pt x="709" y="278"/>
                  </a:lnTo>
                  <a:lnTo>
                    <a:pt x="709" y="285"/>
                  </a:lnTo>
                  <a:lnTo>
                    <a:pt x="709" y="288"/>
                  </a:lnTo>
                  <a:lnTo>
                    <a:pt x="712" y="291"/>
                  </a:lnTo>
                  <a:lnTo>
                    <a:pt x="709" y="294"/>
                  </a:lnTo>
                  <a:lnTo>
                    <a:pt x="705" y="298"/>
                  </a:lnTo>
                  <a:lnTo>
                    <a:pt x="705" y="298"/>
                  </a:lnTo>
                  <a:lnTo>
                    <a:pt x="705" y="304"/>
                  </a:lnTo>
                  <a:lnTo>
                    <a:pt x="705" y="304"/>
                  </a:lnTo>
                  <a:lnTo>
                    <a:pt x="702" y="307"/>
                  </a:lnTo>
                  <a:lnTo>
                    <a:pt x="702" y="311"/>
                  </a:lnTo>
                  <a:lnTo>
                    <a:pt x="702" y="314"/>
                  </a:lnTo>
                  <a:lnTo>
                    <a:pt x="698" y="317"/>
                  </a:lnTo>
                  <a:lnTo>
                    <a:pt x="695" y="317"/>
                  </a:lnTo>
                  <a:lnTo>
                    <a:pt x="695" y="314"/>
                  </a:lnTo>
                  <a:lnTo>
                    <a:pt x="695" y="314"/>
                  </a:lnTo>
                  <a:lnTo>
                    <a:pt x="692" y="311"/>
                  </a:lnTo>
                  <a:lnTo>
                    <a:pt x="692" y="311"/>
                  </a:lnTo>
                  <a:lnTo>
                    <a:pt x="695" y="311"/>
                  </a:lnTo>
                  <a:lnTo>
                    <a:pt x="692" y="307"/>
                  </a:lnTo>
                  <a:lnTo>
                    <a:pt x="688" y="307"/>
                  </a:lnTo>
                  <a:lnTo>
                    <a:pt x="688" y="307"/>
                  </a:lnTo>
                  <a:lnTo>
                    <a:pt x="685" y="307"/>
                  </a:lnTo>
                  <a:lnTo>
                    <a:pt x="685" y="311"/>
                  </a:lnTo>
                  <a:lnTo>
                    <a:pt x="685" y="311"/>
                  </a:lnTo>
                  <a:lnTo>
                    <a:pt x="685" y="311"/>
                  </a:lnTo>
                  <a:lnTo>
                    <a:pt x="685" y="314"/>
                  </a:lnTo>
                  <a:lnTo>
                    <a:pt x="685" y="314"/>
                  </a:lnTo>
                  <a:lnTo>
                    <a:pt x="685" y="317"/>
                  </a:lnTo>
                  <a:lnTo>
                    <a:pt x="685" y="317"/>
                  </a:lnTo>
                  <a:lnTo>
                    <a:pt x="688" y="320"/>
                  </a:lnTo>
                  <a:lnTo>
                    <a:pt x="692" y="320"/>
                  </a:lnTo>
                  <a:lnTo>
                    <a:pt x="692" y="323"/>
                  </a:lnTo>
                  <a:lnTo>
                    <a:pt x="695" y="327"/>
                  </a:lnTo>
                  <a:lnTo>
                    <a:pt x="698" y="327"/>
                  </a:lnTo>
                  <a:lnTo>
                    <a:pt x="702" y="330"/>
                  </a:lnTo>
                  <a:lnTo>
                    <a:pt x="705" y="333"/>
                  </a:lnTo>
                  <a:lnTo>
                    <a:pt x="705" y="336"/>
                  </a:lnTo>
                  <a:lnTo>
                    <a:pt x="705" y="336"/>
                  </a:lnTo>
                  <a:lnTo>
                    <a:pt x="702" y="340"/>
                  </a:lnTo>
                  <a:lnTo>
                    <a:pt x="698" y="336"/>
                  </a:lnTo>
                  <a:lnTo>
                    <a:pt x="695" y="333"/>
                  </a:lnTo>
                  <a:lnTo>
                    <a:pt x="695" y="330"/>
                  </a:lnTo>
                  <a:lnTo>
                    <a:pt x="692" y="330"/>
                  </a:lnTo>
                  <a:lnTo>
                    <a:pt x="692" y="330"/>
                  </a:lnTo>
                  <a:lnTo>
                    <a:pt x="692" y="330"/>
                  </a:lnTo>
                  <a:lnTo>
                    <a:pt x="688" y="333"/>
                  </a:lnTo>
                  <a:lnTo>
                    <a:pt x="692" y="333"/>
                  </a:lnTo>
                  <a:lnTo>
                    <a:pt x="692" y="336"/>
                  </a:lnTo>
                  <a:lnTo>
                    <a:pt x="692" y="336"/>
                  </a:lnTo>
                  <a:lnTo>
                    <a:pt x="688" y="336"/>
                  </a:lnTo>
                  <a:lnTo>
                    <a:pt x="688" y="336"/>
                  </a:lnTo>
                  <a:lnTo>
                    <a:pt x="688" y="340"/>
                  </a:lnTo>
                  <a:lnTo>
                    <a:pt x="688" y="340"/>
                  </a:lnTo>
                  <a:lnTo>
                    <a:pt x="692" y="340"/>
                  </a:lnTo>
                  <a:lnTo>
                    <a:pt x="692" y="343"/>
                  </a:lnTo>
                  <a:lnTo>
                    <a:pt x="688" y="343"/>
                  </a:lnTo>
                  <a:lnTo>
                    <a:pt x="692" y="343"/>
                  </a:lnTo>
                  <a:lnTo>
                    <a:pt x="692" y="343"/>
                  </a:lnTo>
                  <a:lnTo>
                    <a:pt x="695" y="343"/>
                  </a:lnTo>
                  <a:lnTo>
                    <a:pt x="698" y="346"/>
                  </a:lnTo>
                  <a:lnTo>
                    <a:pt x="698" y="349"/>
                  </a:lnTo>
                  <a:lnTo>
                    <a:pt x="698" y="349"/>
                  </a:lnTo>
                  <a:lnTo>
                    <a:pt x="698" y="349"/>
                  </a:lnTo>
                  <a:lnTo>
                    <a:pt x="702" y="349"/>
                  </a:lnTo>
                  <a:lnTo>
                    <a:pt x="705" y="346"/>
                  </a:lnTo>
                  <a:lnTo>
                    <a:pt x="705" y="343"/>
                  </a:lnTo>
                  <a:lnTo>
                    <a:pt x="709" y="343"/>
                  </a:lnTo>
                  <a:lnTo>
                    <a:pt x="709" y="346"/>
                  </a:lnTo>
                  <a:lnTo>
                    <a:pt x="709" y="346"/>
                  </a:lnTo>
                  <a:lnTo>
                    <a:pt x="709" y="346"/>
                  </a:lnTo>
                  <a:lnTo>
                    <a:pt x="712" y="349"/>
                  </a:lnTo>
                  <a:lnTo>
                    <a:pt x="716" y="349"/>
                  </a:lnTo>
                  <a:lnTo>
                    <a:pt x="716" y="353"/>
                  </a:lnTo>
                  <a:lnTo>
                    <a:pt x="716" y="353"/>
                  </a:lnTo>
                  <a:lnTo>
                    <a:pt x="716" y="356"/>
                  </a:lnTo>
                  <a:lnTo>
                    <a:pt x="716" y="359"/>
                  </a:lnTo>
                  <a:lnTo>
                    <a:pt x="712" y="362"/>
                  </a:lnTo>
                  <a:lnTo>
                    <a:pt x="712" y="365"/>
                  </a:lnTo>
                  <a:lnTo>
                    <a:pt x="712" y="369"/>
                  </a:lnTo>
                  <a:lnTo>
                    <a:pt x="709" y="372"/>
                  </a:lnTo>
                  <a:lnTo>
                    <a:pt x="709" y="375"/>
                  </a:lnTo>
                  <a:lnTo>
                    <a:pt x="709" y="375"/>
                  </a:lnTo>
                  <a:lnTo>
                    <a:pt x="709" y="375"/>
                  </a:lnTo>
                  <a:lnTo>
                    <a:pt x="705" y="372"/>
                  </a:lnTo>
                  <a:lnTo>
                    <a:pt x="702" y="372"/>
                  </a:lnTo>
                  <a:lnTo>
                    <a:pt x="702" y="369"/>
                  </a:lnTo>
                  <a:lnTo>
                    <a:pt x="698" y="369"/>
                  </a:lnTo>
                  <a:lnTo>
                    <a:pt x="698" y="369"/>
                  </a:lnTo>
                  <a:lnTo>
                    <a:pt x="695" y="369"/>
                  </a:lnTo>
                  <a:lnTo>
                    <a:pt x="695" y="365"/>
                  </a:lnTo>
                  <a:lnTo>
                    <a:pt x="695" y="365"/>
                  </a:lnTo>
                  <a:lnTo>
                    <a:pt x="692" y="362"/>
                  </a:lnTo>
                  <a:lnTo>
                    <a:pt x="692" y="362"/>
                  </a:lnTo>
                  <a:lnTo>
                    <a:pt x="688" y="362"/>
                  </a:lnTo>
                  <a:lnTo>
                    <a:pt x="688" y="362"/>
                  </a:lnTo>
                  <a:lnTo>
                    <a:pt x="685" y="359"/>
                  </a:lnTo>
                  <a:lnTo>
                    <a:pt x="681" y="359"/>
                  </a:lnTo>
                  <a:lnTo>
                    <a:pt x="678" y="362"/>
                  </a:lnTo>
                  <a:lnTo>
                    <a:pt x="681" y="362"/>
                  </a:lnTo>
                  <a:lnTo>
                    <a:pt x="681" y="362"/>
                  </a:lnTo>
                  <a:lnTo>
                    <a:pt x="678" y="362"/>
                  </a:lnTo>
                  <a:lnTo>
                    <a:pt x="678" y="362"/>
                  </a:lnTo>
                  <a:lnTo>
                    <a:pt x="674" y="362"/>
                  </a:lnTo>
                  <a:lnTo>
                    <a:pt x="671" y="362"/>
                  </a:lnTo>
                  <a:lnTo>
                    <a:pt x="671" y="365"/>
                  </a:lnTo>
                  <a:lnTo>
                    <a:pt x="674" y="365"/>
                  </a:lnTo>
                  <a:lnTo>
                    <a:pt x="678" y="365"/>
                  </a:lnTo>
                  <a:lnTo>
                    <a:pt x="678" y="365"/>
                  </a:lnTo>
                  <a:lnTo>
                    <a:pt x="678" y="365"/>
                  </a:lnTo>
                  <a:lnTo>
                    <a:pt x="674" y="369"/>
                  </a:lnTo>
                  <a:lnTo>
                    <a:pt x="671" y="372"/>
                  </a:lnTo>
                  <a:lnTo>
                    <a:pt x="668" y="372"/>
                  </a:lnTo>
                  <a:lnTo>
                    <a:pt x="668" y="372"/>
                  </a:lnTo>
                  <a:lnTo>
                    <a:pt x="664" y="372"/>
                  </a:lnTo>
                  <a:lnTo>
                    <a:pt x="664" y="369"/>
                  </a:lnTo>
                  <a:lnTo>
                    <a:pt x="664" y="369"/>
                  </a:lnTo>
                  <a:lnTo>
                    <a:pt x="661" y="369"/>
                  </a:lnTo>
                  <a:lnTo>
                    <a:pt x="661" y="372"/>
                  </a:lnTo>
                  <a:lnTo>
                    <a:pt x="664" y="372"/>
                  </a:lnTo>
                  <a:lnTo>
                    <a:pt x="661" y="375"/>
                  </a:lnTo>
                  <a:lnTo>
                    <a:pt x="664" y="375"/>
                  </a:lnTo>
                  <a:lnTo>
                    <a:pt x="664" y="378"/>
                  </a:lnTo>
                  <a:lnTo>
                    <a:pt x="661" y="378"/>
                  </a:lnTo>
                  <a:lnTo>
                    <a:pt x="664" y="382"/>
                  </a:lnTo>
                  <a:lnTo>
                    <a:pt x="664" y="382"/>
                  </a:lnTo>
                  <a:lnTo>
                    <a:pt x="661" y="382"/>
                  </a:lnTo>
                  <a:lnTo>
                    <a:pt x="657" y="382"/>
                  </a:lnTo>
                  <a:lnTo>
                    <a:pt x="657" y="382"/>
                  </a:lnTo>
                  <a:lnTo>
                    <a:pt x="654" y="382"/>
                  </a:lnTo>
                  <a:lnTo>
                    <a:pt x="657" y="385"/>
                  </a:lnTo>
                  <a:lnTo>
                    <a:pt x="661" y="385"/>
                  </a:lnTo>
                  <a:lnTo>
                    <a:pt x="664" y="385"/>
                  </a:lnTo>
                  <a:lnTo>
                    <a:pt x="664" y="385"/>
                  </a:lnTo>
                  <a:lnTo>
                    <a:pt x="664" y="388"/>
                  </a:lnTo>
                  <a:lnTo>
                    <a:pt x="664" y="391"/>
                  </a:lnTo>
                  <a:lnTo>
                    <a:pt x="664" y="391"/>
                  </a:lnTo>
                  <a:lnTo>
                    <a:pt x="668" y="388"/>
                  </a:lnTo>
                  <a:lnTo>
                    <a:pt x="671" y="388"/>
                  </a:lnTo>
                  <a:lnTo>
                    <a:pt x="674" y="388"/>
                  </a:lnTo>
                  <a:lnTo>
                    <a:pt x="674" y="391"/>
                  </a:lnTo>
                  <a:lnTo>
                    <a:pt x="681" y="391"/>
                  </a:lnTo>
                  <a:lnTo>
                    <a:pt x="681" y="391"/>
                  </a:lnTo>
                  <a:lnTo>
                    <a:pt x="685" y="391"/>
                  </a:lnTo>
                  <a:lnTo>
                    <a:pt x="685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5"/>
                  </a:lnTo>
                  <a:lnTo>
                    <a:pt x="688" y="398"/>
                  </a:lnTo>
                  <a:lnTo>
                    <a:pt x="688" y="398"/>
                  </a:lnTo>
                  <a:lnTo>
                    <a:pt x="685" y="398"/>
                  </a:lnTo>
                  <a:lnTo>
                    <a:pt x="685" y="398"/>
                  </a:lnTo>
                  <a:lnTo>
                    <a:pt x="681" y="398"/>
                  </a:lnTo>
                  <a:lnTo>
                    <a:pt x="678" y="398"/>
                  </a:lnTo>
                  <a:lnTo>
                    <a:pt x="678" y="398"/>
                  </a:lnTo>
                  <a:lnTo>
                    <a:pt x="674" y="398"/>
                  </a:lnTo>
                  <a:lnTo>
                    <a:pt x="671" y="398"/>
                  </a:lnTo>
                  <a:lnTo>
                    <a:pt x="668" y="398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401"/>
                  </a:lnTo>
                  <a:lnTo>
                    <a:pt x="664" y="401"/>
                  </a:lnTo>
                  <a:lnTo>
                    <a:pt x="668" y="401"/>
                  </a:lnTo>
                  <a:lnTo>
                    <a:pt x="668" y="401"/>
                  </a:lnTo>
                  <a:lnTo>
                    <a:pt x="674" y="401"/>
                  </a:lnTo>
                  <a:lnTo>
                    <a:pt x="678" y="401"/>
                  </a:lnTo>
                  <a:lnTo>
                    <a:pt x="681" y="404"/>
                  </a:lnTo>
                  <a:lnTo>
                    <a:pt x="681" y="404"/>
                  </a:lnTo>
                  <a:lnTo>
                    <a:pt x="685" y="404"/>
                  </a:lnTo>
                  <a:lnTo>
                    <a:pt x="688" y="407"/>
                  </a:lnTo>
                  <a:lnTo>
                    <a:pt x="688" y="407"/>
                  </a:lnTo>
                  <a:lnTo>
                    <a:pt x="692" y="411"/>
                  </a:lnTo>
                  <a:lnTo>
                    <a:pt x="692" y="414"/>
                  </a:lnTo>
                  <a:lnTo>
                    <a:pt x="692" y="414"/>
                  </a:lnTo>
                  <a:lnTo>
                    <a:pt x="688" y="414"/>
                  </a:lnTo>
                  <a:lnTo>
                    <a:pt x="688" y="411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17"/>
                  </a:lnTo>
                  <a:lnTo>
                    <a:pt x="688" y="420"/>
                  </a:lnTo>
                  <a:lnTo>
                    <a:pt x="688" y="424"/>
                  </a:lnTo>
                  <a:lnTo>
                    <a:pt x="688" y="424"/>
                  </a:lnTo>
                  <a:lnTo>
                    <a:pt x="688" y="427"/>
                  </a:lnTo>
                  <a:lnTo>
                    <a:pt x="688" y="430"/>
                  </a:lnTo>
                  <a:lnTo>
                    <a:pt x="685" y="433"/>
                  </a:lnTo>
                  <a:lnTo>
                    <a:pt x="685" y="437"/>
                  </a:lnTo>
                  <a:lnTo>
                    <a:pt x="681" y="437"/>
                  </a:lnTo>
                  <a:lnTo>
                    <a:pt x="678" y="433"/>
                  </a:lnTo>
                  <a:lnTo>
                    <a:pt x="678" y="433"/>
                  </a:lnTo>
                  <a:lnTo>
                    <a:pt x="681" y="430"/>
                  </a:lnTo>
                  <a:lnTo>
                    <a:pt x="678" y="430"/>
                  </a:lnTo>
                  <a:lnTo>
                    <a:pt x="678" y="427"/>
                  </a:lnTo>
                  <a:lnTo>
                    <a:pt x="674" y="430"/>
                  </a:lnTo>
                  <a:lnTo>
                    <a:pt x="674" y="430"/>
                  </a:lnTo>
                  <a:lnTo>
                    <a:pt x="671" y="424"/>
                  </a:lnTo>
                  <a:lnTo>
                    <a:pt x="664" y="424"/>
                  </a:lnTo>
                  <a:lnTo>
                    <a:pt x="664" y="420"/>
                  </a:lnTo>
                  <a:lnTo>
                    <a:pt x="661" y="417"/>
                  </a:lnTo>
                  <a:lnTo>
                    <a:pt x="661" y="414"/>
                  </a:lnTo>
                  <a:lnTo>
                    <a:pt x="657" y="411"/>
                  </a:lnTo>
                  <a:lnTo>
                    <a:pt x="654" y="411"/>
                  </a:lnTo>
                  <a:lnTo>
                    <a:pt x="654" y="411"/>
                  </a:lnTo>
                  <a:lnTo>
                    <a:pt x="654" y="411"/>
                  </a:lnTo>
                  <a:lnTo>
                    <a:pt x="654" y="414"/>
                  </a:lnTo>
                  <a:lnTo>
                    <a:pt x="657" y="414"/>
                  </a:lnTo>
                  <a:lnTo>
                    <a:pt x="657" y="417"/>
                  </a:lnTo>
                  <a:lnTo>
                    <a:pt x="657" y="417"/>
                  </a:lnTo>
                  <a:lnTo>
                    <a:pt x="654" y="417"/>
                  </a:lnTo>
                  <a:lnTo>
                    <a:pt x="650" y="417"/>
                  </a:lnTo>
                  <a:lnTo>
                    <a:pt x="647" y="414"/>
                  </a:lnTo>
                  <a:lnTo>
                    <a:pt x="647" y="411"/>
                  </a:lnTo>
                  <a:lnTo>
                    <a:pt x="647" y="414"/>
                  </a:lnTo>
                  <a:lnTo>
                    <a:pt x="647" y="417"/>
                  </a:lnTo>
                  <a:lnTo>
                    <a:pt x="650" y="417"/>
                  </a:lnTo>
                  <a:lnTo>
                    <a:pt x="657" y="420"/>
                  </a:lnTo>
                  <a:lnTo>
                    <a:pt x="661" y="420"/>
                  </a:lnTo>
                  <a:lnTo>
                    <a:pt x="664" y="424"/>
                  </a:lnTo>
                  <a:lnTo>
                    <a:pt x="671" y="430"/>
                  </a:lnTo>
                  <a:lnTo>
                    <a:pt x="674" y="433"/>
                  </a:lnTo>
                  <a:lnTo>
                    <a:pt x="671" y="433"/>
                  </a:lnTo>
                  <a:lnTo>
                    <a:pt x="671" y="433"/>
                  </a:lnTo>
                  <a:lnTo>
                    <a:pt x="668" y="433"/>
                  </a:lnTo>
                  <a:lnTo>
                    <a:pt x="664" y="433"/>
                  </a:lnTo>
                  <a:lnTo>
                    <a:pt x="664" y="433"/>
                  </a:lnTo>
                  <a:lnTo>
                    <a:pt x="661" y="437"/>
                  </a:lnTo>
                  <a:lnTo>
                    <a:pt x="657" y="437"/>
                  </a:lnTo>
                  <a:lnTo>
                    <a:pt x="654" y="437"/>
                  </a:lnTo>
                  <a:lnTo>
                    <a:pt x="654" y="433"/>
                  </a:lnTo>
                  <a:lnTo>
                    <a:pt x="654" y="433"/>
                  </a:lnTo>
                  <a:lnTo>
                    <a:pt x="654" y="430"/>
                  </a:lnTo>
                  <a:lnTo>
                    <a:pt x="650" y="430"/>
                  </a:lnTo>
                  <a:lnTo>
                    <a:pt x="650" y="430"/>
                  </a:lnTo>
                  <a:lnTo>
                    <a:pt x="650" y="433"/>
                  </a:lnTo>
                  <a:lnTo>
                    <a:pt x="654" y="437"/>
                  </a:lnTo>
                  <a:lnTo>
                    <a:pt x="654" y="437"/>
                  </a:lnTo>
                  <a:lnTo>
                    <a:pt x="657" y="440"/>
                  </a:lnTo>
                  <a:lnTo>
                    <a:pt x="661" y="437"/>
                  </a:lnTo>
                  <a:lnTo>
                    <a:pt x="664" y="433"/>
                  </a:lnTo>
                  <a:lnTo>
                    <a:pt x="668" y="433"/>
                  </a:lnTo>
                  <a:lnTo>
                    <a:pt x="671" y="437"/>
                  </a:lnTo>
                  <a:lnTo>
                    <a:pt x="671" y="440"/>
                  </a:lnTo>
                  <a:lnTo>
                    <a:pt x="671" y="440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4" y="446"/>
                  </a:lnTo>
                  <a:lnTo>
                    <a:pt x="664" y="449"/>
                  </a:lnTo>
                  <a:lnTo>
                    <a:pt x="668" y="449"/>
                  </a:lnTo>
                  <a:lnTo>
                    <a:pt x="668" y="449"/>
                  </a:lnTo>
                  <a:lnTo>
                    <a:pt x="674" y="449"/>
                  </a:lnTo>
                  <a:lnTo>
                    <a:pt x="674" y="453"/>
                  </a:lnTo>
                  <a:lnTo>
                    <a:pt x="681" y="453"/>
                  </a:lnTo>
                  <a:lnTo>
                    <a:pt x="681" y="453"/>
                  </a:lnTo>
                  <a:lnTo>
                    <a:pt x="685" y="453"/>
                  </a:lnTo>
                  <a:lnTo>
                    <a:pt x="688" y="453"/>
                  </a:lnTo>
                  <a:lnTo>
                    <a:pt x="688" y="453"/>
                  </a:lnTo>
                  <a:lnTo>
                    <a:pt x="688" y="456"/>
                  </a:lnTo>
                  <a:lnTo>
                    <a:pt x="688" y="459"/>
                  </a:lnTo>
                  <a:lnTo>
                    <a:pt x="688" y="459"/>
                  </a:lnTo>
                  <a:lnTo>
                    <a:pt x="688" y="462"/>
                  </a:lnTo>
                  <a:lnTo>
                    <a:pt x="685" y="466"/>
                  </a:lnTo>
                  <a:lnTo>
                    <a:pt x="681" y="469"/>
                  </a:lnTo>
                  <a:lnTo>
                    <a:pt x="678" y="469"/>
                  </a:lnTo>
                  <a:lnTo>
                    <a:pt x="678" y="466"/>
                  </a:lnTo>
                  <a:lnTo>
                    <a:pt x="674" y="466"/>
                  </a:lnTo>
                  <a:lnTo>
                    <a:pt x="674" y="462"/>
                  </a:lnTo>
                  <a:lnTo>
                    <a:pt x="674" y="459"/>
                  </a:lnTo>
                  <a:lnTo>
                    <a:pt x="671" y="456"/>
                  </a:lnTo>
                  <a:lnTo>
                    <a:pt x="668" y="456"/>
                  </a:lnTo>
                  <a:lnTo>
                    <a:pt x="664" y="456"/>
                  </a:lnTo>
                  <a:lnTo>
                    <a:pt x="661" y="456"/>
                  </a:lnTo>
                  <a:lnTo>
                    <a:pt x="657" y="456"/>
                  </a:lnTo>
                  <a:lnTo>
                    <a:pt x="657" y="456"/>
                  </a:lnTo>
                  <a:lnTo>
                    <a:pt x="654" y="456"/>
                  </a:lnTo>
                  <a:lnTo>
                    <a:pt x="654" y="453"/>
                  </a:lnTo>
                  <a:lnTo>
                    <a:pt x="650" y="449"/>
                  </a:lnTo>
                  <a:lnTo>
                    <a:pt x="650" y="449"/>
                  </a:lnTo>
                  <a:lnTo>
                    <a:pt x="650" y="453"/>
                  </a:lnTo>
                  <a:lnTo>
                    <a:pt x="650" y="453"/>
                  </a:lnTo>
                  <a:lnTo>
                    <a:pt x="650" y="459"/>
                  </a:lnTo>
                  <a:lnTo>
                    <a:pt x="650" y="459"/>
                  </a:lnTo>
                  <a:lnTo>
                    <a:pt x="647" y="462"/>
                  </a:lnTo>
                  <a:lnTo>
                    <a:pt x="643" y="462"/>
                  </a:lnTo>
                  <a:lnTo>
                    <a:pt x="643" y="462"/>
                  </a:lnTo>
                  <a:lnTo>
                    <a:pt x="647" y="462"/>
                  </a:lnTo>
                  <a:lnTo>
                    <a:pt x="647" y="462"/>
                  </a:lnTo>
                  <a:lnTo>
                    <a:pt x="647" y="466"/>
                  </a:lnTo>
                  <a:lnTo>
                    <a:pt x="643" y="469"/>
                  </a:lnTo>
                  <a:lnTo>
                    <a:pt x="643" y="469"/>
                  </a:lnTo>
                  <a:lnTo>
                    <a:pt x="640" y="472"/>
                  </a:lnTo>
                  <a:lnTo>
                    <a:pt x="643" y="472"/>
                  </a:lnTo>
                  <a:lnTo>
                    <a:pt x="643" y="472"/>
                  </a:lnTo>
                  <a:lnTo>
                    <a:pt x="647" y="475"/>
                  </a:lnTo>
                  <a:lnTo>
                    <a:pt x="647" y="479"/>
                  </a:lnTo>
                  <a:lnTo>
                    <a:pt x="647" y="482"/>
                  </a:lnTo>
                  <a:lnTo>
                    <a:pt x="647" y="485"/>
                  </a:lnTo>
                  <a:lnTo>
                    <a:pt x="647" y="485"/>
                  </a:lnTo>
                  <a:lnTo>
                    <a:pt x="650" y="482"/>
                  </a:lnTo>
                  <a:lnTo>
                    <a:pt x="650" y="482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75"/>
                  </a:lnTo>
                  <a:lnTo>
                    <a:pt x="650" y="472"/>
                  </a:lnTo>
                  <a:lnTo>
                    <a:pt x="650" y="472"/>
                  </a:lnTo>
                  <a:lnTo>
                    <a:pt x="654" y="475"/>
                  </a:lnTo>
                  <a:lnTo>
                    <a:pt x="654" y="475"/>
                  </a:lnTo>
                  <a:lnTo>
                    <a:pt x="657" y="479"/>
                  </a:lnTo>
                  <a:lnTo>
                    <a:pt x="657" y="479"/>
                  </a:lnTo>
                  <a:lnTo>
                    <a:pt x="661" y="479"/>
                  </a:lnTo>
                  <a:lnTo>
                    <a:pt x="661" y="479"/>
                  </a:lnTo>
                  <a:lnTo>
                    <a:pt x="664" y="479"/>
                  </a:lnTo>
                  <a:lnTo>
                    <a:pt x="664" y="479"/>
                  </a:lnTo>
                  <a:lnTo>
                    <a:pt x="668" y="479"/>
                  </a:lnTo>
                  <a:lnTo>
                    <a:pt x="671" y="479"/>
                  </a:lnTo>
                  <a:lnTo>
                    <a:pt x="671" y="479"/>
                  </a:lnTo>
                  <a:lnTo>
                    <a:pt x="671" y="482"/>
                  </a:lnTo>
                  <a:lnTo>
                    <a:pt x="668" y="485"/>
                  </a:lnTo>
                  <a:lnTo>
                    <a:pt x="668" y="488"/>
                  </a:lnTo>
                  <a:lnTo>
                    <a:pt x="668" y="491"/>
                  </a:lnTo>
                  <a:lnTo>
                    <a:pt x="664" y="495"/>
                  </a:lnTo>
                  <a:lnTo>
                    <a:pt x="664" y="495"/>
                  </a:lnTo>
                  <a:lnTo>
                    <a:pt x="661" y="495"/>
                  </a:lnTo>
                  <a:lnTo>
                    <a:pt x="657" y="498"/>
                  </a:lnTo>
                  <a:lnTo>
                    <a:pt x="654" y="495"/>
                  </a:lnTo>
                  <a:lnTo>
                    <a:pt x="654" y="495"/>
                  </a:lnTo>
                  <a:lnTo>
                    <a:pt x="650" y="495"/>
                  </a:lnTo>
                  <a:lnTo>
                    <a:pt x="647" y="498"/>
                  </a:lnTo>
                  <a:lnTo>
                    <a:pt x="647" y="498"/>
                  </a:lnTo>
                  <a:lnTo>
                    <a:pt x="647" y="501"/>
                  </a:lnTo>
                  <a:lnTo>
                    <a:pt x="643" y="501"/>
                  </a:lnTo>
                  <a:lnTo>
                    <a:pt x="643" y="501"/>
                  </a:lnTo>
                  <a:lnTo>
                    <a:pt x="640" y="501"/>
                  </a:lnTo>
                  <a:lnTo>
                    <a:pt x="640" y="504"/>
                  </a:lnTo>
                  <a:lnTo>
                    <a:pt x="637" y="504"/>
                  </a:lnTo>
                  <a:lnTo>
                    <a:pt x="637" y="504"/>
                  </a:lnTo>
                  <a:lnTo>
                    <a:pt x="633" y="501"/>
                  </a:lnTo>
                  <a:lnTo>
                    <a:pt x="626" y="498"/>
                  </a:lnTo>
                  <a:lnTo>
                    <a:pt x="623" y="495"/>
                  </a:lnTo>
                  <a:lnTo>
                    <a:pt x="616" y="491"/>
                  </a:lnTo>
                  <a:lnTo>
                    <a:pt x="616" y="488"/>
                  </a:lnTo>
                  <a:lnTo>
                    <a:pt x="616" y="485"/>
                  </a:lnTo>
                  <a:lnTo>
                    <a:pt x="616" y="485"/>
                  </a:lnTo>
                  <a:lnTo>
                    <a:pt x="619" y="485"/>
                  </a:lnTo>
                  <a:lnTo>
                    <a:pt x="619" y="485"/>
                  </a:lnTo>
                  <a:lnTo>
                    <a:pt x="623" y="485"/>
                  </a:lnTo>
                  <a:lnTo>
                    <a:pt x="626" y="488"/>
                  </a:lnTo>
                  <a:lnTo>
                    <a:pt x="633" y="491"/>
                  </a:lnTo>
                  <a:lnTo>
                    <a:pt x="633" y="491"/>
                  </a:lnTo>
                  <a:lnTo>
                    <a:pt x="637" y="491"/>
                  </a:lnTo>
                  <a:lnTo>
                    <a:pt x="637" y="488"/>
                  </a:lnTo>
                  <a:lnTo>
                    <a:pt x="637" y="488"/>
                  </a:lnTo>
                  <a:lnTo>
                    <a:pt x="637" y="488"/>
                  </a:lnTo>
                  <a:lnTo>
                    <a:pt x="633" y="488"/>
                  </a:lnTo>
                  <a:lnTo>
                    <a:pt x="630" y="488"/>
                  </a:lnTo>
                  <a:lnTo>
                    <a:pt x="623" y="485"/>
                  </a:lnTo>
                  <a:lnTo>
                    <a:pt x="619" y="482"/>
                  </a:lnTo>
                  <a:lnTo>
                    <a:pt x="616" y="482"/>
                  </a:lnTo>
                  <a:lnTo>
                    <a:pt x="616" y="482"/>
                  </a:lnTo>
                  <a:lnTo>
                    <a:pt x="616" y="479"/>
                  </a:lnTo>
                  <a:lnTo>
                    <a:pt x="612" y="479"/>
                  </a:lnTo>
                  <a:lnTo>
                    <a:pt x="612" y="479"/>
                  </a:lnTo>
                  <a:lnTo>
                    <a:pt x="609" y="482"/>
                  </a:lnTo>
                  <a:lnTo>
                    <a:pt x="609" y="482"/>
                  </a:lnTo>
                  <a:lnTo>
                    <a:pt x="609" y="488"/>
                  </a:lnTo>
                  <a:lnTo>
                    <a:pt x="609" y="491"/>
                  </a:lnTo>
                  <a:lnTo>
                    <a:pt x="609" y="491"/>
                  </a:lnTo>
                  <a:lnTo>
                    <a:pt x="609" y="491"/>
                  </a:lnTo>
                  <a:lnTo>
                    <a:pt x="602" y="485"/>
                  </a:lnTo>
                  <a:lnTo>
                    <a:pt x="599" y="479"/>
                  </a:lnTo>
                  <a:lnTo>
                    <a:pt x="595" y="479"/>
                  </a:lnTo>
                  <a:lnTo>
                    <a:pt x="595" y="475"/>
                  </a:lnTo>
                  <a:lnTo>
                    <a:pt x="595" y="475"/>
                  </a:lnTo>
                  <a:lnTo>
                    <a:pt x="592" y="475"/>
                  </a:lnTo>
                  <a:lnTo>
                    <a:pt x="592" y="475"/>
                  </a:lnTo>
                  <a:lnTo>
                    <a:pt x="592" y="475"/>
                  </a:lnTo>
                  <a:lnTo>
                    <a:pt x="595" y="479"/>
                  </a:lnTo>
                  <a:lnTo>
                    <a:pt x="599" y="485"/>
                  </a:lnTo>
                  <a:lnTo>
                    <a:pt x="602" y="485"/>
                  </a:lnTo>
                  <a:lnTo>
                    <a:pt x="602" y="488"/>
                  </a:lnTo>
                  <a:lnTo>
                    <a:pt x="606" y="488"/>
                  </a:lnTo>
                  <a:lnTo>
                    <a:pt x="602" y="491"/>
                  </a:lnTo>
                  <a:lnTo>
                    <a:pt x="602" y="491"/>
                  </a:lnTo>
                  <a:lnTo>
                    <a:pt x="599" y="491"/>
                  </a:lnTo>
                  <a:lnTo>
                    <a:pt x="595" y="495"/>
                  </a:lnTo>
                  <a:lnTo>
                    <a:pt x="595" y="495"/>
                  </a:lnTo>
                  <a:lnTo>
                    <a:pt x="592" y="498"/>
                  </a:lnTo>
                  <a:lnTo>
                    <a:pt x="588" y="498"/>
                  </a:lnTo>
                  <a:lnTo>
                    <a:pt x="585" y="498"/>
                  </a:lnTo>
                  <a:lnTo>
                    <a:pt x="585" y="498"/>
                  </a:lnTo>
                  <a:lnTo>
                    <a:pt x="582" y="498"/>
                  </a:lnTo>
                  <a:lnTo>
                    <a:pt x="578" y="495"/>
                  </a:lnTo>
                  <a:lnTo>
                    <a:pt x="578" y="495"/>
                  </a:lnTo>
                  <a:lnTo>
                    <a:pt x="578" y="495"/>
                  </a:lnTo>
                  <a:lnTo>
                    <a:pt x="571" y="491"/>
                  </a:lnTo>
                  <a:lnTo>
                    <a:pt x="571" y="491"/>
                  </a:lnTo>
                  <a:lnTo>
                    <a:pt x="571" y="488"/>
                  </a:lnTo>
                  <a:lnTo>
                    <a:pt x="571" y="488"/>
                  </a:lnTo>
                  <a:lnTo>
                    <a:pt x="568" y="485"/>
                  </a:lnTo>
                  <a:lnTo>
                    <a:pt x="568" y="488"/>
                  </a:lnTo>
                  <a:lnTo>
                    <a:pt x="568" y="488"/>
                  </a:lnTo>
                  <a:lnTo>
                    <a:pt x="568" y="491"/>
                  </a:lnTo>
                  <a:lnTo>
                    <a:pt x="571" y="491"/>
                  </a:lnTo>
                  <a:lnTo>
                    <a:pt x="575" y="495"/>
                  </a:lnTo>
                  <a:lnTo>
                    <a:pt x="578" y="498"/>
                  </a:lnTo>
                  <a:lnTo>
                    <a:pt x="578" y="501"/>
                  </a:lnTo>
                  <a:lnTo>
                    <a:pt x="575" y="501"/>
                  </a:lnTo>
                  <a:lnTo>
                    <a:pt x="571" y="501"/>
                  </a:lnTo>
                  <a:lnTo>
                    <a:pt x="564" y="501"/>
                  </a:lnTo>
                  <a:lnTo>
                    <a:pt x="561" y="501"/>
                  </a:lnTo>
                  <a:lnTo>
                    <a:pt x="561" y="501"/>
                  </a:lnTo>
                  <a:lnTo>
                    <a:pt x="561" y="504"/>
                  </a:lnTo>
                  <a:lnTo>
                    <a:pt x="561" y="504"/>
                  </a:lnTo>
                  <a:lnTo>
                    <a:pt x="564" y="504"/>
                  </a:lnTo>
                  <a:lnTo>
                    <a:pt x="564" y="508"/>
                  </a:lnTo>
                  <a:lnTo>
                    <a:pt x="568" y="504"/>
                  </a:lnTo>
                  <a:lnTo>
                    <a:pt x="568" y="504"/>
                  </a:lnTo>
                  <a:lnTo>
                    <a:pt x="571" y="501"/>
                  </a:lnTo>
                  <a:lnTo>
                    <a:pt x="571" y="501"/>
                  </a:lnTo>
                  <a:lnTo>
                    <a:pt x="575" y="504"/>
                  </a:lnTo>
                  <a:lnTo>
                    <a:pt x="575" y="504"/>
                  </a:lnTo>
                  <a:lnTo>
                    <a:pt x="575" y="504"/>
                  </a:lnTo>
                  <a:lnTo>
                    <a:pt x="578" y="504"/>
                  </a:lnTo>
                  <a:lnTo>
                    <a:pt x="578" y="501"/>
                  </a:lnTo>
                  <a:lnTo>
                    <a:pt x="582" y="501"/>
                  </a:lnTo>
                  <a:lnTo>
                    <a:pt x="585" y="501"/>
                  </a:lnTo>
                  <a:lnTo>
                    <a:pt x="588" y="501"/>
                  </a:lnTo>
                  <a:lnTo>
                    <a:pt x="588" y="501"/>
                  </a:lnTo>
                  <a:lnTo>
                    <a:pt x="592" y="504"/>
                  </a:lnTo>
                  <a:lnTo>
                    <a:pt x="595" y="504"/>
                  </a:lnTo>
                  <a:lnTo>
                    <a:pt x="599" y="504"/>
                  </a:lnTo>
                  <a:lnTo>
                    <a:pt x="599" y="508"/>
                  </a:lnTo>
                  <a:lnTo>
                    <a:pt x="599" y="511"/>
                  </a:lnTo>
                  <a:lnTo>
                    <a:pt x="595" y="511"/>
                  </a:lnTo>
                  <a:lnTo>
                    <a:pt x="595" y="511"/>
                  </a:lnTo>
                  <a:lnTo>
                    <a:pt x="592" y="511"/>
                  </a:lnTo>
                  <a:lnTo>
                    <a:pt x="588" y="511"/>
                  </a:lnTo>
                  <a:lnTo>
                    <a:pt x="585" y="514"/>
                  </a:lnTo>
                  <a:lnTo>
                    <a:pt x="585" y="514"/>
                  </a:lnTo>
                  <a:lnTo>
                    <a:pt x="582" y="514"/>
                  </a:lnTo>
                  <a:lnTo>
                    <a:pt x="578" y="511"/>
                  </a:lnTo>
                  <a:lnTo>
                    <a:pt x="575" y="511"/>
                  </a:lnTo>
                  <a:lnTo>
                    <a:pt x="575" y="511"/>
                  </a:lnTo>
                  <a:lnTo>
                    <a:pt x="571" y="514"/>
                  </a:lnTo>
                  <a:lnTo>
                    <a:pt x="568" y="514"/>
                  </a:lnTo>
                  <a:lnTo>
                    <a:pt x="568" y="511"/>
                  </a:lnTo>
                  <a:lnTo>
                    <a:pt x="568" y="514"/>
                  </a:lnTo>
                  <a:lnTo>
                    <a:pt x="568" y="514"/>
                  </a:lnTo>
                  <a:lnTo>
                    <a:pt x="568" y="514"/>
                  </a:lnTo>
                  <a:lnTo>
                    <a:pt x="571" y="514"/>
                  </a:lnTo>
                  <a:lnTo>
                    <a:pt x="575" y="514"/>
                  </a:lnTo>
                  <a:lnTo>
                    <a:pt x="575" y="514"/>
                  </a:lnTo>
                  <a:lnTo>
                    <a:pt x="578" y="514"/>
                  </a:lnTo>
                  <a:lnTo>
                    <a:pt x="575" y="517"/>
                  </a:lnTo>
                  <a:lnTo>
                    <a:pt x="571" y="517"/>
                  </a:lnTo>
                  <a:lnTo>
                    <a:pt x="568" y="517"/>
                  </a:lnTo>
                  <a:lnTo>
                    <a:pt x="568" y="521"/>
                  </a:lnTo>
                  <a:lnTo>
                    <a:pt x="571" y="521"/>
                  </a:lnTo>
                  <a:lnTo>
                    <a:pt x="571" y="517"/>
                  </a:lnTo>
                  <a:lnTo>
                    <a:pt x="575" y="517"/>
                  </a:lnTo>
                  <a:lnTo>
                    <a:pt x="578" y="517"/>
                  </a:lnTo>
                  <a:lnTo>
                    <a:pt x="578" y="517"/>
                  </a:lnTo>
                  <a:lnTo>
                    <a:pt x="578" y="521"/>
                  </a:lnTo>
                  <a:lnTo>
                    <a:pt x="578" y="521"/>
                  </a:lnTo>
                  <a:lnTo>
                    <a:pt x="582" y="517"/>
                  </a:lnTo>
                  <a:lnTo>
                    <a:pt x="585" y="517"/>
                  </a:lnTo>
                  <a:lnTo>
                    <a:pt x="585" y="517"/>
                  </a:lnTo>
                  <a:lnTo>
                    <a:pt x="588" y="514"/>
                  </a:lnTo>
                  <a:lnTo>
                    <a:pt x="592" y="514"/>
                  </a:lnTo>
                  <a:lnTo>
                    <a:pt x="592" y="517"/>
                  </a:lnTo>
                  <a:lnTo>
                    <a:pt x="595" y="521"/>
                  </a:lnTo>
                  <a:lnTo>
                    <a:pt x="599" y="521"/>
                  </a:lnTo>
                  <a:lnTo>
                    <a:pt x="599" y="521"/>
                  </a:lnTo>
                  <a:lnTo>
                    <a:pt x="599" y="521"/>
                  </a:lnTo>
                  <a:lnTo>
                    <a:pt x="599" y="527"/>
                  </a:lnTo>
                  <a:lnTo>
                    <a:pt x="599" y="530"/>
                  </a:lnTo>
                  <a:lnTo>
                    <a:pt x="592" y="530"/>
                  </a:lnTo>
                  <a:lnTo>
                    <a:pt x="592" y="530"/>
                  </a:lnTo>
                  <a:lnTo>
                    <a:pt x="588" y="527"/>
                  </a:lnTo>
                  <a:lnTo>
                    <a:pt x="582" y="527"/>
                  </a:lnTo>
                  <a:lnTo>
                    <a:pt x="578" y="527"/>
                  </a:lnTo>
                  <a:lnTo>
                    <a:pt x="578" y="530"/>
                  </a:lnTo>
                  <a:lnTo>
                    <a:pt x="578" y="530"/>
                  </a:lnTo>
                  <a:lnTo>
                    <a:pt x="582" y="530"/>
                  </a:lnTo>
                  <a:lnTo>
                    <a:pt x="585" y="530"/>
                  </a:lnTo>
                  <a:lnTo>
                    <a:pt x="592" y="530"/>
                  </a:lnTo>
                  <a:lnTo>
                    <a:pt x="592" y="533"/>
                  </a:lnTo>
                  <a:lnTo>
                    <a:pt x="592" y="533"/>
                  </a:lnTo>
                  <a:lnTo>
                    <a:pt x="595" y="530"/>
                  </a:lnTo>
                  <a:lnTo>
                    <a:pt x="599" y="530"/>
                  </a:lnTo>
                  <a:lnTo>
                    <a:pt x="602" y="530"/>
                  </a:lnTo>
                  <a:lnTo>
                    <a:pt x="606" y="533"/>
                  </a:lnTo>
                  <a:lnTo>
                    <a:pt x="606" y="533"/>
                  </a:lnTo>
                  <a:lnTo>
                    <a:pt x="612" y="537"/>
                  </a:lnTo>
                  <a:lnTo>
                    <a:pt x="612" y="540"/>
                  </a:lnTo>
                  <a:lnTo>
                    <a:pt x="612" y="540"/>
                  </a:lnTo>
                  <a:lnTo>
                    <a:pt x="616" y="540"/>
                  </a:lnTo>
                  <a:lnTo>
                    <a:pt x="616" y="540"/>
                  </a:lnTo>
                  <a:lnTo>
                    <a:pt x="616" y="540"/>
                  </a:lnTo>
                  <a:lnTo>
                    <a:pt x="619" y="543"/>
                  </a:lnTo>
                  <a:lnTo>
                    <a:pt x="623" y="543"/>
                  </a:lnTo>
                  <a:lnTo>
                    <a:pt x="623" y="546"/>
                  </a:lnTo>
                  <a:lnTo>
                    <a:pt x="626" y="546"/>
                  </a:lnTo>
                  <a:lnTo>
                    <a:pt x="626" y="546"/>
                  </a:lnTo>
                  <a:lnTo>
                    <a:pt x="626" y="550"/>
                  </a:lnTo>
                  <a:lnTo>
                    <a:pt x="630" y="550"/>
                  </a:lnTo>
                  <a:lnTo>
                    <a:pt x="630" y="553"/>
                  </a:lnTo>
                  <a:lnTo>
                    <a:pt x="626" y="556"/>
                  </a:lnTo>
                  <a:lnTo>
                    <a:pt x="626" y="556"/>
                  </a:lnTo>
                  <a:lnTo>
                    <a:pt x="623" y="559"/>
                  </a:lnTo>
                  <a:lnTo>
                    <a:pt x="623" y="559"/>
                  </a:lnTo>
                  <a:lnTo>
                    <a:pt x="623" y="559"/>
                  </a:lnTo>
                  <a:lnTo>
                    <a:pt x="626" y="559"/>
                  </a:lnTo>
                  <a:lnTo>
                    <a:pt x="630" y="556"/>
                  </a:lnTo>
                  <a:lnTo>
                    <a:pt x="630" y="556"/>
                  </a:lnTo>
                  <a:lnTo>
                    <a:pt x="633" y="556"/>
                  </a:lnTo>
                  <a:lnTo>
                    <a:pt x="630" y="559"/>
                  </a:lnTo>
                  <a:lnTo>
                    <a:pt x="630" y="559"/>
                  </a:lnTo>
                  <a:lnTo>
                    <a:pt x="630" y="559"/>
                  </a:lnTo>
                  <a:lnTo>
                    <a:pt x="630" y="559"/>
                  </a:lnTo>
                  <a:lnTo>
                    <a:pt x="633" y="556"/>
                  </a:lnTo>
                  <a:lnTo>
                    <a:pt x="637" y="556"/>
                  </a:lnTo>
                  <a:lnTo>
                    <a:pt x="637" y="559"/>
                  </a:lnTo>
                  <a:lnTo>
                    <a:pt x="637" y="559"/>
                  </a:lnTo>
                  <a:lnTo>
                    <a:pt x="633" y="563"/>
                  </a:lnTo>
                  <a:lnTo>
                    <a:pt x="630" y="566"/>
                  </a:lnTo>
                  <a:lnTo>
                    <a:pt x="630" y="566"/>
                  </a:lnTo>
                  <a:lnTo>
                    <a:pt x="630" y="569"/>
                  </a:lnTo>
                  <a:lnTo>
                    <a:pt x="630" y="569"/>
                  </a:lnTo>
                  <a:lnTo>
                    <a:pt x="630" y="572"/>
                  </a:lnTo>
                  <a:lnTo>
                    <a:pt x="630" y="575"/>
                  </a:lnTo>
                  <a:lnTo>
                    <a:pt x="630" y="575"/>
                  </a:lnTo>
                  <a:lnTo>
                    <a:pt x="630" y="575"/>
                  </a:lnTo>
                  <a:lnTo>
                    <a:pt x="633" y="572"/>
                  </a:lnTo>
                  <a:lnTo>
                    <a:pt x="633" y="569"/>
                  </a:lnTo>
                  <a:lnTo>
                    <a:pt x="637" y="566"/>
                  </a:lnTo>
                  <a:lnTo>
                    <a:pt x="640" y="566"/>
                  </a:lnTo>
                  <a:lnTo>
                    <a:pt x="640" y="569"/>
                  </a:lnTo>
                  <a:lnTo>
                    <a:pt x="637" y="569"/>
                  </a:lnTo>
                  <a:lnTo>
                    <a:pt x="637" y="572"/>
                  </a:lnTo>
                  <a:lnTo>
                    <a:pt x="637" y="575"/>
                  </a:lnTo>
                  <a:lnTo>
                    <a:pt x="637" y="572"/>
                  </a:lnTo>
                  <a:lnTo>
                    <a:pt x="640" y="575"/>
                  </a:lnTo>
                  <a:lnTo>
                    <a:pt x="640" y="579"/>
                  </a:lnTo>
                  <a:lnTo>
                    <a:pt x="637" y="579"/>
                  </a:lnTo>
                  <a:lnTo>
                    <a:pt x="633" y="579"/>
                  </a:lnTo>
                  <a:lnTo>
                    <a:pt x="633" y="582"/>
                  </a:lnTo>
                  <a:lnTo>
                    <a:pt x="633" y="582"/>
                  </a:lnTo>
                  <a:lnTo>
                    <a:pt x="637" y="582"/>
                  </a:lnTo>
                  <a:lnTo>
                    <a:pt x="637" y="582"/>
                  </a:lnTo>
                  <a:lnTo>
                    <a:pt x="637" y="582"/>
                  </a:lnTo>
                  <a:lnTo>
                    <a:pt x="637" y="585"/>
                  </a:lnTo>
                  <a:lnTo>
                    <a:pt x="637" y="585"/>
                  </a:lnTo>
                  <a:lnTo>
                    <a:pt x="640" y="588"/>
                  </a:lnTo>
                  <a:lnTo>
                    <a:pt x="637" y="588"/>
                  </a:lnTo>
                  <a:lnTo>
                    <a:pt x="637" y="592"/>
                  </a:lnTo>
                  <a:lnTo>
                    <a:pt x="637" y="595"/>
                  </a:lnTo>
                  <a:lnTo>
                    <a:pt x="637" y="598"/>
                  </a:lnTo>
                  <a:lnTo>
                    <a:pt x="637" y="601"/>
                  </a:lnTo>
                  <a:lnTo>
                    <a:pt x="637" y="605"/>
                  </a:lnTo>
                  <a:lnTo>
                    <a:pt x="637" y="605"/>
                  </a:lnTo>
                  <a:lnTo>
                    <a:pt x="633" y="605"/>
                  </a:lnTo>
                  <a:lnTo>
                    <a:pt x="633" y="605"/>
                  </a:lnTo>
                  <a:lnTo>
                    <a:pt x="630" y="605"/>
                  </a:lnTo>
                  <a:lnTo>
                    <a:pt x="633" y="601"/>
                  </a:lnTo>
                  <a:lnTo>
                    <a:pt x="630" y="601"/>
                  </a:lnTo>
                  <a:lnTo>
                    <a:pt x="630" y="598"/>
                  </a:lnTo>
                  <a:lnTo>
                    <a:pt x="626" y="601"/>
                  </a:lnTo>
                  <a:lnTo>
                    <a:pt x="626" y="601"/>
                  </a:lnTo>
                  <a:lnTo>
                    <a:pt x="623" y="601"/>
                  </a:lnTo>
                  <a:lnTo>
                    <a:pt x="623" y="598"/>
                  </a:lnTo>
                  <a:lnTo>
                    <a:pt x="626" y="595"/>
                  </a:lnTo>
                  <a:lnTo>
                    <a:pt x="623" y="592"/>
                  </a:lnTo>
                  <a:lnTo>
                    <a:pt x="623" y="592"/>
                  </a:lnTo>
                  <a:lnTo>
                    <a:pt x="626" y="588"/>
                  </a:lnTo>
                  <a:lnTo>
                    <a:pt x="623" y="585"/>
                  </a:lnTo>
                  <a:lnTo>
                    <a:pt x="623" y="585"/>
                  </a:lnTo>
                  <a:lnTo>
                    <a:pt x="623" y="588"/>
                  </a:lnTo>
                  <a:lnTo>
                    <a:pt x="623" y="592"/>
                  </a:lnTo>
                  <a:lnTo>
                    <a:pt x="623" y="595"/>
                  </a:lnTo>
                  <a:lnTo>
                    <a:pt x="623" y="598"/>
                  </a:lnTo>
                  <a:lnTo>
                    <a:pt x="623" y="601"/>
                  </a:lnTo>
                  <a:lnTo>
                    <a:pt x="619" y="601"/>
                  </a:lnTo>
                  <a:lnTo>
                    <a:pt x="619" y="601"/>
                  </a:lnTo>
                  <a:lnTo>
                    <a:pt x="616" y="601"/>
                  </a:lnTo>
                  <a:lnTo>
                    <a:pt x="612" y="605"/>
                  </a:lnTo>
                  <a:lnTo>
                    <a:pt x="612" y="601"/>
                  </a:lnTo>
                  <a:lnTo>
                    <a:pt x="606" y="598"/>
                  </a:lnTo>
                  <a:lnTo>
                    <a:pt x="602" y="595"/>
                  </a:lnTo>
                  <a:lnTo>
                    <a:pt x="602" y="592"/>
                  </a:lnTo>
                  <a:lnTo>
                    <a:pt x="599" y="588"/>
                  </a:lnTo>
                  <a:lnTo>
                    <a:pt x="599" y="585"/>
                  </a:lnTo>
                  <a:lnTo>
                    <a:pt x="595" y="582"/>
                  </a:lnTo>
                  <a:lnTo>
                    <a:pt x="595" y="579"/>
                  </a:lnTo>
                  <a:lnTo>
                    <a:pt x="592" y="575"/>
                  </a:lnTo>
                  <a:lnTo>
                    <a:pt x="595" y="572"/>
                  </a:lnTo>
                  <a:lnTo>
                    <a:pt x="595" y="569"/>
                  </a:lnTo>
                  <a:lnTo>
                    <a:pt x="595" y="569"/>
                  </a:lnTo>
                  <a:lnTo>
                    <a:pt x="592" y="569"/>
                  </a:lnTo>
                  <a:lnTo>
                    <a:pt x="588" y="569"/>
                  </a:lnTo>
                  <a:lnTo>
                    <a:pt x="588" y="572"/>
                  </a:lnTo>
                  <a:lnTo>
                    <a:pt x="585" y="569"/>
                  </a:lnTo>
                  <a:lnTo>
                    <a:pt x="578" y="563"/>
                  </a:lnTo>
                  <a:lnTo>
                    <a:pt x="578" y="559"/>
                  </a:lnTo>
                  <a:lnTo>
                    <a:pt x="578" y="559"/>
                  </a:lnTo>
                  <a:lnTo>
                    <a:pt x="575" y="559"/>
                  </a:lnTo>
                  <a:lnTo>
                    <a:pt x="571" y="559"/>
                  </a:lnTo>
                  <a:lnTo>
                    <a:pt x="568" y="559"/>
                  </a:lnTo>
                  <a:lnTo>
                    <a:pt x="568" y="559"/>
                  </a:lnTo>
                  <a:lnTo>
                    <a:pt x="564" y="559"/>
                  </a:lnTo>
                  <a:lnTo>
                    <a:pt x="564" y="559"/>
                  </a:lnTo>
                  <a:lnTo>
                    <a:pt x="561" y="556"/>
                  </a:lnTo>
                  <a:lnTo>
                    <a:pt x="561" y="556"/>
                  </a:lnTo>
                  <a:lnTo>
                    <a:pt x="557" y="553"/>
                  </a:lnTo>
                  <a:lnTo>
                    <a:pt x="557" y="550"/>
                  </a:lnTo>
                  <a:lnTo>
                    <a:pt x="554" y="550"/>
                  </a:lnTo>
                  <a:lnTo>
                    <a:pt x="554" y="546"/>
                  </a:lnTo>
                  <a:lnTo>
                    <a:pt x="551" y="543"/>
                  </a:lnTo>
                  <a:lnTo>
                    <a:pt x="551" y="546"/>
                  </a:lnTo>
                  <a:lnTo>
                    <a:pt x="551" y="546"/>
                  </a:lnTo>
                  <a:lnTo>
                    <a:pt x="551" y="550"/>
                  </a:lnTo>
                  <a:lnTo>
                    <a:pt x="547" y="550"/>
                  </a:lnTo>
                  <a:lnTo>
                    <a:pt x="547" y="553"/>
                  </a:lnTo>
                  <a:lnTo>
                    <a:pt x="551" y="553"/>
                  </a:lnTo>
                  <a:lnTo>
                    <a:pt x="551" y="553"/>
                  </a:lnTo>
                  <a:lnTo>
                    <a:pt x="554" y="556"/>
                  </a:lnTo>
                  <a:lnTo>
                    <a:pt x="554" y="559"/>
                  </a:lnTo>
                  <a:lnTo>
                    <a:pt x="554" y="559"/>
                  </a:lnTo>
                  <a:lnTo>
                    <a:pt x="551" y="559"/>
                  </a:lnTo>
                  <a:lnTo>
                    <a:pt x="547" y="559"/>
                  </a:lnTo>
                  <a:lnTo>
                    <a:pt x="547" y="563"/>
                  </a:lnTo>
                  <a:lnTo>
                    <a:pt x="544" y="559"/>
                  </a:lnTo>
                  <a:lnTo>
                    <a:pt x="544" y="563"/>
                  </a:lnTo>
                  <a:lnTo>
                    <a:pt x="547" y="563"/>
                  </a:lnTo>
                  <a:lnTo>
                    <a:pt x="551" y="563"/>
                  </a:lnTo>
                  <a:lnTo>
                    <a:pt x="554" y="559"/>
                  </a:lnTo>
                  <a:lnTo>
                    <a:pt x="554" y="559"/>
                  </a:lnTo>
                  <a:lnTo>
                    <a:pt x="557" y="559"/>
                  </a:lnTo>
                  <a:lnTo>
                    <a:pt x="561" y="559"/>
                  </a:lnTo>
                  <a:lnTo>
                    <a:pt x="561" y="563"/>
                  </a:lnTo>
                  <a:lnTo>
                    <a:pt x="561" y="563"/>
                  </a:lnTo>
                  <a:lnTo>
                    <a:pt x="564" y="563"/>
                  </a:lnTo>
                  <a:lnTo>
                    <a:pt x="568" y="563"/>
                  </a:lnTo>
                  <a:lnTo>
                    <a:pt x="575" y="566"/>
                  </a:lnTo>
                  <a:lnTo>
                    <a:pt x="578" y="566"/>
                  </a:lnTo>
                  <a:lnTo>
                    <a:pt x="582" y="566"/>
                  </a:lnTo>
                  <a:lnTo>
                    <a:pt x="582" y="569"/>
                  </a:lnTo>
                  <a:lnTo>
                    <a:pt x="582" y="572"/>
                  </a:lnTo>
                  <a:lnTo>
                    <a:pt x="582" y="575"/>
                  </a:lnTo>
                  <a:lnTo>
                    <a:pt x="578" y="575"/>
                  </a:lnTo>
                  <a:lnTo>
                    <a:pt x="578" y="579"/>
                  </a:lnTo>
                  <a:lnTo>
                    <a:pt x="575" y="579"/>
                  </a:lnTo>
                  <a:lnTo>
                    <a:pt x="571" y="579"/>
                  </a:lnTo>
                  <a:lnTo>
                    <a:pt x="561" y="582"/>
                  </a:lnTo>
                  <a:lnTo>
                    <a:pt x="557" y="582"/>
                  </a:lnTo>
                  <a:lnTo>
                    <a:pt x="554" y="585"/>
                  </a:lnTo>
                  <a:lnTo>
                    <a:pt x="551" y="582"/>
                  </a:lnTo>
                  <a:lnTo>
                    <a:pt x="551" y="579"/>
                  </a:lnTo>
                  <a:lnTo>
                    <a:pt x="551" y="579"/>
                  </a:lnTo>
                  <a:lnTo>
                    <a:pt x="551" y="575"/>
                  </a:lnTo>
                  <a:lnTo>
                    <a:pt x="547" y="575"/>
                  </a:lnTo>
                  <a:lnTo>
                    <a:pt x="547" y="579"/>
                  </a:lnTo>
                  <a:lnTo>
                    <a:pt x="547" y="579"/>
                  </a:lnTo>
                  <a:lnTo>
                    <a:pt x="547" y="582"/>
                  </a:lnTo>
                  <a:lnTo>
                    <a:pt x="547" y="582"/>
                  </a:lnTo>
                  <a:lnTo>
                    <a:pt x="544" y="582"/>
                  </a:lnTo>
                  <a:lnTo>
                    <a:pt x="544" y="582"/>
                  </a:lnTo>
                  <a:lnTo>
                    <a:pt x="544" y="579"/>
                  </a:lnTo>
                  <a:lnTo>
                    <a:pt x="540" y="582"/>
                  </a:lnTo>
                  <a:lnTo>
                    <a:pt x="540" y="582"/>
                  </a:lnTo>
                  <a:lnTo>
                    <a:pt x="544" y="582"/>
                  </a:lnTo>
                  <a:lnTo>
                    <a:pt x="544" y="585"/>
                  </a:lnTo>
                  <a:lnTo>
                    <a:pt x="547" y="585"/>
                  </a:lnTo>
                  <a:lnTo>
                    <a:pt x="544" y="588"/>
                  </a:lnTo>
                  <a:lnTo>
                    <a:pt x="544" y="588"/>
                  </a:lnTo>
                  <a:lnTo>
                    <a:pt x="540" y="588"/>
                  </a:lnTo>
                  <a:lnTo>
                    <a:pt x="540" y="592"/>
                  </a:lnTo>
                  <a:lnTo>
                    <a:pt x="540" y="592"/>
                  </a:lnTo>
                  <a:lnTo>
                    <a:pt x="537" y="595"/>
                  </a:lnTo>
                  <a:lnTo>
                    <a:pt x="530" y="598"/>
                  </a:lnTo>
                  <a:lnTo>
                    <a:pt x="526" y="598"/>
                  </a:lnTo>
                  <a:lnTo>
                    <a:pt x="523" y="595"/>
                  </a:lnTo>
                  <a:lnTo>
                    <a:pt x="523" y="598"/>
                  </a:lnTo>
                  <a:lnTo>
                    <a:pt x="520" y="601"/>
                  </a:lnTo>
                  <a:lnTo>
                    <a:pt x="520" y="601"/>
                  </a:lnTo>
                  <a:lnTo>
                    <a:pt x="526" y="598"/>
                  </a:lnTo>
                  <a:lnTo>
                    <a:pt x="533" y="598"/>
                  </a:lnTo>
                  <a:lnTo>
                    <a:pt x="533" y="598"/>
                  </a:lnTo>
                  <a:lnTo>
                    <a:pt x="537" y="598"/>
                  </a:lnTo>
                  <a:lnTo>
                    <a:pt x="537" y="601"/>
                  </a:lnTo>
                  <a:lnTo>
                    <a:pt x="544" y="601"/>
                  </a:lnTo>
                  <a:lnTo>
                    <a:pt x="547" y="601"/>
                  </a:lnTo>
                  <a:lnTo>
                    <a:pt x="551" y="601"/>
                  </a:lnTo>
                  <a:lnTo>
                    <a:pt x="554" y="601"/>
                  </a:lnTo>
                  <a:lnTo>
                    <a:pt x="557" y="601"/>
                  </a:lnTo>
                  <a:lnTo>
                    <a:pt x="561" y="601"/>
                  </a:lnTo>
                  <a:lnTo>
                    <a:pt x="561" y="601"/>
                  </a:lnTo>
                  <a:lnTo>
                    <a:pt x="564" y="601"/>
                  </a:lnTo>
                  <a:lnTo>
                    <a:pt x="564" y="601"/>
                  </a:lnTo>
                  <a:lnTo>
                    <a:pt x="568" y="605"/>
                  </a:lnTo>
                  <a:lnTo>
                    <a:pt x="564" y="605"/>
                  </a:lnTo>
                  <a:lnTo>
                    <a:pt x="561" y="605"/>
                  </a:lnTo>
                  <a:lnTo>
                    <a:pt x="557" y="605"/>
                  </a:lnTo>
                  <a:lnTo>
                    <a:pt x="554" y="605"/>
                  </a:lnTo>
                  <a:lnTo>
                    <a:pt x="554" y="608"/>
                  </a:lnTo>
                  <a:lnTo>
                    <a:pt x="547" y="608"/>
                  </a:lnTo>
                  <a:lnTo>
                    <a:pt x="544" y="608"/>
                  </a:lnTo>
                  <a:lnTo>
                    <a:pt x="544" y="608"/>
                  </a:lnTo>
                  <a:lnTo>
                    <a:pt x="540" y="608"/>
                  </a:lnTo>
                  <a:lnTo>
                    <a:pt x="537" y="608"/>
                  </a:lnTo>
                  <a:lnTo>
                    <a:pt x="533" y="608"/>
                  </a:lnTo>
                  <a:lnTo>
                    <a:pt x="537" y="611"/>
                  </a:lnTo>
                  <a:lnTo>
                    <a:pt x="537" y="611"/>
                  </a:lnTo>
                  <a:lnTo>
                    <a:pt x="540" y="611"/>
                  </a:lnTo>
                  <a:lnTo>
                    <a:pt x="547" y="611"/>
                  </a:lnTo>
                  <a:lnTo>
                    <a:pt x="547" y="611"/>
                  </a:lnTo>
                  <a:lnTo>
                    <a:pt x="551" y="614"/>
                  </a:lnTo>
                  <a:lnTo>
                    <a:pt x="551" y="611"/>
                  </a:lnTo>
                  <a:lnTo>
                    <a:pt x="557" y="608"/>
                  </a:lnTo>
                  <a:lnTo>
                    <a:pt x="557" y="608"/>
                  </a:lnTo>
                  <a:lnTo>
                    <a:pt x="561" y="608"/>
                  </a:lnTo>
                  <a:lnTo>
                    <a:pt x="561" y="608"/>
                  </a:lnTo>
                  <a:lnTo>
                    <a:pt x="561" y="608"/>
                  </a:lnTo>
                  <a:lnTo>
                    <a:pt x="564" y="608"/>
                  </a:lnTo>
                  <a:lnTo>
                    <a:pt x="564" y="608"/>
                  </a:lnTo>
                  <a:lnTo>
                    <a:pt x="568" y="608"/>
                  </a:lnTo>
                  <a:lnTo>
                    <a:pt x="571" y="608"/>
                  </a:lnTo>
                  <a:lnTo>
                    <a:pt x="575" y="608"/>
                  </a:lnTo>
                  <a:lnTo>
                    <a:pt x="582" y="605"/>
                  </a:lnTo>
                  <a:lnTo>
                    <a:pt x="582" y="601"/>
                  </a:lnTo>
                  <a:lnTo>
                    <a:pt x="582" y="605"/>
                  </a:lnTo>
                  <a:lnTo>
                    <a:pt x="582" y="605"/>
                  </a:lnTo>
                  <a:lnTo>
                    <a:pt x="582" y="605"/>
                  </a:lnTo>
                  <a:lnTo>
                    <a:pt x="585" y="605"/>
                  </a:lnTo>
                  <a:lnTo>
                    <a:pt x="588" y="605"/>
                  </a:lnTo>
                  <a:lnTo>
                    <a:pt x="588" y="605"/>
                  </a:lnTo>
                  <a:lnTo>
                    <a:pt x="592" y="608"/>
                  </a:lnTo>
                  <a:lnTo>
                    <a:pt x="599" y="608"/>
                  </a:lnTo>
                  <a:lnTo>
                    <a:pt x="602" y="611"/>
                  </a:lnTo>
                  <a:lnTo>
                    <a:pt x="609" y="611"/>
                  </a:lnTo>
                  <a:lnTo>
                    <a:pt x="609" y="611"/>
                  </a:lnTo>
                  <a:lnTo>
                    <a:pt x="616" y="611"/>
                  </a:lnTo>
                  <a:lnTo>
                    <a:pt x="616" y="611"/>
                  </a:lnTo>
                  <a:lnTo>
                    <a:pt x="623" y="614"/>
                  </a:lnTo>
                  <a:lnTo>
                    <a:pt x="626" y="611"/>
                  </a:lnTo>
                  <a:lnTo>
                    <a:pt x="626" y="611"/>
                  </a:lnTo>
                  <a:lnTo>
                    <a:pt x="626" y="614"/>
                  </a:lnTo>
                  <a:lnTo>
                    <a:pt x="619" y="617"/>
                  </a:lnTo>
                  <a:lnTo>
                    <a:pt x="616" y="617"/>
                  </a:lnTo>
                  <a:lnTo>
                    <a:pt x="616" y="617"/>
                  </a:lnTo>
                  <a:lnTo>
                    <a:pt x="612" y="617"/>
                  </a:lnTo>
                  <a:lnTo>
                    <a:pt x="612" y="621"/>
                  </a:lnTo>
                  <a:lnTo>
                    <a:pt x="616" y="621"/>
                  </a:lnTo>
                  <a:lnTo>
                    <a:pt x="616" y="624"/>
                  </a:lnTo>
                  <a:lnTo>
                    <a:pt x="612" y="624"/>
                  </a:lnTo>
                  <a:lnTo>
                    <a:pt x="612" y="624"/>
                  </a:lnTo>
                  <a:lnTo>
                    <a:pt x="609" y="621"/>
                  </a:lnTo>
                  <a:lnTo>
                    <a:pt x="609" y="621"/>
                  </a:lnTo>
                  <a:lnTo>
                    <a:pt x="609" y="624"/>
                  </a:lnTo>
                  <a:lnTo>
                    <a:pt x="606" y="624"/>
                  </a:lnTo>
                  <a:lnTo>
                    <a:pt x="606" y="624"/>
                  </a:lnTo>
                  <a:lnTo>
                    <a:pt x="602" y="624"/>
                  </a:lnTo>
                  <a:lnTo>
                    <a:pt x="602" y="624"/>
                  </a:lnTo>
                  <a:lnTo>
                    <a:pt x="602" y="627"/>
                  </a:lnTo>
                  <a:lnTo>
                    <a:pt x="602" y="627"/>
                  </a:lnTo>
                  <a:lnTo>
                    <a:pt x="602" y="627"/>
                  </a:lnTo>
                  <a:lnTo>
                    <a:pt x="602" y="630"/>
                  </a:lnTo>
                  <a:lnTo>
                    <a:pt x="599" y="630"/>
                  </a:lnTo>
                  <a:lnTo>
                    <a:pt x="595" y="630"/>
                  </a:lnTo>
                  <a:lnTo>
                    <a:pt x="595" y="627"/>
                  </a:lnTo>
                  <a:lnTo>
                    <a:pt x="595" y="630"/>
                  </a:lnTo>
                  <a:lnTo>
                    <a:pt x="595" y="630"/>
                  </a:lnTo>
                  <a:lnTo>
                    <a:pt x="595" y="634"/>
                  </a:lnTo>
                  <a:lnTo>
                    <a:pt x="592" y="634"/>
                  </a:lnTo>
                  <a:lnTo>
                    <a:pt x="592" y="634"/>
                  </a:lnTo>
                  <a:lnTo>
                    <a:pt x="588" y="637"/>
                  </a:lnTo>
                  <a:lnTo>
                    <a:pt x="588" y="634"/>
                  </a:lnTo>
                  <a:lnTo>
                    <a:pt x="585" y="634"/>
                  </a:lnTo>
                  <a:lnTo>
                    <a:pt x="585" y="634"/>
                  </a:lnTo>
                  <a:lnTo>
                    <a:pt x="585" y="637"/>
                  </a:lnTo>
                  <a:lnTo>
                    <a:pt x="585" y="637"/>
                  </a:lnTo>
                  <a:lnTo>
                    <a:pt x="585" y="640"/>
                  </a:lnTo>
                  <a:lnTo>
                    <a:pt x="582" y="640"/>
                  </a:lnTo>
                  <a:lnTo>
                    <a:pt x="582" y="637"/>
                  </a:lnTo>
                  <a:lnTo>
                    <a:pt x="578" y="640"/>
                  </a:lnTo>
                  <a:lnTo>
                    <a:pt x="578" y="640"/>
                  </a:lnTo>
                  <a:lnTo>
                    <a:pt x="578" y="640"/>
                  </a:lnTo>
                  <a:lnTo>
                    <a:pt x="578" y="643"/>
                  </a:lnTo>
                  <a:lnTo>
                    <a:pt x="575" y="647"/>
                  </a:lnTo>
                  <a:lnTo>
                    <a:pt x="575" y="643"/>
                  </a:lnTo>
                  <a:lnTo>
                    <a:pt x="575" y="643"/>
                  </a:lnTo>
                  <a:lnTo>
                    <a:pt x="571" y="643"/>
                  </a:lnTo>
                  <a:lnTo>
                    <a:pt x="568" y="643"/>
                  </a:lnTo>
                  <a:lnTo>
                    <a:pt x="568" y="643"/>
                  </a:lnTo>
                  <a:lnTo>
                    <a:pt x="571" y="647"/>
                  </a:lnTo>
                  <a:lnTo>
                    <a:pt x="571" y="647"/>
                  </a:lnTo>
                  <a:lnTo>
                    <a:pt x="568" y="650"/>
                  </a:lnTo>
                  <a:lnTo>
                    <a:pt x="564" y="650"/>
                  </a:lnTo>
                  <a:lnTo>
                    <a:pt x="564" y="650"/>
                  </a:lnTo>
                  <a:lnTo>
                    <a:pt x="561" y="650"/>
                  </a:lnTo>
                  <a:lnTo>
                    <a:pt x="557" y="653"/>
                  </a:lnTo>
                  <a:lnTo>
                    <a:pt x="557" y="656"/>
                  </a:lnTo>
                  <a:lnTo>
                    <a:pt x="554" y="656"/>
                  </a:lnTo>
                  <a:lnTo>
                    <a:pt x="554" y="653"/>
                  </a:lnTo>
                  <a:lnTo>
                    <a:pt x="554" y="653"/>
                  </a:lnTo>
                  <a:lnTo>
                    <a:pt x="551" y="656"/>
                  </a:lnTo>
                  <a:lnTo>
                    <a:pt x="547" y="656"/>
                  </a:lnTo>
                  <a:lnTo>
                    <a:pt x="544" y="656"/>
                  </a:lnTo>
                  <a:lnTo>
                    <a:pt x="544" y="656"/>
                  </a:lnTo>
                  <a:lnTo>
                    <a:pt x="540" y="656"/>
                  </a:lnTo>
                  <a:lnTo>
                    <a:pt x="540" y="656"/>
                  </a:lnTo>
                  <a:lnTo>
                    <a:pt x="537" y="656"/>
                  </a:lnTo>
                  <a:lnTo>
                    <a:pt x="537" y="656"/>
                  </a:lnTo>
                  <a:lnTo>
                    <a:pt x="537" y="659"/>
                  </a:lnTo>
                  <a:lnTo>
                    <a:pt x="533" y="659"/>
                  </a:lnTo>
                  <a:lnTo>
                    <a:pt x="533" y="656"/>
                  </a:lnTo>
                  <a:lnTo>
                    <a:pt x="530" y="656"/>
                  </a:lnTo>
                  <a:lnTo>
                    <a:pt x="530" y="659"/>
                  </a:lnTo>
                  <a:lnTo>
                    <a:pt x="530" y="659"/>
                  </a:lnTo>
                  <a:lnTo>
                    <a:pt x="526" y="659"/>
                  </a:lnTo>
                  <a:lnTo>
                    <a:pt x="526" y="656"/>
                  </a:lnTo>
                  <a:lnTo>
                    <a:pt x="526" y="656"/>
                  </a:lnTo>
                  <a:lnTo>
                    <a:pt x="526" y="659"/>
                  </a:lnTo>
                  <a:lnTo>
                    <a:pt x="523" y="659"/>
                  </a:lnTo>
                  <a:lnTo>
                    <a:pt x="520" y="659"/>
                  </a:lnTo>
                  <a:lnTo>
                    <a:pt x="520" y="659"/>
                  </a:lnTo>
                  <a:lnTo>
                    <a:pt x="520" y="663"/>
                  </a:lnTo>
                  <a:lnTo>
                    <a:pt x="520" y="663"/>
                  </a:lnTo>
                  <a:lnTo>
                    <a:pt x="516" y="663"/>
                  </a:lnTo>
                  <a:lnTo>
                    <a:pt x="516" y="663"/>
                  </a:lnTo>
                  <a:lnTo>
                    <a:pt x="513" y="663"/>
                  </a:lnTo>
                  <a:lnTo>
                    <a:pt x="513" y="663"/>
                  </a:lnTo>
                  <a:lnTo>
                    <a:pt x="513" y="663"/>
                  </a:lnTo>
                  <a:lnTo>
                    <a:pt x="513" y="663"/>
                  </a:lnTo>
                  <a:lnTo>
                    <a:pt x="509" y="663"/>
                  </a:lnTo>
                  <a:lnTo>
                    <a:pt x="509" y="666"/>
                  </a:lnTo>
                  <a:lnTo>
                    <a:pt x="506" y="666"/>
                  </a:lnTo>
                  <a:lnTo>
                    <a:pt x="506" y="669"/>
                  </a:lnTo>
                  <a:lnTo>
                    <a:pt x="506" y="669"/>
                  </a:lnTo>
                  <a:lnTo>
                    <a:pt x="502" y="666"/>
                  </a:lnTo>
                  <a:lnTo>
                    <a:pt x="499" y="663"/>
                  </a:lnTo>
                  <a:lnTo>
                    <a:pt x="499" y="663"/>
                  </a:lnTo>
                  <a:lnTo>
                    <a:pt x="496" y="663"/>
                  </a:lnTo>
                  <a:lnTo>
                    <a:pt x="496" y="663"/>
                  </a:lnTo>
                  <a:lnTo>
                    <a:pt x="496" y="666"/>
                  </a:lnTo>
                  <a:lnTo>
                    <a:pt x="492" y="666"/>
                  </a:lnTo>
                  <a:lnTo>
                    <a:pt x="492" y="669"/>
                  </a:lnTo>
                  <a:lnTo>
                    <a:pt x="489" y="669"/>
                  </a:lnTo>
                  <a:lnTo>
                    <a:pt x="489" y="666"/>
                  </a:lnTo>
                  <a:lnTo>
                    <a:pt x="485" y="669"/>
                  </a:lnTo>
                  <a:lnTo>
                    <a:pt x="485" y="669"/>
                  </a:lnTo>
                  <a:lnTo>
                    <a:pt x="482" y="669"/>
                  </a:lnTo>
                  <a:lnTo>
                    <a:pt x="478" y="666"/>
                  </a:lnTo>
                  <a:lnTo>
                    <a:pt x="478" y="666"/>
                  </a:lnTo>
                  <a:lnTo>
                    <a:pt x="475" y="669"/>
                  </a:lnTo>
                  <a:lnTo>
                    <a:pt x="475" y="669"/>
                  </a:lnTo>
                  <a:lnTo>
                    <a:pt x="475" y="669"/>
                  </a:lnTo>
                  <a:lnTo>
                    <a:pt x="471" y="669"/>
                  </a:lnTo>
                  <a:lnTo>
                    <a:pt x="468" y="666"/>
                  </a:lnTo>
                  <a:lnTo>
                    <a:pt x="471" y="663"/>
                  </a:lnTo>
                  <a:lnTo>
                    <a:pt x="468" y="663"/>
                  </a:lnTo>
                  <a:lnTo>
                    <a:pt x="468" y="663"/>
                  </a:lnTo>
                  <a:lnTo>
                    <a:pt x="465" y="659"/>
                  </a:lnTo>
                  <a:lnTo>
                    <a:pt x="465" y="656"/>
                  </a:lnTo>
                  <a:lnTo>
                    <a:pt x="465" y="653"/>
                  </a:lnTo>
                  <a:lnTo>
                    <a:pt x="461" y="650"/>
                  </a:lnTo>
                  <a:lnTo>
                    <a:pt x="461" y="650"/>
                  </a:lnTo>
                  <a:lnTo>
                    <a:pt x="461" y="650"/>
                  </a:lnTo>
                  <a:lnTo>
                    <a:pt x="458" y="653"/>
                  </a:lnTo>
                  <a:lnTo>
                    <a:pt x="461" y="653"/>
                  </a:lnTo>
                  <a:lnTo>
                    <a:pt x="461" y="656"/>
                  </a:lnTo>
                  <a:lnTo>
                    <a:pt x="465" y="656"/>
                  </a:lnTo>
                  <a:lnTo>
                    <a:pt x="465" y="659"/>
                  </a:lnTo>
                  <a:lnTo>
                    <a:pt x="465" y="663"/>
                  </a:lnTo>
                  <a:lnTo>
                    <a:pt x="461" y="666"/>
                  </a:lnTo>
                  <a:lnTo>
                    <a:pt x="465" y="666"/>
                  </a:lnTo>
                  <a:lnTo>
                    <a:pt x="465" y="666"/>
                  </a:lnTo>
                  <a:lnTo>
                    <a:pt x="468" y="669"/>
                  </a:lnTo>
                  <a:lnTo>
                    <a:pt x="465" y="672"/>
                  </a:lnTo>
                  <a:lnTo>
                    <a:pt x="465" y="676"/>
                  </a:lnTo>
                  <a:lnTo>
                    <a:pt x="461" y="676"/>
                  </a:lnTo>
                  <a:lnTo>
                    <a:pt x="461" y="676"/>
                  </a:lnTo>
                  <a:lnTo>
                    <a:pt x="458" y="676"/>
                  </a:lnTo>
                  <a:lnTo>
                    <a:pt x="458" y="676"/>
                  </a:lnTo>
                  <a:lnTo>
                    <a:pt x="454" y="679"/>
                  </a:lnTo>
                  <a:lnTo>
                    <a:pt x="451" y="679"/>
                  </a:lnTo>
                  <a:lnTo>
                    <a:pt x="451" y="679"/>
                  </a:lnTo>
                  <a:lnTo>
                    <a:pt x="447" y="682"/>
                  </a:lnTo>
                  <a:lnTo>
                    <a:pt x="447" y="682"/>
                  </a:lnTo>
                  <a:lnTo>
                    <a:pt x="447" y="685"/>
                  </a:lnTo>
                  <a:lnTo>
                    <a:pt x="447" y="685"/>
                  </a:lnTo>
                  <a:lnTo>
                    <a:pt x="444" y="685"/>
                  </a:lnTo>
                  <a:lnTo>
                    <a:pt x="444" y="689"/>
                  </a:lnTo>
                  <a:lnTo>
                    <a:pt x="444" y="689"/>
                  </a:lnTo>
                  <a:lnTo>
                    <a:pt x="444" y="692"/>
                  </a:lnTo>
                  <a:lnTo>
                    <a:pt x="440" y="689"/>
                  </a:lnTo>
                  <a:lnTo>
                    <a:pt x="440" y="689"/>
                  </a:lnTo>
                  <a:lnTo>
                    <a:pt x="440" y="689"/>
                  </a:lnTo>
                  <a:lnTo>
                    <a:pt x="440" y="692"/>
                  </a:lnTo>
                  <a:lnTo>
                    <a:pt x="440" y="692"/>
                  </a:lnTo>
                  <a:lnTo>
                    <a:pt x="440" y="692"/>
                  </a:lnTo>
                  <a:lnTo>
                    <a:pt x="437" y="692"/>
                  </a:lnTo>
                  <a:lnTo>
                    <a:pt x="437" y="692"/>
                  </a:lnTo>
                  <a:lnTo>
                    <a:pt x="437" y="692"/>
                  </a:lnTo>
                  <a:lnTo>
                    <a:pt x="437" y="695"/>
                  </a:lnTo>
                  <a:lnTo>
                    <a:pt x="437" y="695"/>
                  </a:lnTo>
                  <a:lnTo>
                    <a:pt x="434" y="698"/>
                  </a:lnTo>
                  <a:lnTo>
                    <a:pt x="434" y="698"/>
                  </a:lnTo>
                  <a:lnTo>
                    <a:pt x="427" y="701"/>
                  </a:lnTo>
                  <a:lnTo>
                    <a:pt x="427" y="705"/>
                  </a:lnTo>
                  <a:lnTo>
                    <a:pt x="427" y="708"/>
                  </a:lnTo>
                  <a:lnTo>
                    <a:pt x="427" y="708"/>
                  </a:lnTo>
                  <a:lnTo>
                    <a:pt x="423" y="711"/>
                  </a:lnTo>
                  <a:lnTo>
                    <a:pt x="423" y="711"/>
                  </a:lnTo>
                  <a:lnTo>
                    <a:pt x="420" y="711"/>
                  </a:lnTo>
                  <a:lnTo>
                    <a:pt x="420" y="711"/>
                  </a:lnTo>
                  <a:lnTo>
                    <a:pt x="420" y="708"/>
                  </a:lnTo>
                  <a:lnTo>
                    <a:pt x="420" y="711"/>
                  </a:lnTo>
                  <a:lnTo>
                    <a:pt x="420" y="711"/>
                  </a:lnTo>
                  <a:lnTo>
                    <a:pt x="416" y="714"/>
                  </a:lnTo>
                  <a:lnTo>
                    <a:pt x="416" y="714"/>
                  </a:lnTo>
                  <a:lnTo>
                    <a:pt x="416" y="714"/>
                  </a:lnTo>
                  <a:lnTo>
                    <a:pt x="413" y="718"/>
                  </a:lnTo>
                  <a:lnTo>
                    <a:pt x="410" y="721"/>
                  </a:lnTo>
                  <a:lnTo>
                    <a:pt x="410" y="721"/>
                  </a:lnTo>
                  <a:lnTo>
                    <a:pt x="410" y="718"/>
                  </a:lnTo>
                  <a:lnTo>
                    <a:pt x="410" y="718"/>
                  </a:lnTo>
                  <a:lnTo>
                    <a:pt x="406" y="718"/>
                  </a:lnTo>
                  <a:lnTo>
                    <a:pt x="406" y="718"/>
                  </a:lnTo>
                  <a:lnTo>
                    <a:pt x="406" y="718"/>
                  </a:lnTo>
                  <a:lnTo>
                    <a:pt x="403" y="718"/>
                  </a:lnTo>
                  <a:lnTo>
                    <a:pt x="399" y="714"/>
                  </a:lnTo>
                  <a:lnTo>
                    <a:pt x="399" y="714"/>
                  </a:lnTo>
                  <a:lnTo>
                    <a:pt x="399" y="714"/>
                  </a:lnTo>
                  <a:lnTo>
                    <a:pt x="399" y="718"/>
                  </a:lnTo>
                  <a:lnTo>
                    <a:pt x="399" y="718"/>
                  </a:lnTo>
                  <a:lnTo>
                    <a:pt x="403" y="721"/>
                  </a:lnTo>
                  <a:lnTo>
                    <a:pt x="403" y="724"/>
                  </a:lnTo>
                  <a:lnTo>
                    <a:pt x="399" y="724"/>
                  </a:lnTo>
                  <a:lnTo>
                    <a:pt x="399" y="724"/>
                  </a:lnTo>
                  <a:lnTo>
                    <a:pt x="396" y="727"/>
                  </a:lnTo>
                  <a:lnTo>
                    <a:pt x="392" y="731"/>
                  </a:lnTo>
                  <a:lnTo>
                    <a:pt x="389" y="731"/>
                  </a:lnTo>
                  <a:lnTo>
                    <a:pt x="385" y="727"/>
                  </a:lnTo>
                  <a:lnTo>
                    <a:pt x="385" y="727"/>
                  </a:lnTo>
                  <a:lnTo>
                    <a:pt x="389" y="724"/>
                  </a:lnTo>
                  <a:lnTo>
                    <a:pt x="385" y="724"/>
                  </a:lnTo>
                  <a:lnTo>
                    <a:pt x="385" y="724"/>
                  </a:lnTo>
                  <a:lnTo>
                    <a:pt x="385" y="727"/>
                  </a:lnTo>
                  <a:lnTo>
                    <a:pt x="385" y="727"/>
                  </a:lnTo>
                  <a:lnTo>
                    <a:pt x="385" y="731"/>
                  </a:lnTo>
                  <a:lnTo>
                    <a:pt x="382" y="731"/>
                  </a:lnTo>
                  <a:lnTo>
                    <a:pt x="379" y="731"/>
                  </a:lnTo>
                  <a:lnTo>
                    <a:pt x="375" y="731"/>
                  </a:lnTo>
                  <a:lnTo>
                    <a:pt x="375" y="727"/>
                  </a:lnTo>
                  <a:lnTo>
                    <a:pt x="375" y="724"/>
                  </a:lnTo>
                  <a:lnTo>
                    <a:pt x="375" y="724"/>
                  </a:lnTo>
                  <a:lnTo>
                    <a:pt x="375" y="721"/>
                  </a:lnTo>
                  <a:lnTo>
                    <a:pt x="375" y="721"/>
                  </a:lnTo>
                  <a:lnTo>
                    <a:pt x="372" y="724"/>
                  </a:lnTo>
                  <a:lnTo>
                    <a:pt x="372" y="727"/>
                  </a:lnTo>
                  <a:lnTo>
                    <a:pt x="372" y="727"/>
                  </a:lnTo>
                  <a:lnTo>
                    <a:pt x="372" y="731"/>
                  </a:lnTo>
                  <a:lnTo>
                    <a:pt x="368" y="731"/>
                  </a:lnTo>
                  <a:lnTo>
                    <a:pt x="365" y="727"/>
                  </a:lnTo>
                  <a:lnTo>
                    <a:pt x="365" y="724"/>
                  </a:lnTo>
                  <a:lnTo>
                    <a:pt x="368" y="721"/>
                  </a:lnTo>
                  <a:lnTo>
                    <a:pt x="368" y="718"/>
                  </a:lnTo>
                  <a:lnTo>
                    <a:pt x="372" y="718"/>
                  </a:lnTo>
                  <a:lnTo>
                    <a:pt x="372" y="714"/>
                  </a:lnTo>
                  <a:lnTo>
                    <a:pt x="368" y="714"/>
                  </a:lnTo>
                  <a:lnTo>
                    <a:pt x="365" y="714"/>
                  </a:lnTo>
                  <a:lnTo>
                    <a:pt x="365" y="711"/>
                  </a:lnTo>
                  <a:lnTo>
                    <a:pt x="365" y="711"/>
                  </a:lnTo>
                  <a:lnTo>
                    <a:pt x="361" y="711"/>
                  </a:lnTo>
                  <a:lnTo>
                    <a:pt x="361" y="714"/>
                  </a:lnTo>
                  <a:lnTo>
                    <a:pt x="361" y="714"/>
                  </a:lnTo>
                  <a:lnTo>
                    <a:pt x="365" y="718"/>
                  </a:lnTo>
                  <a:lnTo>
                    <a:pt x="361" y="721"/>
                  </a:lnTo>
                  <a:lnTo>
                    <a:pt x="361" y="721"/>
                  </a:lnTo>
                  <a:lnTo>
                    <a:pt x="361" y="724"/>
                  </a:lnTo>
                  <a:lnTo>
                    <a:pt x="358" y="727"/>
                  </a:lnTo>
                  <a:lnTo>
                    <a:pt x="358" y="727"/>
                  </a:lnTo>
                  <a:lnTo>
                    <a:pt x="354" y="724"/>
                  </a:lnTo>
                  <a:lnTo>
                    <a:pt x="354" y="724"/>
                  </a:lnTo>
                  <a:lnTo>
                    <a:pt x="354" y="724"/>
                  </a:lnTo>
                  <a:lnTo>
                    <a:pt x="354" y="727"/>
                  </a:lnTo>
                  <a:lnTo>
                    <a:pt x="354" y="731"/>
                  </a:lnTo>
                  <a:lnTo>
                    <a:pt x="358" y="731"/>
                  </a:lnTo>
                  <a:lnTo>
                    <a:pt x="358" y="734"/>
                  </a:lnTo>
                  <a:lnTo>
                    <a:pt x="354" y="734"/>
                  </a:lnTo>
                  <a:lnTo>
                    <a:pt x="354" y="737"/>
                  </a:lnTo>
                  <a:lnTo>
                    <a:pt x="351" y="737"/>
                  </a:lnTo>
                  <a:lnTo>
                    <a:pt x="351" y="737"/>
                  </a:lnTo>
                  <a:lnTo>
                    <a:pt x="348" y="737"/>
                  </a:lnTo>
                  <a:lnTo>
                    <a:pt x="348" y="737"/>
                  </a:lnTo>
                  <a:lnTo>
                    <a:pt x="344" y="737"/>
                  </a:lnTo>
                  <a:lnTo>
                    <a:pt x="341" y="740"/>
                  </a:lnTo>
                  <a:lnTo>
                    <a:pt x="341" y="737"/>
                  </a:lnTo>
                  <a:lnTo>
                    <a:pt x="341" y="734"/>
                  </a:lnTo>
                  <a:lnTo>
                    <a:pt x="337" y="734"/>
                  </a:lnTo>
                  <a:lnTo>
                    <a:pt x="337" y="734"/>
                  </a:lnTo>
                  <a:lnTo>
                    <a:pt x="337" y="734"/>
                  </a:lnTo>
                  <a:lnTo>
                    <a:pt x="337" y="737"/>
                  </a:lnTo>
                  <a:lnTo>
                    <a:pt x="334" y="737"/>
                  </a:lnTo>
                  <a:lnTo>
                    <a:pt x="334" y="737"/>
                  </a:lnTo>
                  <a:lnTo>
                    <a:pt x="330" y="734"/>
                  </a:lnTo>
                  <a:lnTo>
                    <a:pt x="330" y="734"/>
                  </a:lnTo>
                  <a:lnTo>
                    <a:pt x="330" y="734"/>
                  </a:lnTo>
                  <a:lnTo>
                    <a:pt x="327" y="734"/>
                  </a:lnTo>
                  <a:lnTo>
                    <a:pt x="327" y="737"/>
                  </a:lnTo>
                  <a:lnTo>
                    <a:pt x="324" y="737"/>
                  </a:lnTo>
                  <a:lnTo>
                    <a:pt x="324" y="737"/>
                  </a:lnTo>
                  <a:lnTo>
                    <a:pt x="327" y="740"/>
                  </a:lnTo>
                  <a:lnTo>
                    <a:pt x="327" y="743"/>
                  </a:lnTo>
                  <a:lnTo>
                    <a:pt x="324" y="747"/>
                  </a:lnTo>
                  <a:lnTo>
                    <a:pt x="320" y="750"/>
                  </a:lnTo>
                  <a:lnTo>
                    <a:pt x="320" y="750"/>
                  </a:lnTo>
                  <a:lnTo>
                    <a:pt x="317" y="750"/>
                  </a:lnTo>
                  <a:lnTo>
                    <a:pt x="317" y="747"/>
                  </a:lnTo>
                  <a:lnTo>
                    <a:pt x="313" y="747"/>
                  </a:lnTo>
                  <a:lnTo>
                    <a:pt x="313" y="747"/>
                  </a:lnTo>
                  <a:lnTo>
                    <a:pt x="313" y="747"/>
                  </a:lnTo>
                  <a:lnTo>
                    <a:pt x="310" y="747"/>
                  </a:lnTo>
                  <a:lnTo>
                    <a:pt x="306" y="743"/>
                  </a:lnTo>
                  <a:lnTo>
                    <a:pt x="306" y="743"/>
                  </a:lnTo>
                  <a:lnTo>
                    <a:pt x="306" y="747"/>
                  </a:lnTo>
                  <a:lnTo>
                    <a:pt x="306" y="747"/>
                  </a:lnTo>
                  <a:lnTo>
                    <a:pt x="306" y="750"/>
                  </a:lnTo>
                  <a:lnTo>
                    <a:pt x="306" y="750"/>
                  </a:lnTo>
                  <a:lnTo>
                    <a:pt x="306" y="753"/>
                  </a:lnTo>
                  <a:lnTo>
                    <a:pt x="306" y="756"/>
                  </a:lnTo>
                  <a:lnTo>
                    <a:pt x="310" y="756"/>
                  </a:lnTo>
                  <a:lnTo>
                    <a:pt x="310" y="760"/>
                  </a:lnTo>
                  <a:lnTo>
                    <a:pt x="310" y="763"/>
                  </a:lnTo>
                  <a:lnTo>
                    <a:pt x="310" y="766"/>
                  </a:lnTo>
                  <a:lnTo>
                    <a:pt x="306" y="766"/>
                  </a:lnTo>
                  <a:lnTo>
                    <a:pt x="306" y="766"/>
                  </a:lnTo>
                  <a:lnTo>
                    <a:pt x="306" y="766"/>
                  </a:lnTo>
                  <a:lnTo>
                    <a:pt x="303" y="766"/>
                  </a:lnTo>
                  <a:lnTo>
                    <a:pt x="299" y="766"/>
                  </a:lnTo>
                  <a:lnTo>
                    <a:pt x="296" y="766"/>
                  </a:lnTo>
                  <a:lnTo>
                    <a:pt x="293" y="769"/>
                  </a:lnTo>
                  <a:lnTo>
                    <a:pt x="293" y="769"/>
                  </a:lnTo>
                  <a:lnTo>
                    <a:pt x="299" y="773"/>
                  </a:lnTo>
                  <a:lnTo>
                    <a:pt x="303" y="773"/>
                  </a:lnTo>
                  <a:lnTo>
                    <a:pt x="303" y="773"/>
                  </a:lnTo>
                  <a:lnTo>
                    <a:pt x="306" y="776"/>
                  </a:lnTo>
                  <a:lnTo>
                    <a:pt x="306" y="773"/>
                  </a:lnTo>
                  <a:lnTo>
                    <a:pt x="310" y="773"/>
                  </a:lnTo>
                  <a:lnTo>
                    <a:pt x="310" y="776"/>
                  </a:lnTo>
                  <a:lnTo>
                    <a:pt x="306" y="779"/>
                  </a:lnTo>
                  <a:lnTo>
                    <a:pt x="306" y="779"/>
                  </a:lnTo>
                  <a:lnTo>
                    <a:pt x="303" y="779"/>
                  </a:lnTo>
                  <a:lnTo>
                    <a:pt x="303" y="779"/>
                  </a:lnTo>
                  <a:lnTo>
                    <a:pt x="306" y="779"/>
                  </a:lnTo>
                  <a:lnTo>
                    <a:pt x="306" y="782"/>
                  </a:lnTo>
                  <a:lnTo>
                    <a:pt x="306" y="785"/>
                  </a:lnTo>
                  <a:lnTo>
                    <a:pt x="306" y="785"/>
                  </a:lnTo>
                  <a:lnTo>
                    <a:pt x="306" y="789"/>
                  </a:lnTo>
                  <a:lnTo>
                    <a:pt x="303" y="789"/>
                  </a:lnTo>
                  <a:lnTo>
                    <a:pt x="299" y="785"/>
                  </a:lnTo>
                  <a:lnTo>
                    <a:pt x="299" y="782"/>
                  </a:lnTo>
                  <a:lnTo>
                    <a:pt x="296" y="782"/>
                  </a:lnTo>
                  <a:lnTo>
                    <a:pt x="296" y="782"/>
                  </a:lnTo>
                  <a:lnTo>
                    <a:pt x="293" y="782"/>
                  </a:lnTo>
                  <a:lnTo>
                    <a:pt x="289" y="782"/>
                  </a:lnTo>
                  <a:lnTo>
                    <a:pt x="289" y="782"/>
                  </a:lnTo>
                  <a:lnTo>
                    <a:pt x="289" y="782"/>
                  </a:lnTo>
                  <a:lnTo>
                    <a:pt x="293" y="785"/>
                  </a:lnTo>
                  <a:lnTo>
                    <a:pt x="293" y="785"/>
                  </a:lnTo>
                  <a:lnTo>
                    <a:pt x="296" y="785"/>
                  </a:lnTo>
                  <a:lnTo>
                    <a:pt x="299" y="789"/>
                  </a:lnTo>
                  <a:lnTo>
                    <a:pt x="303" y="789"/>
                  </a:lnTo>
                  <a:lnTo>
                    <a:pt x="303" y="789"/>
                  </a:lnTo>
                  <a:lnTo>
                    <a:pt x="303" y="792"/>
                  </a:lnTo>
                  <a:lnTo>
                    <a:pt x="299" y="792"/>
                  </a:lnTo>
                  <a:lnTo>
                    <a:pt x="296" y="792"/>
                  </a:lnTo>
                  <a:lnTo>
                    <a:pt x="296" y="795"/>
                  </a:lnTo>
                  <a:lnTo>
                    <a:pt x="293" y="792"/>
                  </a:lnTo>
                  <a:lnTo>
                    <a:pt x="289" y="792"/>
                  </a:lnTo>
                  <a:lnTo>
                    <a:pt x="289" y="789"/>
                  </a:lnTo>
                  <a:lnTo>
                    <a:pt x="286" y="789"/>
                  </a:lnTo>
                  <a:lnTo>
                    <a:pt x="286" y="789"/>
                  </a:lnTo>
                  <a:lnTo>
                    <a:pt x="282" y="792"/>
                  </a:lnTo>
                  <a:lnTo>
                    <a:pt x="282" y="795"/>
                  </a:lnTo>
                  <a:lnTo>
                    <a:pt x="286" y="795"/>
                  </a:lnTo>
                  <a:lnTo>
                    <a:pt x="289" y="798"/>
                  </a:lnTo>
                  <a:lnTo>
                    <a:pt x="289" y="798"/>
                  </a:lnTo>
                  <a:lnTo>
                    <a:pt x="289" y="802"/>
                  </a:lnTo>
                  <a:lnTo>
                    <a:pt x="289" y="802"/>
                  </a:lnTo>
                  <a:lnTo>
                    <a:pt x="286" y="798"/>
                  </a:lnTo>
                  <a:lnTo>
                    <a:pt x="286" y="798"/>
                  </a:lnTo>
                  <a:lnTo>
                    <a:pt x="282" y="798"/>
                  </a:lnTo>
                  <a:lnTo>
                    <a:pt x="279" y="795"/>
                  </a:lnTo>
                  <a:lnTo>
                    <a:pt x="279" y="795"/>
                  </a:lnTo>
                  <a:lnTo>
                    <a:pt x="279" y="798"/>
                  </a:lnTo>
                  <a:lnTo>
                    <a:pt x="282" y="798"/>
                  </a:lnTo>
                  <a:lnTo>
                    <a:pt x="286" y="802"/>
                  </a:lnTo>
                  <a:lnTo>
                    <a:pt x="286" y="802"/>
                  </a:lnTo>
                  <a:lnTo>
                    <a:pt x="286" y="805"/>
                  </a:lnTo>
                  <a:lnTo>
                    <a:pt x="286" y="805"/>
                  </a:lnTo>
                  <a:lnTo>
                    <a:pt x="282" y="805"/>
                  </a:lnTo>
                  <a:lnTo>
                    <a:pt x="279" y="802"/>
                  </a:lnTo>
                  <a:lnTo>
                    <a:pt x="279" y="802"/>
                  </a:lnTo>
                  <a:lnTo>
                    <a:pt x="279" y="798"/>
                  </a:lnTo>
                  <a:lnTo>
                    <a:pt x="275" y="798"/>
                  </a:lnTo>
                  <a:lnTo>
                    <a:pt x="275" y="802"/>
                  </a:lnTo>
                  <a:lnTo>
                    <a:pt x="275" y="802"/>
                  </a:lnTo>
                  <a:lnTo>
                    <a:pt x="275" y="805"/>
                  </a:lnTo>
                  <a:lnTo>
                    <a:pt x="275" y="805"/>
                  </a:lnTo>
                  <a:lnTo>
                    <a:pt x="275" y="805"/>
                  </a:lnTo>
                  <a:lnTo>
                    <a:pt x="279" y="808"/>
                  </a:lnTo>
                  <a:lnTo>
                    <a:pt x="282" y="808"/>
                  </a:lnTo>
                  <a:lnTo>
                    <a:pt x="286" y="808"/>
                  </a:lnTo>
                  <a:lnTo>
                    <a:pt x="286" y="808"/>
                  </a:lnTo>
                  <a:lnTo>
                    <a:pt x="286" y="811"/>
                  </a:lnTo>
                  <a:lnTo>
                    <a:pt x="282" y="811"/>
                  </a:lnTo>
                  <a:lnTo>
                    <a:pt x="282" y="815"/>
                  </a:lnTo>
                  <a:lnTo>
                    <a:pt x="279" y="815"/>
                  </a:lnTo>
                  <a:lnTo>
                    <a:pt x="279" y="811"/>
                  </a:lnTo>
                  <a:lnTo>
                    <a:pt x="275" y="811"/>
                  </a:lnTo>
                  <a:lnTo>
                    <a:pt x="272" y="811"/>
                  </a:lnTo>
                  <a:lnTo>
                    <a:pt x="272" y="808"/>
                  </a:lnTo>
                  <a:lnTo>
                    <a:pt x="272" y="808"/>
                  </a:lnTo>
                  <a:lnTo>
                    <a:pt x="272" y="808"/>
                  </a:lnTo>
                  <a:lnTo>
                    <a:pt x="268" y="808"/>
                  </a:lnTo>
                  <a:lnTo>
                    <a:pt x="268" y="811"/>
                  </a:lnTo>
                  <a:lnTo>
                    <a:pt x="268" y="811"/>
                  </a:lnTo>
                  <a:lnTo>
                    <a:pt x="268" y="815"/>
                  </a:lnTo>
                  <a:lnTo>
                    <a:pt x="265" y="815"/>
                  </a:lnTo>
                  <a:lnTo>
                    <a:pt x="262" y="811"/>
                  </a:lnTo>
                  <a:lnTo>
                    <a:pt x="262" y="811"/>
                  </a:lnTo>
                  <a:lnTo>
                    <a:pt x="258" y="811"/>
                  </a:lnTo>
                  <a:lnTo>
                    <a:pt x="258" y="815"/>
                  </a:lnTo>
                  <a:lnTo>
                    <a:pt x="262" y="815"/>
                  </a:lnTo>
                  <a:lnTo>
                    <a:pt x="265" y="818"/>
                  </a:lnTo>
                  <a:lnTo>
                    <a:pt x="268" y="818"/>
                  </a:lnTo>
                  <a:lnTo>
                    <a:pt x="272" y="821"/>
                  </a:lnTo>
                  <a:lnTo>
                    <a:pt x="272" y="824"/>
                  </a:lnTo>
                  <a:lnTo>
                    <a:pt x="272" y="824"/>
                  </a:lnTo>
                  <a:lnTo>
                    <a:pt x="268" y="824"/>
                  </a:lnTo>
                  <a:lnTo>
                    <a:pt x="268" y="821"/>
                  </a:lnTo>
                  <a:lnTo>
                    <a:pt x="262" y="818"/>
                  </a:lnTo>
                  <a:lnTo>
                    <a:pt x="262" y="818"/>
                  </a:lnTo>
                  <a:lnTo>
                    <a:pt x="258" y="818"/>
                  </a:lnTo>
                  <a:lnTo>
                    <a:pt x="258" y="821"/>
                  </a:lnTo>
                  <a:lnTo>
                    <a:pt x="262" y="821"/>
                  </a:lnTo>
                  <a:lnTo>
                    <a:pt x="265" y="821"/>
                  </a:lnTo>
                  <a:lnTo>
                    <a:pt x="268" y="824"/>
                  </a:lnTo>
                  <a:lnTo>
                    <a:pt x="268" y="827"/>
                  </a:lnTo>
                  <a:lnTo>
                    <a:pt x="268" y="827"/>
                  </a:lnTo>
                  <a:lnTo>
                    <a:pt x="268" y="831"/>
                  </a:lnTo>
                  <a:lnTo>
                    <a:pt x="268" y="834"/>
                  </a:lnTo>
                  <a:lnTo>
                    <a:pt x="268" y="834"/>
                  </a:lnTo>
                  <a:lnTo>
                    <a:pt x="268" y="837"/>
                  </a:lnTo>
                  <a:lnTo>
                    <a:pt x="268" y="837"/>
                  </a:lnTo>
                  <a:lnTo>
                    <a:pt x="265" y="840"/>
                  </a:lnTo>
                  <a:lnTo>
                    <a:pt x="265" y="840"/>
                  </a:lnTo>
                  <a:lnTo>
                    <a:pt x="262" y="837"/>
                  </a:lnTo>
                  <a:lnTo>
                    <a:pt x="258" y="837"/>
                  </a:lnTo>
                  <a:lnTo>
                    <a:pt x="258" y="837"/>
                  </a:lnTo>
                  <a:lnTo>
                    <a:pt x="255" y="837"/>
                  </a:lnTo>
                  <a:lnTo>
                    <a:pt x="255" y="837"/>
                  </a:lnTo>
                  <a:lnTo>
                    <a:pt x="258" y="840"/>
                  </a:lnTo>
                  <a:lnTo>
                    <a:pt x="262" y="840"/>
                  </a:lnTo>
                  <a:lnTo>
                    <a:pt x="262" y="840"/>
                  </a:lnTo>
                  <a:lnTo>
                    <a:pt x="262" y="844"/>
                  </a:lnTo>
                  <a:lnTo>
                    <a:pt x="258" y="844"/>
                  </a:lnTo>
                  <a:lnTo>
                    <a:pt x="258" y="844"/>
                  </a:lnTo>
                  <a:lnTo>
                    <a:pt x="255" y="844"/>
                  </a:lnTo>
                  <a:lnTo>
                    <a:pt x="255" y="844"/>
                  </a:lnTo>
                  <a:lnTo>
                    <a:pt x="258" y="844"/>
                  </a:lnTo>
                  <a:lnTo>
                    <a:pt x="258" y="847"/>
                  </a:lnTo>
                  <a:lnTo>
                    <a:pt x="258" y="847"/>
                  </a:lnTo>
                  <a:lnTo>
                    <a:pt x="258" y="850"/>
                  </a:lnTo>
                  <a:lnTo>
                    <a:pt x="255" y="850"/>
                  </a:lnTo>
                  <a:lnTo>
                    <a:pt x="255" y="847"/>
                  </a:lnTo>
                  <a:lnTo>
                    <a:pt x="251" y="847"/>
                  </a:lnTo>
                  <a:lnTo>
                    <a:pt x="251" y="847"/>
                  </a:lnTo>
                  <a:lnTo>
                    <a:pt x="251" y="850"/>
                  </a:lnTo>
                  <a:lnTo>
                    <a:pt x="255" y="850"/>
                  </a:lnTo>
                  <a:lnTo>
                    <a:pt x="255" y="850"/>
                  </a:lnTo>
                  <a:lnTo>
                    <a:pt x="255" y="853"/>
                  </a:lnTo>
                  <a:lnTo>
                    <a:pt x="255" y="853"/>
                  </a:lnTo>
                  <a:lnTo>
                    <a:pt x="248" y="853"/>
                  </a:lnTo>
                  <a:lnTo>
                    <a:pt x="244" y="853"/>
                  </a:lnTo>
                  <a:lnTo>
                    <a:pt x="244" y="853"/>
                  </a:lnTo>
                  <a:lnTo>
                    <a:pt x="244" y="853"/>
                  </a:lnTo>
                  <a:lnTo>
                    <a:pt x="248" y="857"/>
                  </a:lnTo>
                  <a:lnTo>
                    <a:pt x="255" y="857"/>
                  </a:lnTo>
                  <a:lnTo>
                    <a:pt x="258" y="857"/>
                  </a:lnTo>
                  <a:lnTo>
                    <a:pt x="258" y="860"/>
                  </a:lnTo>
                  <a:lnTo>
                    <a:pt x="258" y="860"/>
                  </a:lnTo>
                  <a:lnTo>
                    <a:pt x="255" y="860"/>
                  </a:lnTo>
                  <a:lnTo>
                    <a:pt x="248" y="863"/>
                  </a:lnTo>
                  <a:lnTo>
                    <a:pt x="244" y="860"/>
                  </a:lnTo>
                  <a:lnTo>
                    <a:pt x="244" y="860"/>
                  </a:lnTo>
                  <a:lnTo>
                    <a:pt x="241" y="860"/>
                  </a:lnTo>
                  <a:lnTo>
                    <a:pt x="244" y="863"/>
                  </a:lnTo>
                  <a:lnTo>
                    <a:pt x="248" y="863"/>
                  </a:lnTo>
                  <a:lnTo>
                    <a:pt x="248" y="863"/>
                  </a:lnTo>
                  <a:lnTo>
                    <a:pt x="248" y="863"/>
                  </a:lnTo>
                  <a:lnTo>
                    <a:pt x="248" y="863"/>
                  </a:lnTo>
                  <a:lnTo>
                    <a:pt x="244" y="866"/>
                  </a:lnTo>
                  <a:lnTo>
                    <a:pt x="248" y="866"/>
                  </a:lnTo>
                  <a:lnTo>
                    <a:pt x="251" y="866"/>
                  </a:lnTo>
                  <a:lnTo>
                    <a:pt x="251" y="869"/>
                  </a:lnTo>
                  <a:lnTo>
                    <a:pt x="251" y="869"/>
                  </a:lnTo>
                  <a:lnTo>
                    <a:pt x="248" y="869"/>
                  </a:lnTo>
                  <a:lnTo>
                    <a:pt x="244" y="869"/>
                  </a:lnTo>
                  <a:lnTo>
                    <a:pt x="244" y="869"/>
                  </a:lnTo>
                  <a:lnTo>
                    <a:pt x="248" y="869"/>
                  </a:lnTo>
                  <a:lnTo>
                    <a:pt x="251" y="869"/>
                  </a:lnTo>
                  <a:lnTo>
                    <a:pt x="255" y="869"/>
                  </a:lnTo>
                  <a:lnTo>
                    <a:pt x="251" y="873"/>
                  </a:lnTo>
                  <a:lnTo>
                    <a:pt x="251" y="873"/>
                  </a:lnTo>
                  <a:lnTo>
                    <a:pt x="248" y="876"/>
                  </a:lnTo>
                  <a:lnTo>
                    <a:pt x="244" y="876"/>
                  </a:lnTo>
                  <a:lnTo>
                    <a:pt x="241" y="873"/>
                  </a:lnTo>
                  <a:lnTo>
                    <a:pt x="238" y="869"/>
                  </a:lnTo>
                  <a:lnTo>
                    <a:pt x="238" y="869"/>
                  </a:lnTo>
                  <a:lnTo>
                    <a:pt x="238" y="869"/>
                  </a:lnTo>
                  <a:lnTo>
                    <a:pt x="234" y="869"/>
                  </a:lnTo>
                  <a:lnTo>
                    <a:pt x="234" y="869"/>
                  </a:lnTo>
                  <a:lnTo>
                    <a:pt x="231" y="869"/>
                  </a:lnTo>
                  <a:lnTo>
                    <a:pt x="234" y="873"/>
                  </a:lnTo>
                  <a:lnTo>
                    <a:pt x="238" y="873"/>
                  </a:lnTo>
                  <a:lnTo>
                    <a:pt x="241" y="876"/>
                  </a:lnTo>
                  <a:lnTo>
                    <a:pt x="241" y="876"/>
                  </a:lnTo>
                  <a:lnTo>
                    <a:pt x="241" y="879"/>
                  </a:lnTo>
                  <a:lnTo>
                    <a:pt x="241" y="879"/>
                  </a:lnTo>
                  <a:lnTo>
                    <a:pt x="241" y="879"/>
                  </a:lnTo>
                  <a:lnTo>
                    <a:pt x="244" y="879"/>
                  </a:lnTo>
                  <a:lnTo>
                    <a:pt x="244" y="879"/>
                  </a:lnTo>
                  <a:lnTo>
                    <a:pt x="248" y="879"/>
                  </a:lnTo>
                  <a:lnTo>
                    <a:pt x="248" y="882"/>
                  </a:lnTo>
                  <a:lnTo>
                    <a:pt x="244" y="882"/>
                  </a:lnTo>
                  <a:lnTo>
                    <a:pt x="244" y="882"/>
                  </a:lnTo>
                  <a:lnTo>
                    <a:pt x="244" y="886"/>
                  </a:lnTo>
                  <a:lnTo>
                    <a:pt x="241" y="886"/>
                  </a:lnTo>
                  <a:lnTo>
                    <a:pt x="241" y="886"/>
                  </a:lnTo>
                  <a:close/>
                  <a:moveTo>
                    <a:pt x="238" y="886"/>
                  </a:moveTo>
                  <a:lnTo>
                    <a:pt x="231" y="882"/>
                  </a:lnTo>
                  <a:lnTo>
                    <a:pt x="231" y="882"/>
                  </a:lnTo>
                  <a:lnTo>
                    <a:pt x="231" y="882"/>
                  </a:lnTo>
                  <a:lnTo>
                    <a:pt x="234" y="886"/>
                  </a:lnTo>
                  <a:lnTo>
                    <a:pt x="234" y="886"/>
                  </a:lnTo>
                  <a:lnTo>
                    <a:pt x="238" y="886"/>
                  </a:lnTo>
                  <a:lnTo>
                    <a:pt x="238" y="886"/>
                  </a:lnTo>
                  <a:close/>
                  <a:moveTo>
                    <a:pt x="540" y="598"/>
                  </a:moveTo>
                  <a:lnTo>
                    <a:pt x="540" y="598"/>
                  </a:lnTo>
                  <a:lnTo>
                    <a:pt x="547" y="598"/>
                  </a:lnTo>
                  <a:lnTo>
                    <a:pt x="554" y="598"/>
                  </a:lnTo>
                  <a:lnTo>
                    <a:pt x="564" y="598"/>
                  </a:lnTo>
                  <a:lnTo>
                    <a:pt x="564" y="595"/>
                  </a:lnTo>
                  <a:lnTo>
                    <a:pt x="568" y="595"/>
                  </a:lnTo>
                  <a:lnTo>
                    <a:pt x="575" y="598"/>
                  </a:lnTo>
                  <a:lnTo>
                    <a:pt x="578" y="595"/>
                  </a:lnTo>
                  <a:lnTo>
                    <a:pt x="582" y="598"/>
                  </a:lnTo>
                  <a:lnTo>
                    <a:pt x="585" y="595"/>
                  </a:lnTo>
                  <a:lnTo>
                    <a:pt x="585" y="585"/>
                  </a:lnTo>
                  <a:lnTo>
                    <a:pt x="582" y="582"/>
                  </a:lnTo>
                  <a:lnTo>
                    <a:pt x="582" y="579"/>
                  </a:lnTo>
                  <a:lnTo>
                    <a:pt x="578" y="579"/>
                  </a:lnTo>
                  <a:lnTo>
                    <a:pt x="568" y="585"/>
                  </a:lnTo>
                  <a:lnTo>
                    <a:pt x="557" y="585"/>
                  </a:lnTo>
                  <a:lnTo>
                    <a:pt x="554" y="588"/>
                  </a:lnTo>
                  <a:lnTo>
                    <a:pt x="551" y="588"/>
                  </a:lnTo>
                  <a:lnTo>
                    <a:pt x="547" y="592"/>
                  </a:lnTo>
                  <a:lnTo>
                    <a:pt x="544" y="592"/>
                  </a:lnTo>
                  <a:lnTo>
                    <a:pt x="544" y="595"/>
                  </a:lnTo>
                  <a:lnTo>
                    <a:pt x="540" y="598"/>
                  </a:lnTo>
                  <a:lnTo>
                    <a:pt x="540" y="598"/>
                  </a:lnTo>
                  <a:close/>
                  <a:moveTo>
                    <a:pt x="251" y="863"/>
                  </a:moveTo>
                  <a:lnTo>
                    <a:pt x="255" y="866"/>
                  </a:lnTo>
                  <a:lnTo>
                    <a:pt x="255" y="863"/>
                  </a:lnTo>
                  <a:lnTo>
                    <a:pt x="255" y="863"/>
                  </a:lnTo>
                  <a:lnTo>
                    <a:pt x="255" y="863"/>
                  </a:lnTo>
                  <a:lnTo>
                    <a:pt x="251" y="863"/>
                  </a:lnTo>
                  <a:lnTo>
                    <a:pt x="251" y="863"/>
                  </a:lnTo>
                  <a:close/>
                  <a:moveTo>
                    <a:pt x="272" y="831"/>
                  </a:moveTo>
                  <a:lnTo>
                    <a:pt x="272" y="831"/>
                  </a:lnTo>
                  <a:lnTo>
                    <a:pt x="272" y="831"/>
                  </a:lnTo>
                  <a:lnTo>
                    <a:pt x="272" y="831"/>
                  </a:lnTo>
                  <a:lnTo>
                    <a:pt x="272" y="831"/>
                  </a:lnTo>
                  <a:close/>
                  <a:moveTo>
                    <a:pt x="272" y="827"/>
                  </a:moveTo>
                  <a:lnTo>
                    <a:pt x="272" y="827"/>
                  </a:lnTo>
                  <a:lnTo>
                    <a:pt x="275" y="827"/>
                  </a:lnTo>
                  <a:lnTo>
                    <a:pt x="275" y="824"/>
                  </a:lnTo>
                  <a:lnTo>
                    <a:pt x="272" y="827"/>
                  </a:lnTo>
                  <a:lnTo>
                    <a:pt x="272" y="827"/>
                  </a:lnTo>
                  <a:close/>
                  <a:moveTo>
                    <a:pt x="275" y="821"/>
                  </a:moveTo>
                  <a:lnTo>
                    <a:pt x="275" y="821"/>
                  </a:lnTo>
                  <a:lnTo>
                    <a:pt x="275" y="821"/>
                  </a:lnTo>
                  <a:lnTo>
                    <a:pt x="275" y="821"/>
                  </a:lnTo>
                  <a:lnTo>
                    <a:pt x="275" y="821"/>
                  </a:lnTo>
                  <a:lnTo>
                    <a:pt x="275" y="821"/>
                  </a:lnTo>
                  <a:lnTo>
                    <a:pt x="275" y="821"/>
                  </a:lnTo>
                  <a:close/>
                  <a:moveTo>
                    <a:pt x="272" y="815"/>
                  </a:moveTo>
                  <a:lnTo>
                    <a:pt x="272" y="815"/>
                  </a:lnTo>
                  <a:lnTo>
                    <a:pt x="275" y="815"/>
                  </a:lnTo>
                  <a:lnTo>
                    <a:pt x="275" y="818"/>
                  </a:lnTo>
                  <a:lnTo>
                    <a:pt x="279" y="818"/>
                  </a:lnTo>
                  <a:lnTo>
                    <a:pt x="279" y="815"/>
                  </a:lnTo>
                  <a:lnTo>
                    <a:pt x="279" y="815"/>
                  </a:lnTo>
                  <a:lnTo>
                    <a:pt x="275" y="815"/>
                  </a:lnTo>
                  <a:lnTo>
                    <a:pt x="272" y="815"/>
                  </a:lnTo>
                  <a:lnTo>
                    <a:pt x="272" y="815"/>
                  </a:lnTo>
                  <a:lnTo>
                    <a:pt x="272" y="815"/>
                  </a:lnTo>
                  <a:close/>
                  <a:moveTo>
                    <a:pt x="289" y="811"/>
                  </a:moveTo>
                  <a:lnTo>
                    <a:pt x="289" y="811"/>
                  </a:lnTo>
                  <a:lnTo>
                    <a:pt x="289" y="808"/>
                  </a:lnTo>
                  <a:lnTo>
                    <a:pt x="289" y="808"/>
                  </a:lnTo>
                  <a:lnTo>
                    <a:pt x="289" y="811"/>
                  </a:lnTo>
                  <a:lnTo>
                    <a:pt x="289" y="811"/>
                  </a:lnTo>
                  <a:close/>
                  <a:moveTo>
                    <a:pt x="286" y="792"/>
                  </a:moveTo>
                  <a:lnTo>
                    <a:pt x="286" y="792"/>
                  </a:lnTo>
                  <a:lnTo>
                    <a:pt x="289" y="795"/>
                  </a:lnTo>
                  <a:lnTo>
                    <a:pt x="293" y="798"/>
                  </a:lnTo>
                  <a:lnTo>
                    <a:pt x="293" y="798"/>
                  </a:lnTo>
                  <a:lnTo>
                    <a:pt x="296" y="798"/>
                  </a:lnTo>
                  <a:lnTo>
                    <a:pt x="293" y="795"/>
                  </a:lnTo>
                  <a:lnTo>
                    <a:pt x="289" y="792"/>
                  </a:lnTo>
                  <a:lnTo>
                    <a:pt x="289" y="792"/>
                  </a:lnTo>
                  <a:lnTo>
                    <a:pt x="286" y="792"/>
                  </a:lnTo>
                  <a:lnTo>
                    <a:pt x="286" y="792"/>
                  </a:lnTo>
                  <a:close/>
                  <a:moveTo>
                    <a:pt x="310" y="753"/>
                  </a:moveTo>
                  <a:lnTo>
                    <a:pt x="310" y="756"/>
                  </a:lnTo>
                  <a:lnTo>
                    <a:pt x="313" y="760"/>
                  </a:lnTo>
                  <a:lnTo>
                    <a:pt x="313" y="763"/>
                  </a:lnTo>
                  <a:lnTo>
                    <a:pt x="313" y="766"/>
                  </a:lnTo>
                  <a:lnTo>
                    <a:pt x="317" y="766"/>
                  </a:lnTo>
                  <a:lnTo>
                    <a:pt x="317" y="763"/>
                  </a:lnTo>
                  <a:lnTo>
                    <a:pt x="317" y="760"/>
                  </a:lnTo>
                  <a:lnTo>
                    <a:pt x="313" y="756"/>
                  </a:lnTo>
                  <a:lnTo>
                    <a:pt x="313" y="753"/>
                  </a:lnTo>
                  <a:lnTo>
                    <a:pt x="310" y="753"/>
                  </a:lnTo>
                  <a:lnTo>
                    <a:pt x="310" y="753"/>
                  </a:lnTo>
                  <a:lnTo>
                    <a:pt x="310" y="753"/>
                  </a:lnTo>
                  <a:close/>
                  <a:moveTo>
                    <a:pt x="330" y="743"/>
                  </a:moveTo>
                  <a:lnTo>
                    <a:pt x="330" y="747"/>
                  </a:lnTo>
                  <a:lnTo>
                    <a:pt x="330" y="747"/>
                  </a:lnTo>
                  <a:lnTo>
                    <a:pt x="330" y="747"/>
                  </a:lnTo>
                  <a:lnTo>
                    <a:pt x="330" y="743"/>
                  </a:lnTo>
                  <a:lnTo>
                    <a:pt x="330" y="743"/>
                  </a:lnTo>
                  <a:lnTo>
                    <a:pt x="330" y="743"/>
                  </a:lnTo>
                  <a:close/>
                  <a:moveTo>
                    <a:pt x="334" y="740"/>
                  </a:moveTo>
                  <a:lnTo>
                    <a:pt x="334" y="740"/>
                  </a:lnTo>
                  <a:lnTo>
                    <a:pt x="337" y="740"/>
                  </a:lnTo>
                  <a:lnTo>
                    <a:pt x="334" y="740"/>
                  </a:lnTo>
                  <a:lnTo>
                    <a:pt x="334" y="740"/>
                  </a:lnTo>
                  <a:lnTo>
                    <a:pt x="334" y="740"/>
                  </a:lnTo>
                  <a:close/>
                  <a:moveTo>
                    <a:pt x="365" y="737"/>
                  </a:moveTo>
                  <a:lnTo>
                    <a:pt x="368" y="737"/>
                  </a:lnTo>
                  <a:lnTo>
                    <a:pt x="372" y="737"/>
                  </a:lnTo>
                  <a:lnTo>
                    <a:pt x="372" y="734"/>
                  </a:lnTo>
                  <a:lnTo>
                    <a:pt x="368" y="731"/>
                  </a:lnTo>
                  <a:lnTo>
                    <a:pt x="368" y="731"/>
                  </a:lnTo>
                  <a:lnTo>
                    <a:pt x="365" y="727"/>
                  </a:lnTo>
                  <a:lnTo>
                    <a:pt x="365" y="727"/>
                  </a:lnTo>
                  <a:lnTo>
                    <a:pt x="361" y="731"/>
                  </a:lnTo>
                  <a:lnTo>
                    <a:pt x="361" y="734"/>
                  </a:lnTo>
                  <a:lnTo>
                    <a:pt x="361" y="734"/>
                  </a:lnTo>
                  <a:lnTo>
                    <a:pt x="361" y="737"/>
                  </a:lnTo>
                  <a:lnTo>
                    <a:pt x="365" y="737"/>
                  </a:lnTo>
                  <a:lnTo>
                    <a:pt x="365" y="737"/>
                  </a:lnTo>
                  <a:lnTo>
                    <a:pt x="365" y="737"/>
                  </a:lnTo>
                  <a:close/>
                  <a:moveTo>
                    <a:pt x="379" y="737"/>
                  </a:moveTo>
                  <a:lnTo>
                    <a:pt x="375" y="734"/>
                  </a:lnTo>
                  <a:lnTo>
                    <a:pt x="379" y="734"/>
                  </a:lnTo>
                  <a:lnTo>
                    <a:pt x="375" y="734"/>
                  </a:lnTo>
                  <a:lnTo>
                    <a:pt x="375" y="737"/>
                  </a:lnTo>
                  <a:lnTo>
                    <a:pt x="375" y="737"/>
                  </a:lnTo>
                  <a:lnTo>
                    <a:pt x="379" y="737"/>
                  </a:lnTo>
                  <a:lnTo>
                    <a:pt x="379" y="737"/>
                  </a:lnTo>
                  <a:close/>
                  <a:moveTo>
                    <a:pt x="606" y="627"/>
                  </a:moveTo>
                  <a:lnTo>
                    <a:pt x="609" y="627"/>
                  </a:lnTo>
                  <a:lnTo>
                    <a:pt x="609" y="627"/>
                  </a:lnTo>
                  <a:lnTo>
                    <a:pt x="609" y="624"/>
                  </a:lnTo>
                  <a:lnTo>
                    <a:pt x="606" y="627"/>
                  </a:lnTo>
                  <a:lnTo>
                    <a:pt x="606" y="627"/>
                  </a:lnTo>
                  <a:lnTo>
                    <a:pt x="606" y="627"/>
                  </a:lnTo>
                  <a:close/>
                  <a:moveTo>
                    <a:pt x="564" y="598"/>
                  </a:moveTo>
                  <a:lnTo>
                    <a:pt x="568" y="601"/>
                  </a:lnTo>
                  <a:lnTo>
                    <a:pt x="571" y="601"/>
                  </a:lnTo>
                  <a:lnTo>
                    <a:pt x="571" y="598"/>
                  </a:lnTo>
                  <a:lnTo>
                    <a:pt x="568" y="598"/>
                  </a:lnTo>
                  <a:lnTo>
                    <a:pt x="568" y="598"/>
                  </a:lnTo>
                  <a:lnTo>
                    <a:pt x="564" y="598"/>
                  </a:lnTo>
                  <a:lnTo>
                    <a:pt x="564" y="598"/>
                  </a:lnTo>
                  <a:close/>
                  <a:moveTo>
                    <a:pt x="547" y="585"/>
                  </a:moveTo>
                  <a:lnTo>
                    <a:pt x="551" y="585"/>
                  </a:lnTo>
                  <a:lnTo>
                    <a:pt x="551" y="585"/>
                  </a:lnTo>
                  <a:lnTo>
                    <a:pt x="554" y="585"/>
                  </a:lnTo>
                  <a:lnTo>
                    <a:pt x="551" y="585"/>
                  </a:lnTo>
                  <a:lnTo>
                    <a:pt x="547" y="585"/>
                  </a:lnTo>
                  <a:lnTo>
                    <a:pt x="547" y="585"/>
                  </a:lnTo>
                  <a:close/>
                  <a:moveTo>
                    <a:pt x="585" y="579"/>
                  </a:moveTo>
                  <a:lnTo>
                    <a:pt x="582" y="579"/>
                  </a:lnTo>
                  <a:lnTo>
                    <a:pt x="585" y="582"/>
                  </a:lnTo>
                  <a:lnTo>
                    <a:pt x="585" y="579"/>
                  </a:lnTo>
                  <a:lnTo>
                    <a:pt x="585" y="579"/>
                  </a:lnTo>
                  <a:lnTo>
                    <a:pt x="585" y="575"/>
                  </a:lnTo>
                  <a:lnTo>
                    <a:pt x="585" y="579"/>
                  </a:lnTo>
                  <a:lnTo>
                    <a:pt x="585" y="579"/>
                  </a:lnTo>
                  <a:close/>
                  <a:moveTo>
                    <a:pt x="606" y="517"/>
                  </a:moveTo>
                  <a:lnTo>
                    <a:pt x="606" y="517"/>
                  </a:lnTo>
                  <a:lnTo>
                    <a:pt x="606" y="517"/>
                  </a:lnTo>
                  <a:lnTo>
                    <a:pt x="606" y="521"/>
                  </a:lnTo>
                  <a:lnTo>
                    <a:pt x="609" y="527"/>
                  </a:lnTo>
                  <a:lnTo>
                    <a:pt x="612" y="530"/>
                  </a:lnTo>
                  <a:lnTo>
                    <a:pt x="616" y="530"/>
                  </a:lnTo>
                  <a:lnTo>
                    <a:pt x="619" y="533"/>
                  </a:lnTo>
                  <a:lnTo>
                    <a:pt x="623" y="537"/>
                  </a:lnTo>
                  <a:lnTo>
                    <a:pt x="626" y="537"/>
                  </a:lnTo>
                  <a:lnTo>
                    <a:pt x="630" y="537"/>
                  </a:lnTo>
                  <a:lnTo>
                    <a:pt x="630" y="540"/>
                  </a:lnTo>
                  <a:lnTo>
                    <a:pt x="633" y="540"/>
                  </a:lnTo>
                  <a:lnTo>
                    <a:pt x="637" y="540"/>
                  </a:lnTo>
                  <a:lnTo>
                    <a:pt x="637" y="537"/>
                  </a:lnTo>
                  <a:lnTo>
                    <a:pt x="637" y="537"/>
                  </a:lnTo>
                  <a:lnTo>
                    <a:pt x="633" y="533"/>
                  </a:lnTo>
                  <a:lnTo>
                    <a:pt x="630" y="533"/>
                  </a:lnTo>
                  <a:lnTo>
                    <a:pt x="630" y="533"/>
                  </a:lnTo>
                  <a:lnTo>
                    <a:pt x="626" y="530"/>
                  </a:lnTo>
                  <a:lnTo>
                    <a:pt x="630" y="530"/>
                  </a:lnTo>
                  <a:lnTo>
                    <a:pt x="630" y="527"/>
                  </a:lnTo>
                  <a:lnTo>
                    <a:pt x="633" y="527"/>
                  </a:lnTo>
                  <a:lnTo>
                    <a:pt x="633" y="530"/>
                  </a:lnTo>
                  <a:lnTo>
                    <a:pt x="640" y="530"/>
                  </a:lnTo>
                  <a:lnTo>
                    <a:pt x="640" y="530"/>
                  </a:lnTo>
                  <a:lnTo>
                    <a:pt x="640" y="530"/>
                  </a:lnTo>
                  <a:lnTo>
                    <a:pt x="640" y="527"/>
                  </a:lnTo>
                  <a:lnTo>
                    <a:pt x="630" y="524"/>
                  </a:lnTo>
                  <a:lnTo>
                    <a:pt x="626" y="521"/>
                  </a:lnTo>
                  <a:lnTo>
                    <a:pt x="626" y="517"/>
                  </a:lnTo>
                  <a:lnTo>
                    <a:pt x="623" y="517"/>
                  </a:lnTo>
                  <a:lnTo>
                    <a:pt x="616" y="517"/>
                  </a:lnTo>
                  <a:lnTo>
                    <a:pt x="612" y="517"/>
                  </a:lnTo>
                  <a:lnTo>
                    <a:pt x="612" y="514"/>
                  </a:lnTo>
                  <a:lnTo>
                    <a:pt x="609" y="514"/>
                  </a:lnTo>
                  <a:lnTo>
                    <a:pt x="606" y="517"/>
                  </a:lnTo>
                  <a:lnTo>
                    <a:pt x="606" y="517"/>
                  </a:lnTo>
                  <a:close/>
                  <a:moveTo>
                    <a:pt x="599" y="517"/>
                  </a:moveTo>
                  <a:lnTo>
                    <a:pt x="599" y="517"/>
                  </a:lnTo>
                  <a:lnTo>
                    <a:pt x="599" y="514"/>
                  </a:lnTo>
                  <a:lnTo>
                    <a:pt x="602" y="511"/>
                  </a:lnTo>
                  <a:lnTo>
                    <a:pt x="595" y="514"/>
                  </a:lnTo>
                  <a:lnTo>
                    <a:pt x="595" y="517"/>
                  </a:lnTo>
                  <a:lnTo>
                    <a:pt x="599" y="517"/>
                  </a:lnTo>
                  <a:lnTo>
                    <a:pt x="599" y="517"/>
                  </a:lnTo>
                  <a:close/>
                  <a:moveTo>
                    <a:pt x="606" y="511"/>
                  </a:moveTo>
                  <a:lnTo>
                    <a:pt x="609" y="514"/>
                  </a:lnTo>
                  <a:lnTo>
                    <a:pt x="616" y="514"/>
                  </a:lnTo>
                  <a:lnTo>
                    <a:pt x="619" y="514"/>
                  </a:lnTo>
                  <a:lnTo>
                    <a:pt x="623" y="514"/>
                  </a:lnTo>
                  <a:lnTo>
                    <a:pt x="626" y="517"/>
                  </a:lnTo>
                  <a:lnTo>
                    <a:pt x="630" y="517"/>
                  </a:lnTo>
                  <a:lnTo>
                    <a:pt x="633" y="517"/>
                  </a:lnTo>
                  <a:lnTo>
                    <a:pt x="633" y="521"/>
                  </a:lnTo>
                  <a:lnTo>
                    <a:pt x="633" y="521"/>
                  </a:lnTo>
                  <a:lnTo>
                    <a:pt x="637" y="521"/>
                  </a:lnTo>
                  <a:lnTo>
                    <a:pt x="640" y="521"/>
                  </a:lnTo>
                  <a:lnTo>
                    <a:pt x="643" y="521"/>
                  </a:lnTo>
                  <a:lnTo>
                    <a:pt x="643" y="521"/>
                  </a:lnTo>
                  <a:lnTo>
                    <a:pt x="643" y="517"/>
                  </a:lnTo>
                  <a:lnTo>
                    <a:pt x="643" y="514"/>
                  </a:lnTo>
                  <a:lnTo>
                    <a:pt x="643" y="514"/>
                  </a:lnTo>
                  <a:lnTo>
                    <a:pt x="640" y="511"/>
                  </a:lnTo>
                  <a:lnTo>
                    <a:pt x="637" y="511"/>
                  </a:lnTo>
                  <a:lnTo>
                    <a:pt x="633" y="508"/>
                  </a:lnTo>
                  <a:lnTo>
                    <a:pt x="626" y="508"/>
                  </a:lnTo>
                  <a:lnTo>
                    <a:pt x="619" y="511"/>
                  </a:lnTo>
                  <a:lnTo>
                    <a:pt x="616" y="511"/>
                  </a:lnTo>
                  <a:lnTo>
                    <a:pt x="612" y="511"/>
                  </a:lnTo>
                  <a:lnTo>
                    <a:pt x="609" y="511"/>
                  </a:lnTo>
                  <a:lnTo>
                    <a:pt x="609" y="511"/>
                  </a:lnTo>
                  <a:lnTo>
                    <a:pt x="606" y="511"/>
                  </a:lnTo>
                  <a:lnTo>
                    <a:pt x="606" y="511"/>
                  </a:lnTo>
                  <a:close/>
                  <a:moveTo>
                    <a:pt x="592" y="501"/>
                  </a:moveTo>
                  <a:lnTo>
                    <a:pt x="592" y="501"/>
                  </a:lnTo>
                  <a:lnTo>
                    <a:pt x="599" y="504"/>
                  </a:lnTo>
                  <a:lnTo>
                    <a:pt x="602" y="508"/>
                  </a:lnTo>
                  <a:lnTo>
                    <a:pt x="609" y="508"/>
                  </a:lnTo>
                  <a:lnTo>
                    <a:pt x="616" y="508"/>
                  </a:lnTo>
                  <a:lnTo>
                    <a:pt x="626" y="508"/>
                  </a:lnTo>
                  <a:lnTo>
                    <a:pt x="633" y="508"/>
                  </a:lnTo>
                  <a:lnTo>
                    <a:pt x="633" y="504"/>
                  </a:lnTo>
                  <a:lnTo>
                    <a:pt x="626" y="504"/>
                  </a:lnTo>
                  <a:lnTo>
                    <a:pt x="619" y="504"/>
                  </a:lnTo>
                  <a:lnTo>
                    <a:pt x="612" y="504"/>
                  </a:lnTo>
                  <a:lnTo>
                    <a:pt x="609" y="501"/>
                  </a:lnTo>
                  <a:lnTo>
                    <a:pt x="606" y="501"/>
                  </a:lnTo>
                  <a:lnTo>
                    <a:pt x="602" y="501"/>
                  </a:lnTo>
                  <a:lnTo>
                    <a:pt x="606" y="498"/>
                  </a:lnTo>
                  <a:lnTo>
                    <a:pt x="609" y="498"/>
                  </a:lnTo>
                  <a:lnTo>
                    <a:pt x="612" y="501"/>
                  </a:lnTo>
                  <a:lnTo>
                    <a:pt x="619" y="504"/>
                  </a:lnTo>
                  <a:lnTo>
                    <a:pt x="623" y="504"/>
                  </a:lnTo>
                  <a:lnTo>
                    <a:pt x="619" y="501"/>
                  </a:lnTo>
                  <a:lnTo>
                    <a:pt x="612" y="495"/>
                  </a:lnTo>
                  <a:lnTo>
                    <a:pt x="602" y="495"/>
                  </a:lnTo>
                  <a:lnTo>
                    <a:pt x="599" y="495"/>
                  </a:lnTo>
                  <a:lnTo>
                    <a:pt x="599" y="498"/>
                  </a:lnTo>
                  <a:lnTo>
                    <a:pt x="592" y="498"/>
                  </a:lnTo>
                  <a:lnTo>
                    <a:pt x="592" y="501"/>
                  </a:lnTo>
                  <a:lnTo>
                    <a:pt x="592" y="501"/>
                  </a:lnTo>
                  <a:close/>
                  <a:moveTo>
                    <a:pt x="650" y="508"/>
                  </a:moveTo>
                  <a:lnTo>
                    <a:pt x="650" y="508"/>
                  </a:lnTo>
                  <a:lnTo>
                    <a:pt x="654" y="508"/>
                  </a:lnTo>
                  <a:lnTo>
                    <a:pt x="654" y="508"/>
                  </a:lnTo>
                  <a:lnTo>
                    <a:pt x="650" y="508"/>
                  </a:lnTo>
                  <a:lnTo>
                    <a:pt x="650" y="508"/>
                  </a:lnTo>
                  <a:lnTo>
                    <a:pt x="650" y="508"/>
                  </a:lnTo>
                  <a:close/>
                  <a:moveTo>
                    <a:pt x="654" y="459"/>
                  </a:moveTo>
                  <a:lnTo>
                    <a:pt x="650" y="462"/>
                  </a:lnTo>
                  <a:lnTo>
                    <a:pt x="650" y="466"/>
                  </a:lnTo>
                  <a:lnTo>
                    <a:pt x="654" y="469"/>
                  </a:lnTo>
                  <a:lnTo>
                    <a:pt x="657" y="469"/>
                  </a:lnTo>
                  <a:lnTo>
                    <a:pt x="661" y="472"/>
                  </a:lnTo>
                  <a:lnTo>
                    <a:pt x="661" y="472"/>
                  </a:lnTo>
                  <a:lnTo>
                    <a:pt x="668" y="472"/>
                  </a:lnTo>
                  <a:lnTo>
                    <a:pt x="671" y="472"/>
                  </a:lnTo>
                  <a:lnTo>
                    <a:pt x="671" y="469"/>
                  </a:lnTo>
                  <a:lnTo>
                    <a:pt x="671" y="466"/>
                  </a:lnTo>
                  <a:lnTo>
                    <a:pt x="671" y="462"/>
                  </a:lnTo>
                  <a:lnTo>
                    <a:pt x="664" y="456"/>
                  </a:lnTo>
                  <a:lnTo>
                    <a:pt x="657" y="459"/>
                  </a:lnTo>
                  <a:lnTo>
                    <a:pt x="654" y="459"/>
                  </a:lnTo>
                  <a:lnTo>
                    <a:pt x="654" y="459"/>
                  </a:lnTo>
                  <a:close/>
                  <a:moveTo>
                    <a:pt x="692" y="456"/>
                  </a:moveTo>
                  <a:lnTo>
                    <a:pt x="692" y="456"/>
                  </a:lnTo>
                  <a:lnTo>
                    <a:pt x="695" y="453"/>
                  </a:lnTo>
                  <a:lnTo>
                    <a:pt x="695" y="453"/>
                  </a:lnTo>
                  <a:lnTo>
                    <a:pt x="692" y="453"/>
                  </a:lnTo>
                  <a:lnTo>
                    <a:pt x="692" y="453"/>
                  </a:lnTo>
                  <a:lnTo>
                    <a:pt x="692" y="456"/>
                  </a:lnTo>
                  <a:lnTo>
                    <a:pt x="692" y="456"/>
                  </a:lnTo>
                  <a:close/>
                  <a:moveTo>
                    <a:pt x="674" y="437"/>
                  </a:moveTo>
                  <a:lnTo>
                    <a:pt x="671" y="440"/>
                  </a:lnTo>
                  <a:lnTo>
                    <a:pt x="671" y="443"/>
                  </a:lnTo>
                  <a:lnTo>
                    <a:pt x="674" y="446"/>
                  </a:lnTo>
                  <a:lnTo>
                    <a:pt x="678" y="449"/>
                  </a:lnTo>
                  <a:lnTo>
                    <a:pt x="678" y="446"/>
                  </a:lnTo>
                  <a:lnTo>
                    <a:pt x="678" y="446"/>
                  </a:lnTo>
                  <a:lnTo>
                    <a:pt x="681" y="443"/>
                  </a:lnTo>
                  <a:lnTo>
                    <a:pt x="681" y="440"/>
                  </a:lnTo>
                  <a:lnTo>
                    <a:pt x="678" y="440"/>
                  </a:lnTo>
                  <a:lnTo>
                    <a:pt x="674" y="437"/>
                  </a:lnTo>
                  <a:lnTo>
                    <a:pt x="674" y="437"/>
                  </a:lnTo>
                  <a:close/>
                  <a:moveTo>
                    <a:pt x="698" y="427"/>
                  </a:moveTo>
                  <a:lnTo>
                    <a:pt x="698" y="433"/>
                  </a:lnTo>
                  <a:lnTo>
                    <a:pt x="695" y="437"/>
                  </a:lnTo>
                  <a:lnTo>
                    <a:pt x="698" y="440"/>
                  </a:lnTo>
                  <a:lnTo>
                    <a:pt x="702" y="440"/>
                  </a:lnTo>
                  <a:lnTo>
                    <a:pt x="705" y="440"/>
                  </a:lnTo>
                  <a:lnTo>
                    <a:pt x="709" y="440"/>
                  </a:lnTo>
                  <a:lnTo>
                    <a:pt x="709" y="440"/>
                  </a:lnTo>
                  <a:lnTo>
                    <a:pt x="712" y="443"/>
                  </a:lnTo>
                  <a:lnTo>
                    <a:pt x="712" y="443"/>
                  </a:lnTo>
                  <a:lnTo>
                    <a:pt x="716" y="440"/>
                  </a:lnTo>
                  <a:lnTo>
                    <a:pt x="716" y="440"/>
                  </a:lnTo>
                  <a:lnTo>
                    <a:pt x="716" y="433"/>
                  </a:lnTo>
                  <a:lnTo>
                    <a:pt x="716" y="433"/>
                  </a:lnTo>
                  <a:lnTo>
                    <a:pt x="712" y="433"/>
                  </a:lnTo>
                  <a:lnTo>
                    <a:pt x="712" y="437"/>
                  </a:lnTo>
                  <a:lnTo>
                    <a:pt x="712" y="437"/>
                  </a:lnTo>
                  <a:lnTo>
                    <a:pt x="709" y="433"/>
                  </a:lnTo>
                  <a:lnTo>
                    <a:pt x="709" y="430"/>
                  </a:lnTo>
                  <a:lnTo>
                    <a:pt x="705" y="427"/>
                  </a:lnTo>
                  <a:lnTo>
                    <a:pt x="709" y="427"/>
                  </a:lnTo>
                  <a:lnTo>
                    <a:pt x="709" y="427"/>
                  </a:lnTo>
                  <a:lnTo>
                    <a:pt x="712" y="424"/>
                  </a:lnTo>
                  <a:lnTo>
                    <a:pt x="709" y="424"/>
                  </a:lnTo>
                  <a:lnTo>
                    <a:pt x="705" y="424"/>
                  </a:lnTo>
                  <a:lnTo>
                    <a:pt x="702" y="424"/>
                  </a:lnTo>
                  <a:lnTo>
                    <a:pt x="702" y="424"/>
                  </a:lnTo>
                  <a:lnTo>
                    <a:pt x="698" y="427"/>
                  </a:lnTo>
                  <a:lnTo>
                    <a:pt x="698" y="427"/>
                  </a:lnTo>
                  <a:close/>
                  <a:moveTo>
                    <a:pt x="702" y="372"/>
                  </a:moveTo>
                  <a:lnTo>
                    <a:pt x="698" y="375"/>
                  </a:lnTo>
                  <a:lnTo>
                    <a:pt x="698" y="375"/>
                  </a:lnTo>
                  <a:lnTo>
                    <a:pt x="702" y="378"/>
                  </a:lnTo>
                  <a:lnTo>
                    <a:pt x="702" y="378"/>
                  </a:lnTo>
                  <a:lnTo>
                    <a:pt x="702" y="382"/>
                  </a:lnTo>
                  <a:lnTo>
                    <a:pt x="702" y="385"/>
                  </a:lnTo>
                  <a:lnTo>
                    <a:pt x="702" y="388"/>
                  </a:lnTo>
                  <a:lnTo>
                    <a:pt x="702" y="395"/>
                  </a:lnTo>
                  <a:lnTo>
                    <a:pt x="702" y="398"/>
                  </a:lnTo>
                  <a:lnTo>
                    <a:pt x="702" y="401"/>
                  </a:lnTo>
                  <a:lnTo>
                    <a:pt x="702" y="404"/>
                  </a:lnTo>
                  <a:lnTo>
                    <a:pt x="705" y="401"/>
                  </a:lnTo>
                  <a:lnTo>
                    <a:pt x="705" y="398"/>
                  </a:lnTo>
                  <a:lnTo>
                    <a:pt x="709" y="395"/>
                  </a:lnTo>
                  <a:lnTo>
                    <a:pt x="705" y="391"/>
                  </a:lnTo>
                  <a:lnTo>
                    <a:pt x="705" y="388"/>
                  </a:lnTo>
                  <a:lnTo>
                    <a:pt x="705" y="382"/>
                  </a:lnTo>
                  <a:lnTo>
                    <a:pt x="705" y="378"/>
                  </a:lnTo>
                  <a:lnTo>
                    <a:pt x="705" y="375"/>
                  </a:lnTo>
                  <a:lnTo>
                    <a:pt x="702" y="372"/>
                  </a:lnTo>
                  <a:lnTo>
                    <a:pt x="702" y="372"/>
                  </a:lnTo>
                  <a:close/>
                  <a:moveTo>
                    <a:pt x="674" y="382"/>
                  </a:moveTo>
                  <a:lnTo>
                    <a:pt x="671" y="385"/>
                  </a:lnTo>
                  <a:lnTo>
                    <a:pt x="674" y="385"/>
                  </a:lnTo>
                  <a:lnTo>
                    <a:pt x="678" y="385"/>
                  </a:lnTo>
                  <a:lnTo>
                    <a:pt x="681" y="382"/>
                  </a:lnTo>
                  <a:lnTo>
                    <a:pt x="678" y="382"/>
                  </a:lnTo>
                  <a:lnTo>
                    <a:pt x="674" y="382"/>
                  </a:lnTo>
                  <a:lnTo>
                    <a:pt x="674" y="382"/>
                  </a:lnTo>
                  <a:lnTo>
                    <a:pt x="674" y="382"/>
                  </a:lnTo>
                  <a:close/>
                  <a:moveTo>
                    <a:pt x="668" y="375"/>
                  </a:moveTo>
                  <a:lnTo>
                    <a:pt x="671" y="378"/>
                  </a:lnTo>
                  <a:lnTo>
                    <a:pt x="674" y="378"/>
                  </a:lnTo>
                  <a:lnTo>
                    <a:pt x="671" y="375"/>
                  </a:lnTo>
                  <a:lnTo>
                    <a:pt x="671" y="375"/>
                  </a:lnTo>
                  <a:lnTo>
                    <a:pt x="668" y="375"/>
                  </a:lnTo>
                  <a:lnTo>
                    <a:pt x="668" y="375"/>
                  </a:lnTo>
                  <a:close/>
                  <a:moveTo>
                    <a:pt x="695" y="320"/>
                  </a:moveTo>
                  <a:lnTo>
                    <a:pt x="695" y="327"/>
                  </a:lnTo>
                  <a:lnTo>
                    <a:pt x="698" y="327"/>
                  </a:lnTo>
                  <a:lnTo>
                    <a:pt x="702" y="327"/>
                  </a:lnTo>
                  <a:lnTo>
                    <a:pt x="702" y="327"/>
                  </a:lnTo>
                  <a:lnTo>
                    <a:pt x="698" y="323"/>
                  </a:lnTo>
                  <a:lnTo>
                    <a:pt x="695" y="320"/>
                  </a:lnTo>
                  <a:lnTo>
                    <a:pt x="695" y="320"/>
                  </a:lnTo>
                  <a:lnTo>
                    <a:pt x="695" y="320"/>
                  </a:lnTo>
                  <a:lnTo>
                    <a:pt x="695" y="320"/>
                  </a:lnTo>
                  <a:close/>
                  <a:moveTo>
                    <a:pt x="719" y="333"/>
                  </a:moveTo>
                  <a:lnTo>
                    <a:pt x="719" y="333"/>
                  </a:lnTo>
                  <a:lnTo>
                    <a:pt x="719" y="336"/>
                  </a:lnTo>
                  <a:lnTo>
                    <a:pt x="723" y="336"/>
                  </a:lnTo>
                  <a:lnTo>
                    <a:pt x="723" y="333"/>
                  </a:lnTo>
                  <a:lnTo>
                    <a:pt x="723" y="333"/>
                  </a:lnTo>
                  <a:lnTo>
                    <a:pt x="723" y="330"/>
                  </a:lnTo>
                  <a:lnTo>
                    <a:pt x="726" y="327"/>
                  </a:lnTo>
                  <a:lnTo>
                    <a:pt x="726" y="323"/>
                  </a:lnTo>
                  <a:lnTo>
                    <a:pt x="719" y="330"/>
                  </a:lnTo>
                  <a:lnTo>
                    <a:pt x="719" y="333"/>
                  </a:lnTo>
                  <a:lnTo>
                    <a:pt x="719" y="333"/>
                  </a:lnTo>
                  <a:lnTo>
                    <a:pt x="719" y="333"/>
                  </a:lnTo>
                  <a:close/>
                  <a:moveTo>
                    <a:pt x="709" y="317"/>
                  </a:moveTo>
                  <a:lnTo>
                    <a:pt x="709" y="317"/>
                  </a:lnTo>
                  <a:lnTo>
                    <a:pt x="709" y="317"/>
                  </a:lnTo>
                  <a:lnTo>
                    <a:pt x="712" y="311"/>
                  </a:lnTo>
                  <a:lnTo>
                    <a:pt x="709" y="311"/>
                  </a:lnTo>
                  <a:lnTo>
                    <a:pt x="709" y="311"/>
                  </a:lnTo>
                  <a:lnTo>
                    <a:pt x="709" y="317"/>
                  </a:lnTo>
                  <a:lnTo>
                    <a:pt x="709" y="317"/>
                  </a:lnTo>
                  <a:close/>
                  <a:moveTo>
                    <a:pt x="709" y="304"/>
                  </a:moveTo>
                  <a:lnTo>
                    <a:pt x="709" y="304"/>
                  </a:lnTo>
                  <a:lnTo>
                    <a:pt x="709" y="307"/>
                  </a:lnTo>
                  <a:lnTo>
                    <a:pt x="712" y="304"/>
                  </a:lnTo>
                  <a:lnTo>
                    <a:pt x="712" y="304"/>
                  </a:lnTo>
                  <a:lnTo>
                    <a:pt x="709" y="304"/>
                  </a:lnTo>
                  <a:lnTo>
                    <a:pt x="709" y="304"/>
                  </a:lnTo>
                  <a:close/>
                  <a:moveTo>
                    <a:pt x="726" y="269"/>
                  </a:moveTo>
                  <a:lnTo>
                    <a:pt x="729" y="272"/>
                  </a:lnTo>
                  <a:lnTo>
                    <a:pt x="729" y="272"/>
                  </a:lnTo>
                  <a:lnTo>
                    <a:pt x="733" y="272"/>
                  </a:lnTo>
                  <a:lnTo>
                    <a:pt x="733" y="265"/>
                  </a:lnTo>
                  <a:lnTo>
                    <a:pt x="733" y="262"/>
                  </a:lnTo>
                  <a:lnTo>
                    <a:pt x="733" y="262"/>
                  </a:lnTo>
                  <a:lnTo>
                    <a:pt x="733" y="259"/>
                  </a:lnTo>
                  <a:lnTo>
                    <a:pt x="729" y="262"/>
                  </a:lnTo>
                  <a:lnTo>
                    <a:pt x="729" y="265"/>
                  </a:lnTo>
                  <a:lnTo>
                    <a:pt x="726" y="269"/>
                  </a:lnTo>
                  <a:lnTo>
                    <a:pt x="726" y="269"/>
                  </a:lnTo>
                  <a:close/>
                  <a:moveTo>
                    <a:pt x="716" y="220"/>
                  </a:moveTo>
                  <a:lnTo>
                    <a:pt x="716" y="220"/>
                  </a:lnTo>
                  <a:lnTo>
                    <a:pt x="719" y="220"/>
                  </a:lnTo>
                  <a:lnTo>
                    <a:pt x="723" y="220"/>
                  </a:lnTo>
                  <a:lnTo>
                    <a:pt x="726" y="217"/>
                  </a:lnTo>
                  <a:lnTo>
                    <a:pt x="726" y="214"/>
                  </a:lnTo>
                  <a:lnTo>
                    <a:pt x="723" y="210"/>
                  </a:lnTo>
                  <a:lnTo>
                    <a:pt x="716" y="214"/>
                  </a:lnTo>
                  <a:lnTo>
                    <a:pt x="716" y="217"/>
                  </a:lnTo>
                  <a:lnTo>
                    <a:pt x="716" y="220"/>
                  </a:lnTo>
                  <a:lnTo>
                    <a:pt x="716" y="220"/>
                  </a:lnTo>
                  <a:close/>
                  <a:moveTo>
                    <a:pt x="754" y="130"/>
                  </a:moveTo>
                  <a:lnTo>
                    <a:pt x="757" y="130"/>
                  </a:lnTo>
                  <a:lnTo>
                    <a:pt x="757" y="126"/>
                  </a:lnTo>
                  <a:lnTo>
                    <a:pt x="757" y="120"/>
                  </a:lnTo>
                  <a:lnTo>
                    <a:pt x="757" y="117"/>
                  </a:lnTo>
                  <a:lnTo>
                    <a:pt x="757" y="114"/>
                  </a:lnTo>
                  <a:lnTo>
                    <a:pt x="754" y="117"/>
                  </a:lnTo>
                  <a:lnTo>
                    <a:pt x="754" y="117"/>
                  </a:lnTo>
                  <a:lnTo>
                    <a:pt x="754" y="120"/>
                  </a:lnTo>
                  <a:lnTo>
                    <a:pt x="754" y="123"/>
                  </a:lnTo>
                  <a:lnTo>
                    <a:pt x="754" y="126"/>
                  </a:lnTo>
                  <a:lnTo>
                    <a:pt x="754" y="130"/>
                  </a:lnTo>
                  <a:lnTo>
                    <a:pt x="754" y="130"/>
                  </a:lnTo>
                  <a:close/>
                  <a:moveTo>
                    <a:pt x="743" y="139"/>
                  </a:moveTo>
                  <a:lnTo>
                    <a:pt x="743" y="139"/>
                  </a:lnTo>
                  <a:lnTo>
                    <a:pt x="743" y="139"/>
                  </a:lnTo>
                  <a:lnTo>
                    <a:pt x="747" y="139"/>
                  </a:lnTo>
                  <a:lnTo>
                    <a:pt x="747" y="133"/>
                  </a:lnTo>
                  <a:lnTo>
                    <a:pt x="743" y="133"/>
                  </a:lnTo>
                  <a:lnTo>
                    <a:pt x="743" y="133"/>
                  </a:lnTo>
                  <a:lnTo>
                    <a:pt x="740" y="136"/>
                  </a:lnTo>
                  <a:lnTo>
                    <a:pt x="743" y="139"/>
                  </a:lnTo>
                  <a:lnTo>
                    <a:pt x="743" y="139"/>
                  </a:lnTo>
                  <a:close/>
                  <a:moveTo>
                    <a:pt x="736" y="130"/>
                  </a:moveTo>
                  <a:lnTo>
                    <a:pt x="736" y="133"/>
                  </a:lnTo>
                  <a:lnTo>
                    <a:pt x="740" y="130"/>
                  </a:lnTo>
                  <a:lnTo>
                    <a:pt x="740" y="126"/>
                  </a:lnTo>
                  <a:lnTo>
                    <a:pt x="743" y="123"/>
                  </a:lnTo>
                  <a:lnTo>
                    <a:pt x="743" y="123"/>
                  </a:lnTo>
                  <a:lnTo>
                    <a:pt x="740" y="120"/>
                  </a:lnTo>
                  <a:lnTo>
                    <a:pt x="740" y="120"/>
                  </a:lnTo>
                  <a:lnTo>
                    <a:pt x="736" y="123"/>
                  </a:lnTo>
                  <a:lnTo>
                    <a:pt x="736" y="126"/>
                  </a:lnTo>
                  <a:lnTo>
                    <a:pt x="736" y="130"/>
                  </a:lnTo>
                  <a:lnTo>
                    <a:pt x="736" y="130"/>
                  </a:lnTo>
                  <a:close/>
                  <a:moveTo>
                    <a:pt x="533" y="10"/>
                  </a:moveTo>
                  <a:lnTo>
                    <a:pt x="533" y="10"/>
                  </a:lnTo>
                  <a:lnTo>
                    <a:pt x="537" y="10"/>
                  </a:lnTo>
                  <a:lnTo>
                    <a:pt x="537" y="7"/>
                  </a:lnTo>
                  <a:lnTo>
                    <a:pt x="533" y="4"/>
                  </a:lnTo>
                  <a:lnTo>
                    <a:pt x="533" y="4"/>
                  </a:lnTo>
                  <a:lnTo>
                    <a:pt x="530" y="7"/>
                  </a:lnTo>
                  <a:lnTo>
                    <a:pt x="533" y="10"/>
                  </a:lnTo>
                  <a:lnTo>
                    <a:pt x="533" y="10"/>
                  </a:lnTo>
                  <a:close/>
                  <a:moveTo>
                    <a:pt x="533" y="17"/>
                  </a:moveTo>
                  <a:lnTo>
                    <a:pt x="533" y="17"/>
                  </a:lnTo>
                  <a:lnTo>
                    <a:pt x="537" y="17"/>
                  </a:lnTo>
                  <a:lnTo>
                    <a:pt x="540" y="13"/>
                  </a:lnTo>
                  <a:lnTo>
                    <a:pt x="540" y="13"/>
                  </a:lnTo>
                  <a:lnTo>
                    <a:pt x="537" y="13"/>
                  </a:lnTo>
                  <a:lnTo>
                    <a:pt x="533" y="13"/>
                  </a:lnTo>
                  <a:lnTo>
                    <a:pt x="533" y="17"/>
                  </a:lnTo>
                  <a:lnTo>
                    <a:pt x="533" y="17"/>
                  </a:lnTo>
                  <a:close/>
                  <a:moveTo>
                    <a:pt x="516" y="17"/>
                  </a:moveTo>
                  <a:lnTo>
                    <a:pt x="520" y="20"/>
                  </a:lnTo>
                  <a:lnTo>
                    <a:pt x="520" y="23"/>
                  </a:lnTo>
                  <a:lnTo>
                    <a:pt x="523" y="23"/>
                  </a:lnTo>
                  <a:lnTo>
                    <a:pt x="526" y="20"/>
                  </a:lnTo>
                  <a:lnTo>
                    <a:pt x="526" y="20"/>
                  </a:lnTo>
                  <a:lnTo>
                    <a:pt x="523" y="13"/>
                  </a:lnTo>
                  <a:lnTo>
                    <a:pt x="523" y="13"/>
                  </a:lnTo>
                  <a:lnTo>
                    <a:pt x="520" y="10"/>
                  </a:lnTo>
                  <a:lnTo>
                    <a:pt x="520" y="10"/>
                  </a:lnTo>
                  <a:lnTo>
                    <a:pt x="516" y="13"/>
                  </a:lnTo>
                  <a:lnTo>
                    <a:pt x="516" y="13"/>
                  </a:lnTo>
                  <a:lnTo>
                    <a:pt x="516" y="17"/>
                  </a:lnTo>
                  <a:lnTo>
                    <a:pt x="516" y="17"/>
                  </a:lnTo>
                  <a:close/>
                  <a:moveTo>
                    <a:pt x="506" y="20"/>
                  </a:moveTo>
                  <a:lnTo>
                    <a:pt x="506" y="20"/>
                  </a:lnTo>
                  <a:lnTo>
                    <a:pt x="509" y="23"/>
                  </a:lnTo>
                  <a:lnTo>
                    <a:pt x="513" y="23"/>
                  </a:lnTo>
                  <a:lnTo>
                    <a:pt x="513" y="20"/>
                  </a:lnTo>
                  <a:lnTo>
                    <a:pt x="509" y="20"/>
                  </a:lnTo>
                  <a:lnTo>
                    <a:pt x="506" y="20"/>
                  </a:lnTo>
                  <a:lnTo>
                    <a:pt x="506" y="20"/>
                  </a:lnTo>
                  <a:close/>
                  <a:moveTo>
                    <a:pt x="451" y="33"/>
                  </a:moveTo>
                  <a:lnTo>
                    <a:pt x="451" y="36"/>
                  </a:lnTo>
                  <a:lnTo>
                    <a:pt x="454" y="36"/>
                  </a:lnTo>
                  <a:lnTo>
                    <a:pt x="458" y="39"/>
                  </a:lnTo>
                  <a:lnTo>
                    <a:pt x="461" y="42"/>
                  </a:lnTo>
                  <a:lnTo>
                    <a:pt x="465" y="39"/>
                  </a:lnTo>
                  <a:lnTo>
                    <a:pt x="465" y="33"/>
                  </a:lnTo>
                  <a:lnTo>
                    <a:pt x="465" y="33"/>
                  </a:lnTo>
                  <a:lnTo>
                    <a:pt x="465" y="33"/>
                  </a:lnTo>
                  <a:lnTo>
                    <a:pt x="461" y="30"/>
                  </a:lnTo>
                  <a:lnTo>
                    <a:pt x="458" y="26"/>
                  </a:lnTo>
                  <a:lnTo>
                    <a:pt x="454" y="26"/>
                  </a:lnTo>
                  <a:lnTo>
                    <a:pt x="454" y="30"/>
                  </a:lnTo>
                  <a:lnTo>
                    <a:pt x="454" y="30"/>
                  </a:lnTo>
                  <a:lnTo>
                    <a:pt x="454" y="33"/>
                  </a:lnTo>
                  <a:lnTo>
                    <a:pt x="454" y="33"/>
                  </a:lnTo>
                  <a:lnTo>
                    <a:pt x="451" y="33"/>
                  </a:lnTo>
                  <a:lnTo>
                    <a:pt x="451" y="33"/>
                  </a:lnTo>
                  <a:lnTo>
                    <a:pt x="451" y="33"/>
                  </a:lnTo>
                  <a:close/>
                  <a:moveTo>
                    <a:pt x="447" y="36"/>
                  </a:moveTo>
                  <a:lnTo>
                    <a:pt x="447" y="39"/>
                  </a:lnTo>
                  <a:lnTo>
                    <a:pt x="451" y="39"/>
                  </a:lnTo>
                  <a:lnTo>
                    <a:pt x="451" y="36"/>
                  </a:lnTo>
                  <a:lnTo>
                    <a:pt x="447" y="33"/>
                  </a:lnTo>
                  <a:lnTo>
                    <a:pt x="447" y="36"/>
                  </a:lnTo>
                  <a:lnTo>
                    <a:pt x="447" y="36"/>
                  </a:lnTo>
                  <a:close/>
                  <a:moveTo>
                    <a:pt x="427" y="33"/>
                  </a:moveTo>
                  <a:lnTo>
                    <a:pt x="427" y="36"/>
                  </a:lnTo>
                  <a:lnTo>
                    <a:pt x="434" y="36"/>
                  </a:lnTo>
                  <a:lnTo>
                    <a:pt x="434" y="39"/>
                  </a:lnTo>
                  <a:lnTo>
                    <a:pt x="437" y="39"/>
                  </a:lnTo>
                  <a:lnTo>
                    <a:pt x="437" y="36"/>
                  </a:lnTo>
                  <a:lnTo>
                    <a:pt x="434" y="36"/>
                  </a:lnTo>
                  <a:lnTo>
                    <a:pt x="434" y="36"/>
                  </a:lnTo>
                  <a:lnTo>
                    <a:pt x="434" y="33"/>
                  </a:lnTo>
                  <a:lnTo>
                    <a:pt x="430" y="30"/>
                  </a:lnTo>
                  <a:lnTo>
                    <a:pt x="427" y="33"/>
                  </a:lnTo>
                  <a:lnTo>
                    <a:pt x="427" y="33"/>
                  </a:lnTo>
                  <a:lnTo>
                    <a:pt x="427" y="33"/>
                  </a:lnTo>
                  <a:close/>
                  <a:moveTo>
                    <a:pt x="416" y="65"/>
                  </a:moveTo>
                  <a:lnTo>
                    <a:pt x="416" y="65"/>
                  </a:lnTo>
                  <a:lnTo>
                    <a:pt x="420" y="65"/>
                  </a:lnTo>
                  <a:lnTo>
                    <a:pt x="420" y="62"/>
                  </a:lnTo>
                  <a:lnTo>
                    <a:pt x="420" y="59"/>
                  </a:lnTo>
                  <a:lnTo>
                    <a:pt x="416" y="55"/>
                  </a:lnTo>
                  <a:lnTo>
                    <a:pt x="413" y="52"/>
                  </a:lnTo>
                  <a:lnTo>
                    <a:pt x="413" y="55"/>
                  </a:lnTo>
                  <a:lnTo>
                    <a:pt x="413" y="55"/>
                  </a:lnTo>
                  <a:lnTo>
                    <a:pt x="413" y="59"/>
                  </a:lnTo>
                  <a:lnTo>
                    <a:pt x="413" y="62"/>
                  </a:lnTo>
                  <a:lnTo>
                    <a:pt x="416" y="65"/>
                  </a:lnTo>
                  <a:lnTo>
                    <a:pt x="416" y="65"/>
                  </a:lnTo>
                  <a:close/>
                  <a:moveTo>
                    <a:pt x="420" y="97"/>
                  </a:moveTo>
                  <a:lnTo>
                    <a:pt x="427" y="97"/>
                  </a:lnTo>
                  <a:lnTo>
                    <a:pt x="427" y="94"/>
                  </a:lnTo>
                  <a:lnTo>
                    <a:pt x="427" y="91"/>
                  </a:lnTo>
                  <a:lnTo>
                    <a:pt x="423" y="91"/>
                  </a:lnTo>
                  <a:lnTo>
                    <a:pt x="423" y="88"/>
                  </a:lnTo>
                  <a:lnTo>
                    <a:pt x="423" y="88"/>
                  </a:lnTo>
                  <a:lnTo>
                    <a:pt x="420" y="88"/>
                  </a:lnTo>
                  <a:lnTo>
                    <a:pt x="416" y="91"/>
                  </a:lnTo>
                  <a:lnTo>
                    <a:pt x="416" y="94"/>
                  </a:lnTo>
                  <a:lnTo>
                    <a:pt x="420" y="97"/>
                  </a:lnTo>
                  <a:lnTo>
                    <a:pt x="420" y="97"/>
                  </a:lnTo>
                  <a:lnTo>
                    <a:pt x="420" y="97"/>
                  </a:lnTo>
                  <a:close/>
                  <a:moveTo>
                    <a:pt x="420" y="101"/>
                  </a:moveTo>
                  <a:lnTo>
                    <a:pt x="420" y="104"/>
                  </a:lnTo>
                  <a:lnTo>
                    <a:pt x="420" y="104"/>
                  </a:lnTo>
                  <a:lnTo>
                    <a:pt x="420" y="107"/>
                  </a:lnTo>
                  <a:lnTo>
                    <a:pt x="427" y="114"/>
                  </a:lnTo>
                  <a:lnTo>
                    <a:pt x="430" y="110"/>
                  </a:lnTo>
                  <a:lnTo>
                    <a:pt x="427" y="104"/>
                  </a:lnTo>
                  <a:lnTo>
                    <a:pt x="427" y="101"/>
                  </a:lnTo>
                  <a:lnTo>
                    <a:pt x="423" y="101"/>
                  </a:lnTo>
                  <a:lnTo>
                    <a:pt x="420" y="101"/>
                  </a:lnTo>
                  <a:lnTo>
                    <a:pt x="420" y="101"/>
                  </a:lnTo>
                  <a:close/>
                  <a:moveTo>
                    <a:pt x="368" y="68"/>
                  </a:moveTo>
                  <a:lnTo>
                    <a:pt x="368" y="68"/>
                  </a:lnTo>
                  <a:lnTo>
                    <a:pt x="368" y="65"/>
                  </a:lnTo>
                  <a:lnTo>
                    <a:pt x="368" y="65"/>
                  </a:lnTo>
                  <a:lnTo>
                    <a:pt x="365" y="62"/>
                  </a:lnTo>
                  <a:lnTo>
                    <a:pt x="365" y="65"/>
                  </a:lnTo>
                  <a:lnTo>
                    <a:pt x="365" y="65"/>
                  </a:lnTo>
                  <a:lnTo>
                    <a:pt x="368" y="68"/>
                  </a:lnTo>
                  <a:lnTo>
                    <a:pt x="368" y="68"/>
                  </a:lnTo>
                  <a:close/>
                  <a:moveTo>
                    <a:pt x="358" y="88"/>
                  </a:moveTo>
                  <a:lnTo>
                    <a:pt x="361" y="91"/>
                  </a:lnTo>
                  <a:lnTo>
                    <a:pt x="361" y="88"/>
                  </a:lnTo>
                  <a:lnTo>
                    <a:pt x="361" y="84"/>
                  </a:lnTo>
                  <a:lnTo>
                    <a:pt x="358" y="78"/>
                  </a:lnTo>
                  <a:lnTo>
                    <a:pt x="358" y="75"/>
                  </a:lnTo>
                  <a:lnTo>
                    <a:pt x="358" y="68"/>
                  </a:lnTo>
                  <a:lnTo>
                    <a:pt x="358" y="65"/>
                  </a:lnTo>
                  <a:lnTo>
                    <a:pt x="358" y="62"/>
                  </a:lnTo>
                  <a:lnTo>
                    <a:pt x="358" y="55"/>
                  </a:lnTo>
                  <a:lnTo>
                    <a:pt x="358" y="52"/>
                  </a:lnTo>
                  <a:lnTo>
                    <a:pt x="351" y="55"/>
                  </a:lnTo>
                  <a:lnTo>
                    <a:pt x="351" y="65"/>
                  </a:lnTo>
                  <a:lnTo>
                    <a:pt x="351" y="68"/>
                  </a:lnTo>
                  <a:lnTo>
                    <a:pt x="351" y="72"/>
                  </a:lnTo>
                  <a:lnTo>
                    <a:pt x="354" y="78"/>
                  </a:lnTo>
                  <a:lnTo>
                    <a:pt x="354" y="84"/>
                  </a:lnTo>
                  <a:lnTo>
                    <a:pt x="358" y="88"/>
                  </a:lnTo>
                  <a:lnTo>
                    <a:pt x="358" y="88"/>
                  </a:lnTo>
                  <a:close/>
                  <a:moveTo>
                    <a:pt x="148" y="117"/>
                  </a:moveTo>
                  <a:lnTo>
                    <a:pt x="152" y="117"/>
                  </a:lnTo>
                  <a:lnTo>
                    <a:pt x="152" y="120"/>
                  </a:lnTo>
                  <a:lnTo>
                    <a:pt x="155" y="120"/>
                  </a:lnTo>
                  <a:lnTo>
                    <a:pt x="155" y="117"/>
                  </a:lnTo>
                  <a:lnTo>
                    <a:pt x="155" y="117"/>
                  </a:lnTo>
                  <a:lnTo>
                    <a:pt x="148" y="117"/>
                  </a:lnTo>
                  <a:lnTo>
                    <a:pt x="148" y="117"/>
                  </a:lnTo>
                  <a:close/>
                  <a:moveTo>
                    <a:pt x="17" y="259"/>
                  </a:moveTo>
                  <a:lnTo>
                    <a:pt x="21" y="262"/>
                  </a:lnTo>
                  <a:lnTo>
                    <a:pt x="24" y="262"/>
                  </a:lnTo>
                  <a:lnTo>
                    <a:pt x="28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28" y="262"/>
                  </a:lnTo>
                  <a:lnTo>
                    <a:pt x="24" y="259"/>
                  </a:lnTo>
                  <a:lnTo>
                    <a:pt x="21" y="259"/>
                  </a:lnTo>
                  <a:lnTo>
                    <a:pt x="17" y="259"/>
                  </a:lnTo>
                  <a:lnTo>
                    <a:pt x="17" y="259"/>
                  </a:lnTo>
                  <a:lnTo>
                    <a:pt x="17" y="259"/>
                  </a:lnTo>
                  <a:close/>
                  <a:moveTo>
                    <a:pt x="0" y="259"/>
                  </a:moveTo>
                  <a:lnTo>
                    <a:pt x="4" y="262"/>
                  </a:lnTo>
                  <a:lnTo>
                    <a:pt x="7" y="262"/>
                  </a:lnTo>
                  <a:lnTo>
                    <a:pt x="10" y="265"/>
                  </a:lnTo>
                  <a:lnTo>
                    <a:pt x="14" y="262"/>
                  </a:lnTo>
                  <a:lnTo>
                    <a:pt x="10" y="259"/>
                  </a:lnTo>
                  <a:lnTo>
                    <a:pt x="4" y="259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59"/>
                  </a:lnTo>
                  <a:close/>
                  <a:moveTo>
                    <a:pt x="148" y="395"/>
                  </a:moveTo>
                  <a:lnTo>
                    <a:pt x="148" y="398"/>
                  </a:lnTo>
                  <a:lnTo>
                    <a:pt x="148" y="398"/>
                  </a:lnTo>
                  <a:lnTo>
                    <a:pt x="152" y="398"/>
                  </a:lnTo>
                  <a:lnTo>
                    <a:pt x="148" y="395"/>
                  </a:lnTo>
                  <a:lnTo>
                    <a:pt x="148" y="395"/>
                  </a:lnTo>
                  <a:lnTo>
                    <a:pt x="148" y="395"/>
                  </a:lnTo>
                  <a:close/>
                  <a:moveTo>
                    <a:pt x="148" y="411"/>
                  </a:moveTo>
                  <a:lnTo>
                    <a:pt x="152" y="411"/>
                  </a:lnTo>
                  <a:lnTo>
                    <a:pt x="152" y="411"/>
                  </a:lnTo>
                  <a:lnTo>
                    <a:pt x="158" y="411"/>
                  </a:lnTo>
                  <a:lnTo>
                    <a:pt x="162" y="414"/>
                  </a:lnTo>
                  <a:lnTo>
                    <a:pt x="162" y="414"/>
                  </a:lnTo>
                  <a:lnTo>
                    <a:pt x="165" y="411"/>
                  </a:lnTo>
                  <a:lnTo>
                    <a:pt x="162" y="407"/>
                  </a:lnTo>
                  <a:lnTo>
                    <a:pt x="155" y="407"/>
                  </a:lnTo>
                  <a:lnTo>
                    <a:pt x="155" y="411"/>
                  </a:lnTo>
                  <a:lnTo>
                    <a:pt x="152" y="407"/>
                  </a:lnTo>
                  <a:lnTo>
                    <a:pt x="148" y="407"/>
                  </a:lnTo>
                  <a:lnTo>
                    <a:pt x="148" y="407"/>
                  </a:lnTo>
                  <a:lnTo>
                    <a:pt x="148" y="411"/>
                  </a:lnTo>
                  <a:lnTo>
                    <a:pt x="148" y="411"/>
                  </a:lnTo>
                  <a:close/>
                  <a:moveTo>
                    <a:pt x="152" y="414"/>
                  </a:moveTo>
                  <a:lnTo>
                    <a:pt x="155" y="417"/>
                  </a:lnTo>
                  <a:lnTo>
                    <a:pt x="155" y="417"/>
                  </a:lnTo>
                  <a:lnTo>
                    <a:pt x="155" y="414"/>
                  </a:lnTo>
                  <a:lnTo>
                    <a:pt x="152" y="414"/>
                  </a:lnTo>
                  <a:lnTo>
                    <a:pt x="152" y="414"/>
                  </a:lnTo>
                  <a:close/>
                  <a:moveTo>
                    <a:pt x="155" y="437"/>
                  </a:moveTo>
                  <a:lnTo>
                    <a:pt x="155" y="437"/>
                  </a:lnTo>
                  <a:lnTo>
                    <a:pt x="158" y="437"/>
                  </a:lnTo>
                  <a:lnTo>
                    <a:pt x="158" y="440"/>
                  </a:lnTo>
                  <a:lnTo>
                    <a:pt x="162" y="440"/>
                  </a:lnTo>
                  <a:lnTo>
                    <a:pt x="162" y="437"/>
                  </a:lnTo>
                  <a:lnTo>
                    <a:pt x="155" y="433"/>
                  </a:lnTo>
                  <a:lnTo>
                    <a:pt x="155" y="437"/>
                  </a:lnTo>
                  <a:lnTo>
                    <a:pt x="155" y="437"/>
                  </a:lnTo>
                  <a:lnTo>
                    <a:pt x="155" y="437"/>
                  </a:lnTo>
                  <a:close/>
                  <a:moveTo>
                    <a:pt x="152" y="443"/>
                  </a:moveTo>
                  <a:lnTo>
                    <a:pt x="152" y="446"/>
                  </a:lnTo>
                  <a:lnTo>
                    <a:pt x="155" y="446"/>
                  </a:lnTo>
                  <a:lnTo>
                    <a:pt x="155" y="443"/>
                  </a:lnTo>
                  <a:lnTo>
                    <a:pt x="152" y="443"/>
                  </a:lnTo>
                  <a:lnTo>
                    <a:pt x="152" y="443"/>
                  </a:lnTo>
                  <a:lnTo>
                    <a:pt x="152" y="443"/>
                  </a:lnTo>
                  <a:lnTo>
                    <a:pt x="152" y="443"/>
                  </a:lnTo>
                  <a:close/>
                  <a:moveTo>
                    <a:pt x="155" y="456"/>
                  </a:moveTo>
                  <a:lnTo>
                    <a:pt x="158" y="456"/>
                  </a:lnTo>
                  <a:lnTo>
                    <a:pt x="158" y="456"/>
                  </a:lnTo>
                  <a:lnTo>
                    <a:pt x="155" y="453"/>
                  </a:lnTo>
                  <a:lnTo>
                    <a:pt x="155" y="453"/>
                  </a:lnTo>
                  <a:lnTo>
                    <a:pt x="155" y="453"/>
                  </a:lnTo>
                  <a:lnTo>
                    <a:pt x="155" y="456"/>
                  </a:lnTo>
                  <a:lnTo>
                    <a:pt x="155" y="456"/>
                  </a:lnTo>
                  <a:close/>
                  <a:moveTo>
                    <a:pt x="162" y="459"/>
                  </a:moveTo>
                  <a:lnTo>
                    <a:pt x="162" y="462"/>
                  </a:lnTo>
                  <a:lnTo>
                    <a:pt x="162" y="462"/>
                  </a:lnTo>
                  <a:lnTo>
                    <a:pt x="162" y="459"/>
                  </a:lnTo>
                  <a:lnTo>
                    <a:pt x="162" y="459"/>
                  </a:lnTo>
                  <a:lnTo>
                    <a:pt x="162" y="459"/>
                  </a:lnTo>
                  <a:close/>
                  <a:moveTo>
                    <a:pt x="148" y="462"/>
                  </a:moveTo>
                  <a:lnTo>
                    <a:pt x="152" y="462"/>
                  </a:lnTo>
                  <a:lnTo>
                    <a:pt x="148" y="459"/>
                  </a:lnTo>
                  <a:lnTo>
                    <a:pt x="148" y="462"/>
                  </a:lnTo>
                  <a:lnTo>
                    <a:pt x="148" y="462"/>
                  </a:lnTo>
                  <a:lnTo>
                    <a:pt x="148" y="462"/>
                  </a:lnTo>
                  <a:close/>
                  <a:moveTo>
                    <a:pt x="155" y="462"/>
                  </a:moveTo>
                  <a:lnTo>
                    <a:pt x="155" y="462"/>
                  </a:lnTo>
                  <a:lnTo>
                    <a:pt x="155" y="462"/>
                  </a:lnTo>
                  <a:lnTo>
                    <a:pt x="155" y="459"/>
                  </a:lnTo>
                  <a:lnTo>
                    <a:pt x="155" y="462"/>
                  </a:lnTo>
                  <a:lnTo>
                    <a:pt x="155" y="462"/>
                  </a:lnTo>
                  <a:close/>
                  <a:moveTo>
                    <a:pt x="152" y="466"/>
                  </a:moveTo>
                  <a:lnTo>
                    <a:pt x="155" y="466"/>
                  </a:lnTo>
                  <a:lnTo>
                    <a:pt x="155" y="466"/>
                  </a:lnTo>
                  <a:lnTo>
                    <a:pt x="152" y="466"/>
                  </a:lnTo>
                  <a:lnTo>
                    <a:pt x="152" y="466"/>
                  </a:lnTo>
                  <a:lnTo>
                    <a:pt x="152" y="466"/>
                  </a:lnTo>
                  <a:close/>
                  <a:moveTo>
                    <a:pt x="155" y="472"/>
                  </a:moveTo>
                  <a:lnTo>
                    <a:pt x="155" y="469"/>
                  </a:lnTo>
                  <a:lnTo>
                    <a:pt x="155" y="469"/>
                  </a:lnTo>
                  <a:lnTo>
                    <a:pt x="152" y="469"/>
                  </a:lnTo>
                  <a:lnTo>
                    <a:pt x="152" y="472"/>
                  </a:lnTo>
                  <a:lnTo>
                    <a:pt x="155" y="472"/>
                  </a:lnTo>
                  <a:lnTo>
                    <a:pt x="155" y="472"/>
                  </a:lnTo>
                  <a:close/>
                  <a:moveTo>
                    <a:pt x="158" y="475"/>
                  </a:moveTo>
                  <a:lnTo>
                    <a:pt x="158" y="475"/>
                  </a:lnTo>
                  <a:lnTo>
                    <a:pt x="162" y="472"/>
                  </a:lnTo>
                  <a:lnTo>
                    <a:pt x="158" y="472"/>
                  </a:lnTo>
                  <a:lnTo>
                    <a:pt x="155" y="472"/>
                  </a:lnTo>
                  <a:lnTo>
                    <a:pt x="155" y="472"/>
                  </a:lnTo>
                  <a:lnTo>
                    <a:pt x="158" y="475"/>
                  </a:lnTo>
                  <a:lnTo>
                    <a:pt x="158" y="475"/>
                  </a:lnTo>
                  <a:close/>
                  <a:moveTo>
                    <a:pt x="145" y="482"/>
                  </a:moveTo>
                  <a:lnTo>
                    <a:pt x="148" y="482"/>
                  </a:lnTo>
                  <a:lnTo>
                    <a:pt x="152" y="482"/>
                  </a:lnTo>
                  <a:lnTo>
                    <a:pt x="152" y="479"/>
                  </a:lnTo>
                  <a:lnTo>
                    <a:pt x="145" y="479"/>
                  </a:lnTo>
                  <a:lnTo>
                    <a:pt x="145" y="482"/>
                  </a:lnTo>
                  <a:lnTo>
                    <a:pt x="145" y="482"/>
                  </a:lnTo>
                  <a:lnTo>
                    <a:pt x="145" y="482"/>
                  </a:lnTo>
                  <a:close/>
                  <a:moveTo>
                    <a:pt x="152" y="488"/>
                  </a:moveTo>
                  <a:lnTo>
                    <a:pt x="158" y="485"/>
                  </a:lnTo>
                  <a:lnTo>
                    <a:pt x="162" y="482"/>
                  </a:lnTo>
                  <a:lnTo>
                    <a:pt x="162" y="479"/>
                  </a:lnTo>
                  <a:lnTo>
                    <a:pt x="158" y="479"/>
                  </a:lnTo>
                  <a:lnTo>
                    <a:pt x="155" y="482"/>
                  </a:lnTo>
                  <a:lnTo>
                    <a:pt x="152" y="482"/>
                  </a:lnTo>
                  <a:lnTo>
                    <a:pt x="152" y="485"/>
                  </a:lnTo>
                  <a:lnTo>
                    <a:pt x="152" y="485"/>
                  </a:lnTo>
                  <a:lnTo>
                    <a:pt x="152" y="488"/>
                  </a:lnTo>
                  <a:lnTo>
                    <a:pt x="152" y="488"/>
                  </a:lnTo>
                  <a:lnTo>
                    <a:pt x="152" y="488"/>
                  </a:lnTo>
                  <a:lnTo>
                    <a:pt x="152" y="488"/>
                  </a:lnTo>
                  <a:lnTo>
                    <a:pt x="152" y="488"/>
                  </a:lnTo>
                  <a:close/>
                  <a:moveTo>
                    <a:pt x="158" y="488"/>
                  </a:moveTo>
                  <a:lnTo>
                    <a:pt x="158" y="488"/>
                  </a:lnTo>
                  <a:lnTo>
                    <a:pt x="162" y="485"/>
                  </a:lnTo>
                  <a:lnTo>
                    <a:pt x="162" y="485"/>
                  </a:lnTo>
                  <a:lnTo>
                    <a:pt x="158" y="488"/>
                  </a:lnTo>
                  <a:lnTo>
                    <a:pt x="158" y="488"/>
                  </a:lnTo>
                  <a:close/>
                  <a:moveTo>
                    <a:pt x="155" y="491"/>
                  </a:moveTo>
                  <a:lnTo>
                    <a:pt x="158" y="488"/>
                  </a:lnTo>
                  <a:lnTo>
                    <a:pt x="158" y="488"/>
                  </a:lnTo>
                  <a:lnTo>
                    <a:pt x="155" y="488"/>
                  </a:lnTo>
                  <a:lnTo>
                    <a:pt x="155" y="491"/>
                  </a:lnTo>
                  <a:lnTo>
                    <a:pt x="155" y="491"/>
                  </a:lnTo>
                  <a:close/>
                  <a:moveTo>
                    <a:pt x="152" y="491"/>
                  </a:moveTo>
                  <a:lnTo>
                    <a:pt x="152" y="491"/>
                  </a:lnTo>
                  <a:lnTo>
                    <a:pt x="152" y="488"/>
                  </a:lnTo>
                  <a:lnTo>
                    <a:pt x="148" y="491"/>
                  </a:lnTo>
                  <a:lnTo>
                    <a:pt x="148" y="491"/>
                  </a:lnTo>
                  <a:lnTo>
                    <a:pt x="152" y="491"/>
                  </a:lnTo>
                  <a:lnTo>
                    <a:pt x="152" y="491"/>
                  </a:lnTo>
                  <a:close/>
                  <a:moveTo>
                    <a:pt x="145" y="501"/>
                  </a:moveTo>
                  <a:lnTo>
                    <a:pt x="145" y="504"/>
                  </a:lnTo>
                  <a:lnTo>
                    <a:pt x="148" y="504"/>
                  </a:lnTo>
                  <a:lnTo>
                    <a:pt x="148" y="501"/>
                  </a:lnTo>
                  <a:lnTo>
                    <a:pt x="152" y="501"/>
                  </a:lnTo>
                  <a:lnTo>
                    <a:pt x="155" y="498"/>
                  </a:lnTo>
                  <a:lnTo>
                    <a:pt x="152" y="498"/>
                  </a:lnTo>
                  <a:lnTo>
                    <a:pt x="152" y="501"/>
                  </a:lnTo>
                  <a:lnTo>
                    <a:pt x="148" y="501"/>
                  </a:lnTo>
                  <a:lnTo>
                    <a:pt x="145" y="501"/>
                  </a:lnTo>
                  <a:lnTo>
                    <a:pt x="145" y="501"/>
                  </a:lnTo>
                  <a:lnTo>
                    <a:pt x="145" y="501"/>
                  </a:lnTo>
                  <a:lnTo>
                    <a:pt x="145" y="501"/>
                  </a:lnTo>
                  <a:close/>
                  <a:moveTo>
                    <a:pt x="141" y="511"/>
                  </a:moveTo>
                  <a:lnTo>
                    <a:pt x="141" y="514"/>
                  </a:lnTo>
                  <a:lnTo>
                    <a:pt x="145" y="517"/>
                  </a:lnTo>
                  <a:lnTo>
                    <a:pt x="145" y="514"/>
                  </a:lnTo>
                  <a:lnTo>
                    <a:pt x="145" y="511"/>
                  </a:lnTo>
                  <a:lnTo>
                    <a:pt x="141" y="511"/>
                  </a:lnTo>
                  <a:lnTo>
                    <a:pt x="141" y="511"/>
                  </a:lnTo>
                  <a:close/>
                  <a:moveTo>
                    <a:pt x="227" y="892"/>
                  </a:moveTo>
                  <a:lnTo>
                    <a:pt x="231" y="889"/>
                  </a:lnTo>
                  <a:lnTo>
                    <a:pt x="231" y="889"/>
                  </a:lnTo>
                  <a:lnTo>
                    <a:pt x="234" y="889"/>
                  </a:lnTo>
                  <a:lnTo>
                    <a:pt x="231" y="892"/>
                  </a:lnTo>
                  <a:lnTo>
                    <a:pt x="231" y="892"/>
                  </a:lnTo>
                  <a:lnTo>
                    <a:pt x="227" y="892"/>
                  </a:lnTo>
                  <a:lnTo>
                    <a:pt x="227" y="892"/>
                  </a:lnTo>
                  <a:lnTo>
                    <a:pt x="227" y="892"/>
                  </a:lnTo>
                  <a:close/>
                  <a:moveTo>
                    <a:pt x="207" y="882"/>
                  </a:moveTo>
                  <a:lnTo>
                    <a:pt x="207" y="882"/>
                  </a:lnTo>
                  <a:lnTo>
                    <a:pt x="207" y="882"/>
                  </a:lnTo>
                  <a:lnTo>
                    <a:pt x="210" y="879"/>
                  </a:lnTo>
                  <a:lnTo>
                    <a:pt x="210" y="876"/>
                  </a:lnTo>
                  <a:lnTo>
                    <a:pt x="207" y="876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82"/>
                  </a:lnTo>
                  <a:lnTo>
                    <a:pt x="207" y="882"/>
                  </a:lnTo>
                  <a:close/>
                  <a:moveTo>
                    <a:pt x="193" y="860"/>
                  </a:moveTo>
                  <a:lnTo>
                    <a:pt x="193" y="860"/>
                  </a:lnTo>
                  <a:lnTo>
                    <a:pt x="196" y="860"/>
                  </a:lnTo>
                  <a:lnTo>
                    <a:pt x="196" y="860"/>
                  </a:lnTo>
                  <a:lnTo>
                    <a:pt x="196" y="860"/>
                  </a:lnTo>
                  <a:lnTo>
                    <a:pt x="193" y="860"/>
                  </a:lnTo>
                  <a:lnTo>
                    <a:pt x="193" y="860"/>
                  </a:lnTo>
                  <a:lnTo>
                    <a:pt x="193" y="860"/>
                  </a:lnTo>
                  <a:close/>
                  <a:moveTo>
                    <a:pt x="182" y="860"/>
                  </a:moveTo>
                  <a:lnTo>
                    <a:pt x="186" y="863"/>
                  </a:lnTo>
                  <a:lnTo>
                    <a:pt x="186" y="863"/>
                  </a:lnTo>
                  <a:lnTo>
                    <a:pt x="186" y="860"/>
                  </a:lnTo>
                  <a:lnTo>
                    <a:pt x="186" y="860"/>
                  </a:lnTo>
                  <a:lnTo>
                    <a:pt x="182" y="860"/>
                  </a:lnTo>
                  <a:lnTo>
                    <a:pt x="182" y="860"/>
                  </a:lnTo>
                  <a:close/>
                  <a:moveTo>
                    <a:pt x="162" y="863"/>
                  </a:moveTo>
                  <a:lnTo>
                    <a:pt x="165" y="863"/>
                  </a:lnTo>
                  <a:lnTo>
                    <a:pt x="165" y="863"/>
                  </a:lnTo>
                  <a:lnTo>
                    <a:pt x="165" y="866"/>
                  </a:lnTo>
                  <a:lnTo>
                    <a:pt x="169" y="863"/>
                  </a:lnTo>
                  <a:lnTo>
                    <a:pt x="169" y="863"/>
                  </a:lnTo>
                  <a:lnTo>
                    <a:pt x="165" y="860"/>
                  </a:lnTo>
                  <a:lnTo>
                    <a:pt x="162" y="863"/>
                  </a:lnTo>
                  <a:lnTo>
                    <a:pt x="162" y="863"/>
                  </a:lnTo>
                  <a:close/>
                  <a:moveTo>
                    <a:pt x="138" y="760"/>
                  </a:moveTo>
                  <a:lnTo>
                    <a:pt x="138" y="760"/>
                  </a:lnTo>
                  <a:lnTo>
                    <a:pt x="141" y="760"/>
                  </a:lnTo>
                  <a:lnTo>
                    <a:pt x="145" y="756"/>
                  </a:lnTo>
                  <a:lnTo>
                    <a:pt x="141" y="756"/>
                  </a:lnTo>
                  <a:lnTo>
                    <a:pt x="141" y="756"/>
                  </a:lnTo>
                  <a:lnTo>
                    <a:pt x="138" y="760"/>
                  </a:lnTo>
                  <a:lnTo>
                    <a:pt x="138" y="760"/>
                  </a:lnTo>
                  <a:close/>
                  <a:moveTo>
                    <a:pt x="138" y="756"/>
                  </a:moveTo>
                  <a:lnTo>
                    <a:pt x="138" y="756"/>
                  </a:lnTo>
                  <a:lnTo>
                    <a:pt x="138" y="760"/>
                  </a:lnTo>
                  <a:lnTo>
                    <a:pt x="138" y="760"/>
                  </a:lnTo>
                  <a:lnTo>
                    <a:pt x="141" y="756"/>
                  </a:lnTo>
                  <a:lnTo>
                    <a:pt x="141" y="756"/>
                  </a:lnTo>
                  <a:lnTo>
                    <a:pt x="138" y="753"/>
                  </a:lnTo>
                  <a:lnTo>
                    <a:pt x="138" y="756"/>
                  </a:lnTo>
                  <a:lnTo>
                    <a:pt x="138" y="756"/>
                  </a:lnTo>
                  <a:close/>
                  <a:moveTo>
                    <a:pt x="121" y="724"/>
                  </a:moveTo>
                  <a:lnTo>
                    <a:pt x="117" y="727"/>
                  </a:lnTo>
                  <a:lnTo>
                    <a:pt x="121" y="727"/>
                  </a:lnTo>
                  <a:lnTo>
                    <a:pt x="124" y="724"/>
                  </a:lnTo>
                  <a:lnTo>
                    <a:pt x="124" y="724"/>
                  </a:lnTo>
                  <a:lnTo>
                    <a:pt x="121" y="724"/>
                  </a:lnTo>
                  <a:lnTo>
                    <a:pt x="121" y="724"/>
                  </a:lnTo>
                  <a:lnTo>
                    <a:pt x="121" y="724"/>
                  </a:lnTo>
                  <a:close/>
                  <a:moveTo>
                    <a:pt x="117" y="721"/>
                  </a:moveTo>
                  <a:lnTo>
                    <a:pt x="121" y="721"/>
                  </a:lnTo>
                  <a:lnTo>
                    <a:pt x="121" y="721"/>
                  </a:lnTo>
                  <a:lnTo>
                    <a:pt x="121" y="721"/>
                  </a:lnTo>
                  <a:lnTo>
                    <a:pt x="121" y="718"/>
                  </a:lnTo>
                  <a:lnTo>
                    <a:pt x="117" y="721"/>
                  </a:lnTo>
                  <a:lnTo>
                    <a:pt x="117" y="721"/>
                  </a:lnTo>
                  <a:close/>
                  <a:moveTo>
                    <a:pt x="121" y="689"/>
                  </a:moveTo>
                  <a:lnTo>
                    <a:pt x="124" y="689"/>
                  </a:lnTo>
                  <a:lnTo>
                    <a:pt x="124" y="689"/>
                  </a:lnTo>
                  <a:lnTo>
                    <a:pt x="124" y="685"/>
                  </a:lnTo>
                  <a:lnTo>
                    <a:pt x="121" y="689"/>
                  </a:lnTo>
                  <a:lnTo>
                    <a:pt x="121" y="689"/>
                  </a:lnTo>
                  <a:close/>
                  <a:moveTo>
                    <a:pt x="121" y="685"/>
                  </a:moveTo>
                  <a:lnTo>
                    <a:pt x="124" y="685"/>
                  </a:lnTo>
                  <a:lnTo>
                    <a:pt x="127" y="685"/>
                  </a:lnTo>
                  <a:lnTo>
                    <a:pt x="127" y="685"/>
                  </a:lnTo>
                  <a:lnTo>
                    <a:pt x="124" y="682"/>
                  </a:lnTo>
                  <a:lnTo>
                    <a:pt x="124" y="685"/>
                  </a:lnTo>
                  <a:lnTo>
                    <a:pt x="121" y="685"/>
                  </a:lnTo>
                  <a:lnTo>
                    <a:pt x="121" y="685"/>
                  </a:lnTo>
                  <a:close/>
                  <a:moveTo>
                    <a:pt x="114" y="682"/>
                  </a:moveTo>
                  <a:lnTo>
                    <a:pt x="117" y="685"/>
                  </a:lnTo>
                  <a:lnTo>
                    <a:pt x="117" y="685"/>
                  </a:lnTo>
                  <a:lnTo>
                    <a:pt x="117" y="682"/>
                  </a:lnTo>
                  <a:lnTo>
                    <a:pt x="117" y="682"/>
                  </a:lnTo>
                  <a:lnTo>
                    <a:pt x="114" y="682"/>
                  </a:lnTo>
                  <a:lnTo>
                    <a:pt x="114" y="682"/>
                  </a:lnTo>
                  <a:close/>
                  <a:moveTo>
                    <a:pt x="124" y="656"/>
                  </a:moveTo>
                  <a:lnTo>
                    <a:pt x="124" y="656"/>
                  </a:lnTo>
                  <a:lnTo>
                    <a:pt x="124" y="656"/>
                  </a:lnTo>
                  <a:lnTo>
                    <a:pt x="127" y="656"/>
                  </a:lnTo>
                  <a:lnTo>
                    <a:pt x="131" y="653"/>
                  </a:lnTo>
                  <a:lnTo>
                    <a:pt x="131" y="653"/>
                  </a:lnTo>
                  <a:lnTo>
                    <a:pt x="127" y="653"/>
                  </a:lnTo>
                  <a:lnTo>
                    <a:pt x="124" y="656"/>
                  </a:lnTo>
                  <a:lnTo>
                    <a:pt x="124" y="656"/>
                  </a:lnTo>
                  <a:close/>
                  <a:moveTo>
                    <a:pt x="155" y="643"/>
                  </a:moveTo>
                  <a:lnTo>
                    <a:pt x="158" y="643"/>
                  </a:lnTo>
                  <a:lnTo>
                    <a:pt x="165" y="643"/>
                  </a:lnTo>
                  <a:lnTo>
                    <a:pt x="165" y="643"/>
                  </a:lnTo>
                  <a:lnTo>
                    <a:pt x="158" y="643"/>
                  </a:lnTo>
                  <a:lnTo>
                    <a:pt x="155" y="643"/>
                  </a:lnTo>
                  <a:lnTo>
                    <a:pt x="155" y="643"/>
                  </a:lnTo>
                  <a:lnTo>
                    <a:pt x="155" y="643"/>
                  </a:lnTo>
                  <a:close/>
                  <a:moveTo>
                    <a:pt x="145" y="630"/>
                  </a:moveTo>
                  <a:lnTo>
                    <a:pt x="145" y="630"/>
                  </a:lnTo>
                  <a:lnTo>
                    <a:pt x="145" y="630"/>
                  </a:lnTo>
                  <a:lnTo>
                    <a:pt x="152" y="630"/>
                  </a:lnTo>
                  <a:lnTo>
                    <a:pt x="148" y="627"/>
                  </a:lnTo>
                  <a:lnTo>
                    <a:pt x="145" y="627"/>
                  </a:lnTo>
                  <a:lnTo>
                    <a:pt x="145" y="630"/>
                  </a:lnTo>
                  <a:lnTo>
                    <a:pt x="145" y="630"/>
                  </a:lnTo>
                  <a:close/>
                  <a:moveTo>
                    <a:pt x="158" y="627"/>
                  </a:moveTo>
                  <a:lnTo>
                    <a:pt x="162" y="630"/>
                  </a:lnTo>
                  <a:lnTo>
                    <a:pt x="165" y="630"/>
                  </a:lnTo>
                  <a:lnTo>
                    <a:pt x="165" y="627"/>
                  </a:lnTo>
                  <a:lnTo>
                    <a:pt x="162" y="627"/>
                  </a:lnTo>
                  <a:lnTo>
                    <a:pt x="158" y="627"/>
                  </a:lnTo>
                  <a:lnTo>
                    <a:pt x="158" y="627"/>
                  </a:lnTo>
                  <a:close/>
                  <a:moveTo>
                    <a:pt x="152" y="624"/>
                  </a:moveTo>
                  <a:lnTo>
                    <a:pt x="155" y="627"/>
                  </a:lnTo>
                  <a:lnTo>
                    <a:pt x="158" y="627"/>
                  </a:lnTo>
                  <a:lnTo>
                    <a:pt x="158" y="624"/>
                  </a:lnTo>
                  <a:lnTo>
                    <a:pt x="158" y="624"/>
                  </a:lnTo>
                  <a:lnTo>
                    <a:pt x="155" y="624"/>
                  </a:lnTo>
                  <a:lnTo>
                    <a:pt x="152" y="624"/>
                  </a:lnTo>
                  <a:lnTo>
                    <a:pt x="152" y="624"/>
                  </a:lnTo>
                  <a:lnTo>
                    <a:pt x="152" y="624"/>
                  </a:lnTo>
                  <a:close/>
                  <a:moveTo>
                    <a:pt x="186" y="563"/>
                  </a:moveTo>
                  <a:lnTo>
                    <a:pt x="186" y="563"/>
                  </a:lnTo>
                  <a:lnTo>
                    <a:pt x="186" y="566"/>
                  </a:lnTo>
                  <a:lnTo>
                    <a:pt x="189" y="563"/>
                  </a:lnTo>
                  <a:lnTo>
                    <a:pt x="186" y="563"/>
                  </a:lnTo>
                  <a:lnTo>
                    <a:pt x="186" y="563"/>
                  </a:lnTo>
                  <a:lnTo>
                    <a:pt x="186" y="563"/>
                  </a:lnTo>
                  <a:close/>
                  <a:moveTo>
                    <a:pt x="182" y="553"/>
                  </a:moveTo>
                  <a:lnTo>
                    <a:pt x="182" y="556"/>
                  </a:lnTo>
                  <a:lnTo>
                    <a:pt x="186" y="559"/>
                  </a:lnTo>
                  <a:lnTo>
                    <a:pt x="186" y="556"/>
                  </a:lnTo>
                  <a:lnTo>
                    <a:pt x="186" y="556"/>
                  </a:lnTo>
                  <a:lnTo>
                    <a:pt x="186" y="556"/>
                  </a:lnTo>
                  <a:lnTo>
                    <a:pt x="182" y="553"/>
                  </a:lnTo>
                  <a:lnTo>
                    <a:pt x="182" y="553"/>
                  </a:lnTo>
                  <a:close/>
                  <a:moveTo>
                    <a:pt x="172" y="530"/>
                  </a:moveTo>
                  <a:lnTo>
                    <a:pt x="176" y="533"/>
                  </a:lnTo>
                  <a:lnTo>
                    <a:pt x="176" y="530"/>
                  </a:lnTo>
                  <a:lnTo>
                    <a:pt x="179" y="527"/>
                  </a:lnTo>
                  <a:lnTo>
                    <a:pt x="179" y="527"/>
                  </a:lnTo>
                  <a:lnTo>
                    <a:pt x="176" y="527"/>
                  </a:lnTo>
                  <a:lnTo>
                    <a:pt x="176" y="527"/>
                  </a:lnTo>
                  <a:lnTo>
                    <a:pt x="172" y="527"/>
                  </a:lnTo>
                  <a:lnTo>
                    <a:pt x="172" y="530"/>
                  </a:lnTo>
                  <a:lnTo>
                    <a:pt x="172" y="530"/>
                  </a:lnTo>
                  <a:lnTo>
                    <a:pt x="172" y="530"/>
                  </a:lnTo>
                  <a:close/>
                  <a:moveTo>
                    <a:pt x="172" y="543"/>
                  </a:moveTo>
                  <a:lnTo>
                    <a:pt x="172" y="546"/>
                  </a:lnTo>
                  <a:lnTo>
                    <a:pt x="176" y="546"/>
                  </a:lnTo>
                  <a:lnTo>
                    <a:pt x="179" y="543"/>
                  </a:lnTo>
                  <a:lnTo>
                    <a:pt x="179" y="540"/>
                  </a:lnTo>
                  <a:lnTo>
                    <a:pt x="176" y="537"/>
                  </a:lnTo>
                  <a:lnTo>
                    <a:pt x="172" y="540"/>
                  </a:lnTo>
                  <a:lnTo>
                    <a:pt x="172" y="543"/>
                  </a:lnTo>
                  <a:lnTo>
                    <a:pt x="172" y="543"/>
                  </a:lnTo>
                  <a:close/>
                  <a:moveTo>
                    <a:pt x="158" y="546"/>
                  </a:moveTo>
                  <a:lnTo>
                    <a:pt x="162" y="546"/>
                  </a:lnTo>
                  <a:lnTo>
                    <a:pt x="165" y="543"/>
                  </a:lnTo>
                  <a:lnTo>
                    <a:pt x="165" y="543"/>
                  </a:lnTo>
                  <a:lnTo>
                    <a:pt x="165" y="537"/>
                  </a:lnTo>
                  <a:lnTo>
                    <a:pt x="162" y="540"/>
                  </a:lnTo>
                  <a:lnTo>
                    <a:pt x="158" y="543"/>
                  </a:lnTo>
                  <a:lnTo>
                    <a:pt x="158" y="546"/>
                  </a:lnTo>
                  <a:lnTo>
                    <a:pt x="158" y="546"/>
                  </a:lnTo>
                  <a:close/>
                  <a:moveTo>
                    <a:pt x="138" y="559"/>
                  </a:moveTo>
                  <a:lnTo>
                    <a:pt x="134" y="563"/>
                  </a:lnTo>
                  <a:lnTo>
                    <a:pt x="138" y="566"/>
                  </a:lnTo>
                  <a:lnTo>
                    <a:pt x="141" y="566"/>
                  </a:lnTo>
                  <a:lnTo>
                    <a:pt x="141" y="563"/>
                  </a:lnTo>
                  <a:lnTo>
                    <a:pt x="138" y="559"/>
                  </a:lnTo>
                  <a:lnTo>
                    <a:pt x="138" y="559"/>
                  </a:lnTo>
                  <a:lnTo>
                    <a:pt x="138" y="559"/>
                  </a:lnTo>
                  <a:close/>
                  <a:moveTo>
                    <a:pt x="182" y="592"/>
                  </a:moveTo>
                  <a:lnTo>
                    <a:pt x="182" y="592"/>
                  </a:lnTo>
                  <a:lnTo>
                    <a:pt x="182" y="592"/>
                  </a:lnTo>
                  <a:lnTo>
                    <a:pt x="182" y="595"/>
                  </a:lnTo>
                  <a:lnTo>
                    <a:pt x="182" y="598"/>
                  </a:lnTo>
                  <a:lnTo>
                    <a:pt x="186" y="598"/>
                  </a:lnTo>
                  <a:lnTo>
                    <a:pt x="186" y="598"/>
                  </a:lnTo>
                  <a:lnTo>
                    <a:pt x="189" y="592"/>
                  </a:lnTo>
                  <a:lnTo>
                    <a:pt x="189" y="592"/>
                  </a:lnTo>
                  <a:lnTo>
                    <a:pt x="189" y="588"/>
                  </a:lnTo>
                  <a:lnTo>
                    <a:pt x="189" y="588"/>
                  </a:lnTo>
                  <a:lnTo>
                    <a:pt x="186" y="588"/>
                  </a:lnTo>
                  <a:lnTo>
                    <a:pt x="182" y="592"/>
                  </a:lnTo>
                  <a:lnTo>
                    <a:pt x="182" y="592"/>
                  </a:lnTo>
                  <a:close/>
                  <a:moveTo>
                    <a:pt x="134" y="601"/>
                  </a:moveTo>
                  <a:lnTo>
                    <a:pt x="138" y="605"/>
                  </a:lnTo>
                  <a:lnTo>
                    <a:pt x="145" y="605"/>
                  </a:lnTo>
                  <a:lnTo>
                    <a:pt x="145" y="608"/>
                  </a:lnTo>
                  <a:lnTo>
                    <a:pt x="148" y="608"/>
                  </a:lnTo>
                  <a:lnTo>
                    <a:pt x="152" y="605"/>
                  </a:lnTo>
                  <a:lnTo>
                    <a:pt x="162" y="605"/>
                  </a:lnTo>
                  <a:lnTo>
                    <a:pt x="165" y="605"/>
                  </a:lnTo>
                  <a:lnTo>
                    <a:pt x="172" y="598"/>
                  </a:lnTo>
                  <a:lnTo>
                    <a:pt x="172" y="595"/>
                  </a:lnTo>
                  <a:lnTo>
                    <a:pt x="169" y="592"/>
                  </a:lnTo>
                  <a:lnTo>
                    <a:pt x="165" y="592"/>
                  </a:lnTo>
                  <a:lnTo>
                    <a:pt x="162" y="588"/>
                  </a:lnTo>
                  <a:lnTo>
                    <a:pt x="162" y="582"/>
                  </a:lnTo>
                  <a:lnTo>
                    <a:pt x="155" y="575"/>
                  </a:lnTo>
                  <a:lnTo>
                    <a:pt x="152" y="575"/>
                  </a:lnTo>
                  <a:lnTo>
                    <a:pt x="148" y="572"/>
                  </a:lnTo>
                  <a:lnTo>
                    <a:pt x="141" y="569"/>
                  </a:lnTo>
                  <a:lnTo>
                    <a:pt x="138" y="569"/>
                  </a:lnTo>
                  <a:lnTo>
                    <a:pt x="138" y="572"/>
                  </a:lnTo>
                  <a:lnTo>
                    <a:pt x="131" y="575"/>
                  </a:lnTo>
                  <a:lnTo>
                    <a:pt x="131" y="579"/>
                  </a:lnTo>
                  <a:lnTo>
                    <a:pt x="138" y="582"/>
                  </a:lnTo>
                  <a:lnTo>
                    <a:pt x="138" y="585"/>
                  </a:lnTo>
                  <a:lnTo>
                    <a:pt x="134" y="582"/>
                  </a:lnTo>
                  <a:lnTo>
                    <a:pt x="131" y="582"/>
                  </a:lnTo>
                  <a:lnTo>
                    <a:pt x="131" y="585"/>
                  </a:lnTo>
                  <a:lnTo>
                    <a:pt x="131" y="588"/>
                  </a:lnTo>
                  <a:lnTo>
                    <a:pt x="134" y="592"/>
                  </a:lnTo>
                  <a:lnTo>
                    <a:pt x="131" y="592"/>
                  </a:lnTo>
                  <a:lnTo>
                    <a:pt x="131" y="592"/>
                  </a:lnTo>
                  <a:lnTo>
                    <a:pt x="131" y="595"/>
                  </a:lnTo>
                  <a:lnTo>
                    <a:pt x="141" y="598"/>
                  </a:lnTo>
                  <a:lnTo>
                    <a:pt x="145" y="598"/>
                  </a:lnTo>
                  <a:lnTo>
                    <a:pt x="145" y="598"/>
                  </a:lnTo>
                  <a:lnTo>
                    <a:pt x="152" y="595"/>
                  </a:lnTo>
                  <a:lnTo>
                    <a:pt x="148" y="601"/>
                  </a:lnTo>
                  <a:lnTo>
                    <a:pt x="145" y="601"/>
                  </a:lnTo>
                  <a:lnTo>
                    <a:pt x="138" y="598"/>
                  </a:lnTo>
                  <a:lnTo>
                    <a:pt x="138" y="598"/>
                  </a:lnTo>
                  <a:lnTo>
                    <a:pt x="134" y="6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1" name="Freeform 162"/>
            <p:cNvSpPr>
              <a:spLocks noEditPoints="1"/>
            </p:cNvSpPr>
            <p:nvPr/>
          </p:nvSpPr>
          <p:spPr bwMode="auto">
            <a:xfrm>
              <a:off x="2498726" y="1308755"/>
              <a:ext cx="2670175" cy="2101850"/>
            </a:xfrm>
            <a:custGeom>
              <a:avLst/>
              <a:gdLst>
                <a:gd name="T0" fmla="*/ 1221 w 1682"/>
                <a:gd name="T1" fmla="*/ 97 h 1324"/>
                <a:gd name="T2" fmla="*/ 1235 w 1682"/>
                <a:gd name="T3" fmla="*/ 226 h 1324"/>
                <a:gd name="T4" fmla="*/ 1228 w 1682"/>
                <a:gd name="T5" fmla="*/ 246 h 1324"/>
                <a:gd name="T6" fmla="*/ 1317 w 1682"/>
                <a:gd name="T7" fmla="*/ 155 h 1324"/>
                <a:gd name="T8" fmla="*/ 1348 w 1682"/>
                <a:gd name="T9" fmla="*/ 90 h 1324"/>
                <a:gd name="T10" fmla="*/ 1438 w 1682"/>
                <a:gd name="T11" fmla="*/ 32 h 1324"/>
                <a:gd name="T12" fmla="*/ 1672 w 1682"/>
                <a:gd name="T13" fmla="*/ 48 h 1324"/>
                <a:gd name="T14" fmla="*/ 1427 w 1682"/>
                <a:gd name="T15" fmla="*/ 204 h 1324"/>
                <a:gd name="T16" fmla="*/ 1293 w 1682"/>
                <a:gd name="T17" fmla="*/ 291 h 1324"/>
                <a:gd name="T18" fmla="*/ 1345 w 1682"/>
                <a:gd name="T19" fmla="*/ 669 h 1324"/>
                <a:gd name="T20" fmla="*/ 1173 w 1682"/>
                <a:gd name="T21" fmla="*/ 252 h 1324"/>
                <a:gd name="T22" fmla="*/ 1052 w 1682"/>
                <a:gd name="T23" fmla="*/ 178 h 1324"/>
                <a:gd name="T24" fmla="*/ 874 w 1682"/>
                <a:gd name="T25" fmla="*/ 149 h 1324"/>
                <a:gd name="T26" fmla="*/ 1149 w 1682"/>
                <a:gd name="T27" fmla="*/ 297 h 1324"/>
                <a:gd name="T28" fmla="*/ 1200 w 1682"/>
                <a:gd name="T29" fmla="*/ 397 h 1324"/>
                <a:gd name="T30" fmla="*/ 701 w 1682"/>
                <a:gd name="T31" fmla="*/ 204 h 1324"/>
                <a:gd name="T32" fmla="*/ 1090 w 1682"/>
                <a:gd name="T33" fmla="*/ 401 h 1324"/>
                <a:gd name="T34" fmla="*/ 1008 w 1682"/>
                <a:gd name="T35" fmla="*/ 304 h 1324"/>
                <a:gd name="T36" fmla="*/ 760 w 1682"/>
                <a:gd name="T37" fmla="*/ 233 h 1324"/>
                <a:gd name="T38" fmla="*/ 846 w 1682"/>
                <a:gd name="T39" fmla="*/ 271 h 1324"/>
                <a:gd name="T40" fmla="*/ 585 w 1682"/>
                <a:gd name="T41" fmla="*/ 323 h 1324"/>
                <a:gd name="T42" fmla="*/ 877 w 1682"/>
                <a:gd name="T43" fmla="*/ 433 h 1324"/>
                <a:gd name="T44" fmla="*/ 973 w 1682"/>
                <a:gd name="T45" fmla="*/ 413 h 1324"/>
                <a:gd name="T46" fmla="*/ 1001 w 1682"/>
                <a:gd name="T47" fmla="*/ 459 h 1324"/>
                <a:gd name="T48" fmla="*/ 1159 w 1682"/>
                <a:gd name="T49" fmla="*/ 643 h 1324"/>
                <a:gd name="T50" fmla="*/ 1035 w 1682"/>
                <a:gd name="T51" fmla="*/ 701 h 1324"/>
                <a:gd name="T52" fmla="*/ 818 w 1682"/>
                <a:gd name="T53" fmla="*/ 536 h 1324"/>
                <a:gd name="T54" fmla="*/ 743 w 1682"/>
                <a:gd name="T55" fmla="*/ 401 h 1324"/>
                <a:gd name="T56" fmla="*/ 667 w 1682"/>
                <a:gd name="T57" fmla="*/ 485 h 1324"/>
                <a:gd name="T58" fmla="*/ 1180 w 1682"/>
                <a:gd name="T59" fmla="*/ 656 h 1324"/>
                <a:gd name="T60" fmla="*/ 1304 w 1682"/>
                <a:gd name="T61" fmla="*/ 562 h 1324"/>
                <a:gd name="T62" fmla="*/ 1228 w 1682"/>
                <a:gd name="T63" fmla="*/ 707 h 1324"/>
                <a:gd name="T64" fmla="*/ 1118 w 1682"/>
                <a:gd name="T65" fmla="*/ 565 h 1324"/>
                <a:gd name="T66" fmla="*/ 1104 w 1682"/>
                <a:gd name="T67" fmla="*/ 517 h 1324"/>
                <a:gd name="T68" fmla="*/ 1207 w 1682"/>
                <a:gd name="T69" fmla="*/ 497 h 1324"/>
                <a:gd name="T70" fmla="*/ 1300 w 1682"/>
                <a:gd name="T71" fmla="*/ 559 h 1324"/>
                <a:gd name="T72" fmla="*/ 1348 w 1682"/>
                <a:gd name="T73" fmla="*/ 636 h 1324"/>
                <a:gd name="T74" fmla="*/ 1383 w 1682"/>
                <a:gd name="T75" fmla="*/ 711 h 1324"/>
                <a:gd name="T76" fmla="*/ 1334 w 1682"/>
                <a:gd name="T77" fmla="*/ 749 h 1324"/>
                <a:gd name="T78" fmla="*/ 1328 w 1682"/>
                <a:gd name="T79" fmla="*/ 814 h 1324"/>
                <a:gd name="T80" fmla="*/ 1059 w 1682"/>
                <a:gd name="T81" fmla="*/ 788 h 1324"/>
                <a:gd name="T82" fmla="*/ 1300 w 1682"/>
                <a:gd name="T83" fmla="*/ 875 h 1324"/>
                <a:gd name="T84" fmla="*/ 1018 w 1682"/>
                <a:gd name="T85" fmla="*/ 998 h 1324"/>
                <a:gd name="T86" fmla="*/ 1359 w 1682"/>
                <a:gd name="T87" fmla="*/ 1163 h 1324"/>
                <a:gd name="T88" fmla="*/ 1414 w 1682"/>
                <a:gd name="T89" fmla="*/ 1234 h 1324"/>
                <a:gd name="T90" fmla="*/ 1383 w 1682"/>
                <a:gd name="T91" fmla="*/ 1173 h 1324"/>
                <a:gd name="T92" fmla="*/ 1300 w 1682"/>
                <a:gd name="T93" fmla="*/ 1247 h 1324"/>
                <a:gd name="T94" fmla="*/ 106 w 1682"/>
                <a:gd name="T95" fmla="*/ 1024 h 1324"/>
                <a:gd name="T96" fmla="*/ 454 w 1682"/>
                <a:gd name="T97" fmla="*/ 413 h 1324"/>
                <a:gd name="T98" fmla="*/ 124 w 1682"/>
                <a:gd name="T99" fmla="*/ 1050 h 1324"/>
                <a:gd name="T100" fmla="*/ 96 w 1682"/>
                <a:gd name="T101" fmla="*/ 866 h 1324"/>
                <a:gd name="T102" fmla="*/ 371 w 1682"/>
                <a:gd name="T103" fmla="*/ 455 h 1324"/>
                <a:gd name="T104" fmla="*/ 664 w 1682"/>
                <a:gd name="T105" fmla="*/ 598 h 1324"/>
                <a:gd name="T106" fmla="*/ 853 w 1682"/>
                <a:gd name="T107" fmla="*/ 620 h 1324"/>
                <a:gd name="T108" fmla="*/ 915 w 1682"/>
                <a:gd name="T109" fmla="*/ 527 h 1324"/>
                <a:gd name="T110" fmla="*/ 1032 w 1682"/>
                <a:gd name="T111" fmla="*/ 640 h 1324"/>
                <a:gd name="T112" fmla="*/ 1004 w 1682"/>
                <a:gd name="T113" fmla="*/ 682 h 1324"/>
                <a:gd name="T114" fmla="*/ 825 w 1682"/>
                <a:gd name="T115" fmla="*/ 821 h 1324"/>
                <a:gd name="T116" fmla="*/ 994 w 1682"/>
                <a:gd name="T117" fmla="*/ 1047 h 1324"/>
                <a:gd name="T118" fmla="*/ 1211 w 1682"/>
                <a:gd name="T119" fmla="*/ 937 h 1324"/>
                <a:gd name="T120" fmla="*/ 1324 w 1682"/>
                <a:gd name="T121" fmla="*/ 1027 h 1324"/>
                <a:gd name="T122" fmla="*/ 1341 w 1682"/>
                <a:gd name="T123" fmla="*/ 1140 h 1324"/>
                <a:gd name="T124" fmla="*/ 1235 w 1682"/>
                <a:gd name="T125" fmla="*/ 1276 h 1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82" h="1324">
                  <a:moveTo>
                    <a:pt x="1218" y="233"/>
                  </a:moveTo>
                  <a:lnTo>
                    <a:pt x="1218" y="229"/>
                  </a:lnTo>
                  <a:lnTo>
                    <a:pt x="1221" y="226"/>
                  </a:lnTo>
                  <a:lnTo>
                    <a:pt x="1228" y="223"/>
                  </a:lnTo>
                  <a:lnTo>
                    <a:pt x="1231" y="213"/>
                  </a:lnTo>
                  <a:lnTo>
                    <a:pt x="1231" y="213"/>
                  </a:lnTo>
                  <a:lnTo>
                    <a:pt x="1231" y="213"/>
                  </a:lnTo>
                  <a:lnTo>
                    <a:pt x="1231" y="220"/>
                  </a:lnTo>
                  <a:lnTo>
                    <a:pt x="1231" y="220"/>
                  </a:lnTo>
                  <a:lnTo>
                    <a:pt x="1235" y="220"/>
                  </a:lnTo>
                  <a:lnTo>
                    <a:pt x="1238" y="216"/>
                  </a:lnTo>
                  <a:lnTo>
                    <a:pt x="1242" y="216"/>
                  </a:lnTo>
                  <a:lnTo>
                    <a:pt x="1242" y="213"/>
                  </a:lnTo>
                  <a:lnTo>
                    <a:pt x="1238" y="213"/>
                  </a:lnTo>
                  <a:lnTo>
                    <a:pt x="1238" y="210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2" y="204"/>
                  </a:lnTo>
                  <a:lnTo>
                    <a:pt x="1242" y="200"/>
                  </a:lnTo>
                  <a:lnTo>
                    <a:pt x="1245" y="197"/>
                  </a:lnTo>
                  <a:lnTo>
                    <a:pt x="1245" y="191"/>
                  </a:lnTo>
                  <a:lnTo>
                    <a:pt x="1252" y="191"/>
                  </a:lnTo>
                  <a:lnTo>
                    <a:pt x="1252" y="187"/>
                  </a:lnTo>
                  <a:lnTo>
                    <a:pt x="1252" y="191"/>
                  </a:lnTo>
                  <a:lnTo>
                    <a:pt x="1252" y="194"/>
                  </a:lnTo>
                  <a:lnTo>
                    <a:pt x="1248" y="194"/>
                  </a:lnTo>
                  <a:lnTo>
                    <a:pt x="1248" y="197"/>
                  </a:lnTo>
                  <a:lnTo>
                    <a:pt x="1245" y="204"/>
                  </a:lnTo>
                  <a:lnTo>
                    <a:pt x="1245" y="207"/>
                  </a:lnTo>
                  <a:lnTo>
                    <a:pt x="1245" y="210"/>
                  </a:lnTo>
                  <a:lnTo>
                    <a:pt x="1245" y="213"/>
                  </a:lnTo>
                  <a:lnTo>
                    <a:pt x="1248" y="213"/>
                  </a:lnTo>
                  <a:lnTo>
                    <a:pt x="1252" y="207"/>
                  </a:lnTo>
                  <a:lnTo>
                    <a:pt x="1259" y="200"/>
                  </a:lnTo>
                  <a:lnTo>
                    <a:pt x="1262" y="197"/>
                  </a:lnTo>
                  <a:lnTo>
                    <a:pt x="1262" y="194"/>
                  </a:lnTo>
                  <a:lnTo>
                    <a:pt x="1262" y="191"/>
                  </a:lnTo>
                  <a:lnTo>
                    <a:pt x="1266" y="191"/>
                  </a:lnTo>
                  <a:lnTo>
                    <a:pt x="1266" y="191"/>
                  </a:lnTo>
                  <a:lnTo>
                    <a:pt x="1266" y="194"/>
                  </a:lnTo>
                  <a:lnTo>
                    <a:pt x="1266" y="197"/>
                  </a:lnTo>
                  <a:lnTo>
                    <a:pt x="1269" y="194"/>
                  </a:lnTo>
                  <a:lnTo>
                    <a:pt x="1273" y="191"/>
                  </a:lnTo>
                  <a:lnTo>
                    <a:pt x="1276" y="191"/>
                  </a:lnTo>
                  <a:lnTo>
                    <a:pt x="1283" y="191"/>
                  </a:lnTo>
                  <a:lnTo>
                    <a:pt x="1286" y="191"/>
                  </a:lnTo>
                  <a:lnTo>
                    <a:pt x="1290" y="187"/>
                  </a:lnTo>
                  <a:lnTo>
                    <a:pt x="1293" y="187"/>
                  </a:lnTo>
                  <a:lnTo>
                    <a:pt x="1297" y="184"/>
                  </a:lnTo>
                  <a:lnTo>
                    <a:pt x="1300" y="184"/>
                  </a:lnTo>
                  <a:lnTo>
                    <a:pt x="1300" y="181"/>
                  </a:lnTo>
                  <a:lnTo>
                    <a:pt x="1300" y="178"/>
                  </a:lnTo>
                  <a:lnTo>
                    <a:pt x="1297" y="174"/>
                  </a:lnTo>
                  <a:lnTo>
                    <a:pt x="1300" y="171"/>
                  </a:lnTo>
                  <a:lnTo>
                    <a:pt x="1300" y="165"/>
                  </a:lnTo>
                  <a:lnTo>
                    <a:pt x="1297" y="165"/>
                  </a:lnTo>
                  <a:lnTo>
                    <a:pt x="1293" y="168"/>
                  </a:lnTo>
                  <a:lnTo>
                    <a:pt x="1290" y="174"/>
                  </a:lnTo>
                  <a:lnTo>
                    <a:pt x="1290" y="174"/>
                  </a:lnTo>
                  <a:lnTo>
                    <a:pt x="1290" y="171"/>
                  </a:lnTo>
                  <a:lnTo>
                    <a:pt x="1290" y="168"/>
                  </a:lnTo>
                  <a:lnTo>
                    <a:pt x="1293" y="165"/>
                  </a:lnTo>
                  <a:lnTo>
                    <a:pt x="1297" y="165"/>
                  </a:lnTo>
                  <a:lnTo>
                    <a:pt x="1290" y="162"/>
                  </a:lnTo>
                  <a:lnTo>
                    <a:pt x="1290" y="158"/>
                  </a:lnTo>
                  <a:lnTo>
                    <a:pt x="1290" y="158"/>
                  </a:lnTo>
                  <a:lnTo>
                    <a:pt x="1286" y="158"/>
                  </a:lnTo>
                  <a:lnTo>
                    <a:pt x="1286" y="162"/>
                  </a:lnTo>
                  <a:lnTo>
                    <a:pt x="1283" y="158"/>
                  </a:lnTo>
                  <a:lnTo>
                    <a:pt x="1279" y="158"/>
                  </a:lnTo>
                  <a:lnTo>
                    <a:pt x="1276" y="162"/>
                  </a:lnTo>
                  <a:lnTo>
                    <a:pt x="1273" y="162"/>
                  </a:lnTo>
                  <a:lnTo>
                    <a:pt x="1276" y="158"/>
                  </a:lnTo>
                  <a:lnTo>
                    <a:pt x="1283" y="155"/>
                  </a:lnTo>
                  <a:lnTo>
                    <a:pt x="1286" y="155"/>
                  </a:lnTo>
                  <a:lnTo>
                    <a:pt x="1293" y="149"/>
                  </a:lnTo>
                  <a:lnTo>
                    <a:pt x="1297" y="149"/>
                  </a:lnTo>
                  <a:lnTo>
                    <a:pt x="1300" y="142"/>
                  </a:lnTo>
                  <a:lnTo>
                    <a:pt x="1304" y="136"/>
                  </a:lnTo>
                  <a:lnTo>
                    <a:pt x="1300" y="136"/>
                  </a:lnTo>
                  <a:lnTo>
                    <a:pt x="1297" y="136"/>
                  </a:lnTo>
                  <a:lnTo>
                    <a:pt x="1297" y="136"/>
                  </a:lnTo>
                  <a:lnTo>
                    <a:pt x="1293" y="136"/>
                  </a:lnTo>
                  <a:lnTo>
                    <a:pt x="1297" y="132"/>
                  </a:lnTo>
                  <a:lnTo>
                    <a:pt x="1297" y="132"/>
                  </a:lnTo>
                  <a:lnTo>
                    <a:pt x="1300" y="132"/>
                  </a:lnTo>
                  <a:lnTo>
                    <a:pt x="1304" y="129"/>
                  </a:lnTo>
                  <a:lnTo>
                    <a:pt x="1304" y="126"/>
                  </a:lnTo>
                  <a:lnTo>
                    <a:pt x="1307" y="123"/>
                  </a:lnTo>
                  <a:lnTo>
                    <a:pt x="1307" y="120"/>
                  </a:lnTo>
                  <a:lnTo>
                    <a:pt x="1304" y="120"/>
                  </a:lnTo>
                  <a:lnTo>
                    <a:pt x="1304" y="116"/>
                  </a:lnTo>
                  <a:lnTo>
                    <a:pt x="1300" y="116"/>
                  </a:lnTo>
                  <a:lnTo>
                    <a:pt x="1297" y="116"/>
                  </a:lnTo>
                  <a:lnTo>
                    <a:pt x="1293" y="123"/>
                  </a:lnTo>
                  <a:lnTo>
                    <a:pt x="1293" y="126"/>
                  </a:lnTo>
                  <a:lnTo>
                    <a:pt x="1297" y="129"/>
                  </a:lnTo>
                  <a:lnTo>
                    <a:pt x="1293" y="132"/>
                  </a:lnTo>
                  <a:lnTo>
                    <a:pt x="1290" y="132"/>
                  </a:lnTo>
                  <a:lnTo>
                    <a:pt x="1290" y="132"/>
                  </a:lnTo>
                  <a:lnTo>
                    <a:pt x="1290" y="132"/>
                  </a:lnTo>
                  <a:lnTo>
                    <a:pt x="1290" y="129"/>
                  </a:lnTo>
                  <a:lnTo>
                    <a:pt x="1290" y="126"/>
                  </a:lnTo>
                  <a:lnTo>
                    <a:pt x="1293" y="120"/>
                  </a:lnTo>
                  <a:lnTo>
                    <a:pt x="1290" y="120"/>
                  </a:lnTo>
                  <a:lnTo>
                    <a:pt x="1293" y="116"/>
                  </a:lnTo>
                  <a:lnTo>
                    <a:pt x="1293" y="116"/>
                  </a:lnTo>
                  <a:lnTo>
                    <a:pt x="1297" y="116"/>
                  </a:lnTo>
                  <a:lnTo>
                    <a:pt x="1293" y="113"/>
                  </a:lnTo>
                  <a:lnTo>
                    <a:pt x="1293" y="110"/>
                  </a:lnTo>
                  <a:lnTo>
                    <a:pt x="1290" y="110"/>
                  </a:lnTo>
                  <a:lnTo>
                    <a:pt x="1283" y="110"/>
                  </a:lnTo>
                  <a:lnTo>
                    <a:pt x="1283" y="113"/>
                  </a:lnTo>
                  <a:lnTo>
                    <a:pt x="1283" y="110"/>
                  </a:lnTo>
                  <a:lnTo>
                    <a:pt x="1279" y="110"/>
                  </a:lnTo>
                  <a:lnTo>
                    <a:pt x="1279" y="107"/>
                  </a:lnTo>
                  <a:lnTo>
                    <a:pt x="1279" y="100"/>
                  </a:lnTo>
                  <a:lnTo>
                    <a:pt x="1279" y="94"/>
                  </a:lnTo>
                  <a:lnTo>
                    <a:pt x="1279" y="87"/>
                  </a:lnTo>
                  <a:lnTo>
                    <a:pt x="1283" y="84"/>
                  </a:lnTo>
                  <a:lnTo>
                    <a:pt x="1283" y="81"/>
                  </a:lnTo>
                  <a:lnTo>
                    <a:pt x="1283" y="74"/>
                  </a:lnTo>
                  <a:lnTo>
                    <a:pt x="1286" y="71"/>
                  </a:lnTo>
                  <a:lnTo>
                    <a:pt x="1286" y="65"/>
                  </a:lnTo>
                  <a:lnTo>
                    <a:pt x="1283" y="61"/>
                  </a:lnTo>
                  <a:lnTo>
                    <a:pt x="1279" y="58"/>
                  </a:lnTo>
                  <a:lnTo>
                    <a:pt x="1276" y="55"/>
                  </a:lnTo>
                  <a:lnTo>
                    <a:pt x="1273" y="52"/>
                  </a:lnTo>
                  <a:lnTo>
                    <a:pt x="1269" y="52"/>
                  </a:lnTo>
                  <a:lnTo>
                    <a:pt x="1266" y="52"/>
                  </a:lnTo>
                  <a:lnTo>
                    <a:pt x="1266" y="55"/>
                  </a:lnTo>
                  <a:lnTo>
                    <a:pt x="1266" y="55"/>
                  </a:lnTo>
                  <a:lnTo>
                    <a:pt x="1259" y="52"/>
                  </a:lnTo>
                  <a:lnTo>
                    <a:pt x="1255" y="52"/>
                  </a:lnTo>
                  <a:lnTo>
                    <a:pt x="1255" y="55"/>
                  </a:lnTo>
                  <a:lnTo>
                    <a:pt x="1252" y="58"/>
                  </a:lnTo>
                  <a:lnTo>
                    <a:pt x="1255" y="61"/>
                  </a:lnTo>
                  <a:lnTo>
                    <a:pt x="1259" y="61"/>
                  </a:lnTo>
                  <a:lnTo>
                    <a:pt x="1262" y="61"/>
                  </a:lnTo>
                  <a:lnTo>
                    <a:pt x="1269" y="61"/>
                  </a:lnTo>
                  <a:lnTo>
                    <a:pt x="1269" y="65"/>
                  </a:lnTo>
                  <a:lnTo>
                    <a:pt x="1273" y="65"/>
                  </a:lnTo>
                  <a:lnTo>
                    <a:pt x="1273" y="68"/>
                  </a:lnTo>
                  <a:lnTo>
                    <a:pt x="1266" y="71"/>
                  </a:lnTo>
                  <a:lnTo>
                    <a:pt x="1262" y="71"/>
                  </a:lnTo>
                  <a:lnTo>
                    <a:pt x="1259" y="68"/>
                  </a:lnTo>
                  <a:lnTo>
                    <a:pt x="1255" y="71"/>
                  </a:lnTo>
                  <a:lnTo>
                    <a:pt x="1252" y="68"/>
                  </a:lnTo>
                  <a:lnTo>
                    <a:pt x="1255" y="71"/>
                  </a:lnTo>
                  <a:lnTo>
                    <a:pt x="1255" y="71"/>
                  </a:lnTo>
                  <a:lnTo>
                    <a:pt x="1255" y="74"/>
                  </a:lnTo>
                  <a:lnTo>
                    <a:pt x="1252" y="74"/>
                  </a:lnTo>
                  <a:lnTo>
                    <a:pt x="1245" y="71"/>
                  </a:lnTo>
                  <a:lnTo>
                    <a:pt x="1238" y="74"/>
                  </a:lnTo>
                  <a:lnTo>
                    <a:pt x="1238" y="78"/>
                  </a:lnTo>
                  <a:lnTo>
                    <a:pt x="1235" y="81"/>
                  </a:lnTo>
                  <a:lnTo>
                    <a:pt x="1235" y="81"/>
                  </a:lnTo>
                  <a:lnTo>
                    <a:pt x="1238" y="84"/>
                  </a:lnTo>
                  <a:lnTo>
                    <a:pt x="1238" y="87"/>
                  </a:lnTo>
                  <a:lnTo>
                    <a:pt x="1245" y="87"/>
                  </a:lnTo>
                  <a:lnTo>
                    <a:pt x="1245" y="90"/>
                  </a:lnTo>
                  <a:lnTo>
                    <a:pt x="1242" y="90"/>
                  </a:lnTo>
                  <a:lnTo>
                    <a:pt x="1242" y="94"/>
                  </a:lnTo>
                  <a:lnTo>
                    <a:pt x="1242" y="94"/>
                  </a:lnTo>
                  <a:lnTo>
                    <a:pt x="1242" y="97"/>
                  </a:lnTo>
                  <a:lnTo>
                    <a:pt x="1242" y="97"/>
                  </a:lnTo>
                  <a:lnTo>
                    <a:pt x="1238" y="94"/>
                  </a:lnTo>
                  <a:lnTo>
                    <a:pt x="1235" y="94"/>
                  </a:lnTo>
                  <a:lnTo>
                    <a:pt x="1228" y="90"/>
                  </a:lnTo>
                  <a:lnTo>
                    <a:pt x="1228" y="90"/>
                  </a:lnTo>
                  <a:lnTo>
                    <a:pt x="1224" y="94"/>
                  </a:lnTo>
                  <a:lnTo>
                    <a:pt x="1221" y="97"/>
                  </a:lnTo>
                  <a:lnTo>
                    <a:pt x="1224" y="100"/>
                  </a:lnTo>
                  <a:lnTo>
                    <a:pt x="1224" y="100"/>
                  </a:lnTo>
                  <a:lnTo>
                    <a:pt x="1221" y="100"/>
                  </a:lnTo>
                  <a:lnTo>
                    <a:pt x="1221" y="97"/>
                  </a:lnTo>
                  <a:lnTo>
                    <a:pt x="1218" y="97"/>
                  </a:lnTo>
                  <a:lnTo>
                    <a:pt x="1214" y="97"/>
                  </a:lnTo>
                  <a:lnTo>
                    <a:pt x="1214" y="97"/>
                  </a:lnTo>
                  <a:lnTo>
                    <a:pt x="1211" y="94"/>
                  </a:lnTo>
                  <a:lnTo>
                    <a:pt x="1207" y="94"/>
                  </a:lnTo>
                  <a:lnTo>
                    <a:pt x="1207" y="94"/>
                  </a:lnTo>
                  <a:lnTo>
                    <a:pt x="1207" y="100"/>
                  </a:lnTo>
                  <a:lnTo>
                    <a:pt x="1207" y="103"/>
                  </a:lnTo>
                  <a:lnTo>
                    <a:pt x="1211" y="107"/>
                  </a:lnTo>
                  <a:lnTo>
                    <a:pt x="1214" y="110"/>
                  </a:lnTo>
                  <a:lnTo>
                    <a:pt x="1218" y="110"/>
                  </a:lnTo>
                  <a:lnTo>
                    <a:pt x="1218" y="110"/>
                  </a:lnTo>
                  <a:lnTo>
                    <a:pt x="1218" y="110"/>
                  </a:lnTo>
                  <a:lnTo>
                    <a:pt x="1214" y="110"/>
                  </a:lnTo>
                  <a:lnTo>
                    <a:pt x="1218" y="113"/>
                  </a:lnTo>
                  <a:lnTo>
                    <a:pt x="1221" y="116"/>
                  </a:lnTo>
                  <a:lnTo>
                    <a:pt x="1224" y="116"/>
                  </a:lnTo>
                  <a:lnTo>
                    <a:pt x="1228" y="116"/>
                  </a:lnTo>
                  <a:lnTo>
                    <a:pt x="1231" y="116"/>
                  </a:lnTo>
                  <a:lnTo>
                    <a:pt x="1231" y="116"/>
                  </a:lnTo>
                  <a:lnTo>
                    <a:pt x="1231" y="120"/>
                  </a:lnTo>
                  <a:lnTo>
                    <a:pt x="1228" y="120"/>
                  </a:lnTo>
                  <a:lnTo>
                    <a:pt x="1228" y="126"/>
                  </a:lnTo>
                  <a:lnTo>
                    <a:pt x="1224" y="126"/>
                  </a:lnTo>
                  <a:lnTo>
                    <a:pt x="1221" y="123"/>
                  </a:lnTo>
                  <a:lnTo>
                    <a:pt x="1211" y="120"/>
                  </a:lnTo>
                  <a:lnTo>
                    <a:pt x="1207" y="116"/>
                  </a:lnTo>
                  <a:lnTo>
                    <a:pt x="1204" y="113"/>
                  </a:lnTo>
                  <a:lnTo>
                    <a:pt x="1204" y="113"/>
                  </a:lnTo>
                  <a:lnTo>
                    <a:pt x="1200" y="113"/>
                  </a:lnTo>
                  <a:lnTo>
                    <a:pt x="1200" y="116"/>
                  </a:lnTo>
                  <a:lnTo>
                    <a:pt x="1200" y="116"/>
                  </a:lnTo>
                  <a:lnTo>
                    <a:pt x="1197" y="120"/>
                  </a:lnTo>
                  <a:lnTo>
                    <a:pt x="1200" y="126"/>
                  </a:lnTo>
                  <a:lnTo>
                    <a:pt x="1197" y="126"/>
                  </a:lnTo>
                  <a:lnTo>
                    <a:pt x="1193" y="126"/>
                  </a:lnTo>
                  <a:lnTo>
                    <a:pt x="1193" y="129"/>
                  </a:lnTo>
                  <a:lnTo>
                    <a:pt x="1193" y="129"/>
                  </a:lnTo>
                  <a:lnTo>
                    <a:pt x="1193" y="139"/>
                  </a:lnTo>
                  <a:lnTo>
                    <a:pt x="1193" y="139"/>
                  </a:lnTo>
                  <a:lnTo>
                    <a:pt x="1200" y="139"/>
                  </a:lnTo>
                  <a:lnTo>
                    <a:pt x="1204" y="142"/>
                  </a:lnTo>
                  <a:lnTo>
                    <a:pt x="1207" y="139"/>
                  </a:lnTo>
                  <a:lnTo>
                    <a:pt x="1207" y="142"/>
                  </a:lnTo>
                  <a:lnTo>
                    <a:pt x="1204" y="142"/>
                  </a:lnTo>
                  <a:lnTo>
                    <a:pt x="1200" y="142"/>
                  </a:lnTo>
                  <a:lnTo>
                    <a:pt x="1197" y="142"/>
                  </a:lnTo>
                  <a:lnTo>
                    <a:pt x="1193" y="142"/>
                  </a:lnTo>
                  <a:lnTo>
                    <a:pt x="1190" y="142"/>
                  </a:lnTo>
                  <a:lnTo>
                    <a:pt x="1183" y="149"/>
                  </a:lnTo>
                  <a:lnTo>
                    <a:pt x="1183" y="149"/>
                  </a:lnTo>
                  <a:lnTo>
                    <a:pt x="1187" y="152"/>
                  </a:lnTo>
                  <a:lnTo>
                    <a:pt x="1187" y="155"/>
                  </a:lnTo>
                  <a:lnTo>
                    <a:pt x="1183" y="155"/>
                  </a:lnTo>
                  <a:lnTo>
                    <a:pt x="1183" y="158"/>
                  </a:lnTo>
                  <a:lnTo>
                    <a:pt x="1187" y="158"/>
                  </a:lnTo>
                  <a:lnTo>
                    <a:pt x="1187" y="158"/>
                  </a:lnTo>
                  <a:lnTo>
                    <a:pt x="1193" y="158"/>
                  </a:lnTo>
                  <a:lnTo>
                    <a:pt x="1197" y="155"/>
                  </a:lnTo>
                  <a:lnTo>
                    <a:pt x="1197" y="155"/>
                  </a:lnTo>
                  <a:lnTo>
                    <a:pt x="1197" y="158"/>
                  </a:lnTo>
                  <a:lnTo>
                    <a:pt x="1193" y="158"/>
                  </a:lnTo>
                  <a:lnTo>
                    <a:pt x="1190" y="162"/>
                  </a:lnTo>
                  <a:lnTo>
                    <a:pt x="1193" y="165"/>
                  </a:lnTo>
                  <a:lnTo>
                    <a:pt x="1197" y="165"/>
                  </a:lnTo>
                  <a:lnTo>
                    <a:pt x="1200" y="162"/>
                  </a:lnTo>
                  <a:lnTo>
                    <a:pt x="1200" y="162"/>
                  </a:lnTo>
                  <a:lnTo>
                    <a:pt x="1204" y="158"/>
                  </a:lnTo>
                  <a:lnTo>
                    <a:pt x="1204" y="162"/>
                  </a:lnTo>
                  <a:lnTo>
                    <a:pt x="1204" y="165"/>
                  </a:lnTo>
                  <a:lnTo>
                    <a:pt x="1204" y="165"/>
                  </a:lnTo>
                  <a:lnTo>
                    <a:pt x="1211" y="165"/>
                  </a:lnTo>
                  <a:lnTo>
                    <a:pt x="1211" y="165"/>
                  </a:lnTo>
                  <a:lnTo>
                    <a:pt x="1207" y="165"/>
                  </a:lnTo>
                  <a:lnTo>
                    <a:pt x="1207" y="168"/>
                  </a:lnTo>
                  <a:lnTo>
                    <a:pt x="1211" y="168"/>
                  </a:lnTo>
                  <a:lnTo>
                    <a:pt x="1214" y="168"/>
                  </a:lnTo>
                  <a:lnTo>
                    <a:pt x="1221" y="171"/>
                  </a:lnTo>
                  <a:lnTo>
                    <a:pt x="1228" y="174"/>
                  </a:lnTo>
                  <a:lnTo>
                    <a:pt x="1231" y="174"/>
                  </a:lnTo>
                  <a:lnTo>
                    <a:pt x="1221" y="174"/>
                  </a:lnTo>
                  <a:lnTo>
                    <a:pt x="1218" y="174"/>
                  </a:lnTo>
                  <a:lnTo>
                    <a:pt x="1214" y="171"/>
                  </a:lnTo>
                  <a:lnTo>
                    <a:pt x="1207" y="174"/>
                  </a:lnTo>
                  <a:lnTo>
                    <a:pt x="1207" y="174"/>
                  </a:lnTo>
                  <a:lnTo>
                    <a:pt x="1214" y="178"/>
                  </a:lnTo>
                  <a:lnTo>
                    <a:pt x="1221" y="178"/>
                  </a:lnTo>
                  <a:lnTo>
                    <a:pt x="1228" y="178"/>
                  </a:lnTo>
                  <a:lnTo>
                    <a:pt x="1231" y="181"/>
                  </a:lnTo>
                  <a:lnTo>
                    <a:pt x="1224" y="181"/>
                  </a:lnTo>
                  <a:lnTo>
                    <a:pt x="1221" y="181"/>
                  </a:lnTo>
                  <a:lnTo>
                    <a:pt x="1214" y="178"/>
                  </a:lnTo>
                  <a:lnTo>
                    <a:pt x="1207" y="178"/>
                  </a:lnTo>
                  <a:lnTo>
                    <a:pt x="1207" y="178"/>
                  </a:lnTo>
                  <a:lnTo>
                    <a:pt x="1200" y="174"/>
                  </a:lnTo>
                  <a:lnTo>
                    <a:pt x="1197" y="171"/>
                  </a:lnTo>
                  <a:lnTo>
                    <a:pt x="1193" y="171"/>
                  </a:lnTo>
                  <a:lnTo>
                    <a:pt x="1190" y="174"/>
                  </a:lnTo>
                  <a:lnTo>
                    <a:pt x="1187" y="174"/>
                  </a:lnTo>
                  <a:lnTo>
                    <a:pt x="1183" y="178"/>
                  </a:lnTo>
                  <a:lnTo>
                    <a:pt x="1183" y="184"/>
                  </a:lnTo>
                  <a:lnTo>
                    <a:pt x="1187" y="187"/>
                  </a:lnTo>
                  <a:lnTo>
                    <a:pt x="1187" y="191"/>
                  </a:lnTo>
                  <a:lnTo>
                    <a:pt x="1183" y="191"/>
                  </a:lnTo>
                  <a:lnTo>
                    <a:pt x="1183" y="187"/>
                  </a:lnTo>
                  <a:lnTo>
                    <a:pt x="1180" y="187"/>
                  </a:lnTo>
                  <a:lnTo>
                    <a:pt x="1176" y="194"/>
                  </a:lnTo>
                  <a:lnTo>
                    <a:pt x="1180" y="197"/>
                  </a:lnTo>
                  <a:lnTo>
                    <a:pt x="1180" y="197"/>
                  </a:lnTo>
                  <a:lnTo>
                    <a:pt x="1183" y="197"/>
                  </a:lnTo>
                  <a:lnTo>
                    <a:pt x="1183" y="197"/>
                  </a:lnTo>
                  <a:lnTo>
                    <a:pt x="1187" y="200"/>
                  </a:lnTo>
                  <a:lnTo>
                    <a:pt x="1190" y="200"/>
                  </a:lnTo>
                  <a:lnTo>
                    <a:pt x="1187" y="200"/>
                  </a:lnTo>
                  <a:lnTo>
                    <a:pt x="1187" y="204"/>
                  </a:lnTo>
                  <a:lnTo>
                    <a:pt x="1183" y="200"/>
                  </a:lnTo>
                  <a:lnTo>
                    <a:pt x="1176" y="200"/>
                  </a:lnTo>
                  <a:lnTo>
                    <a:pt x="1176" y="207"/>
                  </a:lnTo>
                  <a:lnTo>
                    <a:pt x="1176" y="210"/>
                  </a:lnTo>
                  <a:lnTo>
                    <a:pt x="1180" y="207"/>
                  </a:lnTo>
                  <a:lnTo>
                    <a:pt x="1180" y="210"/>
                  </a:lnTo>
                  <a:lnTo>
                    <a:pt x="1180" y="216"/>
                  </a:lnTo>
                  <a:lnTo>
                    <a:pt x="1180" y="216"/>
                  </a:lnTo>
                  <a:lnTo>
                    <a:pt x="1183" y="216"/>
                  </a:lnTo>
                  <a:lnTo>
                    <a:pt x="1183" y="220"/>
                  </a:lnTo>
                  <a:lnTo>
                    <a:pt x="1190" y="223"/>
                  </a:lnTo>
                  <a:lnTo>
                    <a:pt x="1197" y="226"/>
                  </a:lnTo>
                  <a:lnTo>
                    <a:pt x="1200" y="226"/>
                  </a:lnTo>
                  <a:lnTo>
                    <a:pt x="1204" y="223"/>
                  </a:lnTo>
                  <a:lnTo>
                    <a:pt x="1200" y="220"/>
                  </a:lnTo>
                  <a:lnTo>
                    <a:pt x="1207" y="220"/>
                  </a:lnTo>
                  <a:lnTo>
                    <a:pt x="1207" y="223"/>
                  </a:lnTo>
                  <a:lnTo>
                    <a:pt x="1207" y="226"/>
                  </a:lnTo>
                  <a:lnTo>
                    <a:pt x="1207" y="229"/>
                  </a:lnTo>
                  <a:lnTo>
                    <a:pt x="1211" y="229"/>
                  </a:lnTo>
                  <a:lnTo>
                    <a:pt x="1214" y="220"/>
                  </a:lnTo>
                  <a:lnTo>
                    <a:pt x="1211" y="213"/>
                  </a:lnTo>
                  <a:lnTo>
                    <a:pt x="1214" y="210"/>
                  </a:lnTo>
                  <a:lnTo>
                    <a:pt x="1218" y="207"/>
                  </a:lnTo>
                  <a:lnTo>
                    <a:pt x="1221" y="204"/>
                  </a:lnTo>
                  <a:lnTo>
                    <a:pt x="1221" y="207"/>
                  </a:lnTo>
                  <a:lnTo>
                    <a:pt x="1214" y="213"/>
                  </a:lnTo>
                  <a:lnTo>
                    <a:pt x="1214" y="216"/>
                  </a:lnTo>
                  <a:lnTo>
                    <a:pt x="1214" y="220"/>
                  </a:lnTo>
                  <a:lnTo>
                    <a:pt x="1214" y="226"/>
                  </a:lnTo>
                  <a:lnTo>
                    <a:pt x="1214" y="229"/>
                  </a:lnTo>
                  <a:lnTo>
                    <a:pt x="1214" y="233"/>
                  </a:lnTo>
                  <a:lnTo>
                    <a:pt x="1218" y="233"/>
                  </a:lnTo>
                  <a:lnTo>
                    <a:pt x="1218" y="233"/>
                  </a:lnTo>
                  <a:close/>
                  <a:moveTo>
                    <a:pt x="1224" y="87"/>
                  </a:moveTo>
                  <a:lnTo>
                    <a:pt x="1228" y="87"/>
                  </a:lnTo>
                  <a:lnTo>
                    <a:pt x="1228" y="87"/>
                  </a:lnTo>
                  <a:lnTo>
                    <a:pt x="1231" y="87"/>
                  </a:lnTo>
                  <a:lnTo>
                    <a:pt x="1235" y="87"/>
                  </a:lnTo>
                  <a:lnTo>
                    <a:pt x="1235" y="90"/>
                  </a:lnTo>
                  <a:lnTo>
                    <a:pt x="1231" y="90"/>
                  </a:lnTo>
                  <a:lnTo>
                    <a:pt x="1231" y="90"/>
                  </a:lnTo>
                  <a:lnTo>
                    <a:pt x="1228" y="87"/>
                  </a:lnTo>
                  <a:lnTo>
                    <a:pt x="1224" y="87"/>
                  </a:lnTo>
                  <a:lnTo>
                    <a:pt x="1224" y="87"/>
                  </a:lnTo>
                  <a:close/>
                  <a:moveTo>
                    <a:pt x="1228" y="229"/>
                  </a:moveTo>
                  <a:lnTo>
                    <a:pt x="1228" y="229"/>
                  </a:lnTo>
                  <a:lnTo>
                    <a:pt x="1231" y="226"/>
                  </a:lnTo>
                  <a:lnTo>
                    <a:pt x="1231" y="223"/>
                  </a:lnTo>
                  <a:lnTo>
                    <a:pt x="1235" y="223"/>
                  </a:lnTo>
                  <a:lnTo>
                    <a:pt x="1235" y="223"/>
                  </a:lnTo>
                  <a:lnTo>
                    <a:pt x="1235" y="226"/>
                  </a:lnTo>
                  <a:lnTo>
                    <a:pt x="1235" y="226"/>
                  </a:lnTo>
                  <a:lnTo>
                    <a:pt x="1231" y="229"/>
                  </a:lnTo>
                  <a:lnTo>
                    <a:pt x="1228" y="229"/>
                  </a:lnTo>
                  <a:lnTo>
                    <a:pt x="1228" y="229"/>
                  </a:lnTo>
                  <a:close/>
                  <a:moveTo>
                    <a:pt x="1269" y="200"/>
                  </a:moveTo>
                  <a:lnTo>
                    <a:pt x="1273" y="194"/>
                  </a:lnTo>
                  <a:lnTo>
                    <a:pt x="1276" y="194"/>
                  </a:lnTo>
                  <a:lnTo>
                    <a:pt x="1279" y="194"/>
                  </a:lnTo>
                  <a:lnTo>
                    <a:pt x="1283" y="194"/>
                  </a:lnTo>
                  <a:lnTo>
                    <a:pt x="1286" y="197"/>
                  </a:lnTo>
                  <a:lnTo>
                    <a:pt x="1286" y="200"/>
                  </a:lnTo>
                  <a:lnTo>
                    <a:pt x="1279" y="200"/>
                  </a:lnTo>
                  <a:lnTo>
                    <a:pt x="1276" y="200"/>
                  </a:lnTo>
                  <a:lnTo>
                    <a:pt x="1273" y="204"/>
                  </a:lnTo>
                  <a:lnTo>
                    <a:pt x="1269" y="200"/>
                  </a:lnTo>
                  <a:lnTo>
                    <a:pt x="1269" y="200"/>
                  </a:lnTo>
                  <a:lnTo>
                    <a:pt x="1269" y="200"/>
                  </a:lnTo>
                  <a:close/>
                  <a:moveTo>
                    <a:pt x="1558" y="6"/>
                  </a:moveTo>
                  <a:lnTo>
                    <a:pt x="1562" y="3"/>
                  </a:lnTo>
                  <a:lnTo>
                    <a:pt x="1565" y="3"/>
                  </a:lnTo>
                  <a:lnTo>
                    <a:pt x="1565" y="6"/>
                  </a:lnTo>
                  <a:lnTo>
                    <a:pt x="1562" y="6"/>
                  </a:lnTo>
                  <a:lnTo>
                    <a:pt x="1558" y="6"/>
                  </a:lnTo>
                  <a:lnTo>
                    <a:pt x="1558" y="6"/>
                  </a:lnTo>
                  <a:close/>
                  <a:moveTo>
                    <a:pt x="1420" y="239"/>
                  </a:moveTo>
                  <a:lnTo>
                    <a:pt x="1417" y="239"/>
                  </a:lnTo>
                  <a:lnTo>
                    <a:pt x="1420" y="242"/>
                  </a:lnTo>
                  <a:lnTo>
                    <a:pt x="1424" y="242"/>
                  </a:lnTo>
                  <a:lnTo>
                    <a:pt x="1424" y="239"/>
                  </a:lnTo>
                  <a:lnTo>
                    <a:pt x="1420" y="239"/>
                  </a:lnTo>
                  <a:lnTo>
                    <a:pt x="1420" y="239"/>
                  </a:lnTo>
                  <a:lnTo>
                    <a:pt x="1420" y="239"/>
                  </a:lnTo>
                  <a:lnTo>
                    <a:pt x="1420" y="239"/>
                  </a:lnTo>
                  <a:close/>
                  <a:moveTo>
                    <a:pt x="1352" y="275"/>
                  </a:moveTo>
                  <a:lnTo>
                    <a:pt x="1352" y="278"/>
                  </a:lnTo>
                  <a:lnTo>
                    <a:pt x="1355" y="278"/>
                  </a:lnTo>
                  <a:lnTo>
                    <a:pt x="1352" y="275"/>
                  </a:lnTo>
                  <a:lnTo>
                    <a:pt x="1352" y="275"/>
                  </a:lnTo>
                  <a:lnTo>
                    <a:pt x="1352" y="275"/>
                  </a:lnTo>
                  <a:close/>
                  <a:moveTo>
                    <a:pt x="1252" y="271"/>
                  </a:moveTo>
                  <a:lnTo>
                    <a:pt x="1248" y="268"/>
                  </a:lnTo>
                  <a:lnTo>
                    <a:pt x="1248" y="268"/>
                  </a:lnTo>
                  <a:lnTo>
                    <a:pt x="1252" y="268"/>
                  </a:lnTo>
                  <a:lnTo>
                    <a:pt x="1255" y="268"/>
                  </a:lnTo>
                  <a:lnTo>
                    <a:pt x="1255" y="271"/>
                  </a:lnTo>
                  <a:lnTo>
                    <a:pt x="1252" y="271"/>
                  </a:lnTo>
                  <a:lnTo>
                    <a:pt x="1252" y="271"/>
                  </a:lnTo>
                  <a:lnTo>
                    <a:pt x="1252" y="271"/>
                  </a:lnTo>
                  <a:close/>
                  <a:moveTo>
                    <a:pt x="1224" y="323"/>
                  </a:moveTo>
                  <a:lnTo>
                    <a:pt x="1224" y="320"/>
                  </a:lnTo>
                  <a:lnTo>
                    <a:pt x="1224" y="317"/>
                  </a:lnTo>
                  <a:lnTo>
                    <a:pt x="1221" y="313"/>
                  </a:lnTo>
                  <a:lnTo>
                    <a:pt x="1221" y="313"/>
                  </a:lnTo>
                  <a:lnTo>
                    <a:pt x="1221" y="313"/>
                  </a:lnTo>
                  <a:lnTo>
                    <a:pt x="1218" y="317"/>
                  </a:lnTo>
                  <a:lnTo>
                    <a:pt x="1221" y="323"/>
                  </a:lnTo>
                  <a:lnTo>
                    <a:pt x="1221" y="326"/>
                  </a:lnTo>
                  <a:lnTo>
                    <a:pt x="1221" y="329"/>
                  </a:lnTo>
                  <a:lnTo>
                    <a:pt x="1221" y="329"/>
                  </a:lnTo>
                  <a:lnTo>
                    <a:pt x="1218" y="329"/>
                  </a:lnTo>
                  <a:lnTo>
                    <a:pt x="1211" y="329"/>
                  </a:lnTo>
                  <a:lnTo>
                    <a:pt x="1211" y="326"/>
                  </a:lnTo>
                  <a:lnTo>
                    <a:pt x="1207" y="326"/>
                  </a:lnTo>
                  <a:lnTo>
                    <a:pt x="1200" y="323"/>
                  </a:lnTo>
                  <a:lnTo>
                    <a:pt x="1200" y="323"/>
                  </a:lnTo>
                  <a:lnTo>
                    <a:pt x="1197" y="320"/>
                  </a:lnTo>
                  <a:lnTo>
                    <a:pt x="1197" y="320"/>
                  </a:lnTo>
                  <a:lnTo>
                    <a:pt x="1193" y="320"/>
                  </a:lnTo>
                  <a:lnTo>
                    <a:pt x="1193" y="320"/>
                  </a:lnTo>
                  <a:lnTo>
                    <a:pt x="1197" y="317"/>
                  </a:lnTo>
                  <a:lnTo>
                    <a:pt x="1197" y="317"/>
                  </a:lnTo>
                  <a:lnTo>
                    <a:pt x="1200" y="313"/>
                  </a:lnTo>
                  <a:lnTo>
                    <a:pt x="1200" y="310"/>
                  </a:lnTo>
                  <a:lnTo>
                    <a:pt x="1197" y="307"/>
                  </a:lnTo>
                  <a:lnTo>
                    <a:pt x="1197" y="304"/>
                  </a:lnTo>
                  <a:lnTo>
                    <a:pt x="1197" y="307"/>
                  </a:lnTo>
                  <a:lnTo>
                    <a:pt x="1197" y="310"/>
                  </a:lnTo>
                  <a:lnTo>
                    <a:pt x="1197" y="310"/>
                  </a:lnTo>
                  <a:lnTo>
                    <a:pt x="1197" y="313"/>
                  </a:lnTo>
                  <a:lnTo>
                    <a:pt x="1193" y="313"/>
                  </a:lnTo>
                  <a:lnTo>
                    <a:pt x="1193" y="313"/>
                  </a:lnTo>
                  <a:lnTo>
                    <a:pt x="1193" y="313"/>
                  </a:lnTo>
                  <a:lnTo>
                    <a:pt x="1193" y="317"/>
                  </a:lnTo>
                  <a:lnTo>
                    <a:pt x="1190" y="320"/>
                  </a:lnTo>
                  <a:lnTo>
                    <a:pt x="1190" y="320"/>
                  </a:lnTo>
                  <a:lnTo>
                    <a:pt x="1187" y="317"/>
                  </a:lnTo>
                  <a:lnTo>
                    <a:pt x="1187" y="313"/>
                  </a:lnTo>
                  <a:lnTo>
                    <a:pt x="1187" y="310"/>
                  </a:lnTo>
                  <a:lnTo>
                    <a:pt x="1187" y="307"/>
                  </a:lnTo>
                  <a:lnTo>
                    <a:pt x="1187" y="307"/>
                  </a:lnTo>
                  <a:lnTo>
                    <a:pt x="1187" y="304"/>
                  </a:lnTo>
                  <a:lnTo>
                    <a:pt x="1187" y="307"/>
                  </a:lnTo>
                  <a:lnTo>
                    <a:pt x="1187" y="307"/>
                  </a:lnTo>
                  <a:lnTo>
                    <a:pt x="1183" y="310"/>
                  </a:lnTo>
                  <a:lnTo>
                    <a:pt x="1183" y="313"/>
                  </a:lnTo>
                  <a:lnTo>
                    <a:pt x="1183" y="313"/>
                  </a:lnTo>
                  <a:lnTo>
                    <a:pt x="1180" y="313"/>
                  </a:lnTo>
                  <a:lnTo>
                    <a:pt x="1176" y="313"/>
                  </a:lnTo>
                  <a:lnTo>
                    <a:pt x="1176" y="313"/>
                  </a:lnTo>
                  <a:lnTo>
                    <a:pt x="1173" y="310"/>
                  </a:lnTo>
                  <a:lnTo>
                    <a:pt x="1176" y="307"/>
                  </a:lnTo>
                  <a:lnTo>
                    <a:pt x="1176" y="304"/>
                  </a:lnTo>
                  <a:lnTo>
                    <a:pt x="1176" y="304"/>
                  </a:lnTo>
                  <a:lnTo>
                    <a:pt x="1176" y="300"/>
                  </a:lnTo>
                  <a:lnTo>
                    <a:pt x="1180" y="294"/>
                  </a:lnTo>
                  <a:lnTo>
                    <a:pt x="1180" y="294"/>
                  </a:lnTo>
                  <a:lnTo>
                    <a:pt x="1176" y="297"/>
                  </a:lnTo>
                  <a:lnTo>
                    <a:pt x="1173" y="304"/>
                  </a:lnTo>
                  <a:lnTo>
                    <a:pt x="1173" y="307"/>
                  </a:lnTo>
                  <a:lnTo>
                    <a:pt x="1173" y="310"/>
                  </a:lnTo>
                  <a:lnTo>
                    <a:pt x="1169" y="310"/>
                  </a:lnTo>
                  <a:lnTo>
                    <a:pt x="1173" y="307"/>
                  </a:lnTo>
                  <a:lnTo>
                    <a:pt x="1173" y="304"/>
                  </a:lnTo>
                  <a:lnTo>
                    <a:pt x="1169" y="304"/>
                  </a:lnTo>
                  <a:lnTo>
                    <a:pt x="1169" y="310"/>
                  </a:lnTo>
                  <a:lnTo>
                    <a:pt x="1166" y="310"/>
                  </a:lnTo>
                  <a:lnTo>
                    <a:pt x="1162" y="307"/>
                  </a:lnTo>
                  <a:lnTo>
                    <a:pt x="1162" y="304"/>
                  </a:lnTo>
                  <a:lnTo>
                    <a:pt x="1162" y="300"/>
                  </a:lnTo>
                  <a:lnTo>
                    <a:pt x="1162" y="300"/>
                  </a:lnTo>
                  <a:lnTo>
                    <a:pt x="1166" y="297"/>
                  </a:lnTo>
                  <a:lnTo>
                    <a:pt x="1169" y="294"/>
                  </a:lnTo>
                  <a:lnTo>
                    <a:pt x="1169" y="294"/>
                  </a:lnTo>
                  <a:lnTo>
                    <a:pt x="1169" y="291"/>
                  </a:lnTo>
                  <a:lnTo>
                    <a:pt x="1173" y="288"/>
                  </a:lnTo>
                  <a:lnTo>
                    <a:pt x="1176" y="288"/>
                  </a:lnTo>
                  <a:lnTo>
                    <a:pt x="1176" y="288"/>
                  </a:lnTo>
                  <a:lnTo>
                    <a:pt x="1183" y="284"/>
                  </a:lnTo>
                  <a:lnTo>
                    <a:pt x="1183" y="284"/>
                  </a:lnTo>
                  <a:lnTo>
                    <a:pt x="1187" y="281"/>
                  </a:lnTo>
                  <a:lnTo>
                    <a:pt x="1190" y="281"/>
                  </a:lnTo>
                  <a:lnTo>
                    <a:pt x="1190" y="281"/>
                  </a:lnTo>
                  <a:lnTo>
                    <a:pt x="1190" y="278"/>
                  </a:lnTo>
                  <a:lnTo>
                    <a:pt x="1193" y="278"/>
                  </a:lnTo>
                  <a:lnTo>
                    <a:pt x="1200" y="281"/>
                  </a:lnTo>
                  <a:lnTo>
                    <a:pt x="1207" y="281"/>
                  </a:lnTo>
                  <a:lnTo>
                    <a:pt x="1207" y="278"/>
                  </a:lnTo>
                  <a:lnTo>
                    <a:pt x="1211" y="281"/>
                  </a:lnTo>
                  <a:lnTo>
                    <a:pt x="1214" y="284"/>
                  </a:lnTo>
                  <a:lnTo>
                    <a:pt x="1218" y="284"/>
                  </a:lnTo>
                  <a:lnTo>
                    <a:pt x="1218" y="281"/>
                  </a:lnTo>
                  <a:lnTo>
                    <a:pt x="1218" y="281"/>
                  </a:lnTo>
                  <a:lnTo>
                    <a:pt x="1221" y="284"/>
                  </a:lnTo>
                  <a:lnTo>
                    <a:pt x="1224" y="281"/>
                  </a:lnTo>
                  <a:lnTo>
                    <a:pt x="1228" y="284"/>
                  </a:lnTo>
                  <a:lnTo>
                    <a:pt x="1228" y="281"/>
                  </a:lnTo>
                  <a:lnTo>
                    <a:pt x="1228" y="281"/>
                  </a:lnTo>
                  <a:lnTo>
                    <a:pt x="1224" y="281"/>
                  </a:lnTo>
                  <a:lnTo>
                    <a:pt x="1221" y="278"/>
                  </a:lnTo>
                  <a:lnTo>
                    <a:pt x="1221" y="278"/>
                  </a:lnTo>
                  <a:lnTo>
                    <a:pt x="1221" y="278"/>
                  </a:lnTo>
                  <a:lnTo>
                    <a:pt x="1224" y="275"/>
                  </a:lnTo>
                  <a:lnTo>
                    <a:pt x="1224" y="275"/>
                  </a:lnTo>
                  <a:lnTo>
                    <a:pt x="1221" y="275"/>
                  </a:lnTo>
                  <a:lnTo>
                    <a:pt x="1221" y="271"/>
                  </a:lnTo>
                  <a:lnTo>
                    <a:pt x="1224" y="271"/>
                  </a:lnTo>
                  <a:lnTo>
                    <a:pt x="1224" y="271"/>
                  </a:lnTo>
                  <a:lnTo>
                    <a:pt x="1221" y="271"/>
                  </a:lnTo>
                  <a:lnTo>
                    <a:pt x="1221" y="271"/>
                  </a:lnTo>
                  <a:lnTo>
                    <a:pt x="1218" y="271"/>
                  </a:lnTo>
                  <a:lnTo>
                    <a:pt x="1214" y="268"/>
                  </a:lnTo>
                  <a:lnTo>
                    <a:pt x="1218" y="268"/>
                  </a:lnTo>
                  <a:lnTo>
                    <a:pt x="1221" y="265"/>
                  </a:lnTo>
                  <a:lnTo>
                    <a:pt x="1221" y="262"/>
                  </a:lnTo>
                  <a:lnTo>
                    <a:pt x="1218" y="262"/>
                  </a:lnTo>
                  <a:lnTo>
                    <a:pt x="1218" y="262"/>
                  </a:lnTo>
                  <a:lnTo>
                    <a:pt x="1218" y="255"/>
                  </a:lnTo>
                  <a:lnTo>
                    <a:pt x="1218" y="255"/>
                  </a:lnTo>
                  <a:lnTo>
                    <a:pt x="1218" y="252"/>
                  </a:lnTo>
                  <a:lnTo>
                    <a:pt x="1218" y="249"/>
                  </a:lnTo>
                  <a:lnTo>
                    <a:pt x="1221" y="249"/>
                  </a:lnTo>
                  <a:lnTo>
                    <a:pt x="1224" y="246"/>
                  </a:lnTo>
                  <a:lnTo>
                    <a:pt x="1228" y="246"/>
                  </a:lnTo>
                  <a:lnTo>
                    <a:pt x="1231" y="246"/>
                  </a:lnTo>
                  <a:lnTo>
                    <a:pt x="1235" y="249"/>
                  </a:lnTo>
                  <a:lnTo>
                    <a:pt x="1238" y="249"/>
                  </a:lnTo>
                  <a:lnTo>
                    <a:pt x="1242" y="252"/>
                  </a:lnTo>
                  <a:lnTo>
                    <a:pt x="1245" y="258"/>
                  </a:lnTo>
                  <a:lnTo>
                    <a:pt x="1245" y="268"/>
                  </a:lnTo>
                  <a:lnTo>
                    <a:pt x="1242" y="271"/>
                  </a:lnTo>
                  <a:lnTo>
                    <a:pt x="1245" y="275"/>
                  </a:lnTo>
                  <a:lnTo>
                    <a:pt x="1245" y="271"/>
                  </a:lnTo>
                  <a:lnTo>
                    <a:pt x="1252" y="275"/>
                  </a:lnTo>
                  <a:lnTo>
                    <a:pt x="1255" y="278"/>
                  </a:lnTo>
                  <a:lnTo>
                    <a:pt x="1259" y="281"/>
                  </a:lnTo>
                  <a:lnTo>
                    <a:pt x="1259" y="278"/>
                  </a:lnTo>
                  <a:lnTo>
                    <a:pt x="1266" y="278"/>
                  </a:lnTo>
                  <a:lnTo>
                    <a:pt x="1269" y="281"/>
                  </a:lnTo>
                  <a:lnTo>
                    <a:pt x="1273" y="281"/>
                  </a:lnTo>
                  <a:lnTo>
                    <a:pt x="1269" y="278"/>
                  </a:lnTo>
                  <a:lnTo>
                    <a:pt x="1273" y="278"/>
                  </a:lnTo>
                  <a:lnTo>
                    <a:pt x="1279" y="275"/>
                  </a:lnTo>
                  <a:lnTo>
                    <a:pt x="1283" y="268"/>
                  </a:lnTo>
                  <a:lnTo>
                    <a:pt x="1290" y="265"/>
                  </a:lnTo>
                  <a:lnTo>
                    <a:pt x="1297" y="258"/>
                  </a:lnTo>
                  <a:lnTo>
                    <a:pt x="1297" y="255"/>
                  </a:lnTo>
                  <a:lnTo>
                    <a:pt x="1300" y="255"/>
                  </a:lnTo>
                  <a:lnTo>
                    <a:pt x="1297" y="255"/>
                  </a:lnTo>
                  <a:lnTo>
                    <a:pt x="1293" y="255"/>
                  </a:lnTo>
                  <a:lnTo>
                    <a:pt x="1293" y="258"/>
                  </a:lnTo>
                  <a:lnTo>
                    <a:pt x="1286" y="265"/>
                  </a:lnTo>
                  <a:lnTo>
                    <a:pt x="1283" y="268"/>
                  </a:lnTo>
                  <a:lnTo>
                    <a:pt x="1283" y="268"/>
                  </a:lnTo>
                  <a:lnTo>
                    <a:pt x="1279" y="271"/>
                  </a:lnTo>
                  <a:lnTo>
                    <a:pt x="1273" y="275"/>
                  </a:lnTo>
                  <a:lnTo>
                    <a:pt x="1269" y="271"/>
                  </a:lnTo>
                  <a:lnTo>
                    <a:pt x="1266" y="271"/>
                  </a:lnTo>
                  <a:lnTo>
                    <a:pt x="1266" y="275"/>
                  </a:lnTo>
                  <a:lnTo>
                    <a:pt x="1262" y="275"/>
                  </a:lnTo>
                  <a:lnTo>
                    <a:pt x="1255" y="271"/>
                  </a:lnTo>
                  <a:lnTo>
                    <a:pt x="1259" y="268"/>
                  </a:lnTo>
                  <a:lnTo>
                    <a:pt x="1259" y="268"/>
                  </a:lnTo>
                  <a:lnTo>
                    <a:pt x="1262" y="265"/>
                  </a:lnTo>
                  <a:lnTo>
                    <a:pt x="1266" y="262"/>
                  </a:lnTo>
                  <a:lnTo>
                    <a:pt x="1259" y="265"/>
                  </a:lnTo>
                  <a:lnTo>
                    <a:pt x="1259" y="268"/>
                  </a:lnTo>
                  <a:lnTo>
                    <a:pt x="1255" y="268"/>
                  </a:lnTo>
                  <a:lnTo>
                    <a:pt x="1252" y="262"/>
                  </a:lnTo>
                  <a:lnTo>
                    <a:pt x="1252" y="262"/>
                  </a:lnTo>
                  <a:lnTo>
                    <a:pt x="1255" y="262"/>
                  </a:lnTo>
                  <a:lnTo>
                    <a:pt x="1259" y="258"/>
                  </a:lnTo>
                  <a:lnTo>
                    <a:pt x="1259" y="258"/>
                  </a:lnTo>
                  <a:lnTo>
                    <a:pt x="1255" y="258"/>
                  </a:lnTo>
                  <a:lnTo>
                    <a:pt x="1255" y="258"/>
                  </a:lnTo>
                  <a:lnTo>
                    <a:pt x="1259" y="255"/>
                  </a:lnTo>
                  <a:lnTo>
                    <a:pt x="1262" y="255"/>
                  </a:lnTo>
                  <a:lnTo>
                    <a:pt x="1262" y="255"/>
                  </a:lnTo>
                  <a:lnTo>
                    <a:pt x="1262" y="255"/>
                  </a:lnTo>
                  <a:lnTo>
                    <a:pt x="1262" y="255"/>
                  </a:lnTo>
                  <a:lnTo>
                    <a:pt x="1259" y="252"/>
                  </a:lnTo>
                  <a:lnTo>
                    <a:pt x="1255" y="255"/>
                  </a:lnTo>
                  <a:lnTo>
                    <a:pt x="1255" y="255"/>
                  </a:lnTo>
                  <a:lnTo>
                    <a:pt x="1252" y="252"/>
                  </a:lnTo>
                  <a:lnTo>
                    <a:pt x="1255" y="252"/>
                  </a:lnTo>
                  <a:lnTo>
                    <a:pt x="1255" y="249"/>
                  </a:lnTo>
                  <a:lnTo>
                    <a:pt x="1259" y="249"/>
                  </a:lnTo>
                  <a:lnTo>
                    <a:pt x="1262" y="249"/>
                  </a:lnTo>
                  <a:lnTo>
                    <a:pt x="1266" y="249"/>
                  </a:lnTo>
                  <a:lnTo>
                    <a:pt x="1269" y="249"/>
                  </a:lnTo>
                  <a:lnTo>
                    <a:pt x="1266" y="249"/>
                  </a:lnTo>
                  <a:lnTo>
                    <a:pt x="1266" y="246"/>
                  </a:lnTo>
                  <a:lnTo>
                    <a:pt x="1269" y="242"/>
                  </a:lnTo>
                  <a:lnTo>
                    <a:pt x="1273" y="242"/>
                  </a:lnTo>
                  <a:lnTo>
                    <a:pt x="1273" y="242"/>
                  </a:lnTo>
                  <a:lnTo>
                    <a:pt x="1269" y="242"/>
                  </a:lnTo>
                  <a:lnTo>
                    <a:pt x="1269" y="239"/>
                  </a:lnTo>
                  <a:lnTo>
                    <a:pt x="1273" y="239"/>
                  </a:lnTo>
                  <a:lnTo>
                    <a:pt x="1276" y="236"/>
                  </a:lnTo>
                  <a:lnTo>
                    <a:pt x="1273" y="236"/>
                  </a:lnTo>
                  <a:lnTo>
                    <a:pt x="1279" y="229"/>
                  </a:lnTo>
                  <a:lnTo>
                    <a:pt x="1283" y="226"/>
                  </a:lnTo>
                  <a:lnTo>
                    <a:pt x="1283" y="226"/>
                  </a:lnTo>
                  <a:lnTo>
                    <a:pt x="1279" y="226"/>
                  </a:lnTo>
                  <a:lnTo>
                    <a:pt x="1273" y="229"/>
                  </a:lnTo>
                  <a:lnTo>
                    <a:pt x="1269" y="236"/>
                  </a:lnTo>
                  <a:lnTo>
                    <a:pt x="1262" y="242"/>
                  </a:lnTo>
                  <a:lnTo>
                    <a:pt x="1259" y="246"/>
                  </a:lnTo>
                  <a:lnTo>
                    <a:pt x="1255" y="246"/>
                  </a:lnTo>
                  <a:lnTo>
                    <a:pt x="1252" y="246"/>
                  </a:lnTo>
                  <a:lnTo>
                    <a:pt x="1252" y="242"/>
                  </a:lnTo>
                  <a:lnTo>
                    <a:pt x="1252" y="239"/>
                  </a:lnTo>
                  <a:lnTo>
                    <a:pt x="1259" y="236"/>
                  </a:lnTo>
                  <a:lnTo>
                    <a:pt x="1259" y="233"/>
                  </a:lnTo>
                  <a:lnTo>
                    <a:pt x="1252" y="239"/>
                  </a:lnTo>
                  <a:lnTo>
                    <a:pt x="1245" y="236"/>
                  </a:lnTo>
                  <a:lnTo>
                    <a:pt x="1245" y="239"/>
                  </a:lnTo>
                  <a:lnTo>
                    <a:pt x="1245" y="242"/>
                  </a:lnTo>
                  <a:lnTo>
                    <a:pt x="1238" y="242"/>
                  </a:lnTo>
                  <a:lnTo>
                    <a:pt x="1235" y="236"/>
                  </a:lnTo>
                  <a:lnTo>
                    <a:pt x="1235" y="236"/>
                  </a:lnTo>
                  <a:lnTo>
                    <a:pt x="1238" y="236"/>
                  </a:lnTo>
                  <a:lnTo>
                    <a:pt x="1238" y="233"/>
                  </a:lnTo>
                  <a:lnTo>
                    <a:pt x="1235" y="233"/>
                  </a:lnTo>
                  <a:lnTo>
                    <a:pt x="1238" y="229"/>
                  </a:lnTo>
                  <a:lnTo>
                    <a:pt x="1242" y="226"/>
                  </a:lnTo>
                  <a:lnTo>
                    <a:pt x="1242" y="223"/>
                  </a:lnTo>
                  <a:lnTo>
                    <a:pt x="1245" y="223"/>
                  </a:lnTo>
                  <a:lnTo>
                    <a:pt x="1248" y="220"/>
                  </a:lnTo>
                  <a:lnTo>
                    <a:pt x="1252" y="220"/>
                  </a:lnTo>
                  <a:lnTo>
                    <a:pt x="1255" y="216"/>
                  </a:lnTo>
                  <a:lnTo>
                    <a:pt x="1255" y="213"/>
                  </a:lnTo>
                  <a:lnTo>
                    <a:pt x="1262" y="207"/>
                  </a:lnTo>
                  <a:lnTo>
                    <a:pt x="1266" y="207"/>
                  </a:lnTo>
                  <a:lnTo>
                    <a:pt x="1273" y="207"/>
                  </a:lnTo>
                  <a:lnTo>
                    <a:pt x="1279" y="207"/>
                  </a:lnTo>
                  <a:lnTo>
                    <a:pt x="1279" y="207"/>
                  </a:lnTo>
                  <a:lnTo>
                    <a:pt x="1283" y="207"/>
                  </a:lnTo>
                  <a:lnTo>
                    <a:pt x="1286" y="204"/>
                  </a:lnTo>
                  <a:lnTo>
                    <a:pt x="1290" y="204"/>
                  </a:lnTo>
                  <a:lnTo>
                    <a:pt x="1290" y="204"/>
                  </a:lnTo>
                  <a:lnTo>
                    <a:pt x="1297" y="210"/>
                  </a:lnTo>
                  <a:lnTo>
                    <a:pt x="1300" y="210"/>
                  </a:lnTo>
                  <a:lnTo>
                    <a:pt x="1307" y="213"/>
                  </a:lnTo>
                  <a:lnTo>
                    <a:pt x="1307" y="216"/>
                  </a:lnTo>
                  <a:lnTo>
                    <a:pt x="1310" y="220"/>
                  </a:lnTo>
                  <a:lnTo>
                    <a:pt x="1314" y="220"/>
                  </a:lnTo>
                  <a:lnTo>
                    <a:pt x="1317" y="226"/>
                  </a:lnTo>
                  <a:lnTo>
                    <a:pt x="1317" y="220"/>
                  </a:lnTo>
                  <a:lnTo>
                    <a:pt x="1321" y="220"/>
                  </a:lnTo>
                  <a:lnTo>
                    <a:pt x="1321" y="220"/>
                  </a:lnTo>
                  <a:lnTo>
                    <a:pt x="1317" y="220"/>
                  </a:lnTo>
                  <a:lnTo>
                    <a:pt x="1314" y="216"/>
                  </a:lnTo>
                  <a:lnTo>
                    <a:pt x="1314" y="216"/>
                  </a:lnTo>
                  <a:lnTo>
                    <a:pt x="1317" y="213"/>
                  </a:lnTo>
                  <a:lnTo>
                    <a:pt x="1328" y="213"/>
                  </a:lnTo>
                  <a:lnTo>
                    <a:pt x="1331" y="216"/>
                  </a:lnTo>
                  <a:lnTo>
                    <a:pt x="1331" y="213"/>
                  </a:lnTo>
                  <a:lnTo>
                    <a:pt x="1331" y="210"/>
                  </a:lnTo>
                  <a:lnTo>
                    <a:pt x="1334" y="207"/>
                  </a:lnTo>
                  <a:lnTo>
                    <a:pt x="1334" y="204"/>
                  </a:lnTo>
                  <a:lnTo>
                    <a:pt x="1331" y="207"/>
                  </a:lnTo>
                  <a:lnTo>
                    <a:pt x="1331" y="210"/>
                  </a:lnTo>
                  <a:lnTo>
                    <a:pt x="1328" y="210"/>
                  </a:lnTo>
                  <a:lnTo>
                    <a:pt x="1324" y="213"/>
                  </a:lnTo>
                  <a:lnTo>
                    <a:pt x="1317" y="210"/>
                  </a:lnTo>
                  <a:lnTo>
                    <a:pt x="1310" y="210"/>
                  </a:lnTo>
                  <a:lnTo>
                    <a:pt x="1307" y="207"/>
                  </a:lnTo>
                  <a:lnTo>
                    <a:pt x="1307" y="207"/>
                  </a:lnTo>
                  <a:lnTo>
                    <a:pt x="1300" y="207"/>
                  </a:lnTo>
                  <a:lnTo>
                    <a:pt x="1297" y="200"/>
                  </a:lnTo>
                  <a:lnTo>
                    <a:pt x="1293" y="194"/>
                  </a:lnTo>
                  <a:lnTo>
                    <a:pt x="1297" y="194"/>
                  </a:lnTo>
                  <a:lnTo>
                    <a:pt x="1300" y="194"/>
                  </a:lnTo>
                  <a:lnTo>
                    <a:pt x="1300" y="197"/>
                  </a:lnTo>
                  <a:lnTo>
                    <a:pt x="1304" y="200"/>
                  </a:lnTo>
                  <a:lnTo>
                    <a:pt x="1307" y="197"/>
                  </a:lnTo>
                  <a:lnTo>
                    <a:pt x="1307" y="191"/>
                  </a:lnTo>
                  <a:lnTo>
                    <a:pt x="1304" y="194"/>
                  </a:lnTo>
                  <a:lnTo>
                    <a:pt x="1304" y="191"/>
                  </a:lnTo>
                  <a:lnTo>
                    <a:pt x="1304" y="187"/>
                  </a:lnTo>
                  <a:lnTo>
                    <a:pt x="1307" y="184"/>
                  </a:lnTo>
                  <a:lnTo>
                    <a:pt x="1307" y="178"/>
                  </a:lnTo>
                  <a:lnTo>
                    <a:pt x="1307" y="174"/>
                  </a:lnTo>
                  <a:lnTo>
                    <a:pt x="1307" y="165"/>
                  </a:lnTo>
                  <a:lnTo>
                    <a:pt x="1307" y="162"/>
                  </a:lnTo>
                  <a:lnTo>
                    <a:pt x="1304" y="158"/>
                  </a:lnTo>
                  <a:lnTo>
                    <a:pt x="1304" y="155"/>
                  </a:lnTo>
                  <a:lnTo>
                    <a:pt x="1304" y="152"/>
                  </a:lnTo>
                  <a:lnTo>
                    <a:pt x="1304" y="152"/>
                  </a:lnTo>
                  <a:lnTo>
                    <a:pt x="1307" y="152"/>
                  </a:lnTo>
                  <a:lnTo>
                    <a:pt x="1310" y="152"/>
                  </a:lnTo>
                  <a:lnTo>
                    <a:pt x="1310" y="155"/>
                  </a:lnTo>
                  <a:lnTo>
                    <a:pt x="1314" y="158"/>
                  </a:lnTo>
                  <a:lnTo>
                    <a:pt x="1317" y="158"/>
                  </a:lnTo>
                  <a:lnTo>
                    <a:pt x="1317" y="155"/>
                  </a:lnTo>
                  <a:lnTo>
                    <a:pt x="1314" y="152"/>
                  </a:lnTo>
                  <a:lnTo>
                    <a:pt x="1310" y="149"/>
                  </a:lnTo>
                  <a:lnTo>
                    <a:pt x="1307" y="149"/>
                  </a:lnTo>
                  <a:lnTo>
                    <a:pt x="1307" y="145"/>
                  </a:lnTo>
                  <a:lnTo>
                    <a:pt x="1307" y="142"/>
                  </a:lnTo>
                  <a:lnTo>
                    <a:pt x="1321" y="129"/>
                  </a:lnTo>
                  <a:lnTo>
                    <a:pt x="1328" y="129"/>
                  </a:lnTo>
                  <a:lnTo>
                    <a:pt x="1331" y="129"/>
                  </a:lnTo>
                  <a:lnTo>
                    <a:pt x="1331" y="132"/>
                  </a:lnTo>
                  <a:lnTo>
                    <a:pt x="1334" y="136"/>
                  </a:lnTo>
                  <a:lnTo>
                    <a:pt x="1338" y="136"/>
                  </a:lnTo>
                  <a:lnTo>
                    <a:pt x="1348" y="142"/>
                  </a:lnTo>
                  <a:lnTo>
                    <a:pt x="1348" y="145"/>
                  </a:lnTo>
                  <a:lnTo>
                    <a:pt x="1352" y="149"/>
                  </a:lnTo>
                  <a:lnTo>
                    <a:pt x="1355" y="155"/>
                  </a:lnTo>
                  <a:lnTo>
                    <a:pt x="1352" y="162"/>
                  </a:lnTo>
                  <a:lnTo>
                    <a:pt x="1355" y="168"/>
                  </a:lnTo>
                  <a:lnTo>
                    <a:pt x="1355" y="171"/>
                  </a:lnTo>
                  <a:lnTo>
                    <a:pt x="1359" y="168"/>
                  </a:lnTo>
                  <a:lnTo>
                    <a:pt x="1359" y="168"/>
                  </a:lnTo>
                  <a:lnTo>
                    <a:pt x="1362" y="171"/>
                  </a:lnTo>
                  <a:lnTo>
                    <a:pt x="1365" y="174"/>
                  </a:lnTo>
                  <a:lnTo>
                    <a:pt x="1365" y="174"/>
                  </a:lnTo>
                  <a:lnTo>
                    <a:pt x="1369" y="171"/>
                  </a:lnTo>
                  <a:lnTo>
                    <a:pt x="1372" y="171"/>
                  </a:lnTo>
                  <a:lnTo>
                    <a:pt x="1369" y="171"/>
                  </a:lnTo>
                  <a:lnTo>
                    <a:pt x="1365" y="171"/>
                  </a:lnTo>
                  <a:lnTo>
                    <a:pt x="1362" y="168"/>
                  </a:lnTo>
                  <a:lnTo>
                    <a:pt x="1359" y="165"/>
                  </a:lnTo>
                  <a:lnTo>
                    <a:pt x="1359" y="165"/>
                  </a:lnTo>
                  <a:lnTo>
                    <a:pt x="1362" y="162"/>
                  </a:lnTo>
                  <a:lnTo>
                    <a:pt x="1362" y="158"/>
                  </a:lnTo>
                  <a:lnTo>
                    <a:pt x="1362" y="145"/>
                  </a:lnTo>
                  <a:lnTo>
                    <a:pt x="1359" y="142"/>
                  </a:lnTo>
                  <a:lnTo>
                    <a:pt x="1362" y="139"/>
                  </a:lnTo>
                  <a:lnTo>
                    <a:pt x="1369" y="139"/>
                  </a:lnTo>
                  <a:lnTo>
                    <a:pt x="1372" y="139"/>
                  </a:lnTo>
                  <a:lnTo>
                    <a:pt x="1376" y="142"/>
                  </a:lnTo>
                  <a:lnTo>
                    <a:pt x="1383" y="142"/>
                  </a:lnTo>
                  <a:lnTo>
                    <a:pt x="1390" y="145"/>
                  </a:lnTo>
                  <a:lnTo>
                    <a:pt x="1396" y="142"/>
                  </a:lnTo>
                  <a:lnTo>
                    <a:pt x="1400" y="142"/>
                  </a:lnTo>
                  <a:lnTo>
                    <a:pt x="1403" y="142"/>
                  </a:lnTo>
                  <a:lnTo>
                    <a:pt x="1410" y="145"/>
                  </a:lnTo>
                  <a:lnTo>
                    <a:pt x="1417" y="145"/>
                  </a:lnTo>
                  <a:lnTo>
                    <a:pt x="1420" y="149"/>
                  </a:lnTo>
                  <a:lnTo>
                    <a:pt x="1424" y="145"/>
                  </a:lnTo>
                  <a:lnTo>
                    <a:pt x="1424" y="145"/>
                  </a:lnTo>
                  <a:lnTo>
                    <a:pt x="1420" y="142"/>
                  </a:lnTo>
                  <a:lnTo>
                    <a:pt x="1414" y="142"/>
                  </a:lnTo>
                  <a:lnTo>
                    <a:pt x="1410" y="142"/>
                  </a:lnTo>
                  <a:lnTo>
                    <a:pt x="1407" y="139"/>
                  </a:lnTo>
                  <a:lnTo>
                    <a:pt x="1407" y="139"/>
                  </a:lnTo>
                  <a:lnTo>
                    <a:pt x="1410" y="139"/>
                  </a:lnTo>
                  <a:lnTo>
                    <a:pt x="1417" y="136"/>
                  </a:lnTo>
                  <a:lnTo>
                    <a:pt x="1431" y="136"/>
                  </a:lnTo>
                  <a:lnTo>
                    <a:pt x="1438" y="136"/>
                  </a:lnTo>
                  <a:lnTo>
                    <a:pt x="1445" y="136"/>
                  </a:lnTo>
                  <a:lnTo>
                    <a:pt x="1451" y="139"/>
                  </a:lnTo>
                  <a:lnTo>
                    <a:pt x="1455" y="139"/>
                  </a:lnTo>
                  <a:lnTo>
                    <a:pt x="1458" y="139"/>
                  </a:lnTo>
                  <a:lnTo>
                    <a:pt x="1455" y="136"/>
                  </a:lnTo>
                  <a:lnTo>
                    <a:pt x="1455" y="136"/>
                  </a:lnTo>
                  <a:lnTo>
                    <a:pt x="1451" y="136"/>
                  </a:lnTo>
                  <a:lnTo>
                    <a:pt x="1451" y="132"/>
                  </a:lnTo>
                  <a:lnTo>
                    <a:pt x="1448" y="129"/>
                  </a:lnTo>
                  <a:lnTo>
                    <a:pt x="1441" y="129"/>
                  </a:lnTo>
                  <a:lnTo>
                    <a:pt x="1441" y="129"/>
                  </a:lnTo>
                  <a:lnTo>
                    <a:pt x="1431" y="129"/>
                  </a:lnTo>
                  <a:lnTo>
                    <a:pt x="1431" y="129"/>
                  </a:lnTo>
                  <a:lnTo>
                    <a:pt x="1431" y="126"/>
                  </a:lnTo>
                  <a:lnTo>
                    <a:pt x="1434" y="123"/>
                  </a:lnTo>
                  <a:lnTo>
                    <a:pt x="1438" y="123"/>
                  </a:lnTo>
                  <a:lnTo>
                    <a:pt x="1441" y="120"/>
                  </a:lnTo>
                  <a:lnTo>
                    <a:pt x="1445" y="116"/>
                  </a:lnTo>
                  <a:lnTo>
                    <a:pt x="1455" y="110"/>
                  </a:lnTo>
                  <a:lnTo>
                    <a:pt x="1458" y="110"/>
                  </a:lnTo>
                  <a:lnTo>
                    <a:pt x="1469" y="107"/>
                  </a:lnTo>
                  <a:lnTo>
                    <a:pt x="1469" y="103"/>
                  </a:lnTo>
                  <a:lnTo>
                    <a:pt x="1458" y="107"/>
                  </a:lnTo>
                  <a:lnTo>
                    <a:pt x="1451" y="107"/>
                  </a:lnTo>
                  <a:lnTo>
                    <a:pt x="1441" y="113"/>
                  </a:lnTo>
                  <a:lnTo>
                    <a:pt x="1441" y="120"/>
                  </a:lnTo>
                  <a:lnTo>
                    <a:pt x="1438" y="120"/>
                  </a:lnTo>
                  <a:lnTo>
                    <a:pt x="1438" y="116"/>
                  </a:lnTo>
                  <a:lnTo>
                    <a:pt x="1434" y="113"/>
                  </a:lnTo>
                  <a:lnTo>
                    <a:pt x="1434" y="116"/>
                  </a:lnTo>
                  <a:lnTo>
                    <a:pt x="1431" y="120"/>
                  </a:lnTo>
                  <a:lnTo>
                    <a:pt x="1424" y="123"/>
                  </a:lnTo>
                  <a:lnTo>
                    <a:pt x="1427" y="123"/>
                  </a:lnTo>
                  <a:lnTo>
                    <a:pt x="1427" y="126"/>
                  </a:lnTo>
                  <a:lnTo>
                    <a:pt x="1420" y="129"/>
                  </a:lnTo>
                  <a:lnTo>
                    <a:pt x="1417" y="129"/>
                  </a:lnTo>
                  <a:lnTo>
                    <a:pt x="1403" y="136"/>
                  </a:lnTo>
                  <a:lnTo>
                    <a:pt x="1400" y="136"/>
                  </a:lnTo>
                  <a:lnTo>
                    <a:pt x="1396" y="136"/>
                  </a:lnTo>
                  <a:lnTo>
                    <a:pt x="1383" y="136"/>
                  </a:lnTo>
                  <a:lnTo>
                    <a:pt x="1379" y="129"/>
                  </a:lnTo>
                  <a:lnTo>
                    <a:pt x="1372" y="132"/>
                  </a:lnTo>
                  <a:lnTo>
                    <a:pt x="1369" y="132"/>
                  </a:lnTo>
                  <a:lnTo>
                    <a:pt x="1369" y="129"/>
                  </a:lnTo>
                  <a:lnTo>
                    <a:pt x="1376" y="123"/>
                  </a:lnTo>
                  <a:lnTo>
                    <a:pt x="1379" y="123"/>
                  </a:lnTo>
                  <a:lnTo>
                    <a:pt x="1383" y="123"/>
                  </a:lnTo>
                  <a:lnTo>
                    <a:pt x="1390" y="123"/>
                  </a:lnTo>
                  <a:lnTo>
                    <a:pt x="1393" y="120"/>
                  </a:lnTo>
                  <a:lnTo>
                    <a:pt x="1390" y="120"/>
                  </a:lnTo>
                  <a:lnTo>
                    <a:pt x="1386" y="120"/>
                  </a:lnTo>
                  <a:lnTo>
                    <a:pt x="1383" y="120"/>
                  </a:lnTo>
                  <a:lnTo>
                    <a:pt x="1376" y="123"/>
                  </a:lnTo>
                  <a:lnTo>
                    <a:pt x="1372" y="120"/>
                  </a:lnTo>
                  <a:lnTo>
                    <a:pt x="1372" y="120"/>
                  </a:lnTo>
                  <a:lnTo>
                    <a:pt x="1376" y="116"/>
                  </a:lnTo>
                  <a:lnTo>
                    <a:pt x="1372" y="116"/>
                  </a:lnTo>
                  <a:lnTo>
                    <a:pt x="1369" y="116"/>
                  </a:lnTo>
                  <a:lnTo>
                    <a:pt x="1369" y="123"/>
                  </a:lnTo>
                  <a:lnTo>
                    <a:pt x="1362" y="126"/>
                  </a:lnTo>
                  <a:lnTo>
                    <a:pt x="1355" y="126"/>
                  </a:lnTo>
                  <a:lnTo>
                    <a:pt x="1348" y="126"/>
                  </a:lnTo>
                  <a:lnTo>
                    <a:pt x="1341" y="126"/>
                  </a:lnTo>
                  <a:lnTo>
                    <a:pt x="1338" y="123"/>
                  </a:lnTo>
                  <a:lnTo>
                    <a:pt x="1338" y="120"/>
                  </a:lnTo>
                  <a:lnTo>
                    <a:pt x="1331" y="120"/>
                  </a:lnTo>
                  <a:lnTo>
                    <a:pt x="1328" y="116"/>
                  </a:lnTo>
                  <a:lnTo>
                    <a:pt x="1328" y="113"/>
                  </a:lnTo>
                  <a:lnTo>
                    <a:pt x="1331" y="113"/>
                  </a:lnTo>
                  <a:lnTo>
                    <a:pt x="1334" y="110"/>
                  </a:lnTo>
                  <a:lnTo>
                    <a:pt x="1341" y="107"/>
                  </a:lnTo>
                  <a:lnTo>
                    <a:pt x="1345" y="103"/>
                  </a:lnTo>
                  <a:lnTo>
                    <a:pt x="1348" y="100"/>
                  </a:lnTo>
                  <a:lnTo>
                    <a:pt x="1352" y="97"/>
                  </a:lnTo>
                  <a:lnTo>
                    <a:pt x="1355" y="97"/>
                  </a:lnTo>
                  <a:lnTo>
                    <a:pt x="1362" y="97"/>
                  </a:lnTo>
                  <a:lnTo>
                    <a:pt x="1365" y="97"/>
                  </a:lnTo>
                  <a:lnTo>
                    <a:pt x="1369" y="97"/>
                  </a:lnTo>
                  <a:lnTo>
                    <a:pt x="1376" y="100"/>
                  </a:lnTo>
                  <a:lnTo>
                    <a:pt x="1383" y="100"/>
                  </a:lnTo>
                  <a:lnTo>
                    <a:pt x="1386" y="103"/>
                  </a:lnTo>
                  <a:lnTo>
                    <a:pt x="1393" y="100"/>
                  </a:lnTo>
                  <a:lnTo>
                    <a:pt x="1393" y="100"/>
                  </a:lnTo>
                  <a:lnTo>
                    <a:pt x="1390" y="100"/>
                  </a:lnTo>
                  <a:lnTo>
                    <a:pt x="1383" y="100"/>
                  </a:lnTo>
                  <a:lnTo>
                    <a:pt x="1376" y="97"/>
                  </a:lnTo>
                  <a:lnTo>
                    <a:pt x="1369" y="97"/>
                  </a:lnTo>
                  <a:lnTo>
                    <a:pt x="1365" y="97"/>
                  </a:lnTo>
                  <a:lnTo>
                    <a:pt x="1359" y="97"/>
                  </a:lnTo>
                  <a:lnTo>
                    <a:pt x="1348" y="94"/>
                  </a:lnTo>
                  <a:lnTo>
                    <a:pt x="1348" y="94"/>
                  </a:lnTo>
                  <a:lnTo>
                    <a:pt x="1345" y="97"/>
                  </a:lnTo>
                  <a:lnTo>
                    <a:pt x="1341" y="100"/>
                  </a:lnTo>
                  <a:lnTo>
                    <a:pt x="1334" y="103"/>
                  </a:lnTo>
                  <a:lnTo>
                    <a:pt x="1328" y="107"/>
                  </a:lnTo>
                  <a:lnTo>
                    <a:pt x="1324" y="113"/>
                  </a:lnTo>
                  <a:lnTo>
                    <a:pt x="1321" y="113"/>
                  </a:lnTo>
                  <a:lnTo>
                    <a:pt x="1317" y="110"/>
                  </a:lnTo>
                  <a:lnTo>
                    <a:pt x="1314" y="107"/>
                  </a:lnTo>
                  <a:lnTo>
                    <a:pt x="1310" y="103"/>
                  </a:lnTo>
                  <a:lnTo>
                    <a:pt x="1307" y="103"/>
                  </a:lnTo>
                  <a:lnTo>
                    <a:pt x="1307" y="100"/>
                  </a:lnTo>
                  <a:lnTo>
                    <a:pt x="1307" y="94"/>
                  </a:lnTo>
                  <a:lnTo>
                    <a:pt x="1304" y="94"/>
                  </a:lnTo>
                  <a:lnTo>
                    <a:pt x="1304" y="87"/>
                  </a:lnTo>
                  <a:lnTo>
                    <a:pt x="1307" y="87"/>
                  </a:lnTo>
                  <a:lnTo>
                    <a:pt x="1310" y="87"/>
                  </a:lnTo>
                  <a:lnTo>
                    <a:pt x="1314" y="87"/>
                  </a:lnTo>
                  <a:lnTo>
                    <a:pt x="1317" y="87"/>
                  </a:lnTo>
                  <a:lnTo>
                    <a:pt x="1328" y="87"/>
                  </a:lnTo>
                  <a:lnTo>
                    <a:pt x="1334" y="90"/>
                  </a:lnTo>
                  <a:lnTo>
                    <a:pt x="1338" y="90"/>
                  </a:lnTo>
                  <a:lnTo>
                    <a:pt x="1338" y="94"/>
                  </a:lnTo>
                  <a:lnTo>
                    <a:pt x="1341" y="94"/>
                  </a:lnTo>
                  <a:lnTo>
                    <a:pt x="1348" y="90"/>
                  </a:lnTo>
                  <a:lnTo>
                    <a:pt x="1352" y="90"/>
                  </a:lnTo>
                  <a:lnTo>
                    <a:pt x="1352" y="90"/>
                  </a:lnTo>
                  <a:lnTo>
                    <a:pt x="1355" y="90"/>
                  </a:lnTo>
                  <a:lnTo>
                    <a:pt x="1359" y="90"/>
                  </a:lnTo>
                  <a:lnTo>
                    <a:pt x="1365" y="87"/>
                  </a:lnTo>
                  <a:lnTo>
                    <a:pt x="1372" y="87"/>
                  </a:lnTo>
                  <a:lnTo>
                    <a:pt x="1376" y="84"/>
                  </a:lnTo>
                  <a:lnTo>
                    <a:pt x="1376" y="84"/>
                  </a:lnTo>
                  <a:lnTo>
                    <a:pt x="1372" y="84"/>
                  </a:lnTo>
                  <a:lnTo>
                    <a:pt x="1369" y="84"/>
                  </a:lnTo>
                  <a:lnTo>
                    <a:pt x="1369" y="84"/>
                  </a:lnTo>
                  <a:lnTo>
                    <a:pt x="1362" y="87"/>
                  </a:lnTo>
                  <a:lnTo>
                    <a:pt x="1355" y="84"/>
                  </a:lnTo>
                  <a:lnTo>
                    <a:pt x="1348" y="87"/>
                  </a:lnTo>
                  <a:lnTo>
                    <a:pt x="1345" y="90"/>
                  </a:lnTo>
                  <a:lnTo>
                    <a:pt x="1341" y="87"/>
                  </a:lnTo>
                  <a:lnTo>
                    <a:pt x="1338" y="90"/>
                  </a:lnTo>
                  <a:lnTo>
                    <a:pt x="1334" y="90"/>
                  </a:lnTo>
                  <a:lnTo>
                    <a:pt x="1331" y="87"/>
                  </a:lnTo>
                  <a:lnTo>
                    <a:pt x="1328" y="87"/>
                  </a:lnTo>
                  <a:lnTo>
                    <a:pt x="1328" y="84"/>
                  </a:lnTo>
                  <a:lnTo>
                    <a:pt x="1321" y="84"/>
                  </a:lnTo>
                  <a:lnTo>
                    <a:pt x="1317" y="81"/>
                  </a:lnTo>
                  <a:lnTo>
                    <a:pt x="1310" y="84"/>
                  </a:lnTo>
                  <a:lnTo>
                    <a:pt x="1307" y="81"/>
                  </a:lnTo>
                  <a:lnTo>
                    <a:pt x="1307" y="81"/>
                  </a:lnTo>
                  <a:lnTo>
                    <a:pt x="1307" y="78"/>
                  </a:lnTo>
                  <a:lnTo>
                    <a:pt x="1307" y="74"/>
                  </a:lnTo>
                  <a:lnTo>
                    <a:pt x="1310" y="71"/>
                  </a:lnTo>
                  <a:lnTo>
                    <a:pt x="1314" y="71"/>
                  </a:lnTo>
                  <a:lnTo>
                    <a:pt x="1317" y="74"/>
                  </a:lnTo>
                  <a:lnTo>
                    <a:pt x="1321" y="74"/>
                  </a:lnTo>
                  <a:lnTo>
                    <a:pt x="1324" y="74"/>
                  </a:lnTo>
                  <a:lnTo>
                    <a:pt x="1321" y="71"/>
                  </a:lnTo>
                  <a:lnTo>
                    <a:pt x="1317" y="71"/>
                  </a:lnTo>
                  <a:lnTo>
                    <a:pt x="1314" y="68"/>
                  </a:lnTo>
                  <a:lnTo>
                    <a:pt x="1317" y="68"/>
                  </a:lnTo>
                  <a:lnTo>
                    <a:pt x="1321" y="68"/>
                  </a:lnTo>
                  <a:lnTo>
                    <a:pt x="1328" y="65"/>
                  </a:lnTo>
                  <a:lnTo>
                    <a:pt x="1331" y="65"/>
                  </a:lnTo>
                  <a:lnTo>
                    <a:pt x="1334" y="61"/>
                  </a:lnTo>
                  <a:lnTo>
                    <a:pt x="1338" y="61"/>
                  </a:lnTo>
                  <a:lnTo>
                    <a:pt x="1341" y="61"/>
                  </a:lnTo>
                  <a:lnTo>
                    <a:pt x="1345" y="61"/>
                  </a:lnTo>
                  <a:lnTo>
                    <a:pt x="1345" y="61"/>
                  </a:lnTo>
                  <a:lnTo>
                    <a:pt x="1341" y="58"/>
                  </a:lnTo>
                  <a:lnTo>
                    <a:pt x="1334" y="58"/>
                  </a:lnTo>
                  <a:lnTo>
                    <a:pt x="1328" y="61"/>
                  </a:lnTo>
                  <a:lnTo>
                    <a:pt x="1324" y="61"/>
                  </a:lnTo>
                  <a:lnTo>
                    <a:pt x="1321" y="61"/>
                  </a:lnTo>
                  <a:lnTo>
                    <a:pt x="1317" y="65"/>
                  </a:lnTo>
                  <a:lnTo>
                    <a:pt x="1314" y="65"/>
                  </a:lnTo>
                  <a:lnTo>
                    <a:pt x="1314" y="61"/>
                  </a:lnTo>
                  <a:lnTo>
                    <a:pt x="1314" y="58"/>
                  </a:lnTo>
                  <a:lnTo>
                    <a:pt x="1317" y="58"/>
                  </a:lnTo>
                  <a:lnTo>
                    <a:pt x="1324" y="55"/>
                  </a:lnTo>
                  <a:lnTo>
                    <a:pt x="1328" y="52"/>
                  </a:lnTo>
                  <a:lnTo>
                    <a:pt x="1331" y="52"/>
                  </a:lnTo>
                  <a:lnTo>
                    <a:pt x="1328" y="52"/>
                  </a:lnTo>
                  <a:lnTo>
                    <a:pt x="1328" y="52"/>
                  </a:lnTo>
                  <a:lnTo>
                    <a:pt x="1328" y="45"/>
                  </a:lnTo>
                  <a:lnTo>
                    <a:pt x="1324" y="45"/>
                  </a:lnTo>
                  <a:lnTo>
                    <a:pt x="1324" y="48"/>
                  </a:lnTo>
                  <a:lnTo>
                    <a:pt x="1321" y="52"/>
                  </a:lnTo>
                  <a:lnTo>
                    <a:pt x="1321" y="48"/>
                  </a:lnTo>
                  <a:lnTo>
                    <a:pt x="1317" y="48"/>
                  </a:lnTo>
                  <a:lnTo>
                    <a:pt x="1317" y="48"/>
                  </a:lnTo>
                  <a:lnTo>
                    <a:pt x="1314" y="48"/>
                  </a:lnTo>
                  <a:lnTo>
                    <a:pt x="1314" y="52"/>
                  </a:lnTo>
                  <a:lnTo>
                    <a:pt x="1310" y="55"/>
                  </a:lnTo>
                  <a:lnTo>
                    <a:pt x="1307" y="55"/>
                  </a:lnTo>
                  <a:lnTo>
                    <a:pt x="1307" y="52"/>
                  </a:lnTo>
                  <a:lnTo>
                    <a:pt x="1307" y="48"/>
                  </a:lnTo>
                  <a:lnTo>
                    <a:pt x="1304" y="48"/>
                  </a:lnTo>
                  <a:lnTo>
                    <a:pt x="1304" y="45"/>
                  </a:lnTo>
                  <a:lnTo>
                    <a:pt x="1307" y="45"/>
                  </a:lnTo>
                  <a:lnTo>
                    <a:pt x="1307" y="45"/>
                  </a:lnTo>
                  <a:lnTo>
                    <a:pt x="1307" y="42"/>
                  </a:lnTo>
                  <a:lnTo>
                    <a:pt x="1310" y="42"/>
                  </a:lnTo>
                  <a:lnTo>
                    <a:pt x="1317" y="42"/>
                  </a:lnTo>
                  <a:lnTo>
                    <a:pt x="1317" y="39"/>
                  </a:lnTo>
                  <a:lnTo>
                    <a:pt x="1324" y="36"/>
                  </a:lnTo>
                  <a:lnTo>
                    <a:pt x="1328" y="36"/>
                  </a:lnTo>
                  <a:lnTo>
                    <a:pt x="1331" y="36"/>
                  </a:lnTo>
                  <a:lnTo>
                    <a:pt x="1341" y="32"/>
                  </a:lnTo>
                  <a:lnTo>
                    <a:pt x="1341" y="32"/>
                  </a:lnTo>
                  <a:lnTo>
                    <a:pt x="1345" y="32"/>
                  </a:lnTo>
                  <a:lnTo>
                    <a:pt x="1345" y="36"/>
                  </a:lnTo>
                  <a:lnTo>
                    <a:pt x="1345" y="39"/>
                  </a:lnTo>
                  <a:lnTo>
                    <a:pt x="1345" y="45"/>
                  </a:lnTo>
                  <a:lnTo>
                    <a:pt x="1345" y="45"/>
                  </a:lnTo>
                  <a:lnTo>
                    <a:pt x="1348" y="39"/>
                  </a:lnTo>
                  <a:lnTo>
                    <a:pt x="1352" y="39"/>
                  </a:lnTo>
                  <a:lnTo>
                    <a:pt x="1352" y="39"/>
                  </a:lnTo>
                  <a:lnTo>
                    <a:pt x="1352" y="39"/>
                  </a:lnTo>
                  <a:lnTo>
                    <a:pt x="1352" y="42"/>
                  </a:lnTo>
                  <a:lnTo>
                    <a:pt x="1352" y="42"/>
                  </a:lnTo>
                  <a:lnTo>
                    <a:pt x="1352" y="39"/>
                  </a:lnTo>
                  <a:lnTo>
                    <a:pt x="1355" y="39"/>
                  </a:lnTo>
                  <a:lnTo>
                    <a:pt x="1355" y="36"/>
                  </a:lnTo>
                  <a:lnTo>
                    <a:pt x="1355" y="32"/>
                  </a:lnTo>
                  <a:lnTo>
                    <a:pt x="1359" y="29"/>
                  </a:lnTo>
                  <a:lnTo>
                    <a:pt x="1362" y="26"/>
                  </a:lnTo>
                  <a:lnTo>
                    <a:pt x="1365" y="26"/>
                  </a:lnTo>
                  <a:lnTo>
                    <a:pt x="1365" y="29"/>
                  </a:lnTo>
                  <a:lnTo>
                    <a:pt x="1365" y="36"/>
                  </a:lnTo>
                  <a:lnTo>
                    <a:pt x="1369" y="36"/>
                  </a:lnTo>
                  <a:lnTo>
                    <a:pt x="1369" y="39"/>
                  </a:lnTo>
                  <a:lnTo>
                    <a:pt x="1369" y="42"/>
                  </a:lnTo>
                  <a:lnTo>
                    <a:pt x="1369" y="45"/>
                  </a:lnTo>
                  <a:lnTo>
                    <a:pt x="1369" y="48"/>
                  </a:lnTo>
                  <a:lnTo>
                    <a:pt x="1372" y="48"/>
                  </a:lnTo>
                  <a:lnTo>
                    <a:pt x="1372" y="48"/>
                  </a:lnTo>
                  <a:lnTo>
                    <a:pt x="1372" y="45"/>
                  </a:lnTo>
                  <a:lnTo>
                    <a:pt x="1372" y="42"/>
                  </a:lnTo>
                  <a:lnTo>
                    <a:pt x="1372" y="42"/>
                  </a:lnTo>
                  <a:lnTo>
                    <a:pt x="1376" y="36"/>
                  </a:lnTo>
                  <a:lnTo>
                    <a:pt x="1379" y="36"/>
                  </a:lnTo>
                  <a:lnTo>
                    <a:pt x="1383" y="39"/>
                  </a:lnTo>
                  <a:lnTo>
                    <a:pt x="1383" y="45"/>
                  </a:lnTo>
                  <a:lnTo>
                    <a:pt x="1383" y="48"/>
                  </a:lnTo>
                  <a:lnTo>
                    <a:pt x="1383" y="48"/>
                  </a:lnTo>
                  <a:lnTo>
                    <a:pt x="1386" y="52"/>
                  </a:lnTo>
                  <a:lnTo>
                    <a:pt x="1386" y="48"/>
                  </a:lnTo>
                  <a:lnTo>
                    <a:pt x="1386" y="45"/>
                  </a:lnTo>
                  <a:lnTo>
                    <a:pt x="1390" y="45"/>
                  </a:lnTo>
                  <a:lnTo>
                    <a:pt x="1390" y="42"/>
                  </a:lnTo>
                  <a:lnTo>
                    <a:pt x="1393" y="45"/>
                  </a:lnTo>
                  <a:lnTo>
                    <a:pt x="1390" y="45"/>
                  </a:lnTo>
                  <a:lnTo>
                    <a:pt x="1390" y="48"/>
                  </a:lnTo>
                  <a:lnTo>
                    <a:pt x="1393" y="52"/>
                  </a:lnTo>
                  <a:lnTo>
                    <a:pt x="1396" y="48"/>
                  </a:lnTo>
                  <a:lnTo>
                    <a:pt x="1396" y="48"/>
                  </a:lnTo>
                  <a:lnTo>
                    <a:pt x="1396" y="52"/>
                  </a:lnTo>
                  <a:lnTo>
                    <a:pt x="1400" y="48"/>
                  </a:lnTo>
                  <a:lnTo>
                    <a:pt x="1400" y="45"/>
                  </a:lnTo>
                  <a:lnTo>
                    <a:pt x="1396" y="42"/>
                  </a:lnTo>
                  <a:lnTo>
                    <a:pt x="1393" y="42"/>
                  </a:lnTo>
                  <a:lnTo>
                    <a:pt x="1393" y="39"/>
                  </a:lnTo>
                  <a:lnTo>
                    <a:pt x="1393" y="36"/>
                  </a:lnTo>
                  <a:lnTo>
                    <a:pt x="1390" y="32"/>
                  </a:lnTo>
                  <a:lnTo>
                    <a:pt x="1386" y="29"/>
                  </a:lnTo>
                  <a:lnTo>
                    <a:pt x="1386" y="29"/>
                  </a:lnTo>
                  <a:lnTo>
                    <a:pt x="1386" y="26"/>
                  </a:lnTo>
                  <a:lnTo>
                    <a:pt x="1390" y="26"/>
                  </a:lnTo>
                  <a:lnTo>
                    <a:pt x="1393" y="26"/>
                  </a:lnTo>
                  <a:lnTo>
                    <a:pt x="1396" y="26"/>
                  </a:lnTo>
                  <a:lnTo>
                    <a:pt x="1400" y="26"/>
                  </a:lnTo>
                  <a:lnTo>
                    <a:pt x="1400" y="26"/>
                  </a:lnTo>
                  <a:lnTo>
                    <a:pt x="1403" y="19"/>
                  </a:lnTo>
                  <a:lnTo>
                    <a:pt x="1400" y="16"/>
                  </a:lnTo>
                  <a:lnTo>
                    <a:pt x="1400" y="13"/>
                  </a:lnTo>
                  <a:lnTo>
                    <a:pt x="1403" y="13"/>
                  </a:lnTo>
                  <a:lnTo>
                    <a:pt x="1407" y="13"/>
                  </a:lnTo>
                  <a:lnTo>
                    <a:pt x="1414" y="16"/>
                  </a:lnTo>
                  <a:lnTo>
                    <a:pt x="1417" y="16"/>
                  </a:lnTo>
                  <a:lnTo>
                    <a:pt x="1417" y="19"/>
                  </a:lnTo>
                  <a:lnTo>
                    <a:pt x="1414" y="23"/>
                  </a:lnTo>
                  <a:lnTo>
                    <a:pt x="1414" y="23"/>
                  </a:lnTo>
                  <a:lnTo>
                    <a:pt x="1420" y="26"/>
                  </a:lnTo>
                  <a:lnTo>
                    <a:pt x="1420" y="26"/>
                  </a:lnTo>
                  <a:lnTo>
                    <a:pt x="1420" y="32"/>
                  </a:lnTo>
                  <a:lnTo>
                    <a:pt x="1420" y="39"/>
                  </a:lnTo>
                  <a:lnTo>
                    <a:pt x="1424" y="39"/>
                  </a:lnTo>
                  <a:lnTo>
                    <a:pt x="1427" y="32"/>
                  </a:lnTo>
                  <a:lnTo>
                    <a:pt x="1427" y="36"/>
                  </a:lnTo>
                  <a:lnTo>
                    <a:pt x="1427" y="36"/>
                  </a:lnTo>
                  <a:lnTo>
                    <a:pt x="1431" y="39"/>
                  </a:lnTo>
                  <a:lnTo>
                    <a:pt x="1434" y="39"/>
                  </a:lnTo>
                  <a:lnTo>
                    <a:pt x="1434" y="36"/>
                  </a:lnTo>
                  <a:lnTo>
                    <a:pt x="1438" y="32"/>
                  </a:lnTo>
                  <a:lnTo>
                    <a:pt x="1438" y="32"/>
                  </a:lnTo>
                  <a:lnTo>
                    <a:pt x="1438" y="26"/>
                  </a:lnTo>
                  <a:lnTo>
                    <a:pt x="1438" y="23"/>
                  </a:lnTo>
                  <a:lnTo>
                    <a:pt x="1441" y="23"/>
                  </a:lnTo>
                  <a:lnTo>
                    <a:pt x="1445" y="23"/>
                  </a:lnTo>
                  <a:lnTo>
                    <a:pt x="1451" y="26"/>
                  </a:lnTo>
                  <a:lnTo>
                    <a:pt x="1451" y="23"/>
                  </a:lnTo>
                  <a:lnTo>
                    <a:pt x="1445" y="19"/>
                  </a:lnTo>
                  <a:lnTo>
                    <a:pt x="1441" y="13"/>
                  </a:lnTo>
                  <a:lnTo>
                    <a:pt x="1445" y="13"/>
                  </a:lnTo>
                  <a:lnTo>
                    <a:pt x="1445" y="10"/>
                  </a:lnTo>
                  <a:lnTo>
                    <a:pt x="1448" y="10"/>
                  </a:lnTo>
                  <a:lnTo>
                    <a:pt x="1455" y="13"/>
                  </a:lnTo>
                  <a:lnTo>
                    <a:pt x="1455" y="16"/>
                  </a:lnTo>
                  <a:lnTo>
                    <a:pt x="1455" y="19"/>
                  </a:lnTo>
                  <a:lnTo>
                    <a:pt x="1455" y="26"/>
                  </a:lnTo>
                  <a:lnTo>
                    <a:pt x="1458" y="26"/>
                  </a:lnTo>
                  <a:lnTo>
                    <a:pt x="1458" y="32"/>
                  </a:lnTo>
                  <a:lnTo>
                    <a:pt x="1462" y="36"/>
                  </a:lnTo>
                  <a:lnTo>
                    <a:pt x="1462" y="32"/>
                  </a:lnTo>
                  <a:lnTo>
                    <a:pt x="1462" y="29"/>
                  </a:lnTo>
                  <a:lnTo>
                    <a:pt x="1462" y="26"/>
                  </a:lnTo>
                  <a:lnTo>
                    <a:pt x="1462" y="23"/>
                  </a:lnTo>
                  <a:lnTo>
                    <a:pt x="1458" y="16"/>
                  </a:lnTo>
                  <a:lnTo>
                    <a:pt x="1462" y="13"/>
                  </a:lnTo>
                  <a:lnTo>
                    <a:pt x="1458" y="6"/>
                  </a:lnTo>
                  <a:lnTo>
                    <a:pt x="1462" y="3"/>
                  </a:lnTo>
                  <a:lnTo>
                    <a:pt x="1465" y="3"/>
                  </a:lnTo>
                  <a:lnTo>
                    <a:pt x="1469" y="6"/>
                  </a:lnTo>
                  <a:lnTo>
                    <a:pt x="1469" y="6"/>
                  </a:lnTo>
                  <a:lnTo>
                    <a:pt x="1472" y="6"/>
                  </a:lnTo>
                  <a:lnTo>
                    <a:pt x="1472" y="13"/>
                  </a:lnTo>
                  <a:lnTo>
                    <a:pt x="1472" y="16"/>
                  </a:lnTo>
                  <a:lnTo>
                    <a:pt x="1472" y="19"/>
                  </a:lnTo>
                  <a:lnTo>
                    <a:pt x="1472" y="23"/>
                  </a:lnTo>
                  <a:lnTo>
                    <a:pt x="1476" y="26"/>
                  </a:lnTo>
                  <a:lnTo>
                    <a:pt x="1476" y="23"/>
                  </a:lnTo>
                  <a:lnTo>
                    <a:pt x="1476" y="19"/>
                  </a:lnTo>
                  <a:lnTo>
                    <a:pt x="1479" y="19"/>
                  </a:lnTo>
                  <a:lnTo>
                    <a:pt x="1486" y="26"/>
                  </a:lnTo>
                  <a:lnTo>
                    <a:pt x="1486" y="26"/>
                  </a:lnTo>
                  <a:lnTo>
                    <a:pt x="1489" y="23"/>
                  </a:lnTo>
                  <a:lnTo>
                    <a:pt x="1489" y="23"/>
                  </a:lnTo>
                  <a:lnTo>
                    <a:pt x="1486" y="23"/>
                  </a:lnTo>
                  <a:lnTo>
                    <a:pt x="1482" y="19"/>
                  </a:lnTo>
                  <a:lnTo>
                    <a:pt x="1482" y="16"/>
                  </a:lnTo>
                  <a:lnTo>
                    <a:pt x="1486" y="16"/>
                  </a:lnTo>
                  <a:lnTo>
                    <a:pt x="1479" y="13"/>
                  </a:lnTo>
                  <a:lnTo>
                    <a:pt x="1479" y="10"/>
                  </a:lnTo>
                  <a:lnTo>
                    <a:pt x="1479" y="10"/>
                  </a:lnTo>
                  <a:lnTo>
                    <a:pt x="1482" y="10"/>
                  </a:lnTo>
                  <a:lnTo>
                    <a:pt x="1482" y="6"/>
                  </a:lnTo>
                  <a:lnTo>
                    <a:pt x="1479" y="6"/>
                  </a:lnTo>
                  <a:lnTo>
                    <a:pt x="1476" y="3"/>
                  </a:lnTo>
                  <a:lnTo>
                    <a:pt x="1479" y="3"/>
                  </a:lnTo>
                  <a:lnTo>
                    <a:pt x="1482" y="3"/>
                  </a:lnTo>
                  <a:lnTo>
                    <a:pt x="1486" y="0"/>
                  </a:lnTo>
                  <a:lnTo>
                    <a:pt x="1496" y="0"/>
                  </a:lnTo>
                  <a:lnTo>
                    <a:pt x="1496" y="3"/>
                  </a:lnTo>
                  <a:lnTo>
                    <a:pt x="1496" y="6"/>
                  </a:lnTo>
                  <a:lnTo>
                    <a:pt x="1493" y="10"/>
                  </a:lnTo>
                  <a:lnTo>
                    <a:pt x="1496" y="10"/>
                  </a:lnTo>
                  <a:lnTo>
                    <a:pt x="1496" y="10"/>
                  </a:lnTo>
                  <a:lnTo>
                    <a:pt x="1500" y="6"/>
                  </a:lnTo>
                  <a:lnTo>
                    <a:pt x="1503" y="6"/>
                  </a:lnTo>
                  <a:lnTo>
                    <a:pt x="1503" y="6"/>
                  </a:lnTo>
                  <a:lnTo>
                    <a:pt x="1503" y="13"/>
                  </a:lnTo>
                  <a:lnTo>
                    <a:pt x="1503" y="13"/>
                  </a:lnTo>
                  <a:lnTo>
                    <a:pt x="1506" y="13"/>
                  </a:lnTo>
                  <a:lnTo>
                    <a:pt x="1506" y="10"/>
                  </a:lnTo>
                  <a:lnTo>
                    <a:pt x="1510" y="6"/>
                  </a:lnTo>
                  <a:lnTo>
                    <a:pt x="1513" y="10"/>
                  </a:lnTo>
                  <a:lnTo>
                    <a:pt x="1513" y="13"/>
                  </a:lnTo>
                  <a:lnTo>
                    <a:pt x="1510" y="16"/>
                  </a:lnTo>
                  <a:lnTo>
                    <a:pt x="1513" y="19"/>
                  </a:lnTo>
                  <a:lnTo>
                    <a:pt x="1510" y="23"/>
                  </a:lnTo>
                  <a:lnTo>
                    <a:pt x="1510" y="23"/>
                  </a:lnTo>
                  <a:lnTo>
                    <a:pt x="1517" y="23"/>
                  </a:lnTo>
                  <a:lnTo>
                    <a:pt x="1517" y="23"/>
                  </a:lnTo>
                  <a:lnTo>
                    <a:pt x="1520" y="23"/>
                  </a:lnTo>
                  <a:lnTo>
                    <a:pt x="1520" y="19"/>
                  </a:lnTo>
                  <a:lnTo>
                    <a:pt x="1524" y="13"/>
                  </a:lnTo>
                  <a:lnTo>
                    <a:pt x="1520" y="6"/>
                  </a:lnTo>
                  <a:lnTo>
                    <a:pt x="1520" y="0"/>
                  </a:lnTo>
                  <a:lnTo>
                    <a:pt x="1524" y="0"/>
                  </a:lnTo>
                  <a:lnTo>
                    <a:pt x="1527" y="0"/>
                  </a:lnTo>
                  <a:lnTo>
                    <a:pt x="1527" y="0"/>
                  </a:lnTo>
                  <a:lnTo>
                    <a:pt x="1531" y="3"/>
                  </a:lnTo>
                  <a:lnTo>
                    <a:pt x="1537" y="0"/>
                  </a:lnTo>
                  <a:lnTo>
                    <a:pt x="1541" y="3"/>
                  </a:lnTo>
                  <a:lnTo>
                    <a:pt x="1544" y="3"/>
                  </a:lnTo>
                  <a:lnTo>
                    <a:pt x="1548" y="6"/>
                  </a:lnTo>
                  <a:lnTo>
                    <a:pt x="1551" y="3"/>
                  </a:lnTo>
                  <a:lnTo>
                    <a:pt x="1558" y="6"/>
                  </a:lnTo>
                  <a:lnTo>
                    <a:pt x="1558" y="10"/>
                  </a:lnTo>
                  <a:lnTo>
                    <a:pt x="1558" y="13"/>
                  </a:lnTo>
                  <a:lnTo>
                    <a:pt x="1562" y="16"/>
                  </a:lnTo>
                  <a:lnTo>
                    <a:pt x="1558" y="19"/>
                  </a:lnTo>
                  <a:lnTo>
                    <a:pt x="1558" y="23"/>
                  </a:lnTo>
                  <a:lnTo>
                    <a:pt x="1562" y="19"/>
                  </a:lnTo>
                  <a:lnTo>
                    <a:pt x="1565" y="16"/>
                  </a:lnTo>
                  <a:lnTo>
                    <a:pt x="1572" y="13"/>
                  </a:lnTo>
                  <a:lnTo>
                    <a:pt x="1575" y="10"/>
                  </a:lnTo>
                  <a:lnTo>
                    <a:pt x="1579" y="10"/>
                  </a:lnTo>
                  <a:lnTo>
                    <a:pt x="1582" y="13"/>
                  </a:lnTo>
                  <a:lnTo>
                    <a:pt x="1589" y="13"/>
                  </a:lnTo>
                  <a:lnTo>
                    <a:pt x="1586" y="13"/>
                  </a:lnTo>
                  <a:lnTo>
                    <a:pt x="1582" y="19"/>
                  </a:lnTo>
                  <a:lnTo>
                    <a:pt x="1586" y="23"/>
                  </a:lnTo>
                  <a:lnTo>
                    <a:pt x="1586" y="19"/>
                  </a:lnTo>
                  <a:lnTo>
                    <a:pt x="1589" y="16"/>
                  </a:lnTo>
                  <a:lnTo>
                    <a:pt x="1592" y="13"/>
                  </a:lnTo>
                  <a:lnTo>
                    <a:pt x="1596" y="13"/>
                  </a:lnTo>
                  <a:lnTo>
                    <a:pt x="1603" y="16"/>
                  </a:lnTo>
                  <a:lnTo>
                    <a:pt x="1610" y="16"/>
                  </a:lnTo>
                  <a:lnTo>
                    <a:pt x="1613" y="19"/>
                  </a:lnTo>
                  <a:lnTo>
                    <a:pt x="1610" y="19"/>
                  </a:lnTo>
                  <a:lnTo>
                    <a:pt x="1606" y="19"/>
                  </a:lnTo>
                  <a:lnTo>
                    <a:pt x="1610" y="23"/>
                  </a:lnTo>
                  <a:lnTo>
                    <a:pt x="1606" y="26"/>
                  </a:lnTo>
                  <a:lnTo>
                    <a:pt x="1606" y="29"/>
                  </a:lnTo>
                  <a:lnTo>
                    <a:pt x="1610" y="26"/>
                  </a:lnTo>
                  <a:lnTo>
                    <a:pt x="1613" y="26"/>
                  </a:lnTo>
                  <a:lnTo>
                    <a:pt x="1613" y="29"/>
                  </a:lnTo>
                  <a:lnTo>
                    <a:pt x="1617" y="29"/>
                  </a:lnTo>
                  <a:lnTo>
                    <a:pt x="1620" y="26"/>
                  </a:lnTo>
                  <a:lnTo>
                    <a:pt x="1623" y="26"/>
                  </a:lnTo>
                  <a:lnTo>
                    <a:pt x="1627" y="29"/>
                  </a:lnTo>
                  <a:lnTo>
                    <a:pt x="1623" y="29"/>
                  </a:lnTo>
                  <a:lnTo>
                    <a:pt x="1623" y="32"/>
                  </a:lnTo>
                  <a:lnTo>
                    <a:pt x="1627" y="32"/>
                  </a:lnTo>
                  <a:lnTo>
                    <a:pt x="1627" y="32"/>
                  </a:lnTo>
                  <a:lnTo>
                    <a:pt x="1630" y="29"/>
                  </a:lnTo>
                  <a:lnTo>
                    <a:pt x="1634" y="29"/>
                  </a:lnTo>
                  <a:lnTo>
                    <a:pt x="1634" y="32"/>
                  </a:lnTo>
                  <a:lnTo>
                    <a:pt x="1641" y="36"/>
                  </a:lnTo>
                  <a:lnTo>
                    <a:pt x="1644" y="36"/>
                  </a:lnTo>
                  <a:lnTo>
                    <a:pt x="1648" y="36"/>
                  </a:lnTo>
                  <a:lnTo>
                    <a:pt x="1644" y="39"/>
                  </a:lnTo>
                  <a:lnTo>
                    <a:pt x="1637" y="42"/>
                  </a:lnTo>
                  <a:lnTo>
                    <a:pt x="1634" y="45"/>
                  </a:lnTo>
                  <a:lnTo>
                    <a:pt x="1630" y="45"/>
                  </a:lnTo>
                  <a:lnTo>
                    <a:pt x="1623" y="48"/>
                  </a:lnTo>
                  <a:lnTo>
                    <a:pt x="1620" y="48"/>
                  </a:lnTo>
                  <a:lnTo>
                    <a:pt x="1617" y="48"/>
                  </a:lnTo>
                  <a:lnTo>
                    <a:pt x="1617" y="48"/>
                  </a:lnTo>
                  <a:lnTo>
                    <a:pt x="1610" y="52"/>
                  </a:lnTo>
                  <a:lnTo>
                    <a:pt x="1620" y="52"/>
                  </a:lnTo>
                  <a:lnTo>
                    <a:pt x="1627" y="52"/>
                  </a:lnTo>
                  <a:lnTo>
                    <a:pt x="1630" y="52"/>
                  </a:lnTo>
                  <a:lnTo>
                    <a:pt x="1630" y="52"/>
                  </a:lnTo>
                  <a:lnTo>
                    <a:pt x="1634" y="48"/>
                  </a:lnTo>
                  <a:lnTo>
                    <a:pt x="1637" y="48"/>
                  </a:lnTo>
                  <a:lnTo>
                    <a:pt x="1641" y="48"/>
                  </a:lnTo>
                  <a:lnTo>
                    <a:pt x="1641" y="45"/>
                  </a:lnTo>
                  <a:lnTo>
                    <a:pt x="1648" y="42"/>
                  </a:lnTo>
                  <a:lnTo>
                    <a:pt x="1651" y="42"/>
                  </a:lnTo>
                  <a:lnTo>
                    <a:pt x="1651" y="45"/>
                  </a:lnTo>
                  <a:lnTo>
                    <a:pt x="1651" y="48"/>
                  </a:lnTo>
                  <a:lnTo>
                    <a:pt x="1651" y="52"/>
                  </a:lnTo>
                  <a:lnTo>
                    <a:pt x="1654" y="48"/>
                  </a:lnTo>
                  <a:lnTo>
                    <a:pt x="1654" y="45"/>
                  </a:lnTo>
                  <a:lnTo>
                    <a:pt x="1661" y="45"/>
                  </a:lnTo>
                  <a:lnTo>
                    <a:pt x="1661" y="45"/>
                  </a:lnTo>
                  <a:lnTo>
                    <a:pt x="1658" y="48"/>
                  </a:lnTo>
                  <a:lnTo>
                    <a:pt x="1658" y="48"/>
                  </a:lnTo>
                  <a:lnTo>
                    <a:pt x="1658" y="52"/>
                  </a:lnTo>
                  <a:lnTo>
                    <a:pt x="1658" y="55"/>
                  </a:lnTo>
                  <a:lnTo>
                    <a:pt x="1661" y="52"/>
                  </a:lnTo>
                  <a:lnTo>
                    <a:pt x="1665" y="52"/>
                  </a:lnTo>
                  <a:lnTo>
                    <a:pt x="1665" y="48"/>
                  </a:lnTo>
                  <a:lnTo>
                    <a:pt x="1668" y="48"/>
                  </a:lnTo>
                  <a:lnTo>
                    <a:pt x="1672" y="48"/>
                  </a:lnTo>
                  <a:lnTo>
                    <a:pt x="1668" y="55"/>
                  </a:lnTo>
                  <a:lnTo>
                    <a:pt x="1668" y="55"/>
                  </a:lnTo>
                  <a:lnTo>
                    <a:pt x="1668" y="58"/>
                  </a:lnTo>
                  <a:lnTo>
                    <a:pt x="1672" y="61"/>
                  </a:lnTo>
                  <a:lnTo>
                    <a:pt x="1668" y="65"/>
                  </a:lnTo>
                  <a:lnTo>
                    <a:pt x="1665" y="68"/>
                  </a:lnTo>
                  <a:lnTo>
                    <a:pt x="1665" y="68"/>
                  </a:lnTo>
                  <a:lnTo>
                    <a:pt x="1661" y="74"/>
                  </a:lnTo>
                  <a:lnTo>
                    <a:pt x="1661" y="74"/>
                  </a:lnTo>
                  <a:lnTo>
                    <a:pt x="1665" y="74"/>
                  </a:lnTo>
                  <a:lnTo>
                    <a:pt x="1668" y="71"/>
                  </a:lnTo>
                  <a:lnTo>
                    <a:pt x="1672" y="71"/>
                  </a:lnTo>
                  <a:lnTo>
                    <a:pt x="1672" y="71"/>
                  </a:lnTo>
                  <a:lnTo>
                    <a:pt x="1675" y="71"/>
                  </a:lnTo>
                  <a:lnTo>
                    <a:pt x="1678" y="74"/>
                  </a:lnTo>
                  <a:lnTo>
                    <a:pt x="1682" y="78"/>
                  </a:lnTo>
                  <a:lnTo>
                    <a:pt x="1682" y="81"/>
                  </a:lnTo>
                  <a:lnTo>
                    <a:pt x="1678" y="90"/>
                  </a:lnTo>
                  <a:lnTo>
                    <a:pt x="1675" y="97"/>
                  </a:lnTo>
                  <a:lnTo>
                    <a:pt x="1668" y="100"/>
                  </a:lnTo>
                  <a:lnTo>
                    <a:pt x="1665" y="103"/>
                  </a:lnTo>
                  <a:lnTo>
                    <a:pt x="1661" y="100"/>
                  </a:lnTo>
                  <a:lnTo>
                    <a:pt x="1658" y="103"/>
                  </a:lnTo>
                  <a:lnTo>
                    <a:pt x="1658" y="103"/>
                  </a:lnTo>
                  <a:lnTo>
                    <a:pt x="1658" y="107"/>
                  </a:lnTo>
                  <a:lnTo>
                    <a:pt x="1644" y="110"/>
                  </a:lnTo>
                  <a:lnTo>
                    <a:pt x="1641" y="113"/>
                  </a:lnTo>
                  <a:lnTo>
                    <a:pt x="1637" y="113"/>
                  </a:lnTo>
                  <a:lnTo>
                    <a:pt x="1630" y="116"/>
                  </a:lnTo>
                  <a:lnTo>
                    <a:pt x="1627" y="116"/>
                  </a:lnTo>
                  <a:lnTo>
                    <a:pt x="1623" y="113"/>
                  </a:lnTo>
                  <a:lnTo>
                    <a:pt x="1620" y="116"/>
                  </a:lnTo>
                  <a:lnTo>
                    <a:pt x="1620" y="116"/>
                  </a:lnTo>
                  <a:lnTo>
                    <a:pt x="1617" y="116"/>
                  </a:lnTo>
                  <a:lnTo>
                    <a:pt x="1610" y="113"/>
                  </a:lnTo>
                  <a:lnTo>
                    <a:pt x="1606" y="113"/>
                  </a:lnTo>
                  <a:lnTo>
                    <a:pt x="1606" y="116"/>
                  </a:lnTo>
                  <a:lnTo>
                    <a:pt x="1610" y="116"/>
                  </a:lnTo>
                  <a:lnTo>
                    <a:pt x="1613" y="116"/>
                  </a:lnTo>
                  <a:lnTo>
                    <a:pt x="1610" y="120"/>
                  </a:lnTo>
                  <a:lnTo>
                    <a:pt x="1603" y="116"/>
                  </a:lnTo>
                  <a:lnTo>
                    <a:pt x="1603" y="116"/>
                  </a:lnTo>
                  <a:lnTo>
                    <a:pt x="1599" y="116"/>
                  </a:lnTo>
                  <a:lnTo>
                    <a:pt x="1592" y="116"/>
                  </a:lnTo>
                  <a:lnTo>
                    <a:pt x="1589" y="113"/>
                  </a:lnTo>
                  <a:lnTo>
                    <a:pt x="1586" y="113"/>
                  </a:lnTo>
                  <a:lnTo>
                    <a:pt x="1586" y="116"/>
                  </a:lnTo>
                  <a:lnTo>
                    <a:pt x="1579" y="110"/>
                  </a:lnTo>
                  <a:lnTo>
                    <a:pt x="1575" y="107"/>
                  </a:lnTo>
                  <a:lnTo>
                    <a:pt x="1575" y="110"/>
                  </a:lnTo>
                  <a:lnTo>
                    <a:pt x="1582" y="113"/>
                  </a:lnTo>
                  <a:lnTo>
                    <a:pt x="1582" y="113"/>
                  </a:lnTo>
                  <a:lnTo>
                    <a:pt x="1579" y="116"/>
                  </a:lnTo>
                  <a:lnTo>
                    <a:pt x="1572" y="113"/>
                  </a:lnTo>
                  <a:lnTo>
                    <a:pt x="1575" y="116"/>
                  </a:lnTo>
                  <a:lnTo>
                    <a:pt x="1586" y="116"/>
                  </a:lnTo>
                  <a:lnTo>
                    <a:pt x="1596" y="120"/>
                  </a:lnTo>
                  <a:lnTo>
                    <a:pt x="1596" y="120"/>
                  </a:lnTo>
                  <a:lnTo>
                    <a:pt x="1592" y="123"/>
                  </a:lnTo>
                  <a:lnTo>
                    <a:pt x="1579" y="129"/>
                  </a:lnTo>
                  <a:lnTo>
                    <a:pt x="1565" y="129"/>
                  </a:lnTo>
                  <a:lnTo>
                    <a:pt x="1562" y="129"/>
                  </a:lnTo>
                  <a:lnTo>
                    <a:pt x="1555" y="132"/>
                  </a:lnTo>
                  <a:lnTo>
                    <a:pt x="1551" y="129"/>
                  </a:lnTo>
                  <a:lnTo>
                    <a:pt x="1551" y="129"/>
                  </a:lnTo>
                  <a:lnTo>
                    <a:pt x="1548" y="129"/>
                  </a:lnTo>
                  <a:lnTo>
                    <a:pt x="1544" y="129"/>
                  </a:lnTo>
                  <a:lnTo>
                    <a:pt x="1541" y="129"/>
                  </a:lnTo>
                  <a:lnTo>
                    <a:pt x="1537" y="132"/>
                  </a:lnTo>
                  <a:lnTo>
                    <a:pt x="1541" y="132"/>
                  </a:lnTo>
                  <a:lnTo>
                    <a:pt x="1541" y="136"/>
                  </a:lnTo>
                  <a:lnTo>
                    <a:pt x="1548" y="132"/>
                  </a:lnTo>
                  <a:lnTo>
                    <a:pt x="1558" y="132"/>
                  </a:lnTo>
                  <a:lnTo>
                    <a:pt x="1565" y="132"/>
                  </a:lnTo>
                  <a:lnTo>
                    <a:pt x="1579" y="132"/>
                  </a:lnTo>
                  <a:lnTo>
                    <a:pt x="1589" y="132"/>
                  </a:lnTo>
                  <a:lnTo>
                    <a:pt x="1592" y="126"/>
                  </a:lnTo>
                  <a:lnTo>
                    <a:pt x="1599" y="126"/>
                  </a:lnTo>
                  <a:lnTo>
                    <a:pt x="1603" y="126"/>
                  </a:lnTo>
                  <a:lnTo>
                    <a:pt x="1606" y="126"/>
                  </a:lnTo>
                  <a:lnTo>
                    <a:pt x="1613" y="126"/>
                  </a:lnTo>
                  <a:lnTo>
                    <a:pt x="1610" y="129"/>
                  </a:lnTo>
                  <a:lnTo>
                    <a:pt x="1606" y="136"/>
                  </a:lnTo>
                  <a:lnTo>
                    <a:pt x="1599" y="139"/>
                  </a:lnTo>
                  <a:lnTo>
                    <a:pt x="1599" y="139"/>
                  </a:lnTo>
                  <a:lnTo>
                    <a:pt x="1589" y="142"/>
                  </a:lnTo>
                  <a:lnTo>
                    <a:pt x="1589" y="145"/>
                  </a:lnTo>
                  <a:lnTo>
                    <a:pt x="1586" y="145"/>
                  </a:lnTo>
                  <a:lnTo>
                    <a:pt x="1579" y="149"/>
                  </a:lnTo>
                  <a:lnTo>
                    <a:pt x="1575" y="152"/>
                  </a:lnTo>
                  <a:lnTo>
                    <a:pt x="1572" y="152"/>
                  </a:lnTo>
                  <a:lnTo>
                    <a:pt x="1568" y="152"/>
                  </a:lnTo>
                  <a:lnTo>
                    <a:pt x="1565" y="152"/>
                  </a:lnTo>
                  <a:lnTo>
                    <a:pt x="1558" y="155"/>
                  </a:lnTo>
                  <a:lnTo>
                    <a:pt x="1551" y="155"/>
                  </a:lnTo>
                  <a:lnTo>
                    <a:pt x="1551" y="158"/>
                  </a:lnTo>
                  <a:lnTo>
                    <a:pt x="1541" y="158"/>
                  </a:lnTo>
                  <a:lnTo>
                    <a:pt x="1541" y="162"/>
                  </a:lnTo>
                  <a:lnTo>
                    <a:pt x="1537" y="162"/>
                  </a:lnTo>
                  <a:lnTo>
                    <a:pt x="1534" y="165"/>
                  </a:lnTo>
                  <a:lnTo>
                    <a:pt x="1531" y="162"/>
                  </a:lnTo>
                  <a:lnTo>
                    <a:pt x="1527" y="165"/>
                  </a:lnTo>
                  <a:lnTo>
                    <a:pt x="1527" y="168"/>
                  </a:lnTo>
                  <a:lnTo>
                    <a:pt x="1524" y="171"/>
                  </a:lnTo>
                  <a:lnTo>
                    <a:pt x="1524" y="174"/>
                  </a:lnTo>
                  <a:lnTo>
                    <a:pt x="1513" y="174"/>
                  </a:lnTo>
                  <a:lnTo>
                    <a:pt x="1510" y="174"/>
                  </a:lnTo>
                  <a:lnTo>
                    <a:pt x="1506" y="174"/>
                  </a:lnTo>
                  <a:lnTo>
                    <a:pt x="1506" y="171"/>
                  </a:lnTo>
                  <a:lnTo>
                    <a:pt x="1510" y="171"/>
                  </a:lnTo>
                  <a:lnTo>
                    <a:pt x="1510" y="168"/>
                  </a:lnTo>
                  <a:lnTo>
                    <a:pt x="1506" y="165"/>
                  </a:lnTo>
                  <a:lnTo>
                    <a:pt x="1506" y="171"/>
                  </a:lnTo>
                  <a:lnTo>
                    <a:pt x="1506" y="171"/>
                  </a:lnTo>
                  <a:lnTo>
                    <a:pt x="1503" y="174"/>
                  </a:lnTo>
                  <a:lnTo>
                    <a:pt x="1510" y="178"/>
                  </a:lnTo>
                  <a:lnTo>
                    <a:pt x="1510" y="178"/>
                  </a:lnTo>
                  <a:lnTo>
                    <a:pt x="1506" y="184"/>
                  </a:lnTo>
                  <a:lnTo>
                    <a:pt x="1503" y="184"/>
                  </a:lnTo>
                  <a:lnTo>
                    <a:pt x="1500" y="181"/>
                  </a:lnTo>
                  <a:lnTo>
                    <a:pt x="1496" y="181"/>
                  </a:lnTo>
                  <a:lnTo>
                    <a:pt x="1489" y="181"/>
                  </a:lnTo>
                  <a:lnTo>
                    <a:pt x="1489" y="181"/>
                  </a:lnTo>
                  <a:lnTo>
                    <a:pt x="1486" y="181"/>
                  </a:lnTo>
                  <a:lnTo>
                    <a:pt x="1486" y="178"/>
                  </a:lnTo>
                  <a:lnTo>
                    <a:pt x="1482" y="178"/>
                  </a:lnTo>
                  <a:lnTo>
                    <a:pt x="1482" y="181"/>
                  </a:lnTo>
                  <a:lnTo>
                    <a:pt x="1479" y="181"/>
                  </a:lnTo>
                  <a:lnTo>
                    <a:pt x="1479" y="181"/>
                  </a:lnTo>
                  <a:lnTo>
                    <a:pt x="1486" y="184"/>
                  </a:lnTo>
                  <a:lnTo>
                    <a:pt x="1496" y="184"/>
                  </a:lnTo>
                  <a:lnTo>
                    <a:pt x="1500" y="187"/>
                  </a:lnTo>
                  <a:lnTo>
                    <a:pt x="1496" y="191"/>
                  </a:lnTo>
                  <a:lnTo>
                    <a:pt x="1493" y="191"/>
                  </a:lnTo>
                  <a:lnTo>
                    <a:pt x="1489" y="191"/>
                  </a:lnTo>
                  <a:lnTo>
                    <a:pt x="1482" y="191"/>
                  </a:lnTo>
                  <a:lnTo>
                    <a:pt x="1482" y="194"/>
                  </a:lnTo>
                  <a:lnTo>
                    <a:pt x="1482" y="194"/>
                  </a:lnTo>
                  <a:lnTo>
                    <a:pt x="1486" y="194"/>
                  </a:lnTo>
                  <a:lnTo>
                    <a:pt x="1489" y="194"/>
                  </a:lnTo>
                  <a:lnTo>
                    <a:pt x="1489" y="197"/>
                  </a:lnTo>
                  <a:lnTo>
                    <a:pt x="1482" y="204"/>
                  </a:lnTo>
                  <a:lnTo>
                    <a:pt x="1476" y="204"/>
                  </a:lnTo>
                  <a:lnTo>
                    <a:pt x="1465" y="200"/>
                  </a:lnTo>
                  <a:lnTo>
                    <a:pt x="1465" y="200"/>
                  </a:lnTo>
                  <a:lnTo>
                    <a:pt x="1462" y="200"/>
                  </a:lnTo>
                  <a:lnTo>
                    <a:pt x="1462" y="197"/>
                  </a:lnTo>
                  <a:lnTo>
                    <a:pt x="1458" y="194"/>
                  </a:lnTo>
                  <a:lnTo>
                    <a:pt x="1455" y="191"/>
                  </a:lnTo>
                  <a:lnTo>
                    <a:pt x="1451" y="191"/>
                  </a:lnTo>
                  <a:lnTo>
                    <a:pt x="1451" y="187"/>
                  </a:lnTo>
                  <a:lnTo>
                    <a:pt x="1451" y="184"/>
                  </a:lnTo>
                  <a:lnTo>
                    <a:pt x="1448" y="187"/>
                  </a:lnTo>
                  <a:lnTo>
                    <a:pt x="1445" y="184"/>
                  </a:lnTo>
                  <a:lnTo>
                    <a:pt x="1438" y="187"/>
                  </a:lnTo>
                  <a:lnTo>
                    <a:pt x="1438" y="187"/>
                  </a:lnTo>
                  <a:lnTo>
                    <a:pt x="1441" y="191"/>
                  </a:lnTo>
                  <a:lnTo>
                    <a:pt x="1441" y="187"/>
                  </a:lnTo>
                  <a:lnTo>
                    <a:pt x="1445" y="187"/>
                  </a:lnTo>
                  <a:lnTo>
                    <a:pt x="1455" y="194"/>
                  </a:lnTo>
                  <a:lnTo>
                    <a:pt x="1455" y="204"/>
                  </a:lnTo>
                  <a:lnTo>
                    <a:pt x="1451" y="207"/>
                  </a:lnTo>
                  <a:lnTo>
                    <a:pt x="1448" y="207"/>
                  </a:lnTo>
                  <a:lnTo>
                    <a:pt x="1445" y="204"/>
                  </a:lnTo>
                  <a:lnTo>
                    <a:pt x="1445" y="204"/>
                  </a:lnTo>
                  <a:lnTo>
                    <a:pt x="1441" y="207"/>
                  </a:lnTo>
                  <a:lnTo>
                    <a:pt x="1441" y="207"/>
                  </a:lnTo>
                  <a:lnTo>
                    <a:pt x="1438" y="204"/>
                  </a:lnTo>
                  <a:lnTo>
                    <a:pt x="1434" y="204"/>
                  </a:lnTo>
                  <a:lnTo>
                    <a:pt x="1431" y="207"/>
                  </a:lnTo>
                  <a:lnTo>
                    <a:pt x="1431" y="207"/>
                  </a:lnTo>
                  <a:lnTo>
                    <a:pt x="1427" y="204"/>
                  </a:lnTo>
                  <a:lnTo>
                    <a:pt x="1424" y="204"/>
                  </a:lnTo>
                  <a:lnTo>
                    <a:pt x="1420" y="200"/>
                  </a:lnTo>
                  <a:lnTo>
                    <a:pt x="1420" y="200"/>
                  </a:lnTo>
                  <a:lnTo>
                    <a:pt x="1420" y="197"/>
                  </a:lnTo>
                  <a:lnTo>
                    <a:pt x="1417" y="197"/>
                  </a:lnTo>
                  <a:lnTo>
                    <a:pt x="1410" y="197"/>
                  </a:lnTo>
                  <a:lnTo>
                    <a:pt x="1410" y="194"/>
                  </a:lnTo>
                  <a:lnTo>
                    <a:pt x="1407" y="194"/>
                  </a:lnTo>
                  <a:lnTo>
                    <a:pt x="1407" y="197"/>
                  </a:lnTo>
                  <a:lnTo>
                    <a:pt x="1410" y="197"/>
                  </a:lnTo>
                  <a:lnTo>
                    <a:pt x="1417" y="200"/>
                  </a:lnTo>
                  <a:lnTo>
                    <a:pt x="1420" y="207"/>
                  </a:lnTo>
                  <a:lnTo>
                    <a:pt x="1420" y="207"/>
                  </a:lnTo>
                  <a:lnTo>
                    <a:pt x="1410" y="207"/>
                  </a:lnTo>
                  <a:lnTo>
                    <a:pt x="1407" y="204"/>
                  </a:lnTo>
                  <a:lnTo>
                    <a:pt x="1407" y="200"/>
                  </a:lnTo>
                  <a:lnTo>
                    <a:pt x="1403" y="197"/>
                  </a:lnTo>
                  <a:lnTo>
                    <a:pt x="1400" y="200"/>
                  </a:lnTo>
                  <a:lnTo>
                    <a:pt x="1403" y="200"/>
                  </a:lnTo>
                  <a:lnTo>
                    <a:pt x="1400" y="204"/>
                  </a:lnTo>
                  <a:lnTo>
                    <a:pt x="1396" y="204"/>
                  </a:lnTo>
                  <a:lnTo>
                    <a:pt x="1396" y="200"/>
                  </a:lnTo>
                  <a:lnTo>
                    <a:pt x="1393" y="200"/>
                  </a:lnTo>
                  <a:lnTo>
                    <a:pt x="1393" y="204"/>
                  </a:lnTo>
                  <a:lnTo>
                    <a:pt x="1396" y="204"/>
                  </a:lnTo>
                  <a:lnTo>
                    <a:pt x="1396" y="207"/>
                  </a:lnTo>
                  <a:lnTo>
                    <a:pt x="1400" y="207"/>
                  </a:lnTo>
                  <a:lnTo>
                    <a:pt x="1400" y="207"/>
                  </a:lnTo>
                  <a:lnTo>
                    <a:pt x="1403" y="207"/>
                  </a:lnTo>
                  <a:lnTo>
                    <a:pt x="1407" y="210"/>
                  </a:lnTo>
                  <a:lnTo>
                    <a:pt x="1410" y="210"/>
                  </a:lnTo>
                  <a:lnTo>
                    <a:pt x="1414" y="213"/>
                  </a:lnTo>
                  <a:lnTo>
                    <a:pt x="1417" y="213"/>
                  </a:lnTo>
                  <a:lnTo>
                    <a:pt x="1420" y="213"/>
                  </a:lnTo>
                  <a:lnTo>
                    <a:pt x="1431" y="213"/>
                  </a:lnTo>
                  <a:lnTo>
                    <a:pt x="1434" y="216"/>
                  </a:lnTo>
                  <a:lnTo>
                    <a:pt x="1431" y="220"/>
                  </a:lnTo>
                  <a:lnTo>
                    <a:pt x="1431" y="220"/>
                  </a:lnTo>
                  <a:lnTo>
                    <a:pt x="1431" y="223"/>
                  </a:lnTo>
                  <a:lnTo>
                    <a:pt x="1431" y="226"/>
                  </a:lnTo>
                  <a:lnTo>
                    <a:pt x="1427" y="229"/>
                  </a:lnTo>
                  <a:lnTo>
                    <a:pt x="1427" y="229"/>
                  </a:lnTo>
                  <a:lnTo>
                    <a:pt x="1424" y="226"/>
                  </a:lnTo>
                  <a:lnTo>
                    <a:pt x="1420" y="226"/>
                  </a:lnTo>
                  <a:lnTo>
                    <a:pt x="1414" y="223"/>
                  </a:lnTo>
                  <a:lnTo>
                    <a:pt x="1414" y="220"/>
                  </a:lnTo>
                  <a:lnTo>
                    <a:pt x="1414" y="216"/>
                  </a:lnTo>
                  <a:lnTo>
                    <a:pt x="1410" y="213"/>
                  </a:lnTo>
                  <a:lnTo>
                    <a:pt x="1407" y="213"/>
                  </a:lnTo>
                  <a:lnTo>
                    <a:pt x="1396" y="210"/>
                  </a:lnTo>
                  <a:lnTo>
                    <a:pt x="1393" y="210"/>
                  </a:lnTo>
                  <a:lnTo>
                    <a:pt x="1390" y="210"/>
                  </a:lnTo>
                  <a:lnTo>
                    <a:pt x="1390" y="210"/>
                  </a:lnTo>
                  <a:lnTo>
                    <a:pt x="1393" y="213"/>
                  </a:lnTo>
                  <a:lnTo>
                    <a:pt x="1403" y="213"/>
                  </a:lnTo>
                  <a:lnTo>
                    <a:pt x="1410" y="216"/>
                  </a:lnTo>
                  <a:lnTo>
                    <a:pt x="1410" y="220"/>
                  </a:lnTo>
                  <a:lnTo>
                    <a:pt x="1410" y="220"/>
                  </a:lnTo>
                  <a:lnTo>
                    <a:pt x="1403" y="216"/>
                  </a:lnTo>
                  <a:lnTo>
                    <a:pt x="1396" y="216"/>
                  </a:lnTo>
                  <a:lnTo>
                    <a:pt x="1393" y="220"/>
                  </a:lnTo>
                  <a:lnTo>
                    <a:pt x="1393" y="216"/>
                  </a:lnTo>
                  <a:lnTo>
                    <a:pt x="1390" y="213"/>
                  </a:lnTo>
                  <a:lnTo>
                    <a:pt x="1383" y="213"/>
                  </a:lnTo>
                  <a:lnTo>
                    <a:pt x="1379" y="213"/>
                  </a:lnTo>
                  <a:lnTo>
                    <a:pt x="1379" y="213"/>
                  </a:lnTo>
                  <a:lnTo>
                    <a:pt x="1386" y="216"/>
                  </a:lnTo>
                  <a:lnTo>
                    <a:pt x="1386" y="220"/>
                  </a:lnTo>
                  <a:lnTo>
                    <a:pt x="1386" y="220"/>
                  </a:lnTo>
                  <a:lnTo>
                    <a:pt x="1390" y="220"/>
                  </a:lnTo>
                  <a:lnTo>
                    <a:pt x="1390" y="220"/>
                  </a:lnTo>
                  <a:lnTo>
                    <a:pt x="1393" y="220"/>
                  </a:lnTo>
                  <a:lnTo>
                    <a:pt x="1396" y="220"/>
                  </a:lnTo>
                  <a:lnTo>
                    <a:pt x="1396" y="220"/>
                  </a:lnTo>
                  <a:lnTo>
                    <a:pt x="1400" y="220"/>
                  </a:lnTo>
                  <a:lnTo>
                    <a:pt x="1403" y="220"/>
                  </a:lnTo>
                  <a:lnTo>
                    <a:pt x="1403" y="220"/>
                  </a:lnTo>
                  <a:lnTo>
                    <a:pt x="1410" y="226"/>
                  </a:lnTo>
                  <a:lnTo>
                    <a:pt x="1410" y="226"/>
                  </a:lnTo>
                  <a:lnTo>
                    <a:pt x="1407" y="226"/>
                  </a:lnTo>
                  <a:lnTo>
                    <a:pt x="1400" y="229"/>
                  </a:lnTo>
                  <a:lnTo>
                    <a:pt x="1400" y="229"/>
                  </a:lnTo>
                  <a:lnTo>
                    <a:pt x="1403" y="229"/>
                  </a:lnTo>
                  <a:lnTo>
                    <a:pt x="1407" y="229"/>
                  </a:lnTo>
                  <a:lnTo>
                    <a:pt x="1410" y="229"/>
                  </a:lnTo>
                  <a:lnTo>
                    <a:pt x="1414" y="233"/>
                  </a:lnTo>
                  <a:lnTo>
                    <a:pt x="1417" y="233"/>
                  </a:lnTo>
                  <a:lnTo>
                    <a:pt x="1417" y="236"/>
                  </a:lnTo>
                  <a:lnTo>
                    <a:pt x="1414" y="242"/>
                  </a:lnTo>
                  <a:lnTo>
                    <a:pt x="1410" y="249"/>
                  </a:lnTo>
                  <a:lnTo>
                    <a:pt x="1410" y="249"/>
                  </a:lnTo>
                  <a:lnTo>
                    <a:pt x="1403" y="252"/>
                  </a:lnTo>
                  <a:lnTo>
                    <a:pt x="1403" y="249"/>
                  </a:lnTo>
                  <a:lnTo>
                    <a:pt x="1400" y="249"/>
                  </a:lnTo>
                  <a:lnTo>
                    <a:pt x="1396" y="249"/>
                  </a:lnTo>
                  <a:lnTo>
                    <a:pt x="1396" y="249"/>
                  </a:lnTo>
                  <a:lnTo>
                    <a:pt x="1393" y="246"/>
                  </a:lnTo>
                  <a:lnTo>
                    <a:pt x="1390" y="246"/>
                  </a:lnTo>
                  <a:lnTo>
                    <a:pt x="1390" y="249"/>
                  </a:lnTo>
                  <a:lnTo>
                    <a:pt x="1393" y="249"/>
                  </a:lnTo>
                  <a:lnTo>
                    <a:pt x="1393" y="252"/>
                  </a:lnTo>
                  <a:lnTo>
                    <a:pt x="1396" y="252"/>
                  </a:lnTo>
                  <a:lnTo>
                    <a:pt x="1400" y="255"/>
                  </a:lnTo>
                  <a:lnTo>
                    <a:pt x="1403" y="258"/>
                  </a:lnTo>
                  <a:lnTo>
                    <a:pt x="1400" y="258"/>
                  </a:lnTo>
                  <a:lnTo>
                    <a:pt x="1396" y="262"/>
                  </a:lnTo>
                  <a:lnTo>
                    <a:pt x="1393" y="265"/>
                  </a:lnTo>
                  <a:lnTo>
                    <a:pt x="1390" y="265"/>
                  </a:lnTo>
                  <a:lnTo>
                    <a:pt x="1386" y="258"/>
                  </a:lnTo>
                  <a:lnTo>
                    <a:pt x="1383" y="262"/>
                  </a:lnTo>
                  <a:lnTo>
                    <a:pt x="1379" y="258"/>
                  </a:lnTo>
                  <a:lnTo>
                    <a:pt x="1376" y="258"/>
                  </a:lnTo>
                  <a:lnTo>
                    <a:pt x="1372" y="258"/>
                  </a:lnTo>
                  <a:lnTo>
                    <a:pt x="1372" y="262"/>
                  </a:lnTo>
                  <a:lnTo>
                    <a:pt x="1386" y="268"/>
                  </a:lnTo>
                  <a:lnTo>
                    <a:pt x="1390" y="268"/>
                  </a:lnTo>
                  <a:lnTo>
                    <a:pt x="1390" y="268"/>
                  </a:lnTo>
                  <a:lnTo>
                    <a:pt x="1386" y="271"/>
                  </a:lnTo>
                  <a:lnTo>
                    <a:pt x="1383" y="275"/>
                  </a:lnTo>
                  <a:lnTo>
                    <a:pt x="1379" y="275"/>
                  </a:lnTo>
                  <a:lnTo>
                    <a:pt x="1376" y="271"/>
                  </a:lnTo>
                  <a:lnTo>
                    <a:pt x="1372" y="271"/>
                  </a:lnTo>
                  <a:lnTo>
                    <a:pt x="1369" y="275"/>
                  </a:lnTo>
                  <a:lnTo>
                    <a:pt x="1365" y="275"/>
                  </a:lnTo>
                  <a:lnTo>
                    <a:pt x="1362" y="271"/>
                  </a:lnTo>
                  <a:lnTo>
                    <a:pt x="1355" y="268"/>
                  </a:lnTo>
                  <a:lnTo>
                    <a:pt x="1348" y="271"/>
                  </a:lnTo>
                  <a:lnTo>
                    <a:pt x="1348" y="278"/>
                  </a:lnTo>
                  <a:lnTo>
                    <a:pt x="1345" y="281"/>
                  </a:lnTo>
                  <a:lnTo>
                    <a:pt x="1348" y="281"/>
                  </a:lnTo>
                  <a:lnTo>
                    <a:pt x="1348" y="281"/>
                  </a:lnTo>
                  <a:lnTo>
                    <a:pt x="1348" y="284"/>
                  </a:lnTo>
                  <a:lnTo>
                    <a:pt x="1345" y="288"/>
                  </a:lnTo>
                  <a:lnTo>
                    <a:pt x="1345" y="291"/>
                  </a:lnTo>
                  <a:lnTo>
                    <a:pt x="1338" y="291"/>
                  </a:lnTo>
                  <a:lnTo>
                    <a:pt x="1338" y="291"/>
                  </a:lnTo>
                  <a:lnTo>
                    <a:pt x="1338" y="291"/>
                  </a:lnTo>
                  <a:lnTo>
                    <a:pt x="1334" y="294"/>
                  </a:lnTo>
                  <a:lnTo>
                    <a:pt x="1331" y="294"/>
                  </a:lnTo>
                  <a:lnTo>
                    <a:pt x="1331" y="294"/>
                  </a:lnTo>
                  <a:lnTo>
                    <a:pt x="1331" y="294"/>
                  </a:lnTo>
                  <a:lnTo>
                    <a:pt x="1328" y="294"/>
                  </a:lnTo>
                  <a:lnTo>
                    <a:pt x="1328" y="294"/>
                  </a:lnTo>
                  <a:lnTo>
                    <a:pt x="1324" y="300"/>
                  </a:lnTo>
                  <a:lnTo>
                    <a:pt x="1321" y="300"/>
                  </a:lnTo>
                  <a:lnTo>
                    <a:pt x="1314" y="297"/>
                  </a:lnTo>
                  <a:lnTo>
                    <a:pt x="1307" y="297"/>
                  </a:lnTo>
                  <a:lnTo>
                    <a:pt x="1307" y="297"/>
                  </a:lnTo>
                  <a:lnTo>
                    <a:pt x="1304" y="297"/>
                  </a:lnTo>
                  <a:lnTo>
                    <a:pt x="1293" y="288"/>
                  </a:lnTo>
                  <a:lnTo>
                    <a:pt x="1293" y="281"/>
                  </a:lnTo>
                  <a:lnTo>
                    <a:pt x="1293" y="281"/>
                  </a:lnTo>
                  <a:lnTo>
                    <a:pt x="1297" y="278"/>
                  </a:lnTo>
                  <a:lnTo>
                    <a:pt x="1293" y="275"/>
                  </a:lnTo>
                  <a:lnTo>
                    <a:pt x="1293" y="271"/>
                  </a:lnTo>
                  <a:lnTo>
                    <a:pt x="1290" y="278"/>
                  </a:lnTo>
                  <a:lnTo>
                    <a:pt x="1290" y="278"/>
                  </a:lnTo>
                  <a:lnTo>
                    <a:pt x="1290" y="284"/>
                  </a:lnTo>
                  <a:lnTo>
                    <a:pt x="1286" y="284"/>
                  </a:lnTo>
                  <a:lnTo>
                    <a:pt x="1290" y="291"/>
                  </a:lnTo>
                  <a:lnTo>
                    <a:pt x="1290" y="291"/>
                  </a:lnTo>
                  <a:lnTo>
                    <a:pt x="1290" y="291"/>
                  </a:lnTo>
                  <a:lnTo>
                    <a:pt x="1283" y="291"/>
                  </a:lnTo>
                  <a:lnTo>
                    <a:pt x="1283" y="291"/>
                  </a:lnTo>
                  <a:lnTo>
                    <a:pt x="1279" y="291"/>
                  </a:lnTo>
                  <a:lnTo>
                    <a:pt x="1283" y="294"/>
                  </a:lnTo>
                  <a:lnTo>
                    <a:pt x="1279" y="297"/>
                  </a:lnTo>
                  <a:lnTo>
                    <a:pt x="1283" y="297"/>
                  </a:lnTo>
                  <a:lnTo>
                    <a:pt x="1286" y="294"/>
                  </a:lnTo>
                  <a:lnTo>
                    <a:pt x="1290" y="294"/>
                  </a:lnTo>
                  <a:lnTo>
                    <a:pt x="1290" y="294"/>
                  </a:lnTo>
                  <a:lnTo>
                    <a:pt x="1293" y="291"/>
                  </a:lnTo>
                  <a:lnTo>
                    <a:pt x="1297" y="294"/>
                  </a:lnTo>
                  <a:lnTo>
                    <a:pt x="1300" y="297"/>
                  </a:lnTo>
                  <a:lnTo>
                    <a:pt x="1300" y="300"/>
                  </a:lnTo>
                  <a:lnTo>
                    <a:pt x="1304" y="300"/>
                  </a:lnTo>
                  <a:lnTo>
                    <a:pt x="1310" y="297"/>
                  </a:lnTo>
                  <a:lnTo>
                    <a:pt x="1314" y="300"/>
                  </a:lnTo>
                  <a:lnTo>
                    <a:pt x="1317" y="304"/>
                  </a:lnTo>
                  <a:lnTo>
                    <a:pt x="1314" y="304"/>
                  </a:lnTo>
                  <a:lnTo>
                    <a:pt x="1310" y="310"/>
                  </a:lnTo>
                  <a:lnTo>
                    <a:pt x="1310" y="310"/>
                  </a:lnTo>
                  <a:lnTo>
                    <a:pt x="1307" y="313"/>
                  </a:lnTo>
                  <a:lnTo>
                    <a:pt x="1310" y="313"/>
                  </a:lnTo>
                  <a:lnTo>
                    <a:pt x="1314" y="313"/>
                  </a:lnTo>
                  <a:lnTo>
                    <a:pt x="1314" y="317"/>
                  </a:lnTo>
                  <a:lnTo>
                    <a:pt x="1310" y="320"/>
                  </a:lnTo>
                  <a:lnTo>
                    <a:pt x="1314" y="320"/>
                  </a:lnTo>
                  <a:lnTo>
                    <a:pt x="1314" y="317"/>
                  </a:lnTo>
                  <a:lnTo>
                    <a:pt x="1321" y="313"/>
                  </a:lnTo>
                  <a:lnTo>
                    <a:pt x="1321" y="313"/>
                  </a:lnTo>
                  <a:lnTo>
                    <a:pt x="1324" y="313"/>
                  </a:lnTo>
                  <a:lnTo>
                    <a:pt x="1324" y="313"/>
                  </a:lnTo>
                  <a:lnTo>
                    <a:pt x="1324" y="317"/>
                  </a:lnTo>
                  <a:lnTo>
                    <a:pt x="1328" y="320"/>
                  </a:lnTo>
                  <a:lnTo>
                    <a:pt x="1324" y="326"/>
                  </a:lnTo>
                  <a:lnTo>
                    <a:pt x="1321" y="333"/>
                  </a:lnTo>
                  <a:lnTo>
                    <a:pt x="1317" y="333"/>
                  </a:lnTo>
                  <a:lnTo>
                    <a:pt x="1314" y="333"/>
                  </a:lnTo>
                  <a:lnTo>
                    <a:pt x="1310" y="336"/>
                  </a:lnTo>
                  <a:lnTo>
                    <a:pt x="1307" y="339"/>
                  </a:lnTo>
                  <a:lnTo>
                    <a:pt x="1307" y="339"/>
                  </a:lnTo>
                  <a:lnTo>
                    <a:pt x="1307" y="336"/>
                  </a:lnTo>
                  <a:lnTo>
                    <a:pt x="1307" y="329"/>
                  </a:lnTo>
                  <a:lnTo>
                    <a:pt x="1307" y="329"/>
                  </a:lnTo>
                  <a:lnTo>
                    <a:pt x="1304" y="333"/>
                  </a:lnTo>
                  <a:lnTo>
                    <a:pt x="1300" y="336"/>
                  </a:lnTo>
                  <a:lnTo>
                    <a:pt x="1297" y="336"/>
                  </a:lnTo>
                  <a:lnTo>
                    <a:pt x="1293" y="339"/>
                  </a:lnTo>
                  <a:lnTo>
                    <a:pt x="1290" y="339"/>
                  </a:lnTo>
                  <a:lnTo>
                    <a:pt x="1286" y="339"/>
                  </a:lnTo>
                  <a:lnTo>
                    <a:pt x="1283" y="342"/>
                  </a:lnTo>
                  <a:lnTo>
                    <a:pt x="1279" y="342"/>
                  </a:lnTo>
                  <a:lnTo>
                    <a:pt x="1276" y="346"/>
                  </a:lnTo>
                  <a:lnTo>
                    <a:pt x="1273" y="342"/>
                  </a:lnTo>
                  <a:lnTo>
                    <a:pt x="1273" y="342"/>
                  </a:lnTo>
                  <a:lnTo>
                    <a:pt x="1269" y="339"/>
                  </a:lnTo>
                  <a:lnTo>
                    <a:pt x="1273" y="339"/>
                  </a:lnTo>
                  <a:lnTo>
                    <a:pt x="1276" y="336"/>
                  </a:lnTo>
                  <a:lnTo>
                    <a:pt x="1276" y="333"/>
                  </a:lnTo>
                  <a:lnTo>
                    <a:pt x="1273" y="329"/>
                  </a:lnTo>
                  <a:lnTo>
                    <a:pt x="1269" y="329"/>
                  </a:lnTo>
                  <a:lnTo>
                    <a:pt x="1262" y="329"/>
                  </a:lnTo>
                  <a:lnTo>
                    <a:pt x="1262" y="326"/>
                  </a:lnTo>
                  <a:lnTo>
                    <a:pt x="1266" y="323"/>
                  </a:lnTo>
                  <a:lnTo>
                    <a:pt x="1269" y="323"/>
                  </a:lnTo>
                  <a:lnTo>
                    <a:pt x="1266" y="320"/>
                  </a:lnTo>
                  <a:lnTo>
                    <a:pt x="1262" y="320"/>
                  </a:lnTo>
                  <a:lnTo>
                    <a:pt x="1259" y="317"/>
                  </a:lnTo>
                  <a:lnTo>
                    <a:pt x="1262" y="313"/>
                  </a:lnTo>
                  <a:lnTo>
                    <a:pt x="1262" y="310"/>
                  </a:lnTo>
                  <a:lnTo>
                    <a:pt x="1259" y="307"/>
                  </a:lnTo>
                  <a:lnTo>
                    <a:pt x="1259" y="310"/>
                  </a:lnTo>
                  <a:lnTo>
                    <a:pt x="1259" y="317"/>
                  </a:lnTo>
                  <a:lnTo>
                    <a:pt x="1259" y="320"/>
                  </a:lnTo>
                  <a:lnTo>
                    <a:pt x="1262" y="323"/>
                  </a:lnTo>
                  <a:lnTo>
                    <a:pt x="1259" y="326"/>
                  </a:lnTo>
                  <a:lnTo>
                    <a:pt x="1259" y="329"/>
                  </a:lnTo>
                  <a:lnTo>
                    <a:pt x="1255" y="329"/>
                  </a:lnTo>
                  <a:lnTo>
                    <a:pt x="1252" y="329"/>
                  </a:lnTo>
                  <a:lnTo>
                    <a:pt x="1248" y="329"/>
                  </a:lnTo>
                  <a:lnTo>
                    <a:pt x="1248" y="326"/>
                  </a:lnTo>
                  <a:lnTo>
                    <a:pt x="1245" y="326"/>
                  </a:lnTo>
                  <a:lnTo>
                    <a:pt x="1248" y="320"/>
                  </a:lnTo>
                  <a:lnTo>
                    <a:pt x="1248" y="317"/>
                  </a:lnTo>
                  <a:lnTo>
                    <a:pt x="1248" y="313"/>
                  </a:lnTo>
                  <a:lnTo>
                    <a:pt x="1252" y="310"/>
                  </a:lnTo>
                  <a:lnTo>
                    <a:pt x="1248" y="310"/>
                  </a:lnTo>
                  <a:lnTo>
                    <a:pt x="1245" y="313"/>
                  </a:lnTo>
                  <a:lnTo>
                    <a:pt x="1245" y="317"/>
                  </a:lnTo>
                  <a:lnTo>
                    <a:pt x="1245" y="320"/>
                  </a:lnTo>
                  <a:lnTo>
                    <a:pt x="1242" y="326"/>
                  </a:lnTo>
                  <a:lnTo>
                    <a:pt x="1238" y="326"/>
                  </a:lnTo>
                  <a:lnTo>
                    <a:pt x="1235" y="326"/>
                  </a:lnTo>
                  <a:lnTo>
                    <a:pt x="1238" y="323"/>
                  </a:lnTo>
                  <a:lnTo>
                    <a:pt x="1235" y="320"/>
                  </a:lnTo>
                  <a:lnTo>
                    <a:pt x="1235" y="320"/>
                  </a:lnTo>
                  <a:lnTo>
                    <a:pt x="1238" y="317"/>
                  </a:lnTo>
                  <a:lnTo>
                    <a:pt x="1238" y="313"/>
                  </a:lnTo>
                  <a:lnTo>
                    <a:pt x="1238" y="310"/>
                  </a:lnTo>
                  <a:lnTo>
                    <a:pt x="1235" y="310"/>
                  </a:lnTo>
                  <a:lnTo>
                    <a:pt x="1235" y="313"/>
                  </a:lnTo>
                  <a:lnTo>
                    <a:pt x="1235" y="317"/>
                  </a:lnTo>
                  <a:lnTo>
                    <a:pt x="1231" y="317"/>
                  </a:lnTo>
                  <a:lnTo>
                    <a:pt x="1231" y="320"/>
                  </a:lnTo>
                  <a:lnTo>
                    <a:pt x="1231" y="320"/>
                  </a:lnTo>
                  <a:lnTo>
                    <a:pt x="1228" y="320"/>
                  </a:lnTo>
                  <a:lnTo>
                    <a:pt x="1228" y="323"/>
                  </a:lnTo>
                  <a:lnTo>
                    <a:pt x="1224" y="323"/>
                  </a:lnTo>
                  <a:lnTo>
                    <a:pt x="1224" y="323"/>
                  </a:lnTo>
                  <a:close/>
                  <a:moveTo>
                    <a:pt x="1328" y="811"/>
                  </a:moveTo>
                  <a:lnTo>
                    <a:pt x="1328" y="814"/>
                  </a:lnTo>
                  <a:lnTo>
                    <a:pt x="1328" y="817"/>
                  </a:lnTo>
                  <a:lnTo>
                    <a:pt x="1328" y="821"/>
                  </a:lnTo>
                  <a:lnTo>
                    <a:pt x="1331" y="821"/>
                  </a:lnTo>
                  <a:lnTo>
                    <a:pt x="1331" y="817"/>
                  </a:lnTo>
                  <a:lnTo>
                    <a:pt x="1331" y="814"/>
                  </a:lnTo>
                  <a:lnTo>
                    <a:pt x="1331" y="811"/>
                  </a:lnTo>
                  <a:lnTo>
                    <a:pt x="1328" y="811"/>
                  </a:lnTo>
                  <a:lnTo>
                    <a:pt x="1328" y="811"/>
                  </a:lnTo>
                  <a:close/>
                  <a:moveTo>
                    <a:pt x="1324" y="791"/>
                  </a:moveTo>
                  <a:lnTo>
                    <a:pt x="1324" y="791"/>
                  </a:lnTo>
                  <a:lnTo>
                    <a:pt x="1324" y="788"/>
                  </a:lnTo>
                  <a:lnTo>
                    <a:pt x="1328" y="791"/>
                  </a:lnTo>
                  <a:lnTo>
                    <a:pt x="1328" y="791"/>
                  </a:lnTo>
                  <a:lnTo>
                    <a:pt x="1324" y="791"/>
                  </a:lnTo>
                  <a:lnTo>
                    <a:pt x="1324" y="791"/>
                  </a:lnTo>
                  <a:close/>
                  <a:moveTo>
                    <a:pt x="1321" y="782"/>
                  </a:moveTo>
                  <a:lnTo>
                    <a:pt x="1321" y="779"/>
                  </a:lnTo>
                  <a:lnTo>
                    <a:pt x="1324" y="779"/>
                  </a:lnTo>
                  <a:lnTo>
                    <a:pt x="1324" y="779"/>
                  </a:lnTo>
                  <a:lnTo>
                    <a:pt x="1324" y="782"/>
                  </a:lnTo>
                  <a:lnTo>
                    <a:pt x="1321" y="782"/>
                  </a:lnTo>
                  <a:lnTo>
                    <a:pt x="1321" y="782"/>
                  </a:lnTo>
                  <a:lnTo>
                    <a:pt x="1321" y="782"/>
                  </a:lnTo>
                  <a:close/>
                  <a:moveTo>
                    <a:pt x="1290" y="536"/>
                  </a:moveTo>
                  <a:lnTo>
                    <a:pt x="1290" y="533"/>
                  </a:lnTo>
                  <a:lnTo>
                    <a:pt x="1290" y="533"/>
                  </a:lnTo>
                  <a:lnTo>
                    <a:pt x="1290" y="536"/>
                  </a:lnTo>
                  <a:lnTo>
                    <a:pt x="1290" y="536"/>
                  </a:lnTo>
                  <a:lnTo>
                    <a:pt x="1290" y="536"/>
                  </a:lnTo>
                  <a:close/>
                  <a:moveTo>
                    <a:pt x="1293" y="539"/>
                  </a:moveTo>
                  <a:lnTo>
                    <a:pt x="1293" y="536"/>
                  </a:lnTo>
                  <a:lnTo>
                    <a:pt x="1293" y="536"/>
                  </a:lnTo>
                  <a:lnTo>
                    <a:pt x="1297" y="533"/>
                  </a:lnTo>
                  <a:lnTo>
                    <a:pt x="1297" y="536"/>
                  </a:lnTo>
                  <a:lnTo>
                    <a:pt x="1297" y="539"/>
                  </a:lnTo>
                  <a:lnTo>
                    <a:pt x="1293" y="539"/>
                  </a:lnTo>
                  <a:lnTo>
                    <a:pt x="1293" y="539"/>
                  </a:lnTo>
                  <a:close/>
                  <a:moveTo>
                    <a:pt x="1286" y="549"/>
                  </a:moveTo>
                  <a:lnTo>
                    <a:pt x="1286" y="546"/>
                  </a:lnTo>
                  <a:lnTo>
                    <a:pt x="1286" y="543"/>
                  </a:lnTo>
                  <a:lnTo>
                    <a:pt x="1286" y="539"/>
                  </a:lnTo>
                  <a:lnTo>
                    <a:pt x="1290" y="539"/>
                  </a:lnTo>
                  <a:lnTo>
                    <a:pt x="1290" y="543"/>
                  </a:lnTo>
                  <a:lnTo>
                    <a:pt x="1290" y="543"/>
                  </a:lnTo>
                  <a:lnTo>
                    <a:pt x="1293" y="543"/>
                  </a:lnTo>
                  <a:lnTo>
                    <a:pt x="1290" y="546"/>
                  </a:lnTo>
                  <a:lnTo>
                    <a:pt x="1290" y="546"/>
                  </a:lnTo>
                  <a:lnTo>
                    <a:pt x="1286" y="549"/>
                  </a:lnTo>
                  <a:lnTo>
                    <a:pt x="1286" y="549"/>
                  </a:lnTo>
                  <a:close/>
                  <a:moveTo>
                    <a:pt x="1345" y="620"/>
                  </a:moveTo>
                  <a:lnTo>
                    <a:pt x="1348" y="620"/>
                  </a:lnTo>
                  <a:lnTo>
                    <a:pt x="1352" y="620"/>
                  </a:lnTo>
                  <a:lnTo>
                    <a:pt x="1348" y="623"/>
                  </a:lnTo>
                  <a:lnTo>
                    <a:pt x="1348" y="623"/>
                  </a:lnTo>
                  <a:lnTo>
                    <a:pt x="1345" y="620"/>
                  </a:lnTo>
                  <a:lnTo>
                    <a:pt x="1345" y="620"/>
                  </a:lnTo>
                  <a:close/>
                  <a:moveTo>
                    <a:pt x="1338" y="620"/>
                  </a:moveTo>
                  <a:lnTo>
                    <a:pt x="1338" y="617"/>
                  </a:lnTo>
                  <a:lnTo>
                    <a:pt x="1341" y="617"/>
                  </a:lnTo>
                  <a:lnTo>
                    <a:pt x="1345" y="617"/>
                  </a:lnTo>
                  <a:lnTo>
                    <a:pt x="1345" y="617"/>
                  </a:lnTo>
                  <a:lnTo>
                    <a:pt x="1341" y="620"/>
                  </a:lnTo>
                  <a:lnTo>
                    <a:pt x="1341" y="620"/>
                  </a:lnTo>
                  <a:lnTo>
                    <a:pt x="1338" y="620"/>
                  </a:lnTo>
                  <a:lnTo>
                    <a:pt x="1338" y="620"/>
                  </a:lnTo>
                  <a:close/>
                  <a:moveTo>
                    <a:pt x="1328" y="653"/>
                  </a:moveTo>
                  <a:lnTo>
                    <a:pt x="1331" y="656"/>
                  </a:lnTo>
                  <a:lnTo>
                    <a:pt x="1331" y="656"/>
                  </a:lnTo>
                  <a:lnTo>
                    <a:pt x="1331" y="653"/>
                  </a:lnTo>
                  <a:lnTo>
                    <a:pt x="1328" y="653"/>
                  </a:lnTo>
                  <a:lnTo>
                    <a:pt x="1328" y="653"/>
                  </a:lnTo>
                  <a:close/>
                  <a:moveTo>
                    <a:pt x="1345" y="669"/>
                  </a:moveTo>
                  <a:lnTo>
                    <a:pt x="1348" y="672"/>
                  </a:lnTo>
                  <a:lnTo>
                    <a:pt x="1348" y="669"/>
                  </a:lnTo>
                  <a:lnTo>
                    <a:pt x="1348" y="669"/>
                  </a:lnTo>
                  <a:lnTo>
                    <a:pt x="1345" y="669"/>
                  </a:lnTo>
                  <a:lnTo>
                    <a:pt x="1345" y="669"/>
                  </a:lnTo>
                  <a:lnTo>
                    <a:pt x="1345" y="669"/>
                  </a:lnTo>
                  <a:lnTo>
                    <a:pt x="1345" y="669"/>
                  </a:lnTo>
                  <a:close/>
                  <a:moveTo>
                    <a:pt x="1372" y="695"/>
                  </a:moveTo>
                  <a:lnTo>
                    <a:pt x="1372" y="691"/>
                  </a:lnTo>
                  <a:lnTo>
                    <a:pt x="1376" y="688"/>
                  </a:lnTo>
                  <a:lnTo>
                    <a:pt x="1376" y="691"/>
                  </a:lnTo>
                  <a:lnTo>
                    <a:pt x="1376" y="695"/>
                  </a:lnTo>
                  <a:lnTo>
                    <a:pt x="1376" y="695"/>
                  </a:lnTo>
                  <a:lnTo>
                    <a:pt x="1372" y="695"/>
                  </a:lnTo>
                  <a:lnTo>
                    <a:pt x="1372" y="695"/>
                  </a:lnTo>
                  <a:close/>
                  <a:moveTo>
                    <a:pt x="1390" y="711"/>
                  </a:moveTo>
                  <a:lnTo>
                    <a:pt x="1390" y="707"/>
                  </a:lnTo>
                  <a:lnTo>
                    <a:pt x="1393" y="704"/>
                  </a:lnTo>
                  <a:lnTo>
                    <a:pt x="1393" y="704"/>
                  </a:lnTo>
                  <a:lnTo>
                    <a:pt x="1396" y="704"/>
                  </a:lnTo>
                  <a:lnTo>
                    <a:pt x="1393" y="707"/>
                  </a:lnTo>
                  <a:lnTo>
                    <a:pt x="1390" y="707"/>
                  </a:lnTo>
                  <a:lnTo>
                    <a:pt x="1390" y="707"/>
                  </a:lnTo>
                  <a:lnTo>
                    <a:pt x="1390" y="711"/>
                  </a:lnTo>
                  <a:lnTo>
                    <a:pt x="1390" y="711"/>
                  </a:lnTo>
                  <a:close/>
                  <a:moveTo>
                    <a:pt x="1283" y="359"/>
                  </a:moveTo>
                  <a:lnTo>
                    <a:pt x="1279" y="355"/>
                  </a:lnTo>
                  <a:lnTo>
                    <a:pt x="1283" y="355"/>
                  </a:lnTo>
                  <a:lnTo>
                    <a:pt x="1286" y="352"/>
                  </a:lnTo>
                  <a:lnTo>
                    <a:pt x="1293" y="346"/>
                  </a:lnTo>
                  <a:lnTo>
                    <a:pt x="1297" y="346"/>
                  </a:lnTo>
                  <a:lnTo>
                    <a:pt x="1297" y="349"/>
                  </a:lnTo>
                  <a:lnTo>
                    <a:pt x="1290" y="352"/>
                  </a:lnTo>
                  <a:lnTo>
                    <a:pt x="1290" y="355"/>
                  </a:lnTo>
                  <a:lnTo>
                    <a:pt x="1290" y="359"/>
                  </a:lnTo>
                  <a:lnTo>
                    <a:pt x="1290" y="359"/>
                  </a:lnTo>
                  <a:lnTo>
                    <a:pt x="1286" y="359"/>
                  </a:lnTo>
                  <a:lnTo>
                    <a:pt x="1286" y="355"/>
                  </a:lnTo>
                  <a:lnTo>
                    <a:pt x="1283" y="359"/>
                  </a:lnTo>
                  <a:lnTo>
                    <a:pt x="1283" y="359"/>
                  </a:lnTo>
                  <a:lnTo>
                    <a:pt x="1283" y="359"/>
                  </a:lnTo>
                  <a:lnTo>
                    <a:pt x="1283" y="359"/>
                  </a:lnTo>
                  <a:close/>
                  <a:moveTo>
                    <a:pt x="1262" y="342"/>
                  </a:moveTo>
                  <a:lnTo>
                    <a:pt x="1262" y="342"/>
                  </a:lnTo>
                  <a:lnTo>
                    <a:pt x="1266" y="346"/>
                  </a:lnTo>
                  <a:lnTo>
                    <a:pt x="1266" y="346"/>
                  </a:lnTo>
                  <a:lnTo>
                    <a:pt x="1266" y="342"/>
                  </a:lnTo>
                  <a:lnTo>
                    <a:pt x="1266" y="342"/>
                  </a:lnTo>
                  <a:lnTo>
                    <a:pt x="1262" y="342"/>
                  </a:lnTo>
                  <a:lnTo>
                    <a:pt x="1262" y="342"/>
                  </a:lnTo>
                  <a:close/>
                  <a:moveTo>
                    <a:pt x="1159" y="304"/>
                  </a:moveTo>
                  <a:lnTo>
                    <a:pt x="1152" y="304"/>
                  </a:lnTo>
                  <a:lnTo>
                    <a:pt x="1152" y="300"/>
                  </a:lnTo>
                  <a:lnTo>
                    <a:pt x="1152" y="294"/>
                  </a:lnTo>
                  <a:lnTo>
                    <a:pt x="1152" y="291"/>
                  </a:lnTo>
                  <a:lnTo>
                    <a:pt x="1152" y="288"/>
                  </a:lnTo>
                  <a:lnTo>
                    <a:pt x="1152" y="288"/>
                  </a:lnTo>
                  <a:lnTo>
                    <a:pt x="1156" y="284"/>
                  </a:lnTo>
                  <a:lnTo>
                    <a:pt x="1162" y="288"/>
                  </a:lnTo>
                  <a:lnTo>
                    <a:pt x="1162" y="291"/>
                  </a:lnTo>
                  <a:lnTo>
                    <a:pt x="1159" y="297"/>
                  </a:lnTo>
                  <a:lnTo>
                    <a:pt x="1159" y="300"/>
                  </a:lnTo>
                  <a:lnTo>
                    <a:pt x="1159" y="300"/>
                  </a:lnTo>
                  <a:lnTo>
                    <a:pt x="1159" y="304"/>
                  </a:lnTo>
                  <a:lnTo>
                    <a:pt x="1159" y="304"/>
                  </a:lnTo>
                  <a:lnTo>
                    <a:pt x="1159" y="304"/>
                  </a:lnTo>
                  <a:close/>
                  <a:moveTo>
                    <a:pt x="1156" y="123"/>
                  </a:moveTo>
                  <a:lnTo>
                    <a:pt x="1162" y="120"/>
                  </a:lnTo>
                  <a:lnTo>
                    <a:pt x="1162" y="113"/>
                  </a:lnTo>
                  <a:lnTo>
                    <a:pt x="1162" y="113"/>
                  </a:lnTo>
                  <a:lnTo>
                    <a:pt x="1169" y="110"/>
                  </a:lnTo>
                  <a:lnTo>
                    <a:pt x="1169" y="103"/>
                  </a:lnTo>
                  <a:lnTo>
                    <a:pt x="1169" y="103"/>
                  </a:lnTo>
                  <a:lnTo>
                    <a:pt x="1166" y="100"/>
                  </a:lnTo>
                  <a:lnTo>
                    <a:pt x="1162" y="100"/>
                  </a:lnTo>
                  <a:lnTo>
                    <a:pt x="1162" y="97"/>
                  </a:lnTo>
                  <a:lnTo>
                    <a:pt x="1162" y="97"/>
                  </a:lnTo>
                  <a:lnTo>
                    <a:pt x="1159" y="100"/>
                  </a:lnTo>
                  <a:lnTo>
                    <a:pt x="1152" y="103"/>
                  </a:lnTo>
                  <a:lnTo>
                    <a:pt x="1152" y="107"/>
                  </a:lnTo>
                  <a:lnTo>
                    <a:pt x="1149" y="107"/>
                  </a:lnTo>
                  <a:lnTo>
                    <a:pt x="1149" y="110"/>
                  </a:lnTo>
                  <a:lnTo>
                    <a:pt x="1156" y="110"/>
                  </a:lnTo>
                  <a:lnTo>
                    <a:pt x="1159" y="110"/>
                  </a:lnTo>
                  <a:lnTo>
                    <a:pt x="1159" y="113"/>
                  </a:lnTo>
                  <a:lnTo>
                    <a:pt x="1156" y="116"/>
                  </a:lnTo>
                  <a:lnTo>
                    <a:pt x="1156" y="120"/>
                  </a:lnTo>
                  <a:lnTo>
                    <a:pt x="1156" y="120"/>
                  </a:lnTo>
                  <a:lnTo>
                    <a:pt x="1156" y="123"/>
                  </a:lnTo>
                  <a:lnTo>
                    <a:pt x="1156" y="123"/>
                  </a:lnTo>
                  <a:close/>
                  <a:moveTo>
                    <a:pt x="1107" y="220"/>
                  </a:moveTo>
                  <a:lnTo>
                    <a:pt x="1107" y="216"/>
                  </a:lnTo>
                  <a:lnTo>
                    <a:pt x="1107" y="213"/>
                  </a:lnTo>
                  <a:lnTo>
                    <a:pt x="1107" y="213"/>
                  </a:lnTo>
                  <a:lnTo>
                    <a:pt x="1107" y="210"/>
                  </a:lnTo>
                  <a:lnTo>
                    <a:pt x="1104" y="207"/>
                  </a:lnTo>
                  <a:lnTo>
                    <a:pt x="1104" y="204"/>
                  </a:lnTo>
                  <a:lnTo>
                    <a:pt x="1107" y="204"/>
                  </a:lnTo>
                  <a:lnTo>
                    <a:pt x="1111" y="204"/>
                  </a:lnTo>
                  <a:lnTo>
                    <a:pt x="1114" y="207"/>
                  </a:lnTo>
                  <a:lnTo>
                    <a:pt x="1114" y="207"/>
                  </a:lnTo>
                  <a:lnTo>
                    <a:pt x="1118" y="204"/>
                  </a:lnTo>
                  <a:lnTo>
                    <a:pt x="1111" y="197"/>
                  </a:lnTo>
                  <a:lnTo>
                    <a:pt x="1107" y="197"/>
                  </a:lnTo>
                  <a:lnTo>
                    <a:pt x="1107" y="194"/>
                  </a:lnTo>
                  <a:lnTo>
                    <a:pt x="1111" y="194"/>
                  </a:lnTo>
                  <a:lnTo>
                    <a:pt x="1111" y="191"/>
                  </a:lnTo>
                  <a:lnTo>
                    <a:pt x="1111" y="187"/>
                  </a:lnTo>
                  <a:lnTo>
                    <a:pt x="1111" y="184"/>
                  </a:lnTo>
                  <a:lnTo>
                    <a:pt x="1114" y="178"/>
                  </a:lnTo>
                  <a:lnTo>
                    <a:pt x="1118" y="178"/>
                  </a:lnTo>
                  <a:lnTo>
                    <a:pt x="1118" y="178"/>
                  </a:lnTo>
                  <a:lnTo>
                    <a:pt x="1121" y="171"/>
                  </a:lnTo>
                  <a:lnTo>
                    <a:pt x="1121" y="171"/>
                  </a:lnTo>
                  <a:lnTo>
                    <a:pt x="1128" y="168"/>
                  </a:lnTo>
                  <a:lnTo>
                    <a:pt x="1132" y="168"/>
                  </a:lnTo>
                  <a:lnTo>
                    <a:pt x="1135" y="171"/>
                  </a:lnTo>
                  <a:lnTo>
                    <a:pt x="1138" y="174"/>
                  </a:lnTo>
                  <a:lnTo>
                    <a:pt x="1138" y="178"/>
                  </a:lnTo>
                  <a:lnTo>
                    <a:pt x="1138" y="181"/>
                  </a:lnTo>
                  <a:lnTo>
                    <a:pt x="1142" y="181"/>
                  </a:lnTo>
                  <a:lnTo>
                    <a:pt x="1142" y="184"/>
                  </a:lnTo>
                  <a:lnTo>
                    <a:pt x="1142" y="184"/>
                  </a:lnTo>
                  <a:lnTo>
                    <a:pt x="1142" y="187"/>
                  </a:lnTo>
                  <a:lnTo>
                    <a:pt x="1145" y="191"/>
                  </a:lnTo>
                  <a:lnTo>
                    <a:pt x="1149" y="191"/>
                  </a:lnTo>
                  <a:lnTo>
                    <a:pt x="1149" y="194"/>
                  </a:lnTo>
                  <a:lnTo>
                    <a:pt x="1149" y="197"/>
                  </a:lnTo>
                  <a:lnTo>
                    <a:pt x="1152" y="204"/>
                  </a:lnTo>
                  <a:lnTo>
                    <a:pt x="1149" y="204"/>
                  </a:lnTo>
                  <a:lnTo>
                    <a:pt x="1145" y="207"/>
                  </a:lnTo>
                  <a:lnTo>
                    <a:pt x="1142" y="207"/>
                  </a:lnTo>
                  <a:lnTo>
                    <a:pt x="1138" y="207"/>
                  </a:lnTo>
                  <a:lnTo>
                    <a:pt x="1142" y="210"/>
                  </a:lnTo>
                  <a:lnTo>
                    <a:pt x="1145" y="210"/>
                  </a:lnTo>
                  <a:lnTo>
                    <a:pt x="1145" y="213"/>
                  </a:lnTo>
                  <a:lnTo>
                    <a:pt x="1145" y="216"/>
                  </a:lnTo>
                  <a:lnTo>
                    <a:pt x="1138" y="220"/>
                  </a:lnTo>
                  <a:lnTo>
                    <a:pt x="1135" y="223"/>
                  </a:lnTo>
                  <a:lnTo>
                    <a:pt x="1132" y="223"/>
                  </a:lnTo>
                  <a:lnTo>
                    <a:pt x="1132" y="220"/>
                  </a:lnTo>
                  <a:lnTo>
                    <a:pt x="1132" y="220"/>
                  </a:lnTo>
                  <a:lnTo>
                    <a:pt x="1128" y="220"/>
                  </a:lnTo>
                  <a:lnTo>
                    <a:pt x="1125" y="220"/>
                  </a:lnTo>
                  <a:lnTo>
                    <a:pt x="1118" y="220"/>
                  </a:lnTo>
                  <a:lnTo>
                    <a:pt x="1114" y="220"/>
                  </a:lnTo>
                  <a:lnTo>
                    <a:pt x="1114" y="216"/>
                  </a:lnTo>
                  <a:lnTo>
                    <a:pt x="1111" y="216"/>
                  </a:lnTo>
                  <a:lnTo>
                    <a:pt x="1111" y="220"/>
                  </a:lnTo>
                  <a:lnTo>
                    <a:pt x="1107" y="220"/>
                  </a:lnTo>
                  <a:lnTo>
                    <a:pt x="1107" y="220"/>
                  </a:lnTo>
                  <a:close/>
                  <a:moveTo>
                    <a:pt x="1152" y="216"/>
                  </a:moveTo>
                  <a:lnTo>
                    <a:pt x="1152" y="216"/>
                  </a:lnTo>
                  <a:lnTo>
                    <a:pt x="1156" y="213"/>
                  </a:lnTo>
                  <a:lnTo>
                    <a:pt x="1152" y="207"/>
                  </a:lnTo>
                  <a:lnTo>
                    <a:pt x="1152" y="207"/>
                  </a:lnTo>
                  <a:lnTo>
                    <a:pt x="1149" y="210"/>
                  </a:lnTo>
                  <a:lnTo>
                    <a:pt x="1149" y="213"/>
                  </a:lnTo>
                  <a:lnTo>
                    <a:pt x="1152" y="216"/>
                  </a:lnTo>
                  <a:lnTo>
                    <a:pt x="1152" y="216"/>
                  </a:lnTo>
                  <a:close/>
                  <a:moveTo>
                    <a:pt x="1166" y="265"/>
                  </a:moveTo>
                  <a:lnTo>
                    <a:pt x="1166" y="268"/>
                  </a:lnTo>
                  <a:lnTo>
                    <a:pt x="1169" y="271"/>
                  </a:lnTo>
                  <a:lnTo>
                    <a:pt x="1173" y="271"/>
                  </a:lnTo>
                  <a:lnTo>
                    <a:pt x="1176" y="268"/>
                  </a:lnTo>
                  <a:lnTo>
                    <a:pt x="1180" y="265"/>
                  </a:lnTo>
                  <a:lnTo>
                    <a:pt x="1180" y="262"/>
                  </a:lnTo>
                  <a:lnTo>
                    <a:pt x="1180" y="262"/>
                  </a:lnTo>
                  <a:lnTo>
                    <a:pt x="1180" y="258"/>
                  </a:lnTo>
                  <a:lnTo>
                    <a:pt x="1180" y="255"/>
                  </a:lnTo>
                  <a:lnTo>
                    <a:pt x="1176" y="255"/>
                  </a:lnTo>
                  <a:lnTo>
                    <a:pt x="1173" y="252"/>
                  </a:lnTo>
                  <a:lnTo>
                    <a:pt x="1169" y="252"/>
                  </a:lnTo>
                  <a:lnTo>
                    <a:pt x="1166" y="255"/>
                  </a:lnTo>
                  <a:lnTo>
                    <a:pt x="1166" y="258"/>
                  </a:lnTo>
                  <a:lnTo>
                    <a:pt x="1166" y="262"/>
                  </a:lnTo>
                  <a:lnTo>
                    <a:pt x="1166" y="265"/>
                  </a:lnTo>
                  <a:lnTo>
                    <a:pt x="1166" y="265"/>
                  </a:lnTo>
                  <a:close/>
                  <a:moveTo>
                    <a:pt x="1159" y="268"/>
                  </a:moveTo>
                  <a:lnTo>
                    <a:pt x="1159" y="268"/>
                  </a:lnTo>
                  <a:lnTo>
                    <a:pt x="1162" y="271"/>
                  </a:lnTo>
                  <a:lnTo>
                    <a:pt x="1162" y="271"/>
                  </a:lnTo>
                  <a:lnTo>
                    <a:pt x="1162" y="271"/>
                  </a:lnTo>
                  <a:lnTo>
                    <a:pt x="1162" y="268"/>
                  </a:lnTo>
                  <a:lnTo>
                    <a:pt x="1162" y="268"/>
                  </a:lnTo>
                  <a:lnTo>
                    <a:pt x="1162" y="265"/>
                  </a:lnTo>
                  <a:lnTo>
                    <a:pt x="1159" y="268"/>
                  </a:lnTo>
                  <a:lnTo>
                    <a:pt x="1159" y="268"/>
                  </a:lnTo>
                  <a:close/>
                  <a:moveTo>
                    <a:pt x="1104" y="242"/>
                  </a:moveTo>
                  <a:lnTo>
                    <a:pt x="1104" y="236"/>
                  </a:lnTo>
                  <a:lnTo>
                    <a:pt x="1104" y="233"/>
                  </a:lnTo>
                  <a:lnTo>
                    <a:pt x="1107" y="229"/>
                  </a:lnTo>
                  <a:lnTo>
                    <a:pt x="1111" y="229"/>
                  </a:lnTo>
                  <a:lnTo>
                    <a:pt x="1114" y="229"/>
                  </a:lnTo>
                  <a:lnTo>
                    <a:pt x="1118" y="229"/>
                  </a:lnTo>
                  <a:lnTo>
                    <a:pt x="1121" y="229"/>
                  </a:lnTo>
                  <a:lnTo>
                    <a:pt x="1121" y="229"/>
                  </a:lnTo>
                  <a:lnTo>
                    <a:pt x="1125" y="229"/>
                  </a:lnTo>
                  <a:lnTo>
                    <a:pt x="1128" y="233"/>
                  </a:lnTo>
                  <a:lnTo>
                    <a:pt x="1128" y="229"/>
                  </a:lnTo>
                  <a:lnTo>
                    <a:pt x="1132" y="233"/>
                  </a:lnTo>
                  <a:lnTo>
                    <a:pt x="1135" y="233"/>
                  </a:lnTo>
                  <a:lnTo>
                    <a:pt x="1138" y="236"/>
                  </a:lnTo>
                  <a:lnTo>
                    <a:pt x="1142" y="236"/>
                  </a:lnTo>
                  <a:lnTo>
                    <a:pt x="1138" y="239"/>
                  </a:lnTo>
                  <a:lnTo>
                    <a:pt x="1138" y="239"/>
                  </a:lnTo>
                  <a:lnTo>
                    <a:pt x="1142" y="239"/>
                  </a:lnTo>
                  <a:lnTo>
                    <a:pt x="1145" y="239"/>
                  </a:lnTo>
                  <a:lnTo>
                    <a:pt x="1149" y="242"/>
                  </a:lnTo>
                  <a:lnTo>
                    <a:pt x="1149" y="242"/>
                  </a:lnTo>
                  <a:lnTo>
                    <a:pt x="1149" y="246"/>
                  </a:lnTo>
                  <a:lnTo>
                    <a:pt x="1152" y="246"/>
                  </a:lnTo>
                  <a:lnTo>
                    <a:pt x="1149" y="249"/>
                  </a:lnTo>
                  <a:lnTo>
                    <a:pt x="1145" y="246"/>
                  </a:lnTo>
                  <a:lnTo>
                    <a:pt x="1138" y="252"/>
                  </a:lnTo>
                  <a:lnTo>
                    <a:pt x="1135" y="252"/>
                  </a:lnTo>
                  <a:lnTo>
                    <a:pt x="1132" y="249"/>
                  </a:lnTo>
                  <a:lnTo>
                    <a:pt x="1125" y="249"/>
                  </a:lnTo>
                  <a:lnTo>
                    <a:pt x="1121" y="246"/>
                  </a:lnTo>
                  <a:lnTo>
                    <a:pt x="1118" y="246"/>
                  </a:lnTo>
                  <a:lnTo>
                    <a:pt x="1114" y="242"/>
                  </a:lnTo>
                  <a:lnTo>
                    <a:pt x="1111" y="242"/>
                  </a:lnTo>
                  <a:lnTo>
                    <a:pt x="1107" y="242"/>
                  </a:lnTo>
                  <a:lnTo>
                    <a:pt x="1104" y="242"/>
                  </a:lnTo>
                  <a:lnTo>
                    <a:pt x="1104" y="242"/>
                  </a:lnTo>
                  <a:close/>
                  <a:moveTo>
                    <a:pt x="1056" y="187"/>
                  </a:moveTo>
                  <a:lnTo>
                    <a:pt x="1056" y="184"/>
                  </a:lnTo>
                  <a:lnTo>
                    <a:pt x="1059" y="184"/>
                  </a:lnTo>
                  <a:lnTo>
                    <a:pt x="1059" y="184"/>
                  </a:lnTo>
                  <a:lnTo>
                    <a:pt x="1059" y="187"/>
                  </a:lnTo>
                  <a:lnTo>
                    <a:pt x="1059" y="187"/>
                  </a:lnTo>
                  <a:lnTo>
                    <a:pt x="1056" y="187"/>
                  </a:lnTo>
                  <a:lnTo>
                    <a:pt x="1056" y="187"/>
                  </a:lnTo>
                  <a:close/>
                  <a:moveTo>
                    <a:pt x="1059" y="207"/>
                  </a:moveTo>
                  <a:lnTo>
                    <a:pt x="1063" y="210"/>
                  </a:lnTo>
                  <a:lnTo>
                    <a:pt x="1063" y="213"/>
                  </a:lnTo>
                  <a:lnTo>
                    <a:pt x="1066" y="213"/>
                  </a:lnTo>
                  <a:lnTo>
                    <a:pt x="1070" y="213"/>
                  </a:lnTo>
                  <a:lnTo>
                    <a:pt x="1070" y="213"/>
                  </a:lnTo>
                  <a:lnTo>
                    <a:pt x="1073" y="213"/>
                  </a:lnTo>
                  <a:lnTo>
                    <a:pt x="1080" y="210"/>
                  </a:lnTo>
                  <a:lnTo>
                    <a:pt x="1080" y="210"/>
                  </a:lnTo>
                  <a:lnTo>
                    <a:pt x="1083" y="207"/>
                  </a:lnTo>
                  <a:lnTo>
                    <a:pt x="1087" y="204"/>
                  </a:lnTo>
                  <a:lnTo>
                    <a:pt x="1087" y="200"/>
                  </a:lnTo>
                  <a:lnTo>
                    <a:pt x="1087" y="194"/>
                  </a:lnTo>
                  <a:lnTo>
                    <a:pt x="1090" y="191"/>
                  </a:lnTo>
                  <a:lnTo>
                    <a:pt x="1087" y="191"/>
                  </a:lnTo>
                  <a:lnTo>
                    <a:pt x="1087" y="187"/>
                  </a:lnTo>
                  <a:lnTo>
                    <a:pt x="1090" y="187"/>
                  </a:lnTo>
                  <a:lnTo>
                    <a:pt x="1094" y="181"/>
                  </a:lnTo>
                  <a:lnTo>
                    <a:pt x="1097" y="181"/>
                  </a:lnTo>
                  <a:lnTo>
                    <a:pt x="1097" y="178"/>
                  </a:lnTo>
                  <a:lnTo>
                    <a:pt x="1104" y="174"/>
                  </a:lnTo>
                  <a:lnTo>
                    <a:pt x="1104" y="171"/>
                  </a:lnTo>
                  <a:lnTo>
                    <a:pt x="1104" y="168"/>
                  </a:lnTo>
                  <a:lnTo>
                    <a:pt x="1107" y="168"/>
                  </a:lnTo>
                  <a:lnTo>
                    <a:pt x="1107" y="165"/>
                  </a:lnTo>
                  <a:lnTo>
                    <a:pt x="1107" y="162"/>
                  </a:lnTo>
                  <a:lnTo>
                    <a:pt x="1104" y="158"/>
                  </a:lnTo>
                  <a:lnTo>
                    <a:pt x="1104" y="158"/>
                  </a:lnTo>
                  <a:lnTo>
                    <a:pt x="1101" y="155"/>
                  </a:lnTo>
                  <a:lnTo>
                    <a:pt x="1094" y="155"/>
                  </a:lnTo>
                  <a:lnTo>
                    <a:pt x="1094" y="155"/>
                  </a:lnTo>
                  <a:lnTo>
                    <a:pt x="1097" y="152"/>
                  </a:lnTo>
                  <a:lnTo>
                    <a:pt x="1101" y="149"/>
                  </a:lnTo>
                  <a:lnTo>
                    <a:pt x="1101" y="149"/>
                  </a:lnTo>
                  <a:lnTo>
                    <a:pt x="1101" y="145"/>
                  </a:lnTo>
                  <a:lnTo>
                    <a:pt x="1101" y="142"/>
                  </a:lnTo>
                  <a:lnTo>
                    <a:pt x="1101" y="139"/>
                  </a:lnTo>
                  <a:lnTo>
                    <a:pt x="1097" y="136"/>
                  </a:lnTo>
                  <a:lnTo>
                    <a:pt x="1094" y="136"/>
                  </a:lnTo>
                  <a:lnTo>
                    <a:pt x="1090" y="139"/>
                  </a:lnTo>
                  <a:lnTo>
                    <a:pt x="1083" y="139"/>
                  </a:lnTo>
                  <a:lnTo>
                    <a:pt x="1083" y="142"/>
                  </a:lnTo>
                  <a:lnTo>
                    <a:pt x="1080" y="145"/>
                  </a:lnTo>
                  <a:lnTo>
                    <a:pt x="1076" y="145"/>
                  </a:lnTo>
                  <a:lnTo>
                    <a:pt x="1076" y="142"/>
                  </a:lnTo>
                  <a:lnTo>
                    <a:pt x="1080" y="139"/>
                  </a:lnTo>
                  <a:lnTo>
                    <a:pt x="1083" y="136"/>
                  </a:lnTo>
                  <a:lnTo>
                    <a:pt x="1083" y="132"/>
                  </a:lnTo>
                  <a:lnTo>
                    <a:pt x="1083" y="126"/>
                  </a:lnTo>
                  <a:lnTo>
                    <a:pt x="1083" y="123"/>
                  </a:lnTo>
                  <a:lnTo>
                    <a:pt x="1080" y="123"/>
                  </a:lnTo>
                  <a:lnTo>
                    <a:pt x="1080" y="120"/>
                  </a:lnTo>
                  <a:lnTo>
                    <a:pt x="1076" y="116"/>
                  </a:lnTo>
                  <a:lnTo>
                    <a:pt x="1073" y="116"/>
                  </a:lnTo>
                  <a:lnTo>
                    <a:pt x="1066" y="116"/>
                  </a:lnTo>
                  <a:lnTo>
                    <a:pt x="1063" y="120"/>
                  </a:lnTo>
                  <a:lnTo>
                    <a:pt x="1059" y="120"/>
                  </a:lnTo>
                  <a:lnTo>
                    <a:pt x="1059" y="113"/>
                  </a:lnTo>
                  <a:lnTo>
                    <a:pt x="1059" y="113"/>
                  </a:lnTo>
                  <a:lnTo>
                    <a:pt x="1056" y="116"/>
                  </a:lnTo>
                  <a:lnTo>
                    <a:pt x="1052" y="120"/>
                  </a:lnTo>
                  <a:lnTo>
                    <a:pt x="1049" y="120"/>
                  </a:lnTo>
                  <a:lnTo>
                    <a:pt x="1049" y="123"/>
                  </a:lnTo>
                  <a:lnTo>
                    <a:pt x="1046" y="129"/>
                  </a:lnTo>
                  <a:lnTo>
                    <a:pt x="1046" y="129"/>
                  </a:lnTo>
                  <a:lnTo>
                    <a:pt x="1049" y="132"/>
                  </a:lnTo>
                  <a:lnTo>
                    <a:pt x="1049" y="132"/>
                  </a:lnTo>
                  <a:lnTo>
                    <a:pt x="1052" y="129"/>
                  </a:lnTo>
                  <a:lnTo>
                    <a:pt x="1056" y="132"/>
                  </a:lnTo>
                  <a:lnTo>
                    <a:pt x="1052" y="136"/>
                  </a:lnTo>
                  <a:lnTo>
                    <a:pt x="1046" y="136"/>
                  </a:lnTo>
                  <a:lnTo>
                    <a:pt x="1042" y="142"/>
                  </a:lnTo>
                  <a:lnTo>
                    <a:pt x="1042" y="142"/>
                  </a:lnTo>
                  <a:lnTo>
                    <a:pt x="1049" y="142"/>
                  </a:lnTo>
                  <a:lnTo>
                    <a:pt x="1052" y="136"/>
                  </a:lnTo>
                  <a:lnTo>
                    <a:pt x="1056" y="136"/>
                  </a:lnTo>
                  <a:lnTo>
                    <a:pt x="1059" y="136"/>
                  </a:lnTo>
                  <a:lnTo>
                    <a:pt x="1059" y="139"/>
                  </a:lnTo>
                  <a:lnTo>
                    <a:pt x="1059" y="142"/>
                  </a:lnTo>
                  <a:lnTo>
                    <a:pt x="1056" y="142"/>
                  </a:lnTo>
                  <a:lnTo>
                    <a:pt x="1052" y="145"/>
                  </a:lnTo>
                  <a:lnTo>
                    <a:pt x="1052" y="149"/>
                  </a:lnTo>
                  <a:lnTo>
                    <a:pt x="1052" y="149"/>
                  </a:lnTo>
                  <a:lnTo>
                    <a:pt x="1056" y="149"/>
                  </a:lnTo>
                  <a:lnTo>
                    <a:pt x="1059" y="152"/>
                  </a:lnTo>
                  <a:lnTo>
                    <a:pt x="1056" y="152"/>
                  </a:lnTo>
                  <a:lnTo>
                    <a:pt x="1052" y="155"/>
                  </a:lnTo>
                  <a:lnTo>
                    <a:pt x="1049" y="155"/>
                  </a:lnTo>
                  <a:lnTo>
                    <a:pt x="1049" y="155"/>
                  </a:lnTo>
                  <a:lnTo>
                    <a:pt x="1052" y="158"/>
                  </a:lnTo>
                  <a:lnTo>
                    <a:pt x="1052" y="158"/>
                  </a:lnTo>
                  <a:lnTo>
                    <a:pt x="1046" y="165"/>
                  </a:lnTo>
                  <a:lnTo>
                    <a:pt x="1046" y="165"/>
                  </a:lnTo>
                  <a:lnTo>
                    <a:pt x="1042" y="158"/>
                  </a:lnTo>
                  <a:lnTo>
                    <a:pt x="1039" y="158"/>
                  </a:lnTo>
                  <a:lnTo>
                    <a:pt x="1035" y="155"/>
                  </a:lnTo>
                  <a:lnTo>
                    <a:pt x="1028" y="158"/>
                  </a:lnTo>
                  <a:lnTo>
                    <a:pt x="1028" y="158"/>
                  </a:lnTo>
                  <a:lnTo>
                    <a:pt x="1025" y="165"/>
                  </a:lnTo>
                  <a:lnTo>
                    <a:pt x="1028" y="168"/>
                  </a:lnTo>
                  <a:lnTo>
                    <a:pt x="1028" y="171"/>
                  </a:lnTo>
                  <a:lnTo>
                    <a:pt x="1032" y="174"/>
                  </a:lnTo>
                  <a:lnTo>
                    <a:pt x="1032" y="171"/>
                  </a:lnTo>
                  <a:lnTo>
                    <a:pt x="1035" y="171"/>
                  </a:lnTo>
                  <a:lnTo>
                    <a:pt x="1042" y="171"/>
                  </a:lnTo>
                  <a:lnTo>
                    <a:pt x="1049" y="171"/>
                  </a:lnTo>
                  <a:lnTo>
                    <a:pt x="1049" y="174"/>
                  </a:lnTo>
                  <a:lnTo>
                    <a:pt x="1056" y="171"/>
                  </a:lnTo>
                  <a:lnTo>
                    <a:pt x="1056" y="174"/>
                  </a:lnTo>
                  <a:lnTo>
                    <a:pt x="1052" y="174"/>
                  </a:lnTo>
                  <a:lnTo>
                    <a:pt x="1052" y="178"/>
                  </a:lnTo>
                  <a:lnTo>
                    <a:pt x="1052" y="181"/>
                  </a:lnTo>
                  <a:lnTo>
                    <a:pt x="1056" y="181"/>
                  </a:lnTo>
                  <a:lnTo>
                    <a:pt x="1059" y="184"/>
                  </a:lnTo>
                  <a:lnTo>
                    <a:pt x="1063" y="187"/>
                  </a:lnTo>
                  <a:lnTo>
                    <a:pt x="1066" y="187"/>
                  </a:lnTo>
                  <a:lnTo>
                    <a:pt x="1066" y="191"/>
                  </a:lnTo>
                  <a:lnTo>
                    <a:pt x="1066" y="191"/>
                  </a:lnTo>
                  <a:lnTo>
                    <a:pt x="1066" y="194"/>
                  </a:lnTo>
                  <a:lnTo>
                    <a:pt x="1059" y="207"/>
                  </a:lnTo>
                  <a:lnTo>
                    <a:pt x="1059" y="207"/>
                  </a:lnTo>
                  <a:close/>
                  <a:moveTo>
                    <a:pt x="1039" y="181"/>
                  </a:moveTo>
                  <a:lnTo>
                    <a:pt x="1039" y="178"/>
                  </a:lnTo>
                  <a:lnTo>
                    <a:pt x="1046" y="174"/>
                  </a:lnTo>
                  <a:lnTo>
                    <a:pt x="1049" y="178"/>
                  </a:lnTo>
                  <a:lnTo>
                    <a:pt x="1046" y="178"/>
                  </a:lnTo>
                  <a:lnTo>
                    <a:pt x="1046" y="181"/>
                  </a:lnTo>
                  <a:lnTo>
                    <a:pt x="1042" y="181"/>
                  </a:lnTo>
                  <a:lnTo>
                    <a:pt x="1039" y="181"/>
                  </a:lnTo>
                  <a:lnTo>
                    <a:pt x="1039" y="181"/>
                  </a:lnTo>
                  <a:close/>
                  <a:moveTo>
                    <a:pt x="1032" y="200"/>
                  </a:moveTo>
                  <a:lnTo>
                    <a:pt x="1032" y="197"/>
                  </a:lnTo>
                  <a:lnTo>
                    <a:pt x="1039" y="197"/>
                  </a:lnTo>
                  <a:lnTo>
                    <a:pt x="1046" y="197"/>
                  </a:lnTo>
                  <a:lnTo>
                    <a:pt x="1049" y="204"/>
                  </a:lnTo>
                  <a:lnTo>
                    <a:pt x="1049" y="207"/>
                  </a:lnTo>
                  <a:lnTo>
                    <a:pt x="1052" y="210"/>
                  </a:lnTo>
                  <a:lnTo>
                    <a:pt x="1049" y="210"/>
                  </a:lnTo>
                  <a:lnTo>
                    <a:pt x="1046" y="210"/>
                  </a:lnTo>
                  <a:lnTo>
                    <a:pt x="1042" y="210"/>
                  </a:lnTo>
                  <a:lnTo>
                    <a:pt x="1039" y="210"/>
                  </a:lnTo>
                  <a:lnTo>
                    <a:pt x="1035" y="207"/>
                  </a:lnTo>
                  <a:lnTo>
                    <a:pt x="1032" y="204"/>
                  </a:lnTo>
                  <a:lnTo>
                    <a:pt x="1032" y="200"/>
                  </a:lnTo>
                  <a:lnTo>
                    <a:pt x="1032" y="200"/>
                  </a:lnTo>
                  <a:close/>
                  <a:moveTo>
                    <a:pt x="984" y="226"/>
                  </a:moveTo>
                  <a:lnTo>
                    <a:pt x="987" y="226"/>
                  </a:lnTo>
                  <a:lnTo>
                    <a:pt x="990" y="226"/>
                  </a:lnTo>
                  <a:lnTo>
                    <a:pt x="990" y="226"/>
                  </a:lnTo>
                  <a:lnTo>
                    <a:pt x="984" y="229"/>
                  </a:lnTo>
                  <a:lnTo>
                    <a:pt x="984" y="226"/>
                  </a:lnTo>
                  <a:lnTo>
                    <a:pt x="984" y="226"/>
                  </a:lnTo>
                  <a:close/>
                  <a:moveTo>
                    <a:pt x="980" y="223"/>
                  </a:moveTo>
                  <a:lnTo>
                    <a:pt x="977" y="220"/>
                  </a:lnTo>
                  <a:lnTo>
                    <a:pt x="980" y="216"/>
                  </a:lnTo>
                  <a:lnTo>
                    <a:pt x="980" y="210"/>
                  </a:lnTo>
                  <a:lnTo>
                    <a:pt x="980" y="207"/>
                  </a:lnTo>
                  <a:lnTo>
                    <a:pt x="984" y="204"/>
                  </a:lnTo>
                  <a:lnTo>
                    <a:pt x="984" y="204"/>
                  </a:lnTo>
                  <a:lnTo>
                    <a:pt x="987" y="200"/>
                  </a:lnTo>
                  <a:lnTo>
                    <a:pt x="987" y="200"/>
                  </a:lnTo>
                  <a:lnTo>
                    <a:pt x="987" y="194"/>
                  </a:lnTo>
                  <a:lnTo>
                    <a:pt x="987" y="191"/>
                  </a:lnTo>
                  <a:lnTo>
                    <a:pt x="990" y="191"/>
                  </a:lnTo>
                  <a:lnTo>
                    <a:pt x="994" y="194"/>
                  </a:lnTo>
                  <a:lnTo>
                    <a:pt x="994" y="197"/>
                  </a:lnTo>
                  <a:lnTo>
                    <a:pt x="994" y="197"/>
                  </a:lnTo>
                  <a:lnTo>
                    <a:pt x="990" y="204"/>
                  </a:lnTo>
                  <a:lnTo>
                    <a:pt x="994" y="207"/>
                  </a:lnTo>
                  <a:lnTo>
                    <a:pt x="990" y="210"/>
                  </a:lnTo>
                  <a:lnTo>
                    <a:pt x="990" y="213"/>
                  </a:lnTo>
                  <a:lnTo>
                    <a:pt x="990" y="220"/>
                  </a:lnTo>
                  <a:lnTo>
                    <a:pt x="984" y="223"/>
                  </a:lnTo>
                  <a:lnTo>
                    <a:pt x="980" y="223"/>
                  </a:lnTo>
                  <a:lnTo>
                    <a:pt x="980" y="223"/>
                  </a:lnTo>
                  <a:close/>
                  <a:moveTo>
                    <a:pt x="935" y="149"/>
                  </a:moveTo>
                  <a:lnTo>
                    <a:pt x="932" y="145"/>
                  </a:lnTo>
                  <a:lnTo>
                    <a:pt x="932" y="142"/>
                  </a:lnTo>
                  <a:lnTo>
                    <a:pt x="935" y="139"/>
                  </a:lnTo>
                  <a:lnTo>
                    <a:pt x="932" y="136"/>
                  </a:lnTo>
                  <a:lnTo>
                    <a:pt x="929" y="139"/>
                  </a:lnTo>
                  <a:lnTo>
                    <a:pt x="925" y="136"/>
                  </a:lnTo>
                  <a:lnTo>
                    <a:pt x="922" y="139"/>
                  </a:lnTo>
                  <a:lnTo>
                    <a:pt x="918" y="136"/>
                  </a:lnTo>
                  <a:lnTo>
                    <a:pt x="915" y="139"/>
                  </a:lnTo>
                  <a:lnTo>
                    <a:pt x="915" y="136"/>
                  </a:lnTo>
                  <a:lnTo>
                    <a:pt x="918" y="132"/>
                  </a:lnTo>
                  <a:lnTo>
                    <a:pt x="918" y="129"/>
                  </a:lnTo>
                  <a:lnTo>
                    <a:pt x="925" y="129"/>
                  </a:lnTo>
                  <a:lnTo>
                    <a:pt x="929" y="129"/>
                  </a:lnTo>
                  <a:lnTo>
                    <a:pt x="939" y="126"/>
                  </a:lnTo>
                  <a:lnTo>
                    <a:pt x="942" y="129"/>
                  </a:lnTo>
                  <a:lnTo>
                    <a:pt x="946" y="129"/>
                  </a:lnTo>
                  <a:lnTo>
                    <a:pt x="949" y="129"/>
                  </a:lnTo>
                  <a:lnTo>
                    <a:pt x="953" y="129"/>
                  </a:lnTo>
                  <a:lnTo>
                    <a:pt x="956" y="126"/>
                  </a:lnTo>
                  <a:lnTo>
                    <a:pt x="963" y="126"/>
                  </a:lnTo>
                  <a:lnTo>
                    <a:pt x="966" y="126"/>
                  </a:lnTo>
                  <a:lnTo>
                    <a:pt x="966" y="126"/>
                  </a:lnTo>
                  <a:lnTo>
                    <a:pt x="970" y="126"/>
                  </a:lnTo>
                  <a:lnTo>
                    <a:pt x="970" y="129"/>
                  </a:lnTo>
                  <a:lnTo>
                    <a:pt x="973" y="132"/>
                  </a:lnTo>
                  <a:lnTo>
                    <a:pt x="973" y="136"/>
                  </a:lnTo>
                  <a:lnTo>
                    <a:pt x="970" y="139"/>
                  </a:lnTo>
                  <a:lnTo>
                    <a:pt x="970" y="142"/>
                  </a:lnTo>
                  <a:lnTo>
                    <a:pt x="970" y="149"/>
                  </a:lnTo>
                  <a:lnTo>
                    <a:pt x="963" y="152"/>
                  </a:lnTo>
                  <a:lnTo>
                    <a:pt x="960" y="155"/>
                  </a:lnTo>
                  <a:lnTo>
                    <a:pt x="956" y="155"/>
                  </a:lnTo>
                  <a:lnTo>
                    <a:pt x="953" y="155"/>
                  </a:lnTo>
                  <a:lnTo>
                    <a:pt x="953" y="152"/>
                  </a:lnTo>
                  <a:lnTo>
                    <a:pt x="949" y="152"/>
                  </a:lnTo>
                  <a:lnTo>
                    <a:pt x="942" y="149"/>
                  </a:lnTo>
                  <a:lnTo>
                    <a:pt x="942" y="145"/>
                  </a:lnTo>
                  <a:lnTo>
                    <a:pt x="942" y="142"/>
                  </a:lnTo>
                  <a:lnTo>
                    <a:pt x="939" y="142"/>
                  </a:lnTo>
                  <a:lnTo>
                    <a:pt x="939" y="145"/>
                  </a:lnTo>
                  <a:lnTo>
                    <a:pt x="935" y="149"/>
                  </a:lnTo>
                  <a:lnTo>
                    <a:pt x="935" y="149"/>
                  </a:lnTo>
                  <a:close/>
                  <a:moveTo>
                    <a:pt x="884" y="174"/>
                  </a:moveTo>
                  <a:lnTo>
                    <a:pt x="884" y="171"/>
                  </a:lnTo>
                  <a:lnTo>
                    <a:pt x="887" y="168"/>
                  </a:lnTo>
                  <a:lnTo>
                    <a:pt x="891" y="165"/>
                  </a:lnTo>
                  <a:lnTo>
                    <a:pt x="891" y="162"/>
                  </a:lnTo>
                  <a:lnTo>
                    <a:pt x="894" y="158"/>
                  </a:lnTo>
                  <a:lnTo>
                    <a:pt x="898" y="158"/>
                  </a:lnTo>
                  <a:lnTo>
                    <a:pt x="901" y="158"/>
                  </a:lnTo>
                  <a:lnTo>
                    <a:pt x="911" y="155"/>
                  </a:lnTo>
                  <a:lnTo>
                    <a:pt x="911" y="155"/>
                  </a:lnTo>
                  <a:lnTo>
                    <a:pt x="915" y="155"/>
                  </a:lnTo>
                  <a:lnTo>
                    <a:pt x="918" y="158"/>
                  </a:lnTo>
                  <a:lnTo>
                    <a:pt x="922" y="158"/>
                  </a:lnTo>
                  <a:lnTo>
                    <a:pt x="925" y="158"/>
                  </a:lnTo>
                  <a:lnTo>
                    <a:pt x="932" y="158"/>
                  </a:lnTo>
                  <a:lnTo>
                    <a:pt x="932" y="158"/>
                  </a:lnTo>
                  <a:lnTo>
                    <a:pt x="935" y="158"/>
                  </a:lnTo>
                  <a:lnTo>
                    <a:pt x="942" y="158"/>
                  </a:lnTo>
                  <a:lnTo>
                    <a:pt x="942" y="162"/>
                  </a:lnTo>
                  <a:lnTo>
                    <a:pt x="946" y="162"/>
                  </a:lnTo>
                  <a:lnTo>
                    <a:pt x="949" y="165"/>
                  </a:lnTo>
                  <a:lnTo>
                    <a:pt x="946" y="168"/>
                  </a:lnTo>
                  <a:lnTo>
                    <a:pt x="942" y="168"/>
                  </a:lnTo>
                  <a:lnTo>
                    <a:pt x="932" y="171"/>
                  </a:lnTo>
                  <a:lnTo>
                    <a:pt x="929" y="171"/>
                  </a:lnTo>
                  <a:lnTo>
                    <a:pt x="925" y="174"/>
                  </a:lnTo>
                  <a:lnTo>
                    <a:pt x="925" y="178"/>
                  </a:lnTo>
                  <a:lnTo>
                    <a:pt x="929" y="178"/>
                  </a:lnTo>
                  <a:lnTo>
                    <a:pt x="929" y="174"/>
                  </a:lnTo>
                  <a:lnTo>
                    <a:pt x="929" y="178"/>
                  </a:lnTo>
                  <a:lnTo>
                    <a:pt x="925" y="184"/>
                  </a:lnTo>
                  <a:lnTo>
                    <a:pt x="925" y="184"/>
                  </a:lnTo>
                  <a:lnTo>
                    <a:pt x="922" y="187"/>
                  </a:lnTo>
                  <a:lnTo>
                    <a:pt x="922" y="187"/>
                  </a:lnTo>
                  <a:lnTo>
                    <a:pt x="918" y="191"/>
                  </a:lnTo>
                  <a:lnTo>
                    <a:pt x="915" y="191"/>
                  </a:lnTo>
                  <a:lnTo>
                    <a:pt x="911" y="194"/>
                  </a:lnTo>
                  <a:lnTo>
                    <a:pt x="904" y="194"/>
                  </a:lnTo>
                  <a:lnTo>
                    <a:pt x="901" y="191"/>
                  </a:lnTo>
                  <a:lnTo>
                    <a:pt x="901" y="191"/>
                  </a:lnTo>
                  <a:lnTo>
                    <a:pt x="898" y="191"/>
                  </a:lnTo>
                  <a:lnTo>
                    <a:pt x="891" y="191"/>
                  </a:lnTo>
                  <a:lnTo>
                    <a:pt x="891" y="191"/>
                  </a:lnTo>
                  <a:lnTo>
                    <a:pt x="894" y="187"/>
                  </a:lnTo>
                  <a:lnTo>
                    <a:pt x="891" y="184"/>
                  </a:lnTo>
                  <a:lnTo>
                    <a:pt x="887" y="181"/>
                  </a:lnTo>
                  <a:lnTo>
                    <a:pt x="884" y="181"/>
                  </a:lnTo>
                  <a:lnTo>
                    <a:pt x="884" y="178"/>
                  </a:lnTo>
                  <a:lnTo>
                    <a:pt x="884" y="174"/>
                  </a:lnTo>
                  <a:lnTo>
                    <a:pt x="884" y="174"/>
                  </a:lnTo>
                  <a:close/>
                  <a:moveTo>
                    <a:pt x="877" y="162"/>
                  </a:moveTo>
                  <a:lnTo>
                    <a:pt x="880" y="162"/>
                  </a:lnTo>
                  <a:lnTo>
                    <a:pt x="884" y="162"/>
                  </a:lnTo>
                  <a:lnTo>
                    <a:pt x="887" y="158"/>
                  </a:lnTo>
                  <a:lnTo>
                    <a:pt x="887" y="155"/>
                  </a:lnTo>
                  <a:lnTo>
                    <a:pt x="887" y="152"/>
                  </a:lnTo>
                  <a:lnTo>
                    <a:pt x="887" y="149"/>
                  </a:lnTo>
                  <a:lnTo>
                    <a:pt x="891" y="145"/>
                  </a:lnTo>
                  <a:lnTo>
                    <a:pt x="887" y="145"/>
                  </a:lnTo>
                  <a:lnTo>
                    <a:pt x="884" y="145"/>
                  </a:lnTo>
                  <a:lnTo>
                    <a:pt x="880" y="145"/>
                  </a:lnTo>
                  <a:lnTo>
                    <a:pt x="880" y="145"/>
                  </a:lnTo>
                  <a:lnTo>
                    <a:pt x="877" y="145"/>
                  </a:lnTo>
                  <a:lnTo>
                    <a:pt x="874" y="149"/>
                  </a:lnTo>
                  <a:lnTo>
                    <a:pt x="877" y="152"/>
                  </a:lnTo>
                  <a:lnTo>
                    <a:pt x="874" y="155"/>
                  </a:lnTo>
                  <a:lnTo>
                    <a:pt x="877" y="162"/>
                  </a:lnTo>
                  <a:lnTo>
                    <a:pt x="877" y="162"/>
                  </a:lnTo>
                  <a:close/>
                  <a:moveTo>
                    <a:pt x="1204" y="404"/>
                  </a:moveTo>
                  <a:lnTo>
                    <a:pt x="1207" y="404"/>
                  </a:lnTo>
                  <a:lnTo>
                    <a:pt x="1211" y="404"/>
                  </a:lnTo>
                  <a:lnTo>
                    <a:pt x="1211" y="407"/>
                  </a:lnTo>
                  <a:lnTo>
                    <a:pt x="1218" y="407"/>
                  </a:lnTo>
                  <a:lnTo>
                    <a:pt x="1218" y="407"/>
                  </a:lnTo>
                  <a:lnTo>
                    <a:pt x="1221" y="407"/>
                  </a:lnTo>
                  <a:lnTo>
                    <a:pt x="1228" y="404"/>
                  </a:lnTo>
                  <a:lnTo>
                    <a:pt x="1231" y="404"/>
                  </a:lnTo>
                  <a:lnTo>
                    <a:pt x="1235" y="407"/>
                  </a:lnTo>
                  <a:lnTo>
                    <a:pt x="1238" y="407"/>
                  </a:lnTo>
                  <a:lnTo>
                    <a:pt x="1242" y="407"/>
                  </a:lnTo>
                  <a:lnTo>
                    <a:pt x="1245" y="404"/>
                  </a:lnTo>
                  <a:lnTo>
                    <a:pt x="1245" y="404"/>
                  </a:lnTo>
                  <a:lnTo>
                    <a:pt x="1245" y="401"/>
                  </a:lnTo>
                  <a:lnTo>
                    <a:pt x="1248" y="401"/>
                  </a:lnTo>
                  <a:lnTo>
                    <a:pt x="1248" y="397"/>
                  </a:lnTo>
                  <a:lnTo>
                    <a:pt x="1248" y="394"/>
                  </a:lnTo>
                  <a:lnTo>
                    <a:pt x="1248" y="391"/>
                  </a:lnTo>
                  <a:lnTo>
                    <a:pt x="1248" y="391"/>
                  </a:lnTo>
                  <a:lnTo>
                    <a:pt x="1248" y="394"/>
                  </a:lnTo>
                  <a:lnTo>
                    <a:pt x="1252" y="397"/>
                  </a:lnTo>
                  <a:lnTo>
                    <a:pt x="1255" y="397"/>
                  </a:lnTo>
                  <a:lnTo>
                    <a:pt x="1255" y="397"/>
                  </a:lnTo>
                  <a:lnTo>
                    <a:pt x="1259" y="397"/>
                  </a:lnTo>
                  <a:lnTo>
                    <a:pt x="1259" y="397"/>
                  </a:lnTo>
                  <a:lnTo>
                    <a:pt x="1262" y="394"/>
                  </a:lnTo>
                  <a:lnTo>
                    <a:pt x="1259" y="391"/>
                  </a:lnTo>
                  <a:lnTo>
                    <a:pt x="1259" y="388"/>
                  </a:lnTo>
                  <a:lnTo>
                    <a:pt x="1259" y="388"/>
                  </a:lnTo>
                  <a:lnTo>
                    <a:pt x="1255" y="388"/>
                  </a:lnTo>
                  <a:lnTo>
                    <a:pt x="1248" y="388"/>
                  </a:lnTo>
                  <a:lnTo>
                    <a:pt x="1248" y="388"/>
                  </a:lnTo>
                  <a:lnTo>
                    <a:pt x="1252" y="384"/>
                  </a:lnTo>
                  <a:lnTo>
                    <a:pt x="1252" y="388"/>
                  </a:lnTo>
                  <a:lnTo>
                    <a:pt x="1255" y="384"/>
                  </a:lnTo>
                  <a:lnTo>
                    <a:pt x="1259" y="381"/>
                  </a:lnTo>
                  <a:lnTo>
                    <a:pt x="1262" y="384"/>
                  </a:lnTo>
                  <a:lnTo>
                    <a:pt x="1262" y="384"/>
                  </a:lnTo>
                  <a:lnTo>
                    <a:pt x="1266" y="381"/>
                  </a:lnTo>
                  <a:lnTo>
                    <a:pt x="1266" y="378"/>
                  </a:lnTo>
                  <a:lnTo>
                    <a:pt x="1266" y="375"/>
                  </a:lnTo>
                  <a:lnTo>
                    <a:pt x="1266" y="375"/>
                  </a:lnTo>
                  <a:lnTo>
                    <a:pt x="1269" y="371"/>
                  </a:lnTo>
                  <a:lnTo>
                    <a:pt x="1269" y="371"/>
                  </a:lnTo>
                  <a:lnTo>
                    <a:pt x="1266" y="371"/>
                  </a:lnTo>
                  <a:lnTo>
                    <a:pt x="1262" y="371"/>
                  </a:lnTo>
                  <a:lnTo>
                    <a:pt x="1262" y="368"/>
                  </a:lnTo>
                  <a:lnTo>
                    <a:pt x="1266" y="368"/>
                  </a:lnTo>
                  <a:lnTo>
                    <a:pt x="1266" y="365"/>
                  </a:lnTo>
                  <a:lnTo>
                    <a:pt x="1262" y="362"/>
                  </a:lnTo>
                  <a:lnTo>
                    <a:pt x="1255" y="362"/>
                  </a:lnTo>
                  <a:lnTo>
                    <a:pt x="1252" y="362"/>
                  </a:lnTo>
                  <a:lnTo>
                    <a:pt x="1252" y="359"/>
                  </a:lnTo>
                  <a:lnTo>
                    <a:pt x="1255" y="359"/>
                  </a:lnTo>
                  <a:lnTo>
                    <a:pt x="1252" y="355"/>
                  </a:lnTo>
                  <a:lnTo>
                    <a:pt x="1248" y="352"/>
                  </a:lnTo>
                  <a:lnTo>
                    <a:pt x="1245" y="352"/>
                  </a:lnTo>
                  <a:lnTo>
                    <a:pt x="1242" y="352"/>
                  </a:lnTo>
                  <a:lnTo>
                    <a:pt x="1235" y="352"/>
                  </a:lnTo>
                  <a:lnTo>
                    <a:pt x="1231" y="355"/>
                  </a:lnTo>
                  <a:lnTo>
                    <a:pt x="1224" y="349"/>
                  </a:lnTo>
                  <a:lnTo>
                    <a:pt x="1221" y="349"/>
                  </a:lnTo>
                  <a:lnTo>
                    <a:pt x="1221" y="346"/>
                  </a:lnTo>
                  <a:lnTo>
                    <a:pt x="1218" y="349"/>
                  </a:lnTo>
                  <a:lnTo>
                    <a:pt x="1214" y="349"/>
                  </a:lnTo>
                  <a:lnTo>
                    <a:pt x="1214" y="349"/>
                  </a:lnTo>
                  <a:lnTo>
                    <a:pt x="1207" y="349"/>
                  </a:lnTo>
                  <a:lnTo>
                    <a:pt x="1207" y="352"/>
                  </a:lnTo>
                  <a:lnTo>
                    <a:pt x="1204" y="349"/>
                  </a:lnTo>
                  <a:lnTo>
                    <a:pt x="1200" y="349"/>
                  </a:lnTo>
                  <a:lnTo>
                    <a:pt x="1197" y="349"/>
                  </a:lnTo>
                  <a:lnTo>
                    <a:pt x="1193" y="349"/>
                  </a:lnTo>
                  <a:lnTo>
                    <a:pt x="1193" y="352"/>
                  </a:lnTo>
                  <a:lnTo>
                    <a:pt x="1193" y="352"/>
                  </a:lnTo>
                  <a:lnTo>
                    <a:pt x="1193" y="352"/>
                  </a:lnTo>
                  <a:lnTo>
                    <a:pt x="1190" y="349"/>
                  </a:lnTo>
                  <a:lnTo>
                    <a:pt x="1187" y="352"/>
                  </a:lnTo>
                  <a:lnTo>
                    <a:pt x="1180" y="349"/>
                  </a:lnTo>
                  <a:lnTo>
                    <a:pt x="1176" y="352"/>
                  </a:lnTo>
                  <a:lnTo>
                    <a:pt x="1180" y="352"/>
                  </a:lnTo>
                  <a:lnTo>
                    <a:pt x="1180" y="355"/>
                  </a:lnTo>
                  <a:lnTo>
                    <a:pt x="1183" y="359"/>
                  </a:lnTo>
                  <a:lnTo>
                    <a:pt x="1180" y="359"/>
                  </a:lnTo>
                  <a:lnTo>
                    <a:pt x="1176" y="355"/>
                  </a:lnTo>
                  <a:lnTo>
                    <a:pt x="1176" y="355"/>
                  </a:lnTo>
                  <a:lnTo>
                    <a:pt x="1169" y="355"/>
                  </a:lnTo>
                  <a:lnTo>
                    <a:pt x="1166" y="355"/>
                  </a:lnTo>
                  <a:lnTo>
                    <a:pt x="1173" y="352"/>
                  </a:lnTo>
                  <a:lnTo>
                    <a:pt x="1173" y="352"/>
                  </a:lnTo>
                  <a:lnTo>
                    <a:pt x="1166" y="346"/>
                  </a:lnTo>
                  <a:lnTo>
                    <a:pt x="1169" y="346"/>
                  </a:lnTo>
                  <a:lnTo>
                    <a:pt x="1166" y="342"/>
                  </a:lnTo>
                  <a:lnTo>
                    <a:pt x="1162" y="346"/>
                  </a:lnTo>
                  <a:lnTo>
                    <a:pt x="1162" y="349"/>
                  </a:lnTo>
                  <a:lnTo>
                    <a:pt x="1162" y="349"/>
                  </a:lnTo>
                  <a:lnTo>
                    <a:pt x="1159" y="349"/>
                  </a:lnTo>
                  <a:lnTo>
                    <a:pt x="1159" y="346"/>
                  </a:lnTo>
                  <a:lnTo>
                    <a:pt x="1159" y="346"/>
                  </a:lnTo>
                  <a:lnTo>
                    <a:pt x="1156" y="342"/>
                  </a:lnTo>
                  <a:lnTo>
                    <a:pt x="1152" y="346"/>
                  </a:lnTo>
                  <a:lnTo>
                    <a:pt x="1152" y="346"/>
                  </a:lnTo>
                  <a:lnTo>
                    <a:pt x="1152" y="342"/>
                  </a:lnTo>
                  <a:lnTo>
                    <a:pt x="1152" y="339"/>
                  </a:lnTo>
                  <a:lnTo>
                    <a:pt x="1152" y="336"/>
                  </a:lnTo>
                  <a:lnTo>
                    <a:pt x="1149" y="339"/>
                  </a:lnTo>
                  <a:lnTo>
                    <a:pt x="1145" y="342"/>
                  </a:lnTo>
                  <a:lnTo>
                    <a:pt x="1145" y="346"/>
                  </a:lnTo>
                  <a:lnTo>
                    <a:pt x="1142" y="346"/>
                  </a:lnTo>
                  <a:lnTo>
                    <a:pt x="1138" y="342"/>
                  </a:lnTo>
                  <a:lnTo>
                    <a:pt x="1142" y="339"/>
                  </a:lnTo>
                  <a:lnTo>
                    <a:pt x="1142" y="339"/>
                  </a:lnTo>
                  <a:lnTo>
                    <a:pt x="1145" y="333"/>
                  </a:lnTo>
                  <a:lnTo>
                    <a:pt x="1142" y="329"/>
                  </a:lnTo>
                  <a:lnTo>
                    <a:pt x="1135" y="333"/>
                  </a:lnTo>
                  <a:lnTo>
                    <a:pt x="1135" y="329"/>
                  </a:lnTo>
                  <a:lnTo>
                    <a:pt x="1138" y="329"/>
                  </a:lnTo>
                  <a:lnTo>
                    <a:pt x="1142" y="326"/>
                  </a:lnTo>
                  <a:lnTo>
                    <a:pt x="1142" y="323"/>
                  </a:lnTo>
                  <a:lnTo>
                    <a:pt x="1138" y="323"/>
                  </a:lnTo>
                  <a:lnTo>
                    <a:pt x="1135" y="323"/>
                  </a:lnTo>
                  <a:lnTo>
                    <a:pt x="1135" y="323"/>
                  </a:lnTo>
                  <a:lnTo>
                    <a:pt x="1132" y="323"/>
                  </a:lnTo>
                  <a:lnTo>
                    <a:pt x="1132" y="323"/>
                  </a:lnTo>
                  <a:lnTo>
                    <a:pt x="1132" y="323"/>
                  </a:lnTo>
                  <a:lnTo>
                    <a:pt x="1128" y="323"/>
                  </a:lnTo>
                  <a:lnTo>
                    <a:pt x="1128" y="323"/>
                  </a:lnTo>
                  <a:lnTo>
                    <a:pt x="1121" y="323"/>
                  </a:lnTo>
                  <a:lnTo>
                    <a:pt x="1121" y="323"/>
                  </a:lnTo>
                  <a:lnTo>
                    <a:pt x="1125" y="323"/>
                  </a:lnTo>
                  <a:lnTo>
                    <a:pt x="1125" y="320"/>
                  </a:lnTo>
                  <a:lnTo>
                    <a:pt x="1128" y="317"/>
                  </a:lnTo>
                  <a:lnTo>
                    <a:pt x="1128" y="317"/>
                  </a:lnTo>
                  <a:lnTo>
                    <a:pt x="1132" y="320"/>
                  </a:lnTo>
                  <a:lnTo>
                    <a:pt x="1138" y="320"/>
                  </a:lnTo>
                  <a:lnTo>
                    <a:pt x="1138" y="317"/>
                  </a:lnTo>
                  <a:lnTo>
                    <a:pt x="1135" y="313"/>
                  </a:lnTo>
                  <a:lnTo>
                    <a:pt x="1132" y="313"/>
                  </a:lnTo>
                  <a:lnTo>
                    <a:pt x="1132" y="313"/>
                  </a:lnTo>
                  <a:lnTo>
                    <a:pt x="1128" y="310"/>
                  </a:lnTo>
                  <a:lnTo>
                    <a:pt x="1125" y="307"/>
                  </a:lnTo>
                  <a:lnTo>
                    <a:pt x="1125" y="307"/>
                  </a:lnTo>
                  <a:lnTo>
                    <a:pt x="1128" y="304"/>
                  </a:lnTo>
                  <a:lnTo>
                    <a:pt x="1128" y="304"/>
                  </a:lnTo>
                  <a:lnTo>
                    <a:pt x="1132" y="307"/>
                  </a:lnTo>
                  <a:lnTo>
                    <a:pt x="1135" y="310"/>
                  </a:lnTo>
                  <a:lnTo>
                    <a:pt x="1138" y="313"/>
                  </a:lnTo>
                  <a:lnTo>
                    <a:pt x="1142" y="313"/>
                  </a:lnTo>
                  <a:lnTo>
                    <a:pt x="1145" y="313"/>
                  </a:lnTo>
                  <a:lnTo>
                    <a:pt x="1145" y="317"/>
                  </a:lnTo>
                  <a:lnTo>
                    <a:pt x="1152" y="317"/>
                  </a:lnTo>
                  <a:lnTo>
                    <a:pt x="1156" y="317"/>
                  </a:lnTo>
                  <a:lnTo>
                    <a:pt x="1159" y="313"/>
                  </a:lnTo>
                  <a:lnTo>
                    <a:pt x="1156" y="310"/>
                  </a:lnTo>
                  <a:lnTo>
                    <a:pt x="1149" y="304"/>
                  </a:lnTo>
                  <a:lnTo>
                    <a:pt x="1145" y="300"/>
                  </a:lnTo>
                  <a:lnTo>
                    <a:pt x="1142" y="304"/>
                  </a:lnTo>
                  <a:lnTo>
                    <a:pt x="1142" y="300"/>
                  </a:lnTo>
                  <a:lnTo>
                    <a:pt x="1138" y="297"/>
                  </a:lnTo>
                  <a:lnTo>
                    <a:pt x="1135" y="297"/>
                  </a:lnTo>
                  <a:lnTo>
                    <a:pt x="1135" y="294"/>
                  </a:lnTo>
                  <a:lnTo>
                    <a:pt x="1135" y="294"/>
                  </a:lnTo>
                  <a:lnTo>
                    <a:pt x="1138" y="294"/>
                  </a:lnTo>
                  <a:lnTo>
                    <a:pt x="1142" y="297"/>
                  </a:lnTo>
                  <a:lnTo>
                    <a:pt x="1145" y="297"/>
                  </a:lnTo>
                  <a:lnTo>
                    <a:pt x="1145" y="300"/>
                  </a:lnTo>
                  <a:lnTo>
                    <a:pt x="1149" y="300"/>
                  </a:lnTo>
                  <a:lnTo>
                    <a:pt x="1149" y="297"/>
                  </a:lnTo>
                  <a:lnTo>
                    <a:pt x="1149" y="291"/>
                  </a:lnTo>
                  <a:lnTo>
                    <a:pt x="1142" y="288"/>
                  </a:lnTo>
                  <a:lnTo>
                    <a:pt x="1138" y="288"/>
                  </a:lnTo>
                  <a:lnTo>
                    <a:pt x="1138" y="288"/>
                  </a:lnTo>
                  <a:lnTo>
                    <a:pt x="1135" y="288"/>
                  </a:lnTo>
                  <a:lnTo>
                    <a:pt x="1132" y="288"/>
                  </a:lnTo>
                  <a:lnTo>
                    <a:pt x="1128" y="288"/>
                  </a:lnTo>
                  <a:lnTo>
                    <a:pt x="1125" y="288"/>
                  </a:lnTo>
                  <a:lnTo>
                    <a:pt x="1121" y="288"/>
                  </a:lnTo>
                  <a:lnTo>
                    <a:pt x="1118" y="284"/>
                  </a:lnTo>
                  <a:lnTo>
                    <a:pt x="1114" y="291"/>
                  </a:lnTo>
                  <a:lnTo>
                    <a:pt x="1111" y="291"/>
                  </a:lnTo>
                  <a:lnTo>
                    <a:pt x="1107" y="294"/>
                  </a:lnTo>
                  <a:lnTo>
                    <a:pt x="1104" y="297"/>
                  </a:lnTo>
                  <a:lnTo>
                    <a:pt x="1104" y="294"/>
                  </a:lnTo>
                  <a:lnTo>
                    <a:pt x="1107" y="291"/>
                  </a:lnTo>
                  <a:lnTo>
                    <a:pt x="1111" y="291"/>
                  </a:lnTo>
                  <a:lnTo>
                    <a:pt x="1118" y="284"/>
                  </a:lnTo>
                  <a:lnTo>
                    <a:pt x="1118" y="281"/>
                  </a:lnTo>
                  <a:lnTo>
                    <a:pt x="1118" y="278"/>
                  </a:lnTo>
                  <a:lnTo>
                    <a:pt x="1118" y="271"/>
                  </a:lnTo>
                  <a:lnTo>
                    <a:pt x="1118" y="271"/>
                  </a:lnTo>
                  <a:lnTo>
                    <a:pt x="1114" y="268"/>
                  </a:lnTo>
                  <a:lnTo>
                    <a:pt x="1114" y="268"/>
                  </a:lnTo>
                  <a:lnTo>
                    <a:pt x="1111" y="268"/>
                  </a:lnTo>
                  <a:lnTo>
                    <a:pt x="1107" y="268"/>
                  </a:lnTo>
                  <a:lnTo>
                    <a:pt x="1107" y="265"/>
                  </a:lnTo>
                  <a:lnTo>
                    <a:pt x="1107" y="262"/>
                  </a:lnTo>
                  <a:lnTo>
                    <a:pt x="1101" y="262"/>
                  </a:lnTo>
                  <a:lnTo>
                    <a:pt x="1097" y="258"/>
                  </a:lnTo>
                  <a:lnTo>
                    <a:pt x="1094" y="258"/>
                  </a:lnTo>
                  <a:lnTo>
                    <a:pt x="1090" y="255"/>
                  </a:lnTo>
                  <a:lnTo>
                    <a:pt x="1087" y="258"/>
                  </a:lnTo>
                  <a:lnTo>
                    <a:pt x="1080" y="258"/>
                  </a:lnTo>
                  <a:lnTo>
                    <a:pt x="1080" y="258"/>
                  </a:lnTo>
                  <a:lnTo>
                    <a:pt x="1080" y="258"/>
                  </a:lnTo>
                  <a:lnTo>
                    <a:pt x="1076" y="262"/>
                  </a:lnTo>
                  <a:lnTo>
                    <a:pt x="1080" y="265"/>
                  </a:lnTo>
                  <a:lnTo>
                    <a:pt x="1080" y="268"/>
                  </a:lnTo>
                  <a:lnTo>
                    <a:pt x="1080" y="268"/>
                  </a:lnTo>
                  <a:lnTo>
                    <a:pt x="1073" y="262"/>
                  </a:lnTo>
                  <a:lnTo>
                    <a:pt x="1073" y="265"/>
                  </a:lnTo>
                  <a:lnTo>
                    <a:pt x="1073" y="268"/>
                  </a:lnTo>
                  <a:lnTo>
                    <a:pt x="1080" y="271"/>
                  </a:lnTo>
                  <a:lnTo>
                    <a:pt x="1083" y="278"/>
                  </a:lnTo>
                  <a:lnTo>
                    <a:pt x="1087" y="278"/>
                  </a:lnTo>
                  <a:lnTo>
                    <a:pt x="1083" y="278"/>
                  </a:lnTo>
                  <a:lnTo>
                    <a:pt x="1080" y="278"/>
                  </a:lnTo>
                  <a:lnTo>
                    <a:pt x="1080" y="281"/>
                  </a:lnTo>
                  <a:lnTo>
                    <a:pt x="1083" y="288"/>
                  </a:lnTo>
                  <a:lnTo>
                    <a:pt x="1087" y="288"/>
                  </a:lnTo>
                  <a:lnTo>
                    <a:pt x="1087" y="291"/>
                  </a:lnTo>
                  <a:lnTo>
                    <a:pt x="1087" y="288"/>
                  </a:lnTo>
                  <a:lnTo>
                    <a:pt x="1080" y="288"/>
                  </a:lnTo>
                  <a:lnTo>
                    <a:pt x="1080" y="291"/>
                  </a:lnTo>
                  <a:lnTo>
                    <a:pt x="1076" y="291"/>
                  </a:lnTo>
                  <a:lnTo>
                    <a:pt x="1076" y="294"/>
                  </a:lnTo>
                  <a:lnTo>
                    <a:pt x="1083" y="291"/>
                  </a:lnTo>
                  <a:lnTo>
                    <a:pt x="1083" y="294"/>
                  </a:lnTo>
                  <a:lnTo>
                    <a:pt x="1090" y="291"/>
                  </a:lnTo>
                  <a:lnTo>
                    <a:pt x="1090" y="294"/>
                  </a:lnTo>
                  <a:lnTo>
                    <a:pt x="1097" y="294"/>
                  </a:lnTo>
                  <a:lnTo>
                    <a:pt x="1097" y="297"/>
                  </a:lnTo>
                  <a:lnTo>
                    <a:pt x="1101" y="300"/>
                  </a:lnTo>
                  <a:lnTo>
                    <a:pt x="1104" y="300"/>
                  </a:lnTo>
                  <a:lnTo>
                    <a:pt x="1104" y="297"/>
                  </a:lnTo>
                  <a:lnTo>
                    <a:pt x="1104" y="300"/>
                  </a:lnTo>
                  <a:lnTo>
                    <a:pt x="1107" y="297"/>
                  </a:lnTo>
                  <a:lnTo>
                    <a:pt x="1111" y="297"/>
                  </a:lnTo>
                  <a:lnTo>
                    <a:pt x="1111" y="300"/>
                  </a:lnTo>
                  <a:lnTo>
                    <a:pt x="1111" y="304"/>
                  </a:lnTo>
                  <a:lnTo>
                    <a:pt x="1111" y="310"/>
                  </a:lnTo>
                  <a:lnTo>
                    <a:pt x="1107" y="313"/>
                  </a:lnTo>
                  <a:lnTo>
                    <a:pt x="1107" y="317"/>
                  </a:lnTo>
                  <a:lnTo>
                    <a:pt x="1111" y="320"/>
                  </a:lnTo>
                  <a:lnTo>
                    <a:pt x="1111" y="323"/>
                  </a:lnTo>
                  <a:lnTo>
                    <a:pt x="1111" y="326"/>
                  </a:lnTo>
                  <a:lnTo>
                    <a:pt x="1107" y="329"/>
                  </a:lnTo>
                  <a:lnTo>
                    <a:pt x="1104" y="333"/>
                  </a:lnTo>
                  <a:lnTo>
                    <a:pt x="1097" y="333"/>
                  </a:lnTo>
                  <a:lnTo>
                    <a:pt x="1097" y="336"/>
                  </a:lnTo>
                  <a:lnTo>
                    <a:pt x="1094" y="339"/>
                  </a:lnTo>
                  <a:lnTo>
                    <a:pt x="1094" y="342"/>
                  </a:lnTo>
                  <a:lnTo>
                    <a:pt x="1090" y="346"/>
                  </a:lnTo>
                  <a:lnTo>
                    <a:pt x="1090" y="346"/>
                  </a:lnTo>
                  <a:lnTo>
                    <a:pt x="1090" y="349"/>
                  </a:lnTo>
                  <a:lnTo>
                    <a:pt x="1090" y="352"/>
                  </a:lnTo>
                  <a:lnTo>
                    <a:pt x="1090" y="352"/>
                  </a:lnTo>
                  <a:lnTo>
                    <a:pt x="1087" y="355"/>
                  </a:lnTo>
                  <a:lnTo>
                    <a:pt x="1087" y="359"/>
                  </a:lnTo>
                  <a:lnTo>
                    <a:pt x="1090" y="359"/>
                  </a:lnTo>
                  <a:lnTo>
                    <a:pt x="1087" y="362"/>
                  </a:lnTo>
                  <a:lnTo>
                    <a:pt x="1087" y="365"/>
                  </a:lnTo>
                  <a:lnTo>
                    <a:pt x="1087" y="368"/>
                  </a:lnTo>
                  <a:lnTo>
                    <a:pt x="1090" y="368"/>
                  </a:lnTo>
                  <a:lnTo>
                    <a:pt x="1090" y="371"/>
                  </a:lnTo>
                  <a:lnTo>
                    <a:pt x="1094" y="371"/>
                  </a:lnTo>
                  <a:lnTo>
                    <a:pt x="1094" y="371"/>
                  </a:lnTo>
                  <a:lnTo>
                    <a:pt x="1094" y="368"/>
                  </a:lnTo>
                  <a:lnTo>
                    <a:pt x="1097" y="368"/>
                  </a:lnTo>
                  <a:lnTo>
                    <a:pt x="1097" y="368"/>
                  </a:lnTo>
                  <a:lnTo>
                    <a:pt x="1101" y="368"/>
                  </a:lnTo>
                  <a:lnTo>
                    <a:pt x="1104" y="365"/>
                  </a:lnTo>
                  <a:lnTo>
                    <a:pt x="1104" y="365"/>
                  </a:lnTo>
                  <a:lnTo>
                    <a:pt x="1104" y="371"/>
                  </a:lnTo>
                  <a:lnTo>
                    <a:pt x="1101" y="371"/>
                  </a:lnTo>
                  <a:lnTo>
                    <a:pt x="1097" y="371"/>
                  </a:lnTo>
                  <a:lnTo>
                    <a:pt x="1101" y="375"/>
                  </a:lnTo>
                  <a:lnTo>
                    <a:pt x="1101" y="378"/>
                  </a:lnTo>
                  <a:lnTo>
                    <a:pt x="1104" y="381"/>
                  </a:lnTo>
                  <a:lnTo>
                    <a:pt x="1107" y="378"/>
                  </a:lnTo>
                  <a:lnTo>
                    <a:pt x="1107" y="381"/>
                  </a:lnTo>
                  <a:lnTo>
                    <a:pt x="1114" y="381"/>
                  </a:lnTo>
                  <a:lnTo>
                    <a:pt x="1114" y="378"/>
                  </a:lnTo>
                  <a:lnTo>
                    <a:pt x="1121" y="378"/>
                  </a:lnTo>
                  <a:lnTo>
                    <a:pt x="1121" y="375"/>
                  </a:lnTo>
                  <a:lnTo>
                    <a:pt x="1121" y="375"/>
                  </a:lnTo>
                  <a:lnTo>
                    <a:pt x="1125" y="371"/>
                  </a:lnTo>
                  <a:lnTo>
                    <a:pt x="1125" y="375"/>
                  </a:lnTo>
                  <a:lnTo>
                    <a:pt x="1125" y="375"/>
                  </a:lnTo>
                  <a:lnTo>
                    <a:pt x="1125" y="378"/>
                  </a:lnTo>
                  <a:lnTo>
                    <a:pt x="1125" y="378"/>
                  </a:lnTo>
                  <a:lnTo>
                    <a:pt x="1128" y="371"/>
                  </a:lnTo>
                  <a:lnTo>
                    <a:pt x="1132" y="371"/>
                  </a:lnTo>
                  <a:lnTo>
                    <a:pt x="1132" y="375"/>
                  </a:lnTo>
                  <a:lnTo>
                    <a:pt x="1132" y="378"/>
                  </a:lnTo>
                  <a:lnTo>
                    <a:pt x="1125" y="381"/>
                  </a:lnTo>
                  <a:lnTo>
                    <a:pt x="1125" y="384"/>
                  </a:lnTo>
                  <a:lnTo>
                    <a:pt x="1125" y="388"/>
                  </a:lnTo>
                  <a:lnTo>
                    <a:pt x="1128" y="388"/>
                  </a:lnTo>
                  <a:lnTo>
                    <a:pt x="1132" y="391"/>
                  </a:lnTo>
                  <a:lnTo>
                    <a:pt x="1135" y="391"/>
                  </a:lnTo>
                  <a:lnTo>
                    <a:pt x="1135" y="391"/>
                  </a:lnTo>
                  <a:lnTo>
                    <a:pt x="1138" y="391"/>
                  </a:lnTo>
                  <a:lnTo>
                    <a:pt x="1142" y="388"/>
                  </a:lnTo>
                  <a:lnTo>
                    <a:pt x="1145" y="391"/>
                  </a:lnTo>
                  <a:lnTo>
                    <a:pt x="1142" y="391"/>
                  </a:lnTo>
                  <a:lnTo>
                    <a:pt x="1142" y="394"/>
                  </a:lnTo>
                  <a:lnTo>
                    <a:pt x="1145" y="394"/>
                  </a:lnTo>
                  <a:lnTo>
                    <a:pt x="1149" y="394"/>
                  </a:lnTo>
                  <a:lnTo>
                    <a:pt x="1152" y="394"/>
                  </a:lnTo>
                  <a:lnTo>
                    <a:pt x="1149" y="391"/>
                  </a:lnTo>
                  <a:lnTo>
                    <a:pt x="1149" y="391"/>
                  </a:lnTo>
                  <a:lnTo>
                    <a:pt x="1152" y="388"/>
                  </a:lnTo>
                  <a:lnTo>
                    <a:pt x="1152" y="388"/>
                  </a:lnTo>
                  <a:lnTo>
                    <a:pt x="1152" y="391"/>
                  </a:lnTo>
                  <a:lnTo>
                    <a:pt x="1152" y="394"/>
                  </a:lnTo>
                  <a:lnTo>
                    <a:pt x="1156" y="394"/>
                  </a:lnTo>
                  <a:lnTo>
                    <a:pt x="1156" y="391"/>
                  </a:lnTo>
                  <a:lnTo>
                    <a:pt x="1159" y="391"/>
                  </a:lnTo>
                  <a:lnTo>
                    <a:pt x="1162" y="391"/>
                  </a:lnTo>
                  <a:lnTo>
                    <a:pt x="1162" y="391"/>
                  </a:lnTo>
                  <a:lnTo>
                    <a:pt x="1159" y="394"/>
                  </a:lnTo>
                  <a:lnTo>
                    <a:pt x="1159" y="394"/>
                  </a:lnTo>
                  <a:lnTo>
                    <a:pt x="1162" y="394"/>
                  </a:lnTo>
                  <a:lnTo>
                    <a:pt x="1166" y="394"/>
                  </a:lnTo>
                  <a:lnTo>
                    <a:pt x="1169" y="388"/>
                  </a:lnTo>
                  <a:lnTo>
                    <a:pt x="1169" y="391"/>
                  </a:lnTo>
                  <a:lnTo>
                    <a:pt x="1169" y="394"/>
                  </a:lnTo>
                  <a:lnTo>
                    <a:pt x="1169" y="397"/>
                  </a:lnTo>
                  <a:lnTo>
                    <a:pt x="1173" y="394"/>
                  </a:lnTo>
                  <a:lnTo>
                    <a:pt x="1176" y="391"/>
                  </a:lnTo>
                  <a:lnTo>
                    <a:pt x="1176" y="388"/>
                  </a:lnTo>
                  <a:lnTo>
                    <a:pt x="1176" y="394"/>
                  </a:lnTo>
                  <a:lnTo>
                    <a:pt x="1176" y="397"/>
                  </a:lnTo>
                  <a:lnTo>
                    <a:pt x="1180" y="397"/>
                  </a:lnTo>
                  <a:lnTo>
                    <a:pt x="1183" y="401"/>
                  </a:lnTo>
                  <a:lnTo>
                    <a:pt x="1187" y="401"/>
                  </a:lnTo>
                  <a:lnTo>
                    <a:pt x="1190" y="397"/>
                  </a:lnTo>
                  <a:lnTo>
                    <a:pt x="1190" y="401"/>
                  </a:lnTo>
                  <a:lnTo>
                    <a:pt x="1197" y="401"/>
                  </a:lnTo>
                  <a:lnTo>
                    <a:pt x="1200" y="397"/>
                  </a:lnTo>
                  <a:lnTo>
                    <a:pt x="1200" y="394"/>
                  </a:lnTo>
                  <a:lnTo>
                    <a:pt x="1204" y="391"/>
                  </a:lnTo>
                  <a:lnTo>
                    <a:pt x="1204" y="391"/>
                  </a:lnTo>
                  <a:lnTo>
                    <a:pt x="1200" y="388"/>
                  </a:lnTo>
                  <a:lnTo>
                    <a:pt x="1204" y="384"/>
                  </a:lnTo>
                  <a:lnTo>
                    <a:pt x="1204" y="384"/>
                  </a:lnTo>
                  <a:lnTo>
                    <a:pt x="1204" y="388"/>
                  </a:lnTo>
                  <a:lnTo>
                    <a:pt x="1207" y="388"/>
                  </a:lnTo>
                  <a:lnTo>
                    <a:pt x="1207" y="391"/>
                  </a:lnTo>
                  <a:lnTo>
                    <a:pt x="1204" y="391"/>
                  </a:lnTo>
                  <a:lnTo>
                    <a:pt x="1204" y="397"/>
                  </a:lnTo>
                  <a:lnTo>
                    <a:pt x="1204" y="404"/>
                  </a:lnTo>
                  <a:lnTo>
                    <a:pt x="1204" y="404"/>
                  </a:lnTo>
                  <a:close/>
                  <a:moveTo>
                    <a:pt x="1070" y="255"/>
                  </a:moveTo>
                  <a:lnTo>
                    <a:pt x="1073" y="255"/>
                  </a:lnTo>
                  <a:lnTo>
                    <a:pt x="1073" y="252"/>
                  </a:lnTo>
                  <a:lnTo>
                    <a:pt x="1073" y="252"/>
                  </a:lnTo>
                  <a:lnTo>
                    <a:pt x="1070" y="255"/>
                  </a:lnTo>
                  <a:lnTo>
                    <a:pt x="1070" y="255"/>
                  </a:lnTo>
                  <a:lnTo>
                    <a:pt x="1070" y="255"/>
                  </a:lnTo>
                  <a:close/>
                  <a:moveTo>
                    <a:pt x="1063" y="275"/>
                  </a:moveTo>
                  <a:lnTo>
                    <a:pt x="1066" y="271"/>
                  </a:lnTo>
                  <a:lnTo>
                    <a:pt x="1066" y="271"/>
                  </a:lnTo>
                  <a:lnTo>
                    <a:pt x="1070" y="271"/>
                  </a:lnTo>
                  <a:lnTo>
                    <a:pt x="1066" y="275"/>
                  </a:lnTo>
                  <a:lnTo>
                    <a:pt x="1063" y="275"/>
                  </a:lnTo>
                  <a:lnTo>
                    <a:pt x="1063" y="275"/>
                  </a:lnTo>
                  <a:close/>
                  <a:moveTo>
                    <a:pt x="970" y="304"/>
                  </a:moveTo>
                  <a:lnTo>
                    <a:pt x="970" y="304"/>
                  </a:lnTo>
                  <a:lnTo>
                    <a:pt x="973" y="307"/>
                  </a:lnTo>
                  <a:lnTo>
                    <a:pt x="973" y="304"/>
                  </a:lnTo>
                  <a:lnTo>
                    <a:pt x="970" y="304"/>
                  </a:lnTo>
                  <a:lnTo>
                    <a:pt x="970" y="304"/>
                  </a:lnTo>
                  <a:close/>
                  <a:moveTo>
                    <a:pt x="1032" y="255"/>
                  </a:moveTo>
                  <a:lnTo>
                    <a:pt x="1032" y="255"/>
                  </a:lnTo>
                  <a:lnTo>
                    <a:pt x="1035" y="258"/>
                  </a:lnTo>
                  <a:lnTo>
                    <a:pt x="1035" y="258"/>
                  </a:lnTo>
                  <a:lnTo>
                    <a:pt x="1035" y="258"/>
                  </a:lnTo>
                  <a:lnTo>
                    <a:pt x="1035" y="255"/>
                  </a:lnTo>
                  <a:lnTo>
                    <a:pt x="1032" y="255"/>
                  </a:lnTo>
                  <a:lnTo>
                    <a:pt x="1032" y="255"/>
                  </a:lnTo>
                  <a:lnTo>
                    <a:pt x="1032" y="255"/>
                  </a:lnTo>
                  <a:close/>
                  <a:moveTo>
                    <a:pt x="1004" y="255"/>
                  </a:moveTo>
                  <a:lnTo>
                    <a:pt x="1004" y="255"/>
                  </a:lnTo>
                  <a:lnTo>
                    <a:pt x="1004" y="258"/>
                  </a:lnTo>
                  <a:lnTo>
                    <a:pt x="1008" y="255"/>
                  </a:lnTo>
                  <a:lnTo>
                    <a:pt x="1011" y="255"/>
                  </a:lnTo>
                  <a:lnTo>
                    <a:pt x="1015" y="255"/>
                  </a:lnTo>
                  <a:lnTo>
                    <a:pt x="1018" y="255"/>
                  </a:lnTo>
                  <a:lnTo>
                    <a:pt x="1021" y="255"/>
                  </a:lnTo>
                  <a:lnTo>
                    <a:pt x="1025" y="252"/>
                  </a:lnTo>
                  <a:lnTo>
                    <a:pt x="1025" y="252"/>
                  </a:lnTo>
                  <a:lnTo>
                    <a:pt x="1018" y="252"/>
                  </a:lnTo>
                  <a:lnTo>
                    <a:pt x="1015" y="252"/>
                  </a:lnTo>
                  <a:lnTo>
                    <a:pt x="1015" y="252"/>
                  </a:lnTo>
                  <a:lnTo>
                    <a:pt x="1011" y="252"/>
                  </a:lnTo>
                  <a:lnTo>
                    <a:pt x="1011" y="252"/>
                  </a:lnTo>
                  <a:lnTo>
                    <a:pt x="1008" y="252"/>
                  </a:lnTo>
                  <a:lnTo>
                    <a:pt x="1004" y="255"/>
                  </a:lnTo>
                  <a:lnTo>
                    <a:pt x="1004" y="255"/>
                  </a:lnTo>
                  <a:lnTo>
                    <a:pt x="1004" y="255"/>
                  </a:lnTo>
                  <a:close/>
                  <a:moveTo>
                    <a:pt x="973" y="265"/>
                  </a:moveTo>
                  <a:lnTo>
                    <a:pt x="970" y="262"/>
                  </a:lnTo>
                  <a:lnTo>
                    <a:pt x="966" y="262"/>
                  </a:lnTo>
                  <a:lnTo>
                    <a:pt x="963" y="262"/>
                  </a:lnTo>
                  <a:lnTo>
                    <a:pt x="960" y="255"/>
                  </a:lnTo>
                  <a:lnTo>
                    <a:pt x="963" y="252"/>
                  </a:lnTo>
                  <a:lnTo>
                    <a:pt x="963" y="252"/>
                  </a:lnTo>
                  <a:lnTo>
                    <a:pt x="963" y="249"/>
                  </a:lnTo>
                  <a:lnTo>
                    <a:pt x="963" y="246"/>
                  </a:lnTo>
                  <a:lnTo>
                    <a:pt x="966" y="246"/>
                  </a:lnTo>
                  <a:lnTo>
                    <a:pt x="970" y="246"/>
                  </a:lnTo>
                  <a:lnTo>
                    <a:pt x="973" y="246"/>
                  </a:lnTo>
                  <a:lnTo>
                    <a:pt x="973" y="246"/>
                  </a:lnTo>
                  <a:lnTo>
                    <a:pt x="973" y="249"/>
                  </a:lnTo>
                  <a:lnTo>
                    <a:pt x="973" y="249"/>
                  </a:lnTo>
                  <a:lnTo>
                    <a:pt x="973" y="252"/>
                  </a:lnTo>
                  <a:lnTo>
                    <a:pt x="973" y="252"/>
                  </a:lnTo>
                  <a:lnTo>
                    <a:pt x="977" y="252"/>
                  </a:lnTo>
                  <a:lnTo>
                    <a:pt x="977" y="252"/>
                  </a:lnTo>
                  <a:lnTo>
                    <a:pt x="977" y="255"/>
                  </a:lnTo>
                  <a:lnTo>
                    <a:pt x="977" y="255"/>
                  </a:lnTo>
                  <a:lnTo>
                    <a:pt x="977" y="258"/>
                  </a:lnTo>
                  <a:lnTo>
                    <a:pt x="977" y="262"/>
                  </a:lnTo>
                  <a:lnTo>
                    <a:pt x="973" y="265"/>
                  </a:lnTo>
                  <a:lnTo>
                    <a:pt x="973" y="265"/>
                  </a:lnTo>
                  <a:close/>
                  <a:moveTo>
                    <a:pt x="966" y="275"/>
                  </a:moveTo>
                  <a:lnTo>
                    <a:pt x="977" y="275"/>
                  </a:lnTo>
                  <a:lnTo>
                    <a:pt x="977" y="275"/>
                  </a:lnTo>
                  <a:lnTo>
                    <a:pt x="980" y="268"/>
                  </a:lnTo>
                  <a:lnTo>
                    <a:pt x="977" y="268"/>
                  </a:lnTo>
                  <a:lnTo>
                    <a:pt x="973" y="268"/>
                  </a:lnTo>
                  <a:lnTo>
                    <a:pt x="970" y="265"/>
                  </a:lnTo>
                  <a:lnTo>
                    <a:pt x="966" y="265"/>
                  </a:lnTo>
                  <a:lnTo>
                    <a:pt x="963" y="265"/>
                  </a:lnTo>
                  <a:lnTo>
                    <a:pt x="960" y="265"/>
                  </a:lnTo>
                  <a:lnTo>
                    <a:pt x="956" y="265"/>
                  </a:lnTo>
                  <a:lnTo>
                    <a:pt x="956" y="268"/>
                  </a:lnTo>
                  <a:lnTo>
                    <a:pt x="953" y="268"/>
                  </a:lnTo>
                  <a:lnTo>
                    <a:pt x="956" y="271"/>
                  </a:lnTo>
                  <a:lnTo>
                    <a:pt x="956" y="271"/>
                  </a:lnTo>
                  <a:lnTo>
                    <a:pt x="956" y="271"/>
                  </a:lnTo>
                  <a:lnTo>
                    <a:pt x="960" y="275"/>
                  </a:lnTo>
                  <a:lnTo>
                    <a:pt x="963" y="275"/>
                  </a:lnTo>
                  <a:lnTo>
                    <a:pt x="966" y="275"/>
                  </a:lnTo>
                  <a:lnTo>
                    <a:pt x="966" y="275"/>
                  </a:lnTo>
                  <a:close/>
                  <a:moveTo>
                    <a:pt x="953" y="281"/>
                  </a:moveTo>
                  <a:lnTo>
                    <a:pt x="963" y="281"/>
                  </a:lnTo>
                  <a:lnTo>
                    <a:pt x="966" y="281"/>
                  </a:lnTo>
                  <a:lnTo>
                    <a:pt x="970" y="281"/>
                  </a:lnTo>
                  <a:lnTo>
                    <a:pt x="970" y="281"/>
                  </a:lnTo>
                  <a:lnTo>
                    <a:pt x="973" y="281"/>
                  </a:lnTo>
                  <a:lnTo>
                    <a:pt x="977" y="281"/>
                  </a:lnTo>
                  <a:lnTo>
                    <a:pt x="977" y="278"/>
                  </a:lnTo>
                  <a:lnTo>
                    <a:pt x="973" y="278"/>
                  </a:lnTo>
                  <a:lnTo>
                    <a:pt x="966" y="278"/>
                  </a:lnTo>
                  <a:lnTo>
                    <a:pt x="963" y="278"/>
                  </a:lnTo>
                  <a:lnTo>
                    <a:pt x="960" y="278"/>
                  </a:lnTo>
                  <a:lnTo>
                    <a:pt x="956" y="278"/>
                  </a:lnTo>
                  <a:lnTo>
                    <a:pt x="953" y="278"/>
                  </a:lnTo>
                  <a:lnTo>
                    <a:pt x="953" y="281"/>
                  </a:lnTo>
                  <a:lnTo>
                    <a:pt x="953" y="281"/>
                  </a:lnTo>
                  <a:close/>
                  <a:moveTo>
                    <a:pt x="953" y="288"/>
                  </a:moveTo>
                  <a:lnTo>
                    <a:pt x="956" y="288"/>
                  </a:lnTo>
                  <a:lnTo>
                    <a:pt x="960" y="288"/>
                  </a:lnTo>
                  <a:lnTo>
                    <a:pt x="963" y="284"/>
                  </a:lnTo>
                  <a:lnTo>
                    <a:pt x="970" y="284"/>
                  </a:lnTo>
                  <a:lnTo>
                    <a:pt x="973" y="284"/>
                  </a:lnTo>
                  <a:lnTo>
                    <a:pt x="973" y="284"/>
                  </a:lnTo>
                  <a:lnTo>
                    <a:pt x="977" y="284"/>
                  </a:lnTo>
                  <a:lnTo>
                    <a:pt x="977" y="284"/>
                  </a:lnTo>
                  <a:lnTo>
                    <a:pt x="973" y="288"/>
                  </a:lnTo>
                  <a:lnTo>
                    <a:pt x="973" y="288"/>
                  </a:lnTo>
                  <a:lnTo>
                    <a:pt x="966" y="288"/>
                  </a:lnTo>
                  <a:lnTo>
                    <a:pt x="966" y="291"/>
                  </a:lnTo>
                  <a:lnTo>
                    <a:pt x="963" y="291"/>
                  </a:lnTo>
                  <a:lnTo>
                    <a:pt x="960" y="291"/>
                  </a:lnTo>
                  <a:lnTo>
                    <a:pt x="956" y="291"/>
                  </a:lnTo>
                  <a:lnTo>
                    <a:pt x="953" y="291"/>
                  </a:lnTo>
                  <a:lnTo>
                    <a:pt x="953" y="291"/>
                  </a:lnTo>
                  <a:lnTo>
                    <a:pt x="953" y="288"/>
                  </a:lnTo>
                  <a:lnTo>
                    <a:pt x="953" y="288"/>
                  </a:lnTo>
                  <a:close/>
                  <a:moveTo>
                    <a:pt x="860" y="191"/>
                  </a:moveTo>
                  <a:lnTo>
                    <a:pt x="860" y="187"/>
                  </a:lnTo>
                  <a:lnTo>
                    <a:pt x="860" y="187"/>
                  </a:lnTo>
                  <a:lnTo>
                    <a:pt x="867" y="187"/>
                  </a:lnTo>
                  <a:lnTo>
                    <a:pt x="863" y="187"/>
                  </a:lnTo>
                  <a:lnTo>
                    <a:pt x="860" y="191"/>
                  </a:lnTo>
                  <a:lnTo>
                    <a:pt x="860" y="191"/>
                  </a:lnTo>
                  <a:close/>
                  <a:moveTo>
                    <a:pt x="836" y="200"/>
                  </a:moveTo>
                  <a:lnTo>
                    <a:pt x="839" y="200"/>
                  </a:lnTo>
                  <a:lnTo>
                    <a:pt x="839" y="197"/>
                  </a:lnTo>
                  <a:lnTo>
                    <a:pt x="846" y="200"/>
                  </a:lnTo>
                  <a:lnTo>
                    <a:pt x="849" y="200"/>
                  </a:lnTo>
                  <a:lnTo>
                    <a:pt x="853" y="200"/>
                  </a:lnTo>
                  <a:lnTo>
                    <a:pt x="853" y="204"/>
                  </a:lnTo>
                  <a:lnTo>
                    <a:pt x="853" y="204"/>
                  </a:lnTo>
                  <a:lnTo>
                    <a:pt x="853" y="207"/>
                  </a:lnTo>
                  <a:lnTo>
                    <a:pt x="849" y="207"/>
                  </a:lnTo>
                  <a:lnTo>
                    <a:pt x="846" y="207"/>
                  </a:lnTo>
                  <a:lnTo>
                    <a:pt x="843" y="207"/>
                  </a:lnTo>
                  <a:lnTo>
                    <a:pt x="839" y="204"/>
                  </a:lnTo>
                  <a:lnTo>
                    <a:pt x="839" y="200"/>
                  </a:lnTo>
                  <a:lnTo>
                    <a:pt x="836" y="200"/>
                  </a:lnTo>
                  <a:lnTo>
                    <a:pt x="836" y="200"/>
                  </a:lnTo>
                  <a:lnTo>
                    <a:pt x="836" y="200"/>
                  </a:lnTo>
                  <a:lnTo>
                    <a:pt x="836" y="200"/>
                  </a:lnTo>
                  <a:close/>
                  <a:moveTo>
                    <a:pt x="698" y="207"/>
                  </a:moveTo>
                  <a:lnTo>
                    <a:pt x="695" y="204"/>
                  </a:lnTo>
                  <a:lnTo>
                    <a:pt x="695" y="204"/>
                  </a:lnTo>
                  <a:lnTo>
                    <a:pt x="695" y="204"/>
                  </a:lnTo>
                  <a:lnTo>
                    <a:pt x="701" y="204"/>
                  </a:lnTo>
                  <a:lnTo>
                    <a:pt x="701" y="204"/>
                  </a:lnTo>
                  <a:lnTo>
                    <a:pt x="698" y="207"/>
                  </a:lnTo>
                  <a:lnTo>
                    <a:pt x="698" y="207"/>
                  </a:lnTo>
                  <a:close/>
                  <a:moveTo>
                    <a:pt x="715" y="223"/>
                  </a:moveTo>
                  <a:lnTo>
                    <a:pt x="719" y="220"/>
                  </a:lnTo>
                  <a:lnTo>
                    <a:pt x="719" y="220"/>
                  </a:lnTo>
                  <a:lnTo>
                    <a:pt x="715" y="223"/>
                  </a:lnTo>
                  <a:lnTo>
                    <a:pt x="715" y="223"/>
                  </a:lnTo>
                  <a:lnTo>
                    <a:pt x="715" y="223"/>
                  </a:lnTo>
                  <a:lnTo>
                    <a:pt x="715" y="223"/>
                  </a:lnTo>
                  <a:close/>
                  <a:moveTo>
                    <a:pt x="722" y="216"/>
                  </a:moveTo>
                  <a:lnTo>
                    <a:pt x="722" y="216"/>
                  </a:lnTo>
                  <a:lnTo>
                    <a:pt x="722" y="213"/>
                  </a:lnTo>
                  <a:lnTo>
                    <a:pt x="722" y="213"/>
                  </a:lnTo>
                  <a:lnTo>
                    <a:pt x="726" y="207"/>
                  </a:lnTo>
                  <a:lnTo>
                    <a:pt x="729" y="207"/>
                  </a:lnTo>
                  <a:lnTo>
                    <a:pt x="732" y="207"/>
                  </a:lnTo>
                  <a:lnTo>
                    <a:pt x="732" y="207"/>
                  </a:lnTo>
                  <a:lnTo>
                    <a:pt x="732" y="210"/>
                  </a:lnTo>
                  <a:lnTo>
                    <a:pt x="729" y="210"/>
                  </a:lnTo>
                  <a:lnTo>
                    <a:pt x="729" y="213"/>
                  </a:lnTo>
                  <a:lnTo>
                    <a:pt x="729" y="216"/>
                  </a:lnTo>
                  <a:lnTo>
                    <a:pt x="726" y="220"/>
                  </a:lnTo>
                  <a:lnTo>
                    <a:pt x="726" y="223"/>
                  </a:lnTo>
                  <a:lnTo>
                    <a:pt x="729" y="223"/>
                  </a:lnTo>
                  <a:lnTo>
                    <a:pt x="729" y="223"/>
                  </a:lnTo>
                  <a:lnTo>
                    <a:pt x="732" y="223"/>
                  </a:lnTo>
                  <a:lnTo>
                    <a:pt x="732" y="226"/>
                  </a:lnTo>
                  <a:lnTo>
                    <a:pt x="732" y="226"/>
                  </a:lnTo>
                  <a:lnTo>
                    <a:pt x="739" y="223"/>
                  </a:lnTo>
                  <a:lnTo>
                    <a:pt x="743" y="220"/>
                  </a:lnTo>
                  <a:lnTo>
                    <a:pt x="743" y="220"/>
                  </a:lnTo>
                  <a:lnTo>
                    <a:pt x="746" y="216"/>
                  </a:lnTo>
                  <a:lnTo>
                    <a:pt x="746" y="213"/>
                  </a:lnTo>
                  <a:lnTo>
                    <a:pt x="750" y="213"/>
                  </a:lnTo>
                  <a:lnTo>
                    <a:pt x="750" y="210"/>
                  </a:lnTo>
                  <a:lnTo>
                    <a:pt x="753" y="207"/>
                  </a:lnTo>
                  <a:lnTo>
                    <a:pt x="753" y="204"/>
                  </a:lnTo>
                  <a:lnTo>
                    <a:pt x="753" y="207"/>
                  </a:lnTo>
                  <a:lnTo>
                    <a:pt x="753" y="210"/>
                  </a:lnTo>
                  <a:lnTo>
                    <a:pt x="753" y="210"/>
                  </a:lnTo>
                  <a:lnTo>
                    <a:pt x="753" y="213"/>
                  </a:lnTo>
                  <a:lnTo>
                    <a:pt x="753" y="216"/>
                  </a:lnTo>
                  <a:lnTo>
                    <a:pt x="757" y="216"/>
                  </a:lnTo>
                  <a:lnTo>
                    <a:pt x="760" y="213"/>
                  </a:lnTo>
                  <a:lnTo>
                    <a:pt x="760" y="210"/>
                  </a:lnTo>
                  <a:lnTo>
                    <a:pt x="760" y="210"/>
                  </a:lnTo>
                  <a:lnTo>
                    <a:pt x="763" y="210"/>
                  </a:lnTo>
                  <a:lnTo>
                    <a:pt x="767" y="204"/>
                  </a:lnTo>
                  <a:lnTo>
                    <a:pt x="770" y="200"/>
                  </a:lnTo>
                  <a:lnTo>
                    <a:pt x="767" y="197"/>
                  </a:lnTo>
                  <a:lnTo>
                    <a:pt x="770" y="194"/>
                  </a:lnTo>
                  <a:lnTo>
                    <a:pt x="774" y="197"/>
                  </a:lnTo>
                  <a:lnTo>
                    <a:pt x="777" y="194"/>
                  </a:lnTo>
                  <a:lnTo>
                    <a:pt x="781" y="191"/>
                  </a:lnTo>
                  <a:lnTo>
                    <a:pt x="781" y="187"/>
                  </a:lnTo>
                  <a:lnTo>
                    <a:pt x="784" y="187"/>
                  </a:lnTo>
                  <a:lnTo>
                    <a:pt x="788" y="184"/>
                  </a:lnTo>
                  <a:lnTo>
                    <a:pt x="791" y="187"/>
                  </a:lnTo>
                  <a:lnTo>
                    <a:pt x="794" y="184"/>
                  </a:lnTo>
                  <a:lnTo>
                    <a:pt x="794" y="184"/>
                  </a:lnTo>
                  <a:lnTo>
                    <a:pt x="794" y="191"/>
                  </a:lnTo>
                  <a:lnTo>
                    <a:pt x="788" y="194"/>
                  </a:lnTo>
                  <a:lnTo>
                    <a:pt x="788" y="200"/>
                  </a:lnTo>
                  <a:lnTo>
                    <a:pt x="784" y="200"/>
                  </a:lnTo>
                  <a:lnTo>
                    <a:pt x="784" y="204"/>
                  </a:lnTo>
                  <a:lnTo>
                    <a:pt x="781" y="204"/>
                  </a:lnTo>
                  <a:lnTo>
                    <a:pt x="777" y="210"/>
                  </a:lnTo>
                  <a:lnTo>
                    <a:pt x="777" y="213"/>
                  </a:lnTo>
                  <a:lnTo>
                    <a:pt x="777" y="216"/>
                  </a:lnTo>
                  <a:lnTo>
                    <a:pt x="777" y="216"/>
                  </a:lnTo>
                  <a:lnTo>
                    <a:pt x="781" y="220"/>
                  </a:lnTo>
                  <a:lnTo>
                    <a:pt x="784" y="220"/>
                  </a:lnTo>
                  <a:lnTo>
                    <a:pt x="784" y="216"/>
                  </a:lnTo>
                  <a:lnTo>
                    <a:pt x="791" y="216"/>
                  </a:lnTo>
                  <a:lnTo>
                    <a:pt x="791" y="213"/>
                  </a:lnTo>
                  <a:lnTo>
                    <a:pt x="791" y="210"/>
                  </a:lnTo>
                  <a:lnTo>
                    <a:pt x="794" y="207"/>
                  </a:lnTo>
                  <a:lnTo>
                    <a:pt x="794" y="207"/>
                  </a:lnTo>
                  <a:lnTo>
                    <a:pt x="798" y="207"/>
                  </a:lnTo>
                  <a:lnTo>
                    <a:pt x="798" y="204"/>
                  </a:lnTo>
                  <a:lnTo>
                    <a:pt x="801" y="207"/>
                  </a:lnTo>
                  <a:lnTo>
                    <a:pt x="805" y="207"/>
                  </a:lnTo>
                  <a:lnTo>
                    <a:pt x="808" y="204"/>
                  </a:lnTo>
                  <a:lnTo>
                    <a:pt x="815" y="204"/>
                  </a:lnTo>
                  <a:lnTo>
                    <a:pt x="815" y="200"/>
                  </a:lnTo>
                  <a:lnTo>
                    <a:pt x="818" y="197"/>
                  </a:lnTo>
                  <a:lnTo>
                    <a:pt x="822" y="191"/>
                  </a:lnTo>
                  <a:lnTo>
                    <a:pt x="822" y="187"/>
                  </a:lnTo>
                  <a:lnTo>
                    <a:pt x="822" y="187"/>
                  </a:lnTo>
                  <a:lnTo>
                    <a:pt x="825" y="191"/>
                  </a:lnTo>
                  <a:lnTo>
                    <a:pt x="829" y="191"/>
                  </a:lnTo>
                  <a:lnTo>
                    <a:pt x="829" y="191"/>
                  </a:lnTo>
                  <a:lnTo>
                    <a:pt x="829" y="187"/>
                  </a:lnTo>
                  <a:lnTo>
                    <a:pt x="825" y="181"/>
                  </a:lnTo>
                  <a:lnTo>
                    <a:pt x="825" y="181"/>
                  </a:lnTo>
                  <a:lnTo>
                    <a:pt x="829" y="178"/>
                  </a:lnTo>
                  <a:lnTo>
                    <a:pt x="832" y="178"/>
                  </a:lnTo>
                  <a:lnTo>
                    <a:pt x="836" y="174"/>
                  </a:lnTo>
                  <a:lnTo>
                    <a:pt x="839" y="178"/>
                  </a:lnTo>
                  <a:lnTo>
                    <a:pt x="843" y="174"/>
                  </a:lnTo>
                  <a:lnTo>
                    <a:pt x="846" y="171"/>
                  </a:lnTo>
                  <a:lnTo>
                    <a:pt x="846" y="171"/>
                  </a:lnTo>
                  <a:lnTo>
                    <a:pt x="843" y="165"/>
                  </a:lnTo>
                  <a:lnTo>
                    <a:pt x="846" y="162"/>
                  </a:lnTo>
                  <a:lnTo>
                    <a:pt x="846" y="162"/>
                  </a:lnTo>
                  <a:lnTo>
                    <a:pt x="843" y="155"/>
                  </a:lnTo>
                  <a:lnTo>
                    <a:pt x="843" y="155"/>
                  </a:lnTo>
                  <a:lnTo>
                    <a:pt x="839" y="155"/>
                  </a:lnTo>
                  <a:lnTo>
                    <a:pt x="836" y="158"/>
                  </a:lnTo>
                  <a:lnTo>
                    <a:pt x="832" y="162"/>
                  </a:lnTo>
                  <a:lnTo>
                    <a:pt x="832" y="165"/>
                  </a:lnTo>
                  <a:lnTo>
                    <a:pt x="836" y="168"/>
                  </a:lnTo>
                  <a:lnTo>
                    <a:pt x="832" y="168"/>
                  </a:lnTo>
                  <a:lnTo>
                    <a:pt x="829" y="165"/>
                  </a:lnTo>
                  <a:lnTo>
                    <a:pt x="829" y="165"/>
                  </a:lnTo>
                  <a:lnTo>
                    <a:pt x="829" y="165"/>
                  </a:lnTo>
                  <a:lnTo>
                    <a:pt x="825" y="168"/>
                  </a:lnTo>
                  <a:lnTo>
                    <a:pt x="825" y="165"/>
                  </a:lnTo>
                  <a:lnTo>
                    <a:pt x="825" y="162"/>
                  </a:lnTo>
                  <a:lnTo>
                    <a:pt x="822" y="158"/>
                  </a:lnTo>
                  <a:lnTo>
                    <a:pt x="818" y="158"/>
                  </a:lnTo>
                  <a:lnTo>
                    <a:pt x="818" y="158"/>
                  </a:lnTo>
                  <a:lnTo>
                    <a:pt x="812" y="158"/>
                  </a:lnTo>
                  <a:lnTo>
                    <a:pt x="808" y="158"/>
                  </a:lnTo>
                  <a:lnTo>
                    <a:pt x="805" y="158"/>
                  </a:lnTo>
                  <a:lnTo>
                    <a:pt x="798" y="158"/>
                  </a:lnTo>
                  <a:lnTo>
                    <a:pt x="794" y="158"/>
                  </a:lnTo>
                  <a:lnTo>
                    <a:pt x="791" y="162"/>
                  </a:lnTo>
                  <a:lnTo>
                    <a:pt x="791" y="165"/>
                  </a:lnTo>
                  <a:lnTo>
                    <a:pt x="788" y="165"/>
                  </a:lnTo>
                  <a:lnTo>
                    <a:pt x="788" y="165"/>
                  </a:lnTo>
                  <a:lnTo>
                    <a:pt x="777" y="168"/>
                  </a:lnTo>
                  <a:lnTo>
                    <a:pt x="774" y="171"/>
                  </a:lnTo>
                  <a:lnTo>
                    <a:pt x="770" y="171"/>
                  </a:lnTo>
                  <a:lnTo>
                    <a:pt x="767" y="174"/>
                  </a:lnTo>
                  <a:lnTo>
                    <a:pt x="763" y="174"/>
                  </a:lnTo>
                  <a:lnTo>
                    <a:pt x="760" y="178"/>
                  </a:lnTo>
                  <a:lnTo>
                    <a:pt x="760" y="181"/>
                  </a:lnTo>
                  <a:lnTo>
                    <a:pt x="753" y="181"/>
                  </a:lnTo>
                  <a:lnTo>
                    <a:pt x="753" y="181"/>
                  </a:lnTo>
                  <a:lnTo>
                    <a:pt x="746" y="181"/>
                  </a:lnTo>
                  <a:lnTo>
                    <a:pt x="746" y="181"/>
                  </a:lnTo>
                  <a:lnTo>
                    <a:pt x="743" y="181"/>
                  </a:lnTo>
                  <a:lnTo>
                    <a:pt x="736" y="187"/>
                  </a:lnTo>
                  <a:lnTo>
                    <a:pt x="732" y="187"/>
                  </a:lnTo>
                  <a:lnTo>
                    <a:pt x="729" y="187"/>
                  </a:lnTo>
                  <a:lnTo>
                    <a:pt x="726" y="187"/>
                  </a:lnTo>
                  <a:lnTo>
                    <a:pt x="715" y="191"/>
                  </a:lnTo>
                  <a:lnTo>
                    <a:pt x="712" y="194"/>
                  </a:lnTo>
                  <a:lnTo>
                    <a:pt x="708" y="194"/>
                  </a:lnTo>
                  <a:lnTo>
                    <a:pt x="705" y="197"/>
                  </a:lnTo>
                  <a:lnTo>
                    <a:pt x="701" y="200"/>
                  </a:lnTo>
                  <a:lnTo>
                    <a:pt x="705" y="200"/>
                  </a:lnTo>
                  <a:lnTo>
                    <a:pt x="705" y="200"/>
                  </a:lnTo>
                  <a:lnTo>
                    <a:pt x="705" y="200"/>
                  </a:lnTo>
                  <a:lnTo>
                    <a:pt x="701" y="204"/>
                  </a:lnTo>
                  <a:lnTo>
                    <a:pt x="705" y="204"/>
                  </a:lnTo>
                  <a:lnTo>
                    <a:pt x="705" y="207"/>
                  </a:lnTo>
                  <a:lnTo>
                    <a:pt x="698" y="207"/>
                  </a:lnTo>
                  <a:lnTo>
                    <a:pt x="698" y="210"/>
                  </a:lnTo>
                  <a:lnTo>
                    <a:pt x="701" y="210"/>
                  </a:lnTo>
                  <a:lnTo>
                    <a:pt x="705" y="210"/>
                  </a:lnTo>
                  <a:lnTo>
                    <a:pt x="708" y="207"/>
                  </a:lnTo>
                  <a:lnTo>
                    <a:pt x="712" y="207"/>
                  </a:lnTo>
                  <a:lnTo>
                    <a:pt x="715" y="207"/>
                  </a:lnTo>
                  <a:lnTo>
                    <a:pt x="719" y="213"/>
                  </a:lnTo>
                  <a:lnTo>
                    <a:pt x="719" y="216"/>
                  </a:lnTo>
                  <a:lnTo>
                    <a:pt x="722" y="216"/>
                  </a:lnTo>
                  <a:lnTo>
                    <a:pt x="722" y="216"/>
                  </a:lnTo>
                  <a:close/>
                  <a:moveTo>
                    <a:pt x="1090" y="401"/>
                  </a:moveTo>
                  <a:lnTo>
                    <a:pt x="1090" y="401"/>
                  </a:lnTo>
                  <a:lnTo>
                    <a:pt x="1097" y="401"/>
                  </a:lnTo>
                  <a:lnTo>
                    <a:pt x="1097" y="404"/>
                  </a:lnTo>
                  <a:lnTo>
                    <a:pt x="1094" y="404"/>
                  </a:lnTo>
                  <a:lnTo>
                    <a:pt x="1094" y="404"/>
                  </a:lnTo>
                  <a:lnTo>
                    <a:pt x="1090" y="401"/>
                  </a:lnTo>
                  <a:lnTo>
                    <a:pt x="1090" y="401"/>
                  </a:lnTo>
                  <a:close/>
                  <a:moveTo>
                    <a:pt x="1046" y="329"/>
                  </a:moveTo>
                  <a:lnTo>
                    <a:pt x="1046" y="326"/>
                  </a:lnTo>
                  <a:lnTo>
                    <a:pt x="1042" y="326"/>
                  </a:lnTo>
                  <a:lnTo>
                    <a:pt x="1039" y="329"/>
                  </a:lnTo>
                  <a:lnTo>
                    <a:pt x="1042" y="329"/>
                  </a:lnTo>
                  <a:lnTo>
                    <a:pt x="1046" y="329"/>
                  </a:lnTo>
                  <a:lnTo>
                    <a:pt x="1042" y="333"/>
                  </a:lnTo>
                  <a:lnTo>
                    <a:pt x="1039" y="333"/>
                  </a:lnTo>
                  <a:lnTo>
                    <a:pt x="1039" y="333"/>
                  </a:lnTo>
                  <a:lnTo>
                    <a:pt x="1039" y="336"/>
                  </a:lnTo>
                  <a:lnTo>
                    <a:pt x="1039" y="336"/>
                  </a:lnTo>
                  <a:lnTo>
                    <a:pt x="1039" y="336"/>
                  </a:lnTo>
                  <a:lnTo>
                    <a:pt x="1035" y="336"/>
                  </a:lnTo>
                  <a:lnTo>
                    <a:pt x="1032" y="336"/>
                  </a:lnTo>
                  <a:lnTo>
                    <a:pt x="1028" y="339"/>
                  </a:lnTo>
                  <a:lnTo>
                    <a:pt x="1025" y="342"/>
                  </a:lnTo>
                  <a:lnTo>
                    <a:pt x="1025" y="342"/>
                  </a:lnTo>
                  <a:lnTo>
                    <a:pt x="1025" y="346"/>
                  </a:lnTo>
                  <a:lnTo>
                    <a:pt x="1028" y="346"/>
                  </a:lnTo>
                  <a:lnTo>
                    <a:pt x="1028" y="346"/>
                  </a:lnTo>
                  <a:lnTo>
                    <a:pt x="1028" y="349"/>
                  </a:lnTo>
                  <a:lnTo>
                    <a:pt x="1028" y="349"/>
                  </a:lnTo>
                  <a:lnTo>
                    <a:pt x="1032" y="346"/>
                  </a:lnTo>
                  <a:lnTo>
                    <a:pt x="1032" y="346"/>
                  </a:lnTo>
                  <a:lnTo>
                    <a:pt x="1028" y="349"/>
                  </a:lnTo>
                  <a:lnTo>
                    <a:pt x="1032" y="352"/>
                  </a:lnTo>
                  <a:lnTo>
                    <a:pt x="1032" y="352"/>
                  </a:lnTo>
                  <a:lnTo>
                    <a:pt x="1035" y="352"/>
                  </a:lnTo>
                  <a:lnTo>
                    <a:pt x="1035" y="352"/>
                  </a:lnTo>
                  <a:lnTo>
                    <a:pt x="1035" y="355"/>
                  </a:lnTo>
                  <a:lnTo>
                    <a:pt x="1039" y="355"/>
                  </a:lnTo>
                  <a:lnTo>
                    <a:pt x="1039" y="355"/>
                  </a:lnTo>
                  <a:lnTo>
                    <a:pt x="1042" y="355"/>
                  </a:lnTo>
                  <a:lnTo>
                    <a:pt x="1042" y="359"/>
                  </a:lnTo>
                  <a:lnTo>
                    <a:pt x="1042" y="362"/>
                  </a:lnTo>
                  <a:lnTo>
                    <a:pt x="1046" y="359"/>
                  </a:lnTo>
                  <a:lnTo>
                    <a:pt x="1046" y="362"/>
                  </a:lnTo>
                  <a:lnTo>
                    <a:pt x="1049" y="362"/>
                  </a:lnTo>
                  <a:lnTo>
                    <a:pt x="1056" y="365"/>
                  </a:lnTo>
                  <a:lnTo>
                    <a:pt x="1059" y="365"/>
                  </a:lnTo>
                  <a:lnTo>
                    <a:pt x="1059" y="365"/>
                  </a:lnTo>
                  <a:lnTo>
                    <a:pt x="1059" y="365"/>
                  </a:lnTo>
                  <a:lnTo>
                    <a:pt x="1059" y="362"/>
                  </a:lnTo>
                  <a:lnTo>
                    <a:pt x="1063" y="362"/>
                  </a:lnTo>
                  <a:lnTo>
                    <a:pt x="1063" y="359"/>
                  </a:lnTo>
                  <a:lnTo>
                    <a:pt x="1063" y="355"/>
                  </a:lnTo>
                  <a:lnTo>
                    <a:pt x="1066" y="349"/>
                  </a:lnTo>
                  <a:lnTo>
                    <a:pt x="1066" y="349"/>
                  </a:lnTo>
                  <a:lnTo>
                    <a:pt x="1070" y="342"/>
                  </a:lnTo>
                  <a:lnTo>
                    <a:pt x="1070" y="339"/>
                  </a:lnTo>
                  <a:lnTo>
                    <a:pt x="1070" y="339"/>
                  </a:lnTo>
                  <a:lnTo>
                    <a:pt x="1070" y="336"/>
                  </a:lnTo>
                  <a:lnTo>
                    <a:pt x="1066" y="333"/>
                  </a:lnTo>
                  <a:lnTo>
                    <a:pt x="1066" y="329"/>
                  </a:lnTo>
                  <a:lnTo>
                    <a:pt x="1066" y="326"/>
                  </a:lnTo>
                  <a:lnTo>
                    <a:pt x="1063" y="326"/>
                  </a:lnTo>
                  <a:lnTo>
                    <a:pt x="1059" y="323"/>
                  </a:lnTo>
                  <a:lnTo>
                    <a:pt x="1056" y="323"/>
                  </a:lnTo>
                  <a:lnTo>
                    <a:pt x="1052" y="323"/>
                  </a:lnTo>
                  <a:lnTo>
                    <a:pt x="1049" y="323"/>
                  </a:lnTo>
                  <a:lnTo>
                    <a:pt x="1046" y="326"/>
                  </a:lnTo>
                  <a:lnTo>
                    <a:pt x="1049" y="326"/>
                  </a:lnTo>
                  <a:lnTo>
                    <a:pt x="1049" y="329"/>
                  </a:lnTo>
                  <a:lnTo>
                    <a:pt x="1046" y="329"/>
                  </a:lnTo>
                  <a:lnTo>
                    <a:pt x="1046" y="329"/>
                  </a:lnTo>
                  <a:close/>
                  <a:moveTo>
                    <a:pt x="1073" y="304"/>
                  </a:moveTo>
                  <a:lnTo>
                    <a:pt x="1070" y="304"/>
                  </a:lnTo>
                  <a:lnTo>
                    <a:pt x="1070" y="300"/>
                  </a:lnTo>
                  <a:lnTo>
                    <a:pt x="1073" y="300"/>
                  </a:lnTo>
                  <a:lnTo>
                    <a:pt x="1073" y="300"/>
                  </a:lnTo>
                  <a:lnTo>
                    <a:pt x="1073" y="304"/>
                  </a:lnTo>
                  <a:lnTo>
                    <a:pt x="1073" y="304"/>
                  </a:lnTo>
                  <a:close/>
                  <a:moveTo>
                    <a:pt x="1066" y="320"/>
                  </a:moveTo>
                  <a:lnTo>
                    <a:pt x="1066" y="317"/>
                  </a:lnTo>
                  <a:lnTo>
                    <a:pt x="1066" y="317"/>
                  </a:lnTo>
                  <a:lnTo>
                    <a:pt x="1066" y="317"/>
                  </a:lnTo>
                  <a:lnTo>
                    <a:pt x="1066" y="313"/>
                  </a:lnTo>
                  <a:lnTo>
                    <a:pt x="1066" y="310"/>
                  </a:lnTo>
                  <a:lnTo>
                    <a:pt x="1066" y="310"/>
                  </a:lnTo>
                  <a:lnTo>
                    <a:pt x="1073" y="310"/>
                  </a:lnTo>
                  <a:lnTo>
                    <a:pt x="1070" y="317"/>
                  </a:lnTo>
                  <a:lnTo>
                    <a:pt x="1070" y="320"/>
                  </a:lnTo>
                  <a:lnTo>
                    <a:pt x="1070" y="320"/>
                  </a:lnTo>
                  <a:lnTo>
                    <a:pt x="1066" y="320"/>
                  </a:lnTo>
                  <a:lnTo>
                    <a:pt x="1066" y="320"/>
                  </a:lnTo>
                  <a:close/>
                  <a:moveTo>
                    <a:pt x="1042" y="313"/>
                  </a:moveTo>
                  <a:lnTo>
                    <a:pt x="1039" y="310"/>
                  </a:lnTo>
                  <a:lnTo>
                    <a:pt x="1042" y="310"/>
                  </a:lnTo>
                  <a:lnTo>
                    <a:pt x="1046" y="310"/>
                  </a:lnTo>
                  <a:lnTo>
                    <a:pt x="1046" y="310"/>
                  </a:lnTo>
                  <a:lnTo>
                    <a:pt x="1042" y="310"/>
                  </a:lnTo>
                  <a:lnTo>
                    <a:pt x="1042" y="313"/>
                  </a:lnTo>
                  <a:lnTo>
                    <a:pt x="1042" y="313"/>
                  </a:lnTo>
                  <a:lnTo>
                    <a:pt x="1042" y="313"/>
                  </a:lnTo>
                  <a:close/>
                  <a:moveTo>
                    <a:pt x="1035" y="317"/>
                  </a:moveTo>
                  <a:lnTo>
                    <a:pt x="1032" y="317"/>
                  </a:lnTo>
                  <a:lnTo>
                    <a:pt x="1035" y="313"/>
                  </a:lnTo>
                  <a:lnTo>
                    <a:pt x="1035" y="313"/>
                  </a:lnTo>
                  <a:lnTo>
                    <a:pt x="1035" y="317"/>
                  </a:lnTo>
                  <a:lnTo>
                    <a:pt x="1035" y="317"/>
                  </a:lnTo>
                  <a:lnTo>
                    <a:pt x="1035" y="317"/>
                  </a:lnTo>
                  <a:close/>
                  <a:moveTo>
                    <a:pt x="1039" y="323"/>
                  </a:moveTo>
                  <a:lnTo>
                    <a:pt x="1039" y="323"/>
                  </a:lnTo>
                  <a:lnTo>
                    <a:pt x="1039" y="320"/>
                  </a:lnTo>
                  <a:lnTo>
                    <a:pt x="1039" y="320"/>
                  </a:lnTo>
                  <a:lnTo>
                    <a:pt x="1042" y="317"/>
                  </a:lnTo>
                  <a:lnTo>
                    <a:pt x="1042" y="320"/>
                  </a:lnTo>
                  <a:lnTo>
                    <a:pt x="1042" y="323"/>
                  </a:lnTo>
                  <a:lnTo>
                    <a:pt x="1042" y="323"/>
                  </a:lnTo>
                  <a:lnTo>
                    <a:pt x="1039" y="323"/>
                  </a:lnTo>
                  <a:lnTo>
                    <a:pt x="1039" y="323"/>
                  </a:lnTo>
                  <a:close/>
                  <a:moveTo>
                    <a:pt x="1032" y="326"/>
                  </a:moveTo>
                  <a:lnTo>
                    <a:pt x="1028" y="326"/>
                  </a:lnTo>
                  <a:lnTo>
                    <a:pt x="1028" y="323"/>
                  </a:lnTo>
                  <a:lnTo>
                    <a:pt x="1028" y="320"/>
                  </a:lnTo>
                  <a:lnTo>
                    <a:pt x="1032" y="320"/>
                  </a:lnTo>
                  <a:lnTo>
                    <a:pt x="1035" y="320"/>
                  </a:lnTo>
                  <a:lnTo>
                    <a:pt x="1035" y="320"/>
                  </a:lnTo>
                  <a:lnTo>
                    <a:pt x="1039" y="323"/>
                  </a:lnTo>
                  <a:lnTo>
                    <a:pt x="1035" y="323"/>
                  </a:lnTo>
                  <a:lnTo>
                    <a:pt x="1035" y="326"/>
                  </a:lnTo>
                  <a:lnTo>
                    <a:pt x="1035" y="326"/>
                  </a:lnTo>
                  <a:lnTo>
                    <a:pt x="1032" y="326"/>
                  </a:lnTo>
                  <a:lnTo>
                    <a:pt x="1032" y="326"/>
                  </a:lnTo>
                  <a:lnTo>
                    <a:pt x="1032" y="326"/>
                  </a:lnTo>
                  <a:close/>
                  <a:moveTo>
                    <a:pt x="1021" y="329"/>
                  </a:moveTo>
                  <a:lnTo>
                    <a:pt x="1021" y="326"/>
                  </a:lnTo>
                  <a:lnTo>
                    <a:pt x="1021" y="326"/>
                  </a:lnTo>
                  <a:lnTo>
                    <a:pt x="1021" y="326"/>
                  </a:lnTo>
                  <a:lnTo>
                    <a:pt x="1021" y="329"/>
                  </a:lnTo>
                  <a:lnTo>
                    <a:pt x="1021" y="329"/>
                  </a:lnTo>
                  <a:lnTo>
                    <a:pt x="1021" y="329"/>
                  </a:lnTo>
                  <a:close/>
                  <a:moveTo>
                    <a:pt x="980" y="333"/>
                  </a:moveTo>
                  <a:lnTo>
                    <a:pt x="980" y="333"/>
                  </a:lnTo>
                  <a:lnTo>
                    <a:pt x="977" y="333"/>
                  </a:lnTo>
                  <a:lnTo>
                    <a:pt x="973" y="329"/>
                  </a:lnTo>
                  <a:lnTo>
                    <a:pt x="973" y="326"/>
                  </a:lnTo>
                  <a:lnTo>
                    <a:pt x="973" y="326"/>
                  </a:lnTo>
                  <a:lnTo>
                    <a:pt x="973" y="323"/>
                  </a:lnTo>
                  <a:lnTo>
                    <a:pt x="977" y="320"/>
                  </a:lnTo>
                  <a:lnTo>
                    <a:pt x="977" y="320"/>
                  </a:lnTo>
                  <a:lnTo>
                    <a:pt x="980" y="323"/>
                  </a:lnTo>
                  <a:lnTo>
                    <a:pt x="980" y="323"/>
                  </a:lnTo>
                  <a:lnTo>
                    <a:pt x="980" y="320"/>
                  </a:lnTo>
                  <a:lnTo>
                    <a:pt x="980" y="320"/>
                  </a:lnTo>
                  <a:lnTo>
                    <a:pt x="977" y="317"/>
                  </a:lnTo>
                  <a:lnTo>
                    <a:pt x="977" y="317"/>
                  </a:lnTo>
                  <a:lnTo>
                    <a:pt x="977" y="313"/>
                  </a:lnTo>
                  <a:lnTo>
                    <a:pt x="973" y="313"/>
                  </a:lnTo>
                  <a:lnTo>
                    <a:pt x="977" y="313"/>
                  </a:lnTo>
                  <a:lnTo>
                    <a:pt x="977" y="317"/>
                  </a:lnTo>
                  <a:lnTo>
                    <a:pt x="980" y="313"/>
                  </a:lnTo>
                  <a:lnTo>
                    <a:pt x="977" y="313"/>
                  </a:lnTo>
                  <a:lnTo>
                    <a:pt x="980" y="310"/>
                  </a:lnTo>
                  <a:lnTo>
                    <a:pt x="984" y="313"/>
                  </a:lnTo>
                  <a:lnTo>
                    <a:pt x="990" y="313"/>
                  </a:lnTo>
                  <a:lnTo>
                    <a:pt x="990" y="313"/>
                  </a:lnTo>
                  <a:lnTo>
                    <a:pt x="990" y="310"/>
                  </a:lnTo>
                  <a:lnTo>
                    <a:pt x="987" y="310"/>
                  </a:lnTo>
                  <a:lnTo>
                    <a:pt x="987" y="310"/>
                  </a:lnTo>
                  <a:lnTo>
                    <a:pt x="994" y="310"/>
                  </a:lnTo>
                  <a:lnTo>
                    <a:pt x="997" y="307"/>
                  </a:lnTo>
                  <a:lnTo>
                    <a:pt x="1001" y="307"/>
                  </a:lnTo>
                  <a:lnTo>
                    <a:pt x="1008" y="307"/>
                  </a:lnTo>
                  <a:lnTo>
                    <a:pt x="1011" y="307"/>
                  </a:lnTo>
                  <a:lnTo>
                    <a:pt x="1008" y="304"/>
                  </a:lnTo>
                  <a:lnTo>
                    <a:pt x="990" y="304"/>
                  </a:lnTo>
                  <a:lnTo>
                    <a:pt x="987" y="304"/>
                  </a:lnTo>
                  <a:lnTo>
                    <a:pt x="984" y="300"/>
                  </a:lnTo>
                  <a:lnTo>
                    <a:pt x="980" y="304"/>
                  </a:lnTo>
                  <a:lnTo>
                    <a:pt x="977" y="300"/>
                  </a:lnTo>
                  <a:lnTo>
                    <a:pt x="973" y="300"/>
                  </a:lnTo>
                  <a:lnTo>
                    <a:pt x="970" y="300"/>
                  </a:lnTo>
                  <a:lnTo>
                    <a:pt x="966" y="300"/>
                  </a:lnTo>
                  <a:lnTo>
                    <a:pt x="966" y="300"/>
                  </a:lnTo>
                  <a:lnTo>
                    <a:pt x="963" y="300"/>
                  </a:lnTo>
                  <a:lnTo>
                    <a:pt x="963" y="300"/>
                  </a:lnTo>
                  <a:lnTo>
                    <a:pt x="960" y="300"/>
                  </a:lnTo>
                  <a:lnTo>
                    <a:pt x="960" y="297"/>
                  </a:lnTo>
                  <a:lnTo>
                    <a:pt x="963" y="297"/>
                  </a:lnTo>
                  <a:lnTo>
                    <a:pt x="966" y="294"/>
                  </a:lnTo>
                  <a:lnTo>
                    <a:pt x="966" y="297"/>
                  </a:lnTo>
                  <a:lnTo>
                    <a:pt x="970" y="294"/>
                  </a:lnTo>
                  <a:lnTo>
                    <a:pt x="966" y="294"/>
                  </a:lnTo>
                  <a:lnTo>
                    <a:pt x="970" y="291"/>
                  </a:lnTo>
                  <a:lnTo>
                    <a:pt x="970" y="291"/>
                  </a:lnTo>
                  <a:lnTo>
                    <a:pt x="977" y="291"/>
                  </a:lnTo>
                  <a:lnTo>
                    <a:pt x="977" y="288"/>
                  </a:lnTo>
                  <a:lnTo>
                    <a:pt x="977" y="291"/>
                  </a:lnTo>
                  <a:lnTo>
                    <a:pt x="980" y="294"/>
                  </a:lnTo>
                  <a:lnTo>
                    <a:pt x="980" y="297"/>
                  </a:lnTo>
                  <a:lnTo>
                    <a:pt x="980" y="297"/>
                  </a:lnTo>
                  <a:lnTo>
                    <a:pt x="984" y="297"/>
                  </a:lnTo>
                  <a:lnTo>
                    <a:pt x="980" y="294"/>
                  </a:lnTo>
                  <a:lnTo>
                    <a:pt x="980" y="291"/>
                  </a:lnTo>
                  <a:lnTo>
                    <a:pt x="980" y="288"/>
                  </a:lnTo>
                  <a:lnTo>
                    <a:pt x="984" y="288"/>
                  </a:lnTo>
                  <a:lnTo>
                    <a:pt x="987" y="284"/>
                  </a:lnTo>
                  <a:lnTo>
                    <a:pt x="984" y="284"/>
                  </a:lnTo>
                  <a:lnTo>
                    <a:pt x="984" y="281"/>
                  </a:lnTo>
                  <a:lnTo>
                    <a:pt x="987" y="278"/>
                  </a:lnTo>
                  <a:lnTo>
                    <a:pt x="987" y="278"/>
                  </a:lnTo>
                  <a:lnTo>
                    <a:pt x="990" y="275"/>
                  </a:lnTo>
                  <a:lnTo>
                    <a:pt x="990" y="275"/>
                  </a:lnTo>
                  <a:lnTo>
                    <a:pt x="987" y="275"/>
                  </a:lnTo>
                  <a:lnTo>
                    <a:pt x="987" y="271"/>
                  </a:lnTo>
                  <a:lnTo>
                    <a:pt x="987" y="271"/>
                  </a:lnTo>
                  <a:lnTo>
                    <a:pt x="990" y="268"/>
                  </a:lnTo>
                  <a:lnTo>
                    <a:pt x="990" y="268"/>
                  </a:lnTo>
                  <a:lnTo>
                    <a:pt x="994" y="265"/>
                  </a:lnTo>
                  <a:lnTo>
                    <a:pt x="997" y="265"/>
                  </a:lnTo>
                  <a:lnTo>
                    <a:pt x="997" y="268"/>
                  </a:lnTo>
                  <a:lnTo>
                    <a:pt x="997" y="271"/>
                  </a:lnTo>
                  <a:lnTo>
                    <a:pt x="1001" y="275"/>
                  </a:lnTo>
                  <a:lnTo>
                    <a:pt x="997" y="275"/>
                  </a:lnTo>
                  <a:lnTo>
                    <a:pt x="1001" y="278"/>
                  </a:lnTo>
                  <a:lnTo>
                    <a:pt x="1001" y="278"/>
                  </a:lnTo>
                  <a:lnTo>
                    <a:pt x="1004" y="288"/>
                  </a:lnTo>
                  <a:lnTo>
                    <a:pt x="1001" y="291"/>
                  </a:lnTo>
                  <a:lnTo>
                    <a:pt x="1001" y="294"/>
                  </a:lnTo>
                  <a:lnTo>
                    <a:pt x="1004" y="294"/>
                  </a:lnTo>
                  <a:lnTo>
                    <a:pt x="1008" y="291"/>
                  </a:lnTo>
                  <a:lnTo>
                    <a:pt x="1008" y="291"/>
                  </a:lnTo>
                  <a:lnTo>
                    <a:pt x="1008" y="284"/>
                  </a:lnTo>
                  <a:lnTo>
                    <a:pt x="1011" y="284"/>
                  </a:lnTo>
                  <a:lnTo>
                    <a:pt x="1011" y="281"/>
                  </a:lnTo>
                  <a:lnTo>
                    <a:pt x="1004" y="278"/>
                  </a:lnTo>
                  <a:lnTo>
                    <a:pt x="1008" y="278"/>
                  </a:lnTo>
                  <a:lnTo>
                    <a:pt x="1011" y="278"/>
                  </a:lnTo>
                  <a:lnTo>
                    <a:pt x="1015" y="278"/>
                  </a:lnTo>
                  <a:lnTo>
                    <a:pt x="1011" y="278"/>
                  </a:lnTo>
                  <a:lnTo>
                    <a:pt x="1008" y="275"/>
                  </a:lnTo>
                  <a:lnTo>
                    <a:pt x="1008" y="268"/>
                  </a:lnTo>
                  <a:lnTo>
                    <a:pt x="1008" y="268"/>
                  </a:lnTo>
                  <a:lnTo>
                    <a:pt x="1008" y="262"/>
                  </a:lnTo>
                  <a:lnTo>
                    <a:pt x="1011" y="262"/>
                  </a:lnTo>
                  <a:lnTo>
                    <a:pt x="1015" y="262"/>
                  </a:lnTo>
                  <a:lnTo>
                    <a:pt x="1015" y="258"/>
                  </a:lnTo>
                  <a:lnTo>
                    <a:pt x="1018" y="258"/>
                  </a:lnTo>
                  <a:lnTo>
                    <a:pt x="1018" y="258"/>
                  </a:lnTo>
                  <a:lnTo>
                    <a:pt x="1025" y="258"/>
                  </a:lnTo>
                  <a:lnTo>
                    <a:pt x="1025" y="258"/>
                  </a:lnTo>
                  <a:lnTo>
                    <a:pt x="1025" y="258"/>
                  </a:lnTo>
                  <a:lnTo>
                    <a:pt x="1028" y="262"/>
                  </a:lnTo>
                  <a:lnTo>
                    <a:pt x="1028" y="262"/>
                  </a:lnTo>
                  <a:lnTo>
                    <a:pt x="1032" y="262"/>
                  </a:lnTo>
                  <a:lnTo>
                    <a:pt x="1035" y="262"/>
                  </a:lnTo>
                  <a:lnTo>
                    <a:pt x="1032" y="268"/>
                  </a:lnTo>
                  <a:lnTo>
                    <a:pt x="1032" y="271"/>
                  </a:lnTo>
                  <a:lnTo>
                    <a:pt x="1032" y="275"/>
                  </a:lnTo>
                  <a:lnTo>
                    <a:pt x="1032" y="275"/>
                  </a:lnTo>
                  <a:lnTo>
                    <a:pt x="1035" y="271"/>
                  </a:lnTo>
                  <a:lnTo>
                    <a:pt x="1035" y="271"/>
                  </a:lnTo>
                  <a:lnTo>
                    <a:pt x="1039" y="271"/>
                  </a:lnTo>
                  <a:lnTo>
                    <a:pt x="1039" y="265"/>
                  </a:lnTo>
                  <a:lnTo>
                    <a:pt x="1042" y="265"/>
                  </a:lnTo>
                  <a:lnTo>
                    <a:pt x="1046" y="265"/>
                  </a:lnTo>
                  <a:lnTo>
                    <a:pt x="1046" y="265"/>
                  </a:lnTo>
                  <a:lnTo>
                    <a:pt x="1046" y="262"/>
                  </a:lnTo>
                  <a:lnTo>
                    <a:pt x="1046" y="262"/>
                  </a:lnTo>
                  <a:lnTo>
                    <a:pt x="1049" y="262"/>
                  </a:lnTo>
                  <a:lnTo>
                    <a:pt x="1049" y="265"/>
                  </a:lnTo>
                  <a:lnTo>
                    <a:pt x="1049" y="265"/>
                  </a:lnTo>
                  <a:lnTo>
                    <a:pt x="1049" y="268"/>
                  </a:lnTo>
                  <a:lnTo>
                    <a:pt x="1049" y="268"/>
                  </a:lnTo>
                  <a:lnTo>
                    <a:pt x="1046" y="268"/>
                  </a:lnTo>
                  <a:lnTo>
                    <a:pt x="1049" y="271"/>
                  </a:lnTo>
                  <a:lnTo>
                    <a:pt x="1052" y="271"/>
                  </a:lnTo>
                  <a:lnTo>
                    <a:pt x="1052" y="275"/>
                  </a:lnTo>
                  <a:lnTo>
                    <a:pt x="1052" y="278"/>
                  </a:lnTo>
                  <a:lnTo>
                    <a:pt x="1049" y="281"/>
                  </a:lnTo>
                  <a:lnTo>
                    <a:pt x="1046" y="284"/>
                  </a:lnTo>
                  <a:lnTo>
                    <a:pt x="1046" y="291"/>
                  </a:lnTo>
                  <a:lnTo>
                    <a:pt x="1046" y="291"/>
                  </a:lnTo>
                  <a:lnTo>
                    <a:pt x="1042" y="294"/>
                  </a:lnTo>
                  <a:lnTo>
                    <a:pt x="1039" y="297"/>
                  </a:lnTo>
                  <a:lnTo>
                    <a:pt x="1035" y="300"/>
                  </a:lnTo>
                  <a:lnTo>
                    <a:pt x="1032" y="304"/>
                  </a:lnTo>
                  <a:lnTo>
                    <a:pt x="1032" y="304"/>
                  </a:lnTo>
                  <a:lnTo>
                    <a:pt x="1032" y="307"/>
                  </a:lnTo>
                  <a:lnTo>
                    <a:pt x="1028" y="307"/>
                  </a:lnTo>
                  <a:lnTo>
                    <a:pt x="1028" y="307"/>
                  </a:lnTo>
                  <a:lnTo>
                    <a:pt x="1025" y="307"/>
                  </a:lnTo>
                  <a:lnTo>
                    <a:pt x="1025" y="310"/>
                  </a:lnTo>
                  <a:lnTo>
                    <a:pt x="1028" y="310"/>
                  </a:lnTo>
                  <a:lnTo>
                    <a:pt x="1028" y="313"/>
                  </a:lnTo>
                  <a:lnTo>
                    <a:pt x="1025" y="320"/>
                  </a:lnTo>
                  <a:lnTo>
                    <a:pt x="1025" y="320"/>
                  </a:lnTo>
                  <a:lnTo>
                    <a:pt x="1021" y="317"/>
                  </a:lnTo>
                  <a:lnTo>
                    <a:pt x="1021" y="317"/>
                  </a:lnTo>
                  <a:lnTo>
                    <a:pt x="1021" y="317"/>
                  </a:lnTo>
                  <a:lnTo>
                    <a:pt x="1018" y="317"/>
                  </a:lnTo>
                  <a:lnTo>
                    <a:pt x="1018" y="320"/>
                  </a:lnTo>
                  <a:lnTo>
                    <a:pt x="1015" y="320"/>
                  </a:lnTo>
                  <a:lnTo>
                    <a:pt x="1015" y="323"/>
                  </a:lnTo>
                  <a:lnTo>
                    <a:pt x="1011" y="323"/>
                  </a:lnTo>
                  <a:lnTo>
                    <a:pt x="1008" y="326"/>
                  </a:lnTo>
                  <a:lnTo>
                    <a:pt x="1011" y="326"/>
                  </a:lnTo>
                  <a:lnTo>
                    <a:pt x="1015" y="326"/>
                  </a:lnTo>
                  <a:lnTo>
                    <a:pt x="1015" y="326"/>
                  </a:lnTo>
                  <a:lnTo>
                    <a:pt x="1011" y="329"/>
                  </a:lnTo>
                  <a:lnTo>
                    <a:pt x="1011" y="329"/>
                  </a:lnTo>
                  <a:lnTo>
                    <a:pt x="1011" y="333"/>
                  </a:lnTo>
                  <a:lnTo>
                    <a:pt x="1011" y="336"/>
                  </a:lnTo>
                  <a:lnTo>
                    <a:pt x="1008" y="333"/>
                  </a:lnTo>
                  <a:lnTo>
                    <a:pt x="1008" y="329"/>
                  </a:lnTo>
                  <a:lnTo>
                    <a:pt x="1008" y="326"/>
                  </a:lnTo>
                  <a:lnTo>
                    <a:pt x="1008" y="329"/>
                  </a:lnTo>
                  <a:lnTo>
                    <a:pt x="1004" y="333"/>
                  </a:lnTo>
                  <a:lnTo>
                    <a:pt x="1008" y="333"/>
                  </a:lnTo>
                  <a:lnTo>
                    <a:pt x="1004" y="336"/>
                  </a:lnTo>
                  <a:lnTo>
                    <a:pt x="994" y="336"/>
                  </a:lnTo>
                  <a:lnTo>
                    <a:pt x="994" y="333"/>
                  </a:lnTo>
                  <a:lnTo>
                    <a:pt x="994" y="333"/>
                  </a:lnTo>
                  <a:lnTo>
                    <a:pt x="990" y="333"/>
                  </a:lnTo>
                  <a:lnTo>
                    <a:pt x="987" y="333"/>
                  </a:lnTo>
                  <a:lnTo>
                    <a:pt x="987" y="333"/>
                  </a:lnTo>
                  <a:lnTo>
                    <a:pt x="990" y="329"/>
                  </a:lnTo>
                  <a:lnTo>
                    <a:pt x="984" y="329"/>
                  </a:lnTo>
                  <a:lnTo>
                    <a:pt x="984" y="333"/>
                  </a:lnTo>
                  <a:lnTo>
                    <a:pt x="980" y="333"/>
                  </a:lnTo>
                  <a:lnTo>
                    <a:pt x="980" y="333"/>
                  </a:lnTo>
                  <a:close/>
                  <a:moveTo>
                    <a:pt x="729" y="242"/>
                  </a:moveTo>
                  <a:lnTo>
                    <a:pt x="729" y="242"/>
                  </a:lnTo>
                  <a:lnTo>
                    <a:pt x="729" y="239"/>
                  </a:lnTo>
                  <a:lnTo>
                    <a:pt x="739" y="233"/>
                  </a:lnTo>
                  <a:lnTo>
                    <a:pt x="743" y="233"/>
                  </a:lnTo>
                  <a:lnTo>
                    <a:pt x="746" y="229"/>
                  </a:lnTo>
                  <a:lnTo>
                    <a:pt x="750" y="229"/>
                  </a:lnTo>
                  <a:lnTo>
                    <a:pt x="753" y="226"/>
                  </a:lnTo>
                  <a:lnTo>
                    <a:pt x="760" y="226"/>
                  </a:lnTo>
                  <a:lnTo>
                    <a:pt x="763" y="223"/>
                  </a:lnTo>
                  <a:lnTo>
                    <a:pt x="763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0" y="226"/>
                  </a:lnTo>
                  <a:lnTo>
                    <a:pt x="767" y="229"/>
                  </a:lnTo>
                  <a:lnTo>
                    <a:pt x="760" y="233"/>
                  </a:lnTo>
                  <a:lnTo>
                    <a:pt x="750" y="239"/>
                  </a:lnTo>
                  <a:lnTo>
                    <a:pt x="746" y="242"/>
                  </a:lnTo>
                  <a:lnTo>
                    <a:pt x="743" y="246"/>
                  </a:lnTo>
                  <a:lnTo>
                    <a:pt x="739" y="246"/>
                  </a:lnTo>
                  <a:lnTo>
                    <a:pt x="736" y="246"/>
                  </a:lnTo>
                  <a:lnTo>
                    <a:pt x="736" y="246"/>
                  </a:lnTo>
                  <a:lnTo>
                    <a:pt x="736" y="242"/>
                  </a:lnTo>
                  <a:lnTo>
                    <a:pt x="732" y="242"/>
                  </a:lnTo>
                  <a:lnTo>
                    <a:pt x="729" y="242"/>
                  </a:lnTo>
                  <a:lnTo>
                    <a:pt x="729" y="242"/>
                  </a:lnTo>
                  <a:close/>
                  <a:moveTo>
                    <a:pt x="915" y="310"/>
                  </a:moveTo>
                  <a:lnTo>
                    <a:pt x="915" y="310"/>
                  </a:lnTo>
                  <a:lnTo>
                    <a:pt x="915" y="307"/>
                  </a:lnTo>
                  <a:lnTo>
                    <a:pt x="922" y="307"/>
                  </a:lnTo>
                  <a:lnTo>
                    <a:pt x="922" y="304"/>
                  </a:lnTo>
                  <a:lnTo>
                    <a:pt x="922" y="304"/>
                  </a:lnTo>
                  <a:lnTo>
                    <a:pt x="929" y="300"/>
                  </a:lnTo>
                  <a:lnTo>
                    <a:pt x="929" y="300"/>
                  </a:lnTo>
                  <a:lnTo>
                    <a:pt x="932" y="300"/>
                  </a:lnTo>
                  <a:lnTo>
                    <a:pt x="932" y="300"/>
                  </a:lnTo>
                  <a:lnTo>
                    <a:pt x="932" y="304"/>
                  </a:lnTo>
                  <a:lnTo>
                    <a:pt x="932" y="307"/>
                  </a:lnTo>
                  <a:lnTo>
                    <a:pt x="932" y="310"/>
                  </a:lnTo>
                  <a:lnTo>
                    <a:pt x="929" y="313"/>
                  </a:lnTo>
                  <a:lnTo>
                    <a:pt x="925" y="313"/>
                  </a:lnTo>
                  <a:lnTo>
                    <a:pt x="922" y="313"/>
                  </a:lnTo>
                  <a:lnTo>
                    <a:pt x="922" y="313"/>
                  </a:lnTo>
                  <a:lnTo>
                    <a:pt x="918" y="313"/>
                  </a:lnTo>
                  <a:lnTo>
                    <a:pt x="915" y="310"/>
                  </a:lnTo>
                  <a:lnTo>
                    <a:pt x="915" y="310"/>
                  </a:lnTo>
                  <a:close/>
                  <a:moveTo>
                    <a:pt x="767" y="307"/>
                  </a:moveTo>
                  <a:lnTo>
                    <a:pt x="767" y="304"/>
                  </a:lnTo>
                  <a:lnTo>
                    <a:pt x="767" y="300"/>
                  </a:lnTo>
                  <a:lnTo>
                    <a:pt x="767" y="294"/>
                  </a:lnTo>
                  <a:lnTo>
                    <a:pt x="774" y="294"/>
                  </a:lnTo>
                  <a:lnTo>
                    <a:pt x="781" y="294"/>
                  </a:lnTo>
                  <a:lnTo>
                    <a:pt x="784" y="294"/>
                  </a:lnTo>
                  <a:lnTo>
                    <a:pt x="788" y="294"/>
                  </a:lnTo>
                  <a:lnTo>
                    <a:pt x="791" y="294"/>
                  </a:lnTo>
                  <a:lnTo>
                    <a:pt x="794" y="291"/>
                  </a:lnTo>
                  <a:lnTo>
                    <a:pt x="801" y="291"/>
                  </a:lnTo>
                  <a:lnTo>
                    <a:pt x="808" y="294"/>
                  </a:lnTo>
                  <a:lnTo>
                    <a:pt x="812" y="294"/>
                  </a:lnTo>
                  <a:lnTo>
                    <a:pt x="815" y="294"/>
                  </a:lnTo>
                  <a:lnTo>
                    <a:pt x="818" y="291"/>
                  </a:lnTo>
                  <a:lnTo>
                    <a:pt x="829" y="291"/>
                  </a:lnTo>
                  <a:lnTo>
                    <a:pt x="829" y="291"/>
                  </a:lnTo>
                  <a:lnTo>
                    <a:pt x="832" y="288"/>
                  </a:lnTo>
                  <a:lnTo>
                    <a:pt x="829" y="288"/>
                  </a:lnTo>
                  <a:lnTo>
                    <a:pt x="825" y="288"/>
                  </a:lnTo>
                  <a:lnTo>
                    <a:pt x="822" y="288"/>
                  </a:lnTo>
                  <a:lnTo>
                    <a:pt x="822" y="288"/>
                  </a:lnTo>
                  <a:lnTo>
                    <a:pt x="815" y="288"/>
                  </a:lnTo>
                  <a:lnTo>
                    <a:pt x="812" y="288"/>
                  </a:lnTo>
                  <a:lnTo>
                    <a:pt x="812" y="288"/>
                  </a:lnTo>
                  <a:lnTo>
                    <a:pt x="808" y="284"/>
                  </a:lnTo>
                  <a:lnTo>
                    <a:pt x="805" y="288"/>
                  </a:lnTo>
                  <a:lnTo>
                    <a:pt x="801" y="288"/>
                  </a:lnTo>
                  <a:lnTo>
                    <a:pt x="798" y="288"/>
                  </a:lnTo>
                  <a:lnTo>
                    <a:pt x="798" y="288"/>
                  </a:lnTo>
                  <a:lnTo>
                    <a:pt x="794" y="288"/>
                  </a:lnTo>
                  <a:lnTo>
                    <a:pt x="788" y="288"/>
                  </a:lnTo>
                  <a:lnTo>
                    <a:pt x="788" y="284"/>
                  </a:lnTo>
                  <a:lnTo>
                    <a:pt x="791" y="281"/>
                  </a:lnTo>
                  <a:lnTo>
                    <a:pt x="798" y="278"/>
                  </a:lnTo>
                  <a:lnTo>
                    <a:pt x="794" y="278"/>
                  </a:lnTo>
                  <a:lnTo>
                    <a:pt x="791" y="278"/>
                  </a:lnTo>
                  <a:lnTo>
                    <a:pt x="788" y="281"/>
                  </a:lnTo>
                  <a:lnTo>
                    <a:pt x="784" y="278"/>
                  </a:lnTo>
                  <a:lnTo>
                    <a:pt x="784" y="278"/>
                  </a:lnTo>
                  <a:lnTo>
                    <a:pt x="784" y="281"/>
                  </a:lnTo>
                  <a:lnTo>
                    <a:pt x="777" y="284"/>
                  </a:lnTo>
                  <a:lnTo>
                    <a:pt x="777" y="288"/>
                  </a:lnTo>
                  <a:lnTo>
                    <a:pt x="774" y="288"/>
                  </a:lnTo>
                  <a:lnTo>
                    <a:pt x="767" y="284"/>
                  </a:lnTo>
                  <a:lnTo>
                    <a:pt x="767" y="281"/>
                  </a:lnTo>
                  <a:lnTo>
                    <a:pt x="770" y="281"/>
                  </a:lnTo>
                  <a:lnTo>
                    <a:pt x="767" y="281"/>
                  </a:lnTo>
                  <a:lnTo>
                    <a:pt x="767" y="278"/>
                  </a:lnTo>
                  <a:lnTo>
                    <a:pt x="763" y="284"/>
                  </a:lnTo>
                  <a:lnTo>
                    <a:pt x="763" y="284"/>
                  </a:lnTo>
                  <a:lnTo>
                    <a:pt x="760" y="284"/>
                  </a:lnTo>
                  <a:lnTo>
                    <a:pt x="760" y="281"/>
                  </a:lnTo>
                  <a:lnTo>
                    <a:pt x="753" y="278"/>
                  </a:lnTo>
                  <a:lnTo>
                    <a:pt x="757" y="275"/>
                  </a:lnTo>
                  <a:lnTo>
                    <a:pt x="753" y="275"/>
                  </a:lnTo>
                  <a:lnTo>
                    <a:pt x="753" y="278"/>
                  </a:lnTo>
                  <a:lnTo>
                    <a:pt x="750" y="278"/>
                  </a:lnTo>
                  <a:lnTo>
                    <a:pt x="746" y="271"/>
                  </a:lnTo>
                  <a:lnTo>
                    <a:pt x="739" y="268"/>
                  </a:lnTo>
                  <a:lnTo>
                    <a:pt x="739" y="268"/>
                  </a:lnTo>
                  <a:lnTo>
                    <a:pt x="746" y="268"/>
                  </a:lnTo>
                  <a:lnTo>
                    <a:pt x="746" y="265"/>
                  </a:lnTo>
                  <a:lnTo>
                    <a:pt x="743" y="262"/>
                  </a:lnTo>
                  <a:lnTo>
                    <a:pt x="750" y="258"/>
                  </a:lnTo>
                  <a:lnTo>
                    <a:pt x="753" y="255"/>
                  </a:lnTo>
                  <a:lnTo>
                    <a:pt x="757" y="258"/>
                  </a:lnTo>
                  <a:lnTo>
                    <a:pt x="763" y="258"/>
                  </a:lnTo>
                  <a:lnTo>
                    <a:pt x="767" y="258"/>
                  </a:lnTo>
                  <a:lnTo>
                    <a:pt x="774" y="262"/>
                  </a:lnTo>
                  <a:lnTo>
                    <a:pt x="777" y="258"/>
                  </a:lnTo>
                  <a:lnTo>
                    <a:pt x="781" y="258"/>
                  </a:lnTo>
                  <a:lnTo>
                    <a:pt x="784" y="255"/>
                  </a:lnTo>
                  <a:lnTo>
                    <a:pt x="781" y="255"/>
                  </a:lnTo>
                  <a:lnTo>
                    <a:pt x="781" y="252"/>
                  </a:lnTo>
                  <a:lnTo>
                    <a:pt x="777" y="252"/>
                  </a:lnTo>
                  <a:lnTo>
                    <a:pt x="774" y="252"/>
                  </a:lnTo>
                  <a:lnTo>
                    <a:pt x="767" y="252"/>
                  </a:lnTo>
                  <a:lnTo>
                    <a:pt x="760" y="252"/>
                  </a:lnTo>
                  <a:lnTo>
                    <a:pt x="760" y="249"/>
                  </a:lnTo>
                  <a:lnTo>
                    <a:pt x="767" y="246"/>
                  </a:lnTo>
                  <a:lnTo>
                    <a:pt x="770" y="242"/>
                  </a:lnTo>
                  <a:lnTo>
                    <a:pt x="774" y="239"/>
                  </a:lnTo>
                  <a:lnTo>
                    <a:pt x="777" y="242"/>
                  </a:lnTo>
                  <a:lnTo>
                    <a:pt x="784" y="239"/>
                  </a:lnTo>
                  <a:lnTo>
                    <a:pt x="794" y="239"/>
                  </a:lnTo>
                  <a:lnTo>
                    <a:pt x="798" y="242"/>
                  </a:lnTo>
                  <a:lnTo>
                    <a:pt x="798" y="242"/>
                  </a:lnTo>
                  <a:lnTo>
                    <a:pt x="798" y="239"/>
                  </a:lnTo>
                  <a:lnTo>
                    <a:pt x="794" y="239"/>
                  </a:lnTo>
                  <a:lnTo>
                    <a:pt x="791" y="239"/>
                  </a:lnTo>
                  <a:lnTo>
                    <a:pt x="788" y="239"/>
                  </a:lnTo>
                  <a:lnTo>
                    <a:pt x="781" y="236"/>
                  </a:lnTo>
                  <a:lnTo>
                    <a:pt x="777" y="233"/>
                  </a:lnTo>
                  <a:lnTo>
                    <a:pt x="781" y="229"/>
                  </a:lnTo>
                  <a:lnTo>
                    <a:pt x="784" y="226"/>
                  </a:lnTo>
                  <a:lnTo>
                    <a:pt x="788" y="226"/>
                  </a:lnTo>
                  <a:lnTo>
                    <a:pt x="791" y="226"/>
                  </a:lnTo>
                  <a:lnTo>
                    <a:pt x="794" y="223"/>
                  </a:lnTo>
                  <a:lnTo>
                    <a:pt x="798" y="223"/>
                  </a:lnTo>
                  <a:lnTo>
                    <a:pt x="798" y="226"/>
                  </a:lnTo>
                  <a:lnTo>
                    <a:pt x="801" y="226"/>
                  </a:lnTo>
                  <a:lnTo>
                    <a:pt x="805" y="229"/>
                  </a:lnTo>
                  <a:lnTo>
                    <a:pt x="808" y="229"/>
                  </a:lnTo>
                  <a:lnTo>
                    <a:pt x="808" y="226"/>
                  </a:lnTo>
                  <a:lnTo>
                    <a:pt x="805" y="223"/>
                  </a:lnTo>
                  <a:lnTo>
                    <a:pt x="801" y="220"/>
                  </a:lnTo>
                  <a:lnTo>
                    <a:pt x="801" y="220"/>
                  </a:lnTo>
                  <a:lnTo>
                    <a:pt x="805" y="216"/>
                  </a:lnTo>
                  <a:lnTo>
                    <a:pt x="815" y="216"/>
                  </a:lnTo>
                  <a:lnTo>
                    <a:pt x="815" y="216"/>
                  </a:lnTo>
                  <a:lnTo>
                    <a:pt x="822" y="216"/>
                  </a:lnTo>
                  <a:lnTo>
                    <a:pt x="825" y="220"/>
                  </a:lnTo>
                  <a:lnTo>
                    <a:pt x="829" y="223"/>
                  </a:lnTo>
                  <a:lnTo>
                    <a:pt x="825" y="226"/>
                  </a:lnTo>
                  <a:lnTo>
                    <a:pt x="822" y="229"/>
                  </a:lnTo>
                  <a:lnTo>
                    <a:pt x="822" y="233"/>
                  </a:lnTo>
                  <a:lnTo>
                    <a:pt x="832" y="233"/>
                  </a:lnTo>
                  <a:lnTo>
                    <a:pt x="832" y="229"/>
                  </a:lnTo>
                  <a:lnTo>
                    <a:pt x="836" y="233"/>
                  </a:lnTo>
                  <a:lnTo>
                    <a:pt x="839" y="233"/>
                  </a:lnTo>
                  <a:lnTo>
                    <a:pt x="839" y="233"/>
                  </a:lnTo>
                  <a:lnTo>
                    <a:pt x="839" y="236"/>
                  </a:lnTo>
                  <a:lnTo>
                    <a:pt x="843" y="239"/>
                  </a:lnTo>
                  <a:lnTo>
                    <a:pt x="843" y="239"/>
                  </a:lnTo>
                  <a:lnTo>
                    <a:pt x="839" y="242"/>
                  </a:lnTo>
                  <a:lnTo>
                    <a:pt x="839" y="242"/>
                  </a:lnTo>
                  <a:lnTo>
                    <a:pt x="843" y="246"/>
                  </a:lnTo>
                  <a:lnTo>
                    <a:pt x="843" y="255"/>
                  </a:lnTo>
                  <a:lnTo>
                    <a:pt x="839" y="255"/>
                  </a:lnTo>
                  <a:lnTo>
                    <a:pt x="836" y="255"/>
                  </a:lnTo>
                  <a:lnTo>
                    <a:pt x="832" y="255"/>
                  </a:lnTo>
                  <a:lnTo>
                    <a:pt x="836" y="258"/>
                  </a:lnTo>
                  <a:lnTo>
                    <a:pt x="839" y="258"/>
                  </a:lnTo>
                  <a:lnTo>
                    <a:pt x="843" y="258"/>
                  </a:lnTo>
                  <a:lnTo>
                    <a:pt x="846" y="258"/>
                  </a:lnTo>
                  <a:lnTo>
                    <a:pt x="843" y="265"/>
                  </a:lnTo>
                  <a:lnTo>
                    <a:pt x="839" y="268"/>
                  </a:lnTo>
                  <a:lnTo>
                    <a:pt x="839" y="275"/>
                  </a:lnTo>
                  <a:lnTo>
                    <a:pt x="839" y="275"/>
                  </a:lnTo>
                  <a:lnTo>
                    <a:pt x="846" y="275"/>
                  </a:lnTo>
                  <a:lnTo>
                    <a:pt x="846" y="271"/>
                  </a:lnTo>
                  <a:lnTo>
                    <a:pt x="849" y="275"/>
                  </a:lnTo>
                  <a:lnTo>
                    <a:pt x="849" y="275"/>
                  </a:lnTo>
                  <a:lnTo>
                    <a:pt x="853" y="275"/>
                  </a:lnTo>
                  <a:lnTo>
                    <a:pt x="856" y="275"/>
                  </a:lnTo>
                  <a:lnTo>
                    <a:pt x="863" y="278"/>
                  </a:lnTo>
                  <a:lnTo>
                    <a:pt x="867" y="281"/>
                  </a:lnTo>
                  <a:lnTo>
                    <a:pt x="870" y="281"/>
                  </a:lnTo>
                  <a:lnTo>
                    <a:pt x="867" y="278"/>
                  </a:lnTo>
                  <a:lnTo>
                    <a:pt x="867" y="278"/>
                  </a:lnTo>
                  <a:lnTo>
                    <a:pt x="874" y="275"/>
                  </a:lnTo>
                  <a:lnTo>
                    <a:pt x="870" y="268"/>
                  </a:lnTo>
                  <a:lnTo>
                    <a:pt x="867" y="265"/>
                  </a:lnTo>
                  <a:lnTo>
                    <a:pt x="867" y="265"/>
                  </a:lnTo>
                  <a:lnTo>
                    <a:pt x="867" y="262"/>
                  </a:lnTo>
                  <a:lnTo>
                    <a:pt x="867" y="258"/>
                  </a:lnTo>
                  <a:lnTo>
                    <a:pt x="870" y="258"/>
                  </a:lnTo>
                  <a:lnTo>
                    <a:pt x="877" y="258"/>
                  </a:lnTo>
                  <a:lnTo>
                    <a:pt x="880" y="258"/>
                  </a:lnTo>
                  <a:lnTo>
                    <a:pt x="880" y="252"/>
                  </a:lnTo>
                  <a:lnTo>
                    <a:pt x="880" y="249"/>
                  </a:lnTo>
                  <a:lnTo>
                    <a:pt x="877" y="246"/>
                  </a:lnTo>
                  <a:lnTo>
                    <a:pt x="877" y="242"/>
                  </a:lnTo>
                  <a:lnTo>
                    <a:pt x="877" y="239"/>
                  </a:lnTo>
                  <a:lnTo>
                    <a:pt x="880" y="236"/>
                  </a:lnTo>
                  <a:lnTo>
                    <a:pt x="884" y="233"/>
                  </a:lnTo>
                  <a:lnTo>
                    <a:pt x="884" y="233"/>
                  </a:lnTo>
                  <a:lnTo>
                    <a:pt x="887" y="233"/>
                  </a:lnTo>
                  <a:lnTo>
                    <a:pt x="887" y="233"/>
                  </a:lnTo>
                  <a:lnTo>
                    <a:pt x="887" y="229"/>
                  </a:lnTo>
                  <a:lnTo>
                    <a:pt x="894" y="226"/>
                  </a:lnTo>
                  <a:lnTo>
                    <a:pt x="901" y="220"/>
                  </a:lnTo>
                  <a:lnTo>
                    <a:pt x="904" y="220"/>
                  </a:lnTo>
                  <a:lnTo>
                    <a:pt x="911" y="223"/>
                  </a:lnTo>
                  <a:lnTo>
                    <a:pt x="908" y="226"/>
                  </a:lnTo>
                  <a:lnTo>
                    <a:pt x="911" y="226"/>
                  </a:lnTo>
                  <a:lnTo>
                    <a:pt x="908" y="229"/>
                  </a:lnTo>
                  <a:lnTo>
                    <a:pt x="904" y="229"/>
                  </a:lnTo>
                  <a:lnTo>
                    <a:pt x="904" y="233"/>
                  </a:lnTo>
                  <a:lnTo>
                    <a:pt x="904" y="236"/>
                  </a:lnTo>
                  <a:lnTo>
                    <a:pt x="901" y="239"/>
                  </a:lnTo>
                  <a:lnTo>
                    <a:pt x="901" y="242"/>
                  </a:lnTo>
                  <a:lnTo>
                    <a:pt x="904" y="242"/>
                  </a:lnTo>
                  <a:lnTo>
                    <a:pt x="904" y="252"/>
                  </a:lnTo>
                  <a:lnTo>
                    <a:pt x="901" y="252"/>
                  </a:lnTo>
                  <a:lnTo>
                    <a:pt x="901" y="252"/>
                  </a:lnTo>
                  <a:lnTo>
                    <a:pt x="894" y="255"/>
                  </a:lnTo>
                  <a:lnTo>
                    <a:pt x="891" y="258"/>
                  </a:lnTo>
                  <a:lnTo>
                    <a:pt x="891" y="258"/>
                  </a:lnTo>
                  <a:lnTo>
                    <a:pt x="894" y="258"/>
                  </a:lnTo>
                  <a:lnTo>
                    <a:pt x="898" y="258"/>
                  </a:lnTo>
                  <a:lnTo>
                    <a:pt x="901" y="258"/>
                  </a:lnTo>
                  <a:lnTo>
                    <a:pt x="904" y="262"/>
                  </a:lnTo>
                  <a:lnTo>
                    <a:pt x="901" y="265"/>
                  </a:lnTo>
                  <a:lnTo>
                    <a:pt x="894" y="268"/>
                  </a:lnTo>
                  <a:lnTo>
                    <a:pt x="887" y="271"/>
                  </a:lnTo>
                  <a:lnTo>
                    <a:pt x="887" y="275"/>
                  </a:lnTo>
                  <a:lnTo>
                    <a:pt x="891" y="275"/>
                  </a:lnTo>
                  <a:lnTo>
                    <a:pt x="891" y="271"/>
                  </a:lnTo>
                  <a:lnTo>
                    <a:pt x="898" y="271"/>
                  </a:lnTo>
                  <a:lnTo>
                    <a:pt x="901" y="268"/>
                  </a:lnTo>
                  <a:lnTo>
                    <a:pt x="901" y="268"/>
                  </a:lnTo>
                  <a:lnTo>
                    <a:pt x="908" y="268"/>
                  </a:lnTo>
                  <a:lnTo>
                    <a:pt x="908" y="275"/>
                  </a:lnTo>
                  <a:lnTo>
                    <a:pt x="904" y="278"/>
                  </a:lnTo>
                  <a:lnTo>
                    <a:pt x="904" y="281"/>
                  </a:lnTo>
                  <a:lnTo>
                    <a:pt x="908" y="278"/>
                  </a:lnTo>
                  <a:lnTo>
                    <a:pt x="911" y="278"/>
                  </a:lnTo>
                  <a:lnTo>
                    <a:pt x="911" y="275"/>
                  </a:lnTo>
                  <a:lnTo>
                    <a:pt x="911" y="275"/>
                  </a:lnTo>
                  <a:lnTo>
                    <a:pt x="915" y="271"/>
                  </a:lnTo>
                  <a:lnTo>
                    <a:pt x="915" y="268"/>
                  </a:lnTo>
                  <a:lnTo>
                    <a:pt x="922" y="265"/>
                  </a:lnTo>
                  <a:lnTo>
                    <a:pt x="922" y="265"/>
                  </a:lnTo>
                  <a:lnTo>
                    <a:pt x="929" y="268"/>
                  </a:lnTo>
                  <a:lnTo>
                    <a:pt x="929" y="271"/>
                  </a:lnTo>
                  <a:lnTo>
                    <a:pt x="932" y="275"/>
                  </a:lnTo>
                  <a:lnTo>
                    <a:pt x="932" y="278"/>
                  </a:lnTo>
                  <a:lnTo>
                    <a:pt x="925" y="288"/>
                  </a:lnTo>
                  <a:lnTo>
                    <a:pt x="922" y="291"/>
                  </a:lnTo>
                  <a:lnTo>
                    <a:pt x="918" y="291"/>
                  </a:lnTo>
                  <a:lnTo>
                    <a:pt x="915" y="291"/>
                  </a:lnTo>
                  <a:lnTo>
                    <a:pt x="915" y="294"/>
                  </a:lnTo>
                  <a:lnTo>
                    <a:pt x="915" y="294"/>
                  </a:lnTo>
                  <a:lnTo>
                    <a:pt x="911" y="300"/>
                  </a:lnTo>
                  <a:lnTo>
                    <a:pt x="908" y="300"/>
                  </a:lnTo>
                  <a:lnTo>
                    <a:pt x="904" y="304"/>
                  </a:lnTo>
                  <a:lnTo>
                    <a:pt x="904" y="307"/>
                  </a:lnTo>
                  <a:lnTo>
                    <a:pt x="901" y="307"/>
                  </a:lnTo>
                  <a:lnTo>
                    <a:pt x="901" y="307"/>
                  </a:lnTo>
                  <a:lnTo>
                    <a:pt x="898" y="307"/>
                  </a:lnTo>
                  <a:lnTo>
                    <a:pt x="898" y="310"/>
                  </a:lnTo>
                  <a:lnTo>
                    <a:pt x="898" y="310"/>
                  </a:lnTo>
                  <a:lnTo>
                    <a:pt x="894" y="310"/>
                  </a:lnTo>
                  <a:lnTo>
                    <a:pt x="891" y="310"/>
                  </a:lnTo>
                  <a:lnTo>
                    <a:pt x="887" y="310"/>
                  </a:lnTo>
                  <a:lnTo>
                    <a:pt x="880" y="313"/>
                  </a:lnTo>
                  <a:lnTo>
                    <a:pt x="877" y="313"/>
                  </a:lnTo>
                  <a:lnTo>
                    <a:pt x="870" y="310"/>
                  </a:lnTo>
                  <a:lnTo>
                    <a:pt x="870" y="310"/>
                  </a:lnTo>
                  <a:lnTo>
                    <a:pt x="874" y="307"/>
                  </a:lnTo>
                  <a:lnTo>
                    <a:pt x="874" y="304"/>
                  </a:lnTo>
                  <a:lnTo>
                    <a:pt x="870" y="304"/>
                  </a:lnTo>
                  <a:lnTo>
                    <a:pt x="867" y="307"/>
                  </a:lnTo>
                  <a:lnTo>
                    <a:pt x="867" y="307"/>
                  </a:lnTo>
                  <a:lnTo>
                    <a:pt x="863" y="310"/>
                  </a:lnTo>
                  <a:lnTo>
                    <a:pt x="860" y="307"/>
                  </a:lnTo>
                  <a:lnTo>
                    <a:pt x="860" y="307"/>
                  </a:lnTo>
                  <a:lnTo>
                    <a:pt x="860" y="304"/>
                  </a:lnTo>
                  <a:lnTo>
                    <a:pt x="860" y="300"/>
                  </a:lnTo>
                  <a:lnTo>
                    <a:pt x="856" y="300"/>
                  </a:lnTo>
                  <a:lnTo>
                    <a:pt x="856" y="304"/>
                  </a:lnTo>
                  <a:lnTo>
                    <a:pt x="853" y="304"/>
                  </a:lnTo>
                  <a:lnTo>
                    <a:pt x="849" y="304"/>
                  </a:lnTo>
                  <a:lnTo>
                    <a:pt x="846" y="307"/>
                  </a:lnTo>
                  <a:lnTo>
                    <a:pt x="843" y="307"/>
                  </a:lnTo>
                  <a:lnTo>
                    <a:pt x="839" y="307"/>
                  </a:lnTo>
                  <a:lnTo>
                    <a:pt x="836" y="307"/>
                  </a:lnTo>
                  <a:lnTo>
                    <a:pt x="832" y="307"/>
                  </a:lnTo>
                  <a:lnTo>
                    <a:pt x="829" y="307"/>
                  </a:lnTo>
                  <a:lnTo>
                    <a:pt x="829" y="307"/>
                  </a:lnTo>
                  <a:lnTo>
                    <a:pt x="825" y="307"/>
                  </a:lnTo>
                  <a:lnTo>
                    <a:pt x="822" y="307"/>
                  </a:lnTo>
                  <a:lnTo>
                    <a:pt x="822" y="310"/>
                  </a:lnTo>
                  <a:lnTo>
                    <a:pt x="822" y="313"/>
                  </a:lnTo>
                  <a:lnTo>
                    <a:pt x="815" y="313"/>
                  </a:lnTo>
                  <a:lnTo>
                    <a:pt x="815" y="313"/>
                  </a:lnTo>
                  <a:lnTo>
                    <a:pt x="812" y="317"/>
                  </a:lnTo>
                  <a:lnTo>
                    <a:pt x="808" y="313"/>
                  </a:lnTo>
                  <a:lnTo>
                    <a:pt x="805" y="317"/>
                  </a:lnTo>
                  <a:lnTo>
                    <a:pt x="801" y="317"/>
                  </a:lnTo>
                  <a:lnTo>
                    <a:pt x="801" y="313"/>
                  </a:lnTo>
                  <a:lnTo>
                    <a:pt x="794" y="313"/>
                  </a:lnTo>
                  <a:lnTo>
                    <a:pt x="791" y="317"/>
                  </a:lnTo>
                  <a:lnTo>
                    <a:pt x="784" y="317"/>
                  </a:lnTo>
                  <a:lnTo>
                    <a:pt x="777" y="313"/>
                  </a:lnTo>
                  <a:lnTo>
                    <a:pt x="774" y="313"/>
                  </a:lnTo>
                  <a:lnTo>
                    <a:pt x="770" y="310"/>
                  </a:lnTo>
                  <a:lnTo>
                    <a:pt x="767" y="307"/>
                  </a:lnTo>
                  <a:lnTo>
                    <a:pt x="767" y="307"/>
                  </a:lnTo>
                  <a:close/>
                  <a:moveTo>
                    <a:pt x="536" y="407"/>
                  </a:moveTo>
                  <a:lnTo>
                    <a:pt x="536" y="404"/>
                  </a:lnTo>
                  <a:lnTo>
                    <a:pt x="540" y="397"/>
                  </a:lnTo>
                  <a:lnTo>
                    <a:pt x="540" y="394"/>
                  </a:lnTo>
                  <a:lnTo>
                    <a:pt x="540" y="388"/>
                  </a:lnTo>
                  <a:lnTo>
                    <a:pt x="540" y="384"/>
                  </a:lnTo>
                  <a:lnTo>
                    <a:pt x="536" y="384"/>
                  </a:lnTo>
                  <a:lnTo>
                    <a:pt x="533" y="375"/>
                  </a:lnTo>
                  <a:lnTo>
                    <a:pt x="540" y="375"/>
                  </a:lnTo>
                  <a:lnTo>
                    <a:pt x="540" y="371"/>
                  </a:lnTo>
                  <a:lnTo>
                    <a:pt x="533" y="371"/>
                  </a:lnTo>
                  <a:lnTo>
                    <a:pt x="526" y="371"/>
                  </a:lnTo>
                  <a:lnTo>
                    <a:pt x="526" y="368"/>
                  </a:lnTo>
                  <a:lnTo>
                    <a:pt x="529" y="368"/>
                  </a:lnTo>
                  <a:lnTo>
                    <a:pt x="533" y="365"/>
                  </a:lnTo>
                  <a:lnTo>
                    <a:pt x="536" y="365"/>
                  </a:lnTo>
                  <a:lnTo>
                    <a:pt x="540" y="362"/>
                  </a:lnTo>
                  <a:lnTo>
                    <a:pt x="540" y="362"/>
                  </a:lnTo>
                  <a:lnTo>
                    <a:pt x="543" y="359"/>
                  </a:lnTo>
                  <a:lnTo>
                    <a:pt x="547" y="359"/>
                  </a:lnTo>
                  <a:lnTo>
                    <a:pt x="550" y="352"/>
                  </a:lnTo>
                  <a:lnTo>
                    <a:pt x="557" y="352"/>
                  </a:lnTo>
                  <a:lnTo>
                    <a:pt x="557" y="349"/>
                  </a:lnTo>
                  <a:lnTo>
                    <a:pt x="560" y="349"/>
                  </a:lnTo>
                  <a:lnTo>
                    <a:pt x="564" y="346"/>
                  </a:lnTo>
                  <a:lnTo>
                    <a:pt x="564" y="339"/>
                  </a:lnTo>
                  <a:lnTo>
                    <a:pt x="564" y="342"/>
                  </a:lnTo>
                  <a:lnTo>
                    <a:pt x="574" y="342"/>
                  </a:lnTo>
                  <a:lnTo>
                    <a:pt x="574" y="339"/>
                  </a:lnTo>
                  <a:lnTo>
                    <a:pt x="574" y="333"/>
                  </a:lnTo>
                  <a:lnTo>
                    <a:pt x="574" y="329"/>
                  </a:lnTo>
                  <a:lnTo>
                    <a:pt x="578" y="329"/>
                  </a:lnTo>
                  <a:lnTo>
                    <a:pt x="585" y="323"/>
                  </a:lnTo>
                  <a:lnTo>
                    <a:pt x="588" y="320"/>
                  </a:lnTo>
                  <a:lnTo>
                    <a:pt x="598" y="317"/>
                  </a:lnTo>
                  <a:lnTo>
                    <a:pt x="598" y="313"/>
                  </a:lnTo>
                  <a:lnTo>
                    <a:pt x="605" y="310"/>
                  </a:lnTo>
                  <a:lnTo>
                    <a:pt x="609" y="310"/>
                  </a:lnTo>
                  <a:lnTo>
                    <a:pt x="612" y="307"/>
                  </a:lnTo>
                  <a:lnTo>
                    <a:pt x="609" y="304"/>
                  </a:lnTo>
                  <a:lnTo>
                    <a:pt x="609" y="297"/>
                  </a:lnTo>
                  <a:lnTo>
                    <a:pt x="609" y="294"/>
                  </a:lnTo>
                  <a:lnTo>
                    <a:pt x="612" y="291"/>
                  </a:lnTo>
                  <a:lnTo>
                    <a:pt x="609" y="288"/>
                  </a:lnTo>
                  <a:lnTo>
                    <a:pt x="612" y="288"/>
                  </a:lnTo>
                  <a:lnTo>
                    <a:pt x="615" y="284"/>
                  </a:lnTo>
                  <a:lnTo>
                    <a:pt x="619" y="284"/>
                  </a:lnTo>
                  <a:lnTo>
                    <a:pt x="633" y="284"/>
                  </a:lnTo>
                  <a:lnTo>
                    <a:pt x="633" y="284"/>
                  </a:lnTo>
                  <a:lnTo>
                    <a:pt x="646" y="284"/>
                  </a:lnTo>
                  <a:lnTo>
                    <a:pt x="657" y="281"/>
                  </a:lnTo>
                  <a:lnTo>
                    <a:pt x="667" y="284"/>
                  </a:lnTo>
                  <a:lnTo>
                    <a:pt x="667" y="288"/>
                  </a:lnTo>
                  <a:lnTo>
                    <a:pt x="667" y="291"/>
                  </a:lnTo>
                  <a:lnTo>
                    <a:pt x="671" y="294"/>
                  </a:lnTo>
                  <a:lnTo>
                    <a:pt x="681" y="297"/>
                  </a:lnTo>
                  <a:lnTo>
                    <a:pt x="681" y="300"/>
                  </a:lnTo>
                  <a:lnTo>
                    <a:pt x="677" y="304"/>
                  </a:lnTo>
                  <a:lnTo>
                    <a:pt x="681" y="304"/>
                  </a:lnTo>
                  <a:lnTo>
                    <a:pt x="684" y="300"/>
                  </a:lnTo>
                  <a:lnTo>
                    <a:pt x="688" y="304"/>
                  </a:lnTo>
                  <a:lnTo>
                    <a:pt x="688" y="307"/>
                  </a:lnTo>
                  <a:lnTo>
                    <a:pt x="681" y="313"/>
                  </a:lnTo>
                  <a:lnTo>
                    <a:pt x="684" y="313"/>
                  </a:lnTo>
                  <a:lnTo>
                    <a:pt x="691" y="310"/>
                  </a:lnTo>
                  <a:lnTo>
                    <a:pt x="691" y="307"/>
                  </a:lnTo>
                  <a:lnTo>
                    <a:pt x="695" y="304"/>
                  </a:lnTo>
                  <a:lnTo>
                    <a:pt x="698" y="304"/>
                  </a:lnTo>
                  <a:lnTo>
                    <a:pt x="705" y="304"/>
                  </a:lnTo>
                  <a:lnTo>
                    <a:pt x="705" y="304"/>
                  </a:lnTo>
                  <a:lnTo>
                    <a:pt x="705" y="307"/>
                  </a:lnTo>
                  <a:lnTo>
                    <a:pt x="715" y="313"/>
                  </a:lnTo>
                  <a:lnTo>
                    <a:pt x="715" y="323"/>
                  </a:lnTo>
                  <a:lnTo>
                    <a:pt x="712" y="323"/>
                  </a:lnTo>
                  <a:lnTo>
                    <a:pt x="715" y="329"/>
                  </a:lnTo>
                  <a:lnTo>
                    <a:pt x="715" y="336"/>
                  </a:lnTo>
                  <a:lnTo>
                    <a:pt x="715" y="336"/>
                  </a:lnTo>
                  <a:lnTo>
                    <a:pt x="715" y="339"/>
                  </a:lnTo>
                  <a:lnTo>
                    <a:pt x="715" y="342"/>
                  </a:lnTo>
                  <a:lnTo>
                    <a:pt x="715" y="346"/>
                  </a:lnTo>
                  <a:lnTo>
                    <a:pt x="715" y="349"/>
                  </a:lnTo>
                  <a:lnTo>
                    <a:pt x="705" y="349"/>
                  </a:lnTo>
                  <a:lnTo>
                    <a:pt x="705" y="352"/>
                  </a:lnTo>
                  <a:lnTo>
                    <a:pt x="695" y="352"/>
                  </a:lnTo>
                  <a:lnTo>
                    <a:pt x="691" y="352"/>
                  </a:lnTo>
                  <a:lnTo>
                    <a:pt x="677" y="355"/>
                  </a:lnTo>
                  <a:lnTo>
                    <a:pt x="671" y="355"/>
                  </a:lnTo>
                  <a:lnTo>
                    <a:pt x="664" y="359"/>
                  </a:lnTo>
                  <a:lnTo>
                    <a:pt x="660" y="359"/>
                  </a:lnTo>
                  <a:lnTo>
                    <a:pt x="657" y="362"/>
                  </a:lnTo>
                  <a:lnTo>
                    <a:pt x="650" y="362"/>
                  </a:lnTo>
                  <a:lnTo>
                    <a:pt x="646" y="365"/>
                  </a:lnTo>
                  <a:lnTo>
                    <a:pt x="646" y="362"/>
                  </a:lnTo>
                  <a:lnTo>
                    <a:pt x="643" y="365"/>
                  </a:lnTo>
                  <a:lnTo>
                    <a:pt x="636" y="365"/>
                  </a:lnTo>
                  <a:lnTo>
                    <a:pt x="633" y="368"/>
                  </a:lnTo>
                  <a:lnTo>
                    <a:pt x="629" y="371"/>
                  </a:lnTo>
                  <a:lnTo>
                    <a:pt x="629" y="371"/>
                  </a:lnTo>
                  <a:lnTo>
                    <a:pt x="626" y="378"/>
                  </a:lnTo>
                  <a:lnTo>
                    <a:pt x="622" y="378"/>
                  </a:lnTo>
                  <a:lnTo>
                    <a:pt x="619" y="381"/>
                  </a:lnTo>
                  <a:lnTo>
                    <a:pt x="612" y="381"/>
                  </a:lnTo>
                  <a:lnTo>
                    <a:pt x="609" y="378"/>
                  </a:lnTo>
                  <a:lnTo>
                    <a:pt x="609" y="381"/>
                  </a:lnTo>
                  <a:lnTo>
                    <a:pt x="605" y="384"/>
                  </a:lnTo>
                  <a:lnTo>
                    <a:pt x="602" y="384"/>
                  </a:lnTo>
                  <a:lnTo>
                    <a:pt x="598" y="391"/>
                  </a:lnTo>
                  <a:lnTo>
                    <a:pt x="595" y="391"/>
                  </a:lnTo>
                  <a:lnTo>
                    <a:pt x="591" y="397"/>
                  </a:lnTo>
                  <a:lnTo>
                    <a:pt x="591" y="397"/>
                  </a:lnTo>
                  <a:lnTo>
                    <a:pt x="588" y="404"/>
                  </a:lnTo>
                  <a:lnTo>
                    <a:pt x="585" y="407"/>
                  </a:lnTo>
                  <a:lnTo>
                    <a:pt x="578" y="407"/>
                  </a:lnTo>
                  <a:lnTo>
                    <a:pt x="574" y="407"/>
                  </a:lnTo>
                  <a:lnTo>
                    <a:pt x="571" y="407"/>
                  </a:lnTo>
                  <a:lnTo>
                    <a:pt x="567" y="404"/>
                  </a:lnTo>
                  <a:lnTo>
                    <a:pt x="571" y="404"/>
                  </a:lnTo>
                  <a:lnTo>
                    <a:pt x="571" y="401"/>
                  </a:lnTo>
                  <a:lnTo>
                    <a:pt x="567" y="397"/>
                  </a:lnTo>
                  <a:lnTo>
                    <a:pt x="564" y="401"/>
                  </a:lnTo>
                  <a:lnTo>
                    <a:pt x="564" y="401"/>
                  </a:lnTo>
                  <a:lnTo>
                    <a:pt x="564" y="404"/>
                  </a:lnTo>
                  <a:lnTo>
                    <a:pt x="557" y="407"/>
                  </a:lnTo>
                  <a:lnTo>
                    <a:pt x="550" y="407"/>
                  </a:lnTo>
                  <a:lnTo>
                    <a:pt x="547" y="407"/>
                  </a:lnTo>
                  <a:lnTo>
                    <a:pt x="543" y="407"/>
                  </a:lnTo>
                  <a:lnTo>
                    <a:pt x="540" y="410"/>
                  </a:lnTo>
                  <a:lnTo>
                    <a:pt x="540" y="410"/>
                  </a:lnTo>
                  <a:lnTo>
                    <a:pt x="536" y="410"/>
                  </a:lnTo>
                  <a:lnTo>
                    <a:pt x="536" y="407"/>
                  </a:lnTo>
                  <a:lnTo>
                    <a:pt x="536" y="407"/>
                  </a:lnTo>
                  <a:close/>
                  <a:moveTo>
                    <a:pt x="1028" y="359"/>
                  </a:moveTo>
                  <a:lnTo>
                    <a:pt x="1032" y="359"/>
                  </a:lnTo>
                  <a:lnTo>
                    <a:pt x="1032" y="362"/>
                  </a:lnTo>
                  <a:lnTo>
                    <a:pt x="1032" y="365"/>
                  </a:lnTo>
                  <a:lnTo>
                    <a:pt x="1028" y="365"/>
                  </a:lnTo>
                  <a:lnTo>
                    <a:pt x="1028" y="365"/>
                  </a:lnTo>
                  <a:lnTo>
                    <a:pt x="1028" y="362"/>
                  </a:lnTo>
                  <a:lnTo>
                    <a:pt x="1028" y="359"/>
                  </a:lnTo>
                  <a:lnTo>
                    <a:pt x="1028" y="359"/>
                  </a:lnTo>
                  <a:close/>
                  <a:moveTo>
                    <a:pt x="990" y="359"/>
                  </a:moveTo>
                  <a:lnTo>
                    <a:pt x="994" y="355"/>
                  </a:lnTo>
                  <a:lnTo>
                    <a:pt x="997" y="355"/>
                  </a:lnTo>
                  <a:lnTo>
                    <a:pt x="1001" y="355"/>
                  </a:lnTo>
                  <a:lnTo>
                    <a:pt x="1001" y="359"/>
                  </a:lnTo>
                  <a:lnTo>
                    <a:pt x="997" y="359"/>
                  </a:lnTo>
                  <a:lnTo>
                    <a:pt x="994" y="359"/>
                  </a:lnTo>
                  <a:lnTo>
                    <a:pt x="990" y="359"/>
                  </a:lnTo>
                  <a:lnTo>
                    <a:pt x="990" y="359"/>
                  </a:lnTo>
                  <a:close/>
                  <a:moveTo>
                    <a:pt x="953" y="378"/>
                  </a:moveTo>
                  <a:lnTo>
                    <a:pt x="956" y="381"/>
                  </a:lnTo>
                  <a:lnTo>
                    <a:pt x="960" y="381"/>
                  </a:lnTo>
                  <a:lnTo>
                    <a:pt x="966" y="384"/>
                  </a:lnTo>
                  <a:lnTo>
                    <a:pt x="966" y="381"/>
                  </a:lnTo>
                  <a:lnTo>
                    <a:pt x="970" y="384"/>
                  </a:lnTo>
                  <a:lnTo>
                    <a:pt x="977" y="381"/>
                  </a:lnTo>
                  <a:lnTo>
                    <a:pt x="977" y="381"/>
                  </a:lnTo>
                  <a:lnTo>
                    <a:pt x="980" y="381"/>
                  </a:lnTo>
                  <a:lnTo>
                    <a:pt x="984" y="378"/>
                  </a:lnTo>
                  <a:lnTo>
                    <a:pt x="987" y="381"/>
                  </a:lnTo>
                  <a:lnTo>
                    <a:pt x="987" y="378"/>
                  </a:lnTo>
                  <a:lnTo>
                    <a:pt x="984" y="375"/>
                  </a:lnTo>
                  <a:lnTo>
                    <a:pt x="980" y="375"/>
                  </a:lnTo>
                  <a:lnTo>
                    <a:pt x="973" y="378"/>
                  </a:lnTo>
                  <a:lnTo>
                    <a:pt x="973" y="375"/>
                  </a:lnTo>
                  <a:lnTo>
                    <a:pt x="970" y="378"/>
                  </a:lnTo>
                  <a:lnTo>
                    <a:pt x="963" y="375"/>
                  </a:lnTo>
                  <a:lnTo>
                    <a:pt x="960" y="378"/>
                  </a:lnTo>
                  <a:lnTo>
                    <a:pt x="956" y="378"/>
                  </a:lnTo>
                  <a:lnTo>
                    <a:pt x="953" y="378"/>
                  </a:lnTo>
                  <a:lnTo>
                    <a:pt x="953" y="378"/>
                  </a:lnTo>
                  <a:close/>
                  <a:moveTo>
                    <a:pt x="932" y="491"/>
                  </a:moveTo>
                  <a:lnTo>
                    <a:pt x="932" y="491"/>
                  </a:lnTo>
                  <a:lnTo>
                    <a:pt x="932" y="488"/>
                  </a:lnTo>
                  <a:lnTo>
                    <a:pt x="935" y="488"/>
                  </a:lnTo>
                  <a:lnTo>
                    <a:pt x="935" y="491"/>
                  </a:lnTo>
                  <a:lnTo>
                    <a:pt x="932" y="491"/>
                  </a:lnTo>
                  <a:lnTo>
                    <a:pt x="932" y="491"/>
                  </a:lnTo>
                  <a:close/>
                  <a:moveTo>
                    <a:pt x="908" y="488"/>
                  </a:moveTo>
                  <a:lnTo>
                    <a:pt x="908" y="488"/>
                  </a:lnTo>
                  <a:lnTo>
                    <a:pt x="908" y="485"/>
                  </a:lnTo>
                  <a:lnTo>
                    <a:pt x="904" y="481"/>
                  </a:lnTo>
                  <a:lnTo>
                    <a:pt x="904" y="485"/>
                  </a:lnTo>
                  <a:lnTo>
                    <a:pt x="901" y="481"/>
                  </a:lnTo>
                  <a:lnTo>
                    <a:pt x="904" y="478"/>
                  </a:lnTo>
                  <a:lnTo>
                    <a:pt x="901" y="475"/>
                  </a:lnTo>
                  <a:lnTo>
                    <a:pt x="901" y="475"/>
                  </a:lnTo>
                  <a:lnTo>
                    <a:pt x="901" y="468"/>
                  </a:lnTo>
                  <a:lnTo>
                    <a:pt x="901" y="465"/>
                  </a:lnTo>
                  <a:lnTo>
                    <a:pt x="901" y="462"/>
                  </a:lnTo>
                  <a:lnTo>
                    <a:pt x="901" y="462"/>
                  </a:lnTo>
                  <a:lnTo>
                    <a:pt x="898" y="459"/>
                  </a:lnTo>
                  <a:lnTo>
                    <a:pt x="898" y="455"/>
                  </a:lnTo>
                  <a:lnTo>
                    <a:pt x="894" y="452"/>
                  </a:lnTo>
                  <a:lnTo>
                    <a:pt x="894" y="449"/>
                  </a:lnTo>
                  <a:lnTo>
                    <a:pt x="894" y="443"/>
                  </a:lnTo>
                  <a:lnTo>
                    <a:pt x="891" y="443"/>
                  </a:lnTo>
                  <a:lnTo>
                    <a:pt x="891" y="443"/>
                  </a:lnTo>
                  <a:lnTo>
                    <a:pt x="891" y="439"/>
                  </a:lnTo>
                  <a:lnTo>
                    <a:pt x="887" y="439"/>
                  </a:lnTo>
                  <a:lnTo>
                    <a:pt x="884" y="439"/>
                  </a:lnTo>
                  <a:lnTo>
                    <a:pt x="884" y="439"/>
                  </a:lnTo>
                  <a:lnTo>
                    <a:pt x="880" y="439"/>
                  </a:lnTo>
                  <a:lnTo>
                    <a:pt x="877" y="436"/>
                  </a:lnTo>
                  <a:lnTo>
                    <a:pt x="877" y="433"/>
                  </a:lnTo>
                  <a:lnTo>
                    <a:pt x="884" y="433"/>
                  </a:lnTo>
                  <a:lnTo>
                    <a:pt x="884" y="426"/>
                  </a:lnTo>
                  <a:lnTo>
                    <a:pt x="880" y="426"/>
                  </a:lnTo>
                  <a:lnTo>
                    <a:pt x="880" y="423"/>
                  </a:lnTo>
                  <a:lnTo>
                    <a:pt x="880" y="417"/>
                  </a:lnTo>
                  <a:lnTo>
                    <a:pt x="880" y="413"/>
                  </a:lnTo>
                  <a:lnTo>
                    <a:pt x="884" y="410"/>
                  </a:lnTo>
                  <a:lnTo>
                    <a:pt x="887" y="410"/>
                  </a:lnTo>
                  <a:lnTo>
                    <a:pt x="891" y="407"/>
                  </a:lnTo>
                  <a:lnTo>
                    <a:pt x="894" y="407"/>
                  </a:lnTo>
                  <a:lnTo>
                    <a:pt x="894" y="407"/>
                  </a:lnTo>
                  <a:lnTo>
                    <a:pt x="898" y="407"/>
                  </a:lnTo>
                  <a:lnTo>
                    <a:pt x="901" y="407"/>
                  </a:lnTo>
                  <a:lnTo>
                    <a:pt x="904" y="410"/>
                  </a:lnTo>
                  <a:lnTo>
                    <a:pt x="904" y="410"/>
                  </a:lnTo>
                  <a:lnTo>
                    <a:pt x="901" y="410"/>
                  </a:lnTo>
                  <a:lnTo>
                    <a:pt x="901" y="413"/>
                  </a:lnTo>
                  <a:lnTo>
                    <a:pt x="904" y="413"/>
                  </a:lnTo>
                  <a:lnTo>
                    <a:pt x="904" y="417"/>
                  </a:lnTo>
                  <a:lnTo>
                    <a:pt x="904" y="417"/>
                  </a:lnTo>
                  <a:lnTo>
                    <a:pt x="908" y="423"/>
                  </a:lnTo>
                  <a:lnTo>
                    <a:pt x="908" y="426"/>
                  </a:lnTo>
                  <a:lnTo>
                    <a:pt x="911" y="426"/>
                  </a:lnTo>
                  <a:lnTo>
                    <a:pt x="915" y="430"/>
                  </a:lnTo>
                  <a:lnTo>
                    <a:pt x="918" y="426"/>
                  </a:lnTo>
                  <a:lnTo>
                    <a:pt x="915" y="423"/>
                  </a:lnTo>
                  <a:lnTo>
                    <a:pt x="918" y="423"/>
                  </a:lnTo>
                  <a:lnTo>
                    <a:pt x="922" y="420"/>
                  </a:lnTo>
                  <a:lnTo>
                    <a:pt x="922" y="417"/>
                  </a:lnTo>
                  <a:lnTo>
                    <a:pt x="922" y="417"/>
                  </a:lnTo>
                  <a:lnTo>
                    <a:pt x="922" y="413"/>
                  </a:lnTo>
                  <a:lnTo>
                    <a:pt x="922" y="410"/>
                  </a:lnTo>
                  <a:lnTo>
                    <a:pt x="922" y="410"/>
                  </a:lnTo>
                  <a:lnTo>
                    <a:pt x="925" y="407"/>
                  </a:lnTo>
                  <a:lnTo>
                    <a:pt x="929" y="410"/>
                  </a:lnTo>
                  <a:lnTo>
                    <a:pt x="932" y="413"/>
                  </a:lnTo>
                  <a:lnTo>
                    <a:pt x="932" y="413"/>
                  </a:lnTo>
                  <a:lnTo>
                    <a:pt x="932" y="410"/>
                  </a:lnTo>
                  <a:lnTo>
                    <a:pt x="932" y="407"/>
                  </a:lnTo>
                  <a:lnTo>
                    <a:pt x="929" y="404"/>
                  </a:lnTo>
                  <a:lnTo>
                    <a:pt x="929" y="404"/>
                  </a:lnTo>
                  <a:lnTo>
                    <a:pt x="925" y="407"/>
                  </a:lnTo>
                  <a:lnTo>
                    <a:pt x="922" y="407"/>
                  </a:lnTo>
                  <a:lnTo>
                    <a:pt x="918" y="404"/>
                  </a:lnTo>
                  <a:lnTo>
                    <a:pt x="918" y="401"/>
                  </a:lnTo>
                  <a:lnTo>
                    <a:pt x="915" y="397"/>
                  </a:lnTo>
                  <a:lnTo>
                    <a:pt x="915" y="394"/>
                  </a:lnTo>
                  <a:lnTo>
                    <a:pt x="918" y="391"/>
                  </a:lnTo>
                  <a:lnTo>
                    <a:pt x="922" y="391"/>
                  </a:lnTo>
                  <a:lnTo>
                    <a:pt x="922" y="388"/>
                  </a:lnTo>
                  <a:lnTo>
                    <a:pt x="925" y="391"/>
                  </a:lnTo>
                  <a:lnTo>
                    <a:pt x="929" y="394"/>
                  </a:lnTo>
                  <a:lnTo>
                    <a:pt x="929" y="401"/>
                  </a:lnTo>
                  <a:lnTo>
                    <a:pt x="929" y="401"/>
                  </a:lnTo>
                  <a:lnTo>
                    <a:pt x="929" y="397"/>
                  </a:lnTo>
                  <a:lnTo>
                    <a:pt x="932" y="394"/>
                  </a:lnTo>
                  <a:lnTo>
                    <a:pt x="932" y="391"/>
                  </a:lnTo>
                  <a:lnTo>
                    <a:pt x="929" y="391"/>
                  </a:lnTo>
                  <a:lnTo>
                    <a:pt x="929" y="388"/>
                  </a:lnTo>
                  <a:lnTo>
                    <a:pt x="929" y="384"/>
                  </a:lnTo>
                  <a:lnTo>
                    <a:pt x="929" y="384"/>
                  </a:lnTo>
                  <a:lnTo>
                    <a:pt x="929" y="381"/>
                  </a:lnTo>
                  <a:lnTo>
                    <a:pt x="932" y="378"/>
                  </a:lnTo>
                  <a:lnTo>
                    <a:pt x="935" y="378"/>
                  </a:lnTo>
                  <a:lnTo>
                    <a:pt x="935" y="378"/>
                  </a:lnTo>
                  <a:lnTo>
                    <a:pt x="939" y="381"/>
                  </a:lnTo>
                  <a:lnTo>
                    <a:pt x="946" y="384"/>
                  </a:lnTo>
                  <a:lnTo>
                    <a:pt x="946" y="381"/>
                  </a:lnTo>
                  <a:lnTo>
                    <a:pt x="942" y="381"/>
                  </a:lnTo>
                  <a:lnTo>
                    <a:pt x="942" y="378"/>
                  </a:lnTo>
                  <a:lnTo>
                    <a:pt x="942" y="378"/>
                  </a:lnTo>
                  <a:lnTo>
                    <a:pt x="946" y="378"/>
                  </a:lnTo>
                  <a:lnTo>
                    <a:pt x="949" y="378"/>
                  </a:lnTo>
                  <a:lnTo>
                    <a:pt x="953" y="378"/>
                  </a:lnTo>
                  <a:lnTo>
                    <a:pt x="949" y="381"/>
                  </a:lnTo>
                  <a:lnTo>
                    <a:pt x="949" y="381"/>
                  </a:lnTo>
                  <a:lnTo>
                    <a:pt x="953" y="384"/>
                  </a:lnTo>
                  <a:lnTo>
                    <a:pt x="956" y="388"/>
                  </a:lnTo>
                  <a:lnTo>
                    <a:pt x="960" y="384"/>
                  </a:lnTo>
                  <a:lnTo>
                    <a:pt x="963" y="388"/>
                  </a:lnTo>
                  <a:lnTo>
                    <a:pt x="966" y="388"/>
                  </a:lnTo>
                  <a:lnTo>
                    <a:pt x="970" y="384"/>
                  </a:lnTo>
                  <a:lnTo>
                    <a:pt x="973" y="388"/>
                  </a:lnTo>
                  <a:lnTo>
                    <a:pt x="980" y="388"/>
                  </a:lnTo>
                  <a:lnTo>
                    <a:pt x="984" y="388"/>
                  </a:lnTo>
                  <a:lnTo>
                    <a:pt x="987" y="388"/>
                  </a:lnTo>
                  <a:lnTo>
                    <a:pt x="987" y="391"/>
                  </a:lnTo>
                  <a:lnTo>
                    <a:pt x="987" y="391"/>
                  </a:lnTo>
                  <a:lnTo>
                    <a:pt x="987" y="394"/>
                  </a:lnTo>
                  <a:lnTo>
                    <a:pt x="987" y="397"/>
                  </a:lnTo>
                  <a:lnTo>
                    <a:pt x="980" y="401"/>
                  </a:lnTo>
                  <a:lnTo>
                    <a:pt x="977" y="397"/>
                  </a:lnTo>
                  <a:lnTo>
                    <a:pt x="977" y="397"/>
                  </a:lnTo>
                  <a:lnTo>
                    <a:pt x="977" y="397"/>
                  </a:lnTo>
                  <a:lnTo>
                    <a:pt x="973" y="401"/>
                  </a:lnTo>
                  <a:lnTo>
                    <a:pt x="973" y="401"/>
                  </a:lnTo>
                  <a:lnTo>
                    <a:pt x="977" y="404"/>
                  </a:lnTo>
                  <a:lnTo>
                    <a:pt x="977" y="404"/>
                  </a:lnTo>
                  <a:lnTo>
                    <a:pt x="977" y="410"/>
                  </a:lnTo>
                  <a:lnTo>
                    <a:pt x="973" y="410"/>
                  </a:lnTo>
                  <a:lnTo>
                    <a:pt x="973" y="410"/>
                  </a:lnTo>
                  <a:lnTo>
                    <a:pt x="970" y="410"/>
                  </a:lnTo>
                  <a:lnTo>
                    <a:pt x="966" y="410"/>
                  </a:lnTo>
                  <a:lnTo>
                    <a:pt x="963" y="413"/>
                  </a:lnTo>
                  <a:lnTo>
                    <a:pt x="956" y="413"/>
                  </a:lnTo>
                  <a:lnTo>
                    <a:pt x="953" y="417"/>
                  </a:lnTo>
                  <a:lnTo>
                    <a:pt x="949" y="417"/>
                  </a:lnTo>
                  <a:lnTo>
                    <a:pt x="946" y="420"/>
                  </a:lnTo>
                  <a:lnTo>
                    <a:pt x="946" y="423"/>
                  </a:lnTo>
                  <a:lnTo>
                    <a:pt x="949" y="423"/>
                  </a:lnTo>
                  <a:lnTo>
                    <a:pt x="949" y="420"/>
                  </a:lnTo>
                  <a:lnTo>
                    <a:pt x="956" y="420"/>
                  </a:lnTo>
                  <a:lnTo>
                    <a:pt x="960" y="420"/>
                  </a:lnTo>
                  <a:lnTo>
                    <a:pt x="963" y="423"/>
                  </a:lnTo>
                  <a:lnTo>
                    <a:pt x="966" y="426"/>
                  </a:lnTo>
                  <a:lnTo>
                    <a:pt x="963" y="426"/>
                  </a:lnTo>
                  <a:lnTo>
                    <a:pt x="963" y="426"/>
                  </a:lnTo>
                  <a:lnTo>
                    <a:pt x="963" y="426"/>
                  </a:lnTo>
                  <a:lnTo>
                    <a:pt x="966" y="430"/>
                  </a:lnTo>
                  <a:lnTo>
                    <a:pt x="963" y="433"/>
                  </a:lnTo>
                  <a:lnTo>
                    <a:pt x="963" y="436"/>
                  </a:lnTo>
                  <a:lnTo>
                    <a:pt x="963" y="439"/>
                  </a:lnTo>
                  <a:lnTo>
                    <a:pt x="963" y="439"/>
                  </a:lnTo>
                  <a:lnTo>
                    <a:pt x="966" y="436"/>
                  </a:lnTo>
                  <a:lnTo>
                    <a:pt x="970" y="436"/>
                  </a:lnTo>
                  <a:lnTo>
                    <a:pt x="970" y="433"/>
                  </a:lnTo>
                  <a:lnTo>
                    <a:pt x="973" y="433"/>
                  </a:lnTo>
                  <a:lnTo>
                    <a:pt x="970" y="436"/>
                  </a:lnTo>
                  <a:lnTo>
                    <a:pt x="970" y="439"/>
                  </a:lnTo>
                  <a:lnTo>
                    <a:pt x="970" y="446"/>
                  </a:lnTo>
                  <a:lnTo>
                    <a:pt x="970" y="449"/>
                  </a:lnTo>
                  <a:lnTo>
                    <a:pt x="963" y="452"/>
                  </a:lnTo>
                  <a:lnTo>
                    <a:pt x="960" y="452"/>
                  </a:lnTo>
                  <a:lnTo>
                    <a:pt x="960" y="452"/>
                  </a:lnTo>
                  <a:lnTo>
                    <a:pt x="960" y="455"/>
                  </a:lnTo>
                  <a:lnTo>
                    <a:pt x="956" y="459"/>
                  </a:lnTo>
                  <a:lnTo>
                    <a:pt x="956" y="459"/>
                  </a:lnTo>
                  <a:lnTo>
                    <a:pt x="956" y="459"/>
                  </a:lnTo>
                  <a:lnTo>
                    <a:pt x="953" y="459"/>
                  </a:lnTo>
                  <a:lnTo>
                    <a:pt x="953" y="462"/>
                  </a:lnTo>
                  <a:lnTo>
                    <a:pt x="956" y="462"/>
                  </a:lnTo>
                  <a:lnTo>
                    <a:pt x="956" y="465"/>
                  </a:lnTo>
                  <a:lnTo>
                    <a:pt x="953" y="465"/>
                  </a:lnTo>
                  <a:lnTo>
                    <a:pt x="956" y="468"/>
                  </a:lnTo>
                  <a:lnTo>
                    <a:pt x="949" y="472"/>
                  </a:lnTo>
                  <a:lnTo>
                    <a:pt x="949" y="472"/>
                  </a:lnTo>
                  <a:lnTo>
                    <a:pt x="946" y="472"/>
                  </a:lnTo>
                  <a:lnTo>
                    <a:pt x="942" y="472"/>
                  </a:lnTo>
                  <a:lnTo>
                    <a:pt x="939" y="475"/>
                  </a:lnTo>
                  <a:lnTo>
                    <a:pt x="939" y="475"/>
                  </a:lnTo>
                  <a:lnTo>
                    <a:pt x="932" y="478"/>
                  </a:lnTo>
                  <a:lnTo>
                    <a:pt x="929" y="475"/>
                  </a:lnTo>
                  <a:lnTo>
                    <a:pt x="925" y="478"/>
                  </a:lnTo>
                  <a:lnTo>
                    <a:pt x="922" y="475"/>
                  </a:lnTo>
                  <a:lnTo>
                    <a:pt x="922" y="468"/>
                  </a:lnTo>
                  <a:lnTo>
                    <a:pt x="925" y="465"/>
                  </a:lnTo>
                  <a:lnTo>
                    <a:pt x="925" y="462"/>
                  </a:lnTo>
                  <a:lnTo>
                    <a:pt x="918" y="468"/>
                  </a:lnTo>
                  <a:lnTo>
                    <a:pt x="918" y="472"/>
                  </a:lnTo>
                  <a:lnTo>
                    <a:pt x="922" y="478"/>
                  </a:lnTo>
                  <a:lnTo>
                    <a:pt x="922" y="478"/>
                  </a:lnTo>
                  <a:lnTo>
                    <a:pt x="922" y="481"/>
                  </a:lnTo>
                  <a:lnTo>
                    <a:pt x="918" y="485"/>
                  </a:lnTo>
                  <a:lnTo>
                    <a:pt x="915" y="488"/>
                  </a:lnTo>
                  <a:lnTo>
                    <a:pt x="915" y="488"/>
                  </a:lnTo>
                  <a:lnTo>
                    <a:pt x="908" y="488"/>
                  </a:lnTo>
                  <a:lnTo>
                    <a:pt x="908" y="488"/>
                  </a:lnTo>
                  <a:close/>
                  <a:moveTo>
                    <a:pt x="973" y="413"/>
                  </a:moveTo>
                  <a:lnTo>
                    <a:pt x="973" y="413"/>
                  </a:lnTo>
                  <a:lnTo>
                    <a:pt x="977" y="413"/>
                  </a:lnTo>
                  <a:lnTo>
                    <a:pt x="977" y="413"/>
                  </a:lnTo>
                  <a:lnTo>
                    <a:pt x="973" y="413"/>
                  </a:lnTo>
                  <a:lnTo>
                    <a:pt x="973" y="413"/>
                  </a:lnTo>
                  <a:close/>
                  <a:moveTo>
                    <a:pt x="973" y="426"/>
                  </a:moveTo>
                  <a:lnTo>
                    <a:pt x="973" y="426"/>
                  </a:lnTo>
                  <a:lnTo>
                    <a:pt x="977" y="423"/>
                  </a:lnTo>
                  <a:lnTo>
                    <a:pt x="977" y="420"/>
                  </a:lnTo>
                  <a:lnTo>
                    <a:pt x="977" y="420"/>
                  </a:lnTo>
                  <a:lnTo>
                    <a:pt x="977" y="417"/>
                  </a:lnTo>
                  <a:lnTo>
                    <a:pt x="973" y="417"/>
                  </a:lnTo>
                  <a:lnTo>
                    <a:pt x="970" y="420"/>
                  </a:lnTo>
                  <a:lnTo>
                    <a:pt x="970" y="420"/>
                  </a:lnTo>
                  <a:lnTo>
                    <a:pt x="970" y="423"/>
                  </a:lnTo>
                  <a:lnTo>
                    <a:pt x="973" y="426"/>
                  </a:lnTo>
                  <a:lnTo>
                    <a:pt x="973" y="426"/>
                  </a:lnTo>
                  <a:close/>
                  <a:moveTo>
                    <a:pt x="970" y="433"/>
                  </a:moveTo>
                  <a:lnTo>
                    <a:pt x="970" y="433"/>
                  </a:lnTo>
                  <a:lnTo>
                    <a:pt x="973" y="430"/>
                  </a:lnTo>
                  <a:lnTo>
                    <a:pt x="970" y="430"/>
                  </a:lnTo>
                  <a:lnTo>
                    <a:pt x="966" y="430"/>
                  </a:lnTo>
                  <a:lnTo>
                    <a:pt x="966" y="433"/>
                  </a:lnTo>
                  <a:lnTo>
                    <a:pt x="970" y="433"/>
                  </a:lnTo>
                  <a:lnTo>
                    <a:pt x="970" y="433"/>
                  </a:lnTo>
                  <a:close/>
                  <a:moveTo>
                    <a:pt x="822" y="362"/>
                  </a:moveTo>
                  <a:lnTo>
                    <a:pt x="822" y="365"/>
                  </a:lnTo>
                  <a:lnTo>
                    <a:pt x="822" y="365"/>
                  </a:lnTo>
                  <a:lnTo>
                    <a:pt x="825" y="365"/>
                  </a:lnTo>
                  <a:lnTo>
                    <a:pt x="829" y="365"/>
                  </a:lnTo>
                  <a:lnTo>
                    <a:pt x="829" y="365"/>
                  </a:lnTo>
                  <a:lnTo>
                    <a:pt x="829" y="362"/>
                  </a:lnTo>
                  <a:lnTo>
                    <a:pt x="822" y="362"/>
                  </a:lnTo>
                  <a:lnTo>
                    <a:pt x="822" y="362"/>
                  </a:lnTo>
                  <a:lnTo>
                    <a:pt x="822" y="362"/>
                  </a:lnTo>
                  <a:close/>
                  <a:moveTo>
                    <a:pt x="846" y="404"/>
                  </a:moveTo>
                  <a:lnTo>
                    <a:pt x="843" y="401"/>
                  </a:lnTo>
                  <a:lnTo>
                    <a:pt x="843" y="394"/>
                  </a:lnTo>
                  <a:lnTo>
                    <a:pt x="843" y="391"/>
                  </a:lnTo>
                  <a:lnTo>
                    <a:pt x="843" y="388"/>
                  </a:lnTo>
                  <a:lnTo>
                    <a:pt x="843" y="388"/>
                  </a:lnTo>
                  <a:lnTo>
                    <a:pt x="839" y="381"/>
                  </a:lnTo>
                  <a:lnTo>
                    <a:pt x="839" y="378"/>
                  </a:lnTo>
                  <a:lnTo>
                    <a:pt x="839" y="375"/>
                  </a:lnTo>
                  <a:lnTo>
                    <a:pt x="836" y="371"/>
                  </a:lnTo>
                  <a:lnTo>
                    <a:pt x="836" y="371"/>
                  </a:lnTo>
                  <a:lnTo>
                    <a:pt x="839" y="368"/>
                  </a:lnTo>
                  <a:lnTo>
                    <a:pt x="843" y="365"/>
                  </a:lnTo>
                  <a:lnTo>
                    <a:pt x="846" y="362"/>
                  </a:lnTo>
                  <a:lnTo>
                    <a:pt x="853" y="362"/>
                  </a:lnTo>
                  <a:lnTo>
                    <a:pt x="856" y="365"/>
                  </a:lnTo>
                  <a:lnTo>
                    <a:pt x="856" y="365"/>
                  </a:lnTo>
                  <a:lnTo>
                    <a:pt x="860" y="365"/>
                  </a:lnTo>
                  <a:lnTo>
                    <a:pt x="863" y="365"/>
                  </a:lnTo>
                  <a:lnTo>
                    <a:pt x="867" y="368"/>
                  </a:lnTo>
                  <a:lnTo>
                    <a:pt x="870" y="368"/>
                  </a:lnTo>
                  <a:lnTo>
                    <a:pt x="874" y="368"/>
                  </a:lnTo>
                  <a:lnTo>
                    <a:pt x="877" y="371"/>
                  </a:lnTo>
                  <a:lnTo>
                    <a:pt x="877" y="375"/>
                  </a:lnTo>
                  <a:lnTo>
                    <a:pt x="874" y="375"/>
                  </a:lnTo>
                  <a:lnTo>
                    <a:pt x="877" y="378"/>
                  </a:lnTo>
                  <a:lnTo>
                    <a:pt x="877" y="381"/>
                  </a:lnTo>
                  <a:lnTo>
                    <a:pt x="874" y="381"/>
                  </a:lnTo>
                  <a:lnTo>
                    <a:pt x="874" y="384"/>
                  </a:lnTo>
                  <a:lnTo>
                    <a:pt x="870" y="388"/>
                  </a:lnTo>
                  <a:lnTo>
                    <a:pt x="867" y="388"/>
                  </a:lnTo>
                  <a:lnTo>
                    <a:pt x="863" y="391"/>
                  </a:lnTo>
                  <a:lnTo>
                    <a:pt x="856" y="394"/>
                  </a:lnTo>
                  <a:lnTo>
                    <a:pt x="853" y="401"/>
                  </a:lnTo>
                  <a:lnTo>
                    <a:pt x="849" y="401"/>
                  </a:lnTo>
                  <a:lnTo>
                    <a:pt x="846" y="401"/>
                  </a:lnTo>
                  <a:lnTo>
                    <a:pt x="849" y="404"/>
                  </a:lnTo>
                  <a:lnTo>
                    <a:pt x="846" y="404"/>
                  </a:lnTo>
                  <a:lnTo>
                    <a:pt x="846" y="404"/>
                  </a:lnTo>
                  <a:close/>
                  <a:moveTo>
                    <a:pt x="987" y="472"/>
                  </a:moveTo>
                  <a:lnTo>
                    <a:pt x="980" y="468"/>
                  </a:lnTo>
                  <a:lnTo>
                    <a:pt x="977" y="468"/>
                  </a:lnTo>
                  <a:lnTo>
                    <a:pt x="970" y="468"/>
                  </a:lnTo>
                  <a:lnTo>
                    <a:pt x="973" y="465"/>
                  </a:lnTo>
                  <a:lnTo>
                    <a:pt x="977" y="462"/>
                  </a:lnTo>
                  <a:lnTo>
                    <a:pt x="977" y="462"/>
                  </a:lnTo>
                  <a:lnTo>
                    <a:pt x="980" y="462"/>
                  </a:lnTo>
                  <a:lnTo>
                    <a:pt x="980" y="462"/>
                  </a:lnTo>
                  <a:lnTo>
                    <a:pt x="977" y="462"/>
                  </a:lnTo>
                  <a:lnTo>
                    <a:pt x="973" y="459"/>
                  </a:lnTo>
                  <a:lnTo>
                    <a:pt x="980" y="455"/>
                  </a:lnTo>
                  <a:lnTo>
                    <a:pt x="980" y="449"/>
                  </a:lnTo>
                  <a:lnTo>
                    <a:pt x="980" y="446"/>
                  </a:lnTo>
                  <a:lnTo>
                    <a:pt x="984" y="446"/>
                  </a:lnTo>
                  <a:lnTo>
                    <a:pt x="984" y="443"/>
                  </a:lnTo>
                  <a:lnTo>
                    <a:pt x="980" y="443"/>
                  </a:lnTo>
                  <a:lnTo>
                    <a:pt x="980" y="439"/>
                  </a:lnTo>
                  <a:lnTo>
                    <a:pt x="984" y="436"/>
                  </a:lnTo>
                  <a:lnTo>
                    <a:pt x="987" y="430"/>
                  </a:lnTo>
                  <a:lnTo>
                    <a:pt x="987" y="426"/>
                  </a:lnTo>
                  <a:lnTo>
                    <a:pt x="987" y="423"/>
                  </a:lnTo>
                  <a:lnTo>
                    <a:pt x="990" y="423"/>
                  </a:lnTo>
                  <a:lnTo>
                    <a:pt x="994" y="420"/>
                  </a:lnTo>
                  <a:lnTo>
                    <a:pt x="994" y="417"/>
                  </a:lnTo>
                  <a:lnTo>
                    <a:pt x="994" y="413"/>
                  </a:lnTo>
                  <a:lnTo>
                    <a:pt x="1001" y="407"/>
                  </a:lnTo>
                  <a:lnTo>
                    <a:pt x="1001" y="404"/>
                  </a:lnTo>
                  <a:lnTo>
                    <a:pt x="1004" y="404"/>
                  </a:lnTo>
                  <a:lnTo>
                    <a:pt x="1004" y="401"/>
                  </a:lnTo>
                  <a:lnTo>
                    <a:pt x="1004" y="401"/>
                  </a:lnTo>
                  <a:lnTo>
                    <a:pt x="1008" y="397"/>
                  </a:lnTo>
                  <a:lnTo>
                    <a:pt x="1008" y="397"/>
                  </a:lnTo>
                  <a:lnTo>
                    <a:pt x="1011" y="401"/>
                  </a:lnTo>
                  <a:lnTo>
                    <a:pt x="1011" y="404"/>
                  </a:lnTo>
                  <a:lnTo>
                    <a:pt x="1018" y="404"/>
                  </a:lnTo>
                  <a:lnTo>
                    <a:pt x="1015" y="401"/>
                  </a:lnTo>
                  <a:lnTo>
                    <a:pt x="1015" y="397"/>
                  </a:lnTo>
                  <a:lnTo>
                    <a:pt x="1015" y="397"/>
                  </a:lnTo>
                  <a:lnTo>
                    <a:pt x="1018" y="394"/>
                  </a:lnTo>
                  <a:lnTo>
                    <a:pt x="1015" y="391"/>
                  </a:lnTo>
                  <a:lnTo>
                    <a:pt x="1018" y="388"/>
                  </a:lnTo>
                  <a:lnTo>
                    <a:pt x="1025" y="388"/>
                  </a:lnTo>
                  <a:lnTo>
                    <a:pt x="1032" y="388"/>
                  </a:lnTo>
                  <a:lnTo>
                    <a:pt x="1035" y="384"/>
                  </a:lnTo>
                  <a:lnTo>
                    <a:pt x="1035" y="388"/>
                  </a:lnTo>
                  <a:lnTo>
                    <a:pt x="1039" y="388"/>
                  </a:lnTo>
                  <a:lnTo>
                    <a:pt x="1042" y="388"/>
                  </a:lnTo>
                  <a:lnTo>
                    <a:pt x="1042" y="388"/>
                  </a:lnTo>
                  <a:lnTo>
                    <a:pt x="1049" y="388"/>
                  </a:lnTo>
                  <a:lnTo>
                    <a:pt x="1049" y="391"/>
                  </a:lnTo>
                  <a:lnTo>
                    <a:pt x="1056" y="391"/>
                  </a:lnTo>
                  <a:lnTo>
                    <a:pt x="1056" y="391"/>
                  </a:lnTo>
                  <a:lnTo>
                    <a:pt x="1056" y="391"/>
                  </a:lnTo>
                  <a:lnTo>
                    <a:pt x="1059" y="394"/>
                  </a:lnTo>
                  <a:lnTo>
                    <a:pt x="1059" y="397"/>
                  </a:lnTo>
                  <a:lnTo>
                    <a:pt x="1059" y="397"/>
                  </a:lnTo>
                  <a:lnTo>
                    <a:pt x="1063" y="397"/>
                  </a:lnTo>
                  <a:lnTo>
                    <a:pt x="1070" y="397"/>
                  </a:lnTo>
                  <a:lnTo>
                    <a:pt x="1076" y="401"/>
                  </a:lnTo>
                  <a:lnTo>
                    <a:pt x="1083" y="401"/>
                  </a:lnTo>
                  <a:lnTo>
                    <a:pt x="1083" y="404"/>
                  </a:lnTo>
                  <a:lnTo>
                    <a:pt x="1083" y="407"/>
                  </a:lnTo>
                  <a:lnTo>
                    <a:pt x="1087" y="407"/>
                  </a:lnTo>
                  <a:lnTo>
                    <a:pt x="1083" y="407"/>
                  </a:lnTo>
                  <a:lnTo>
                    <a:pt x="1083" y="407"/>
                  </a:lnTo>
                  <a:lnTo>
                    <a:pt x="1080" y="410"/>
                  </a:lnTo>
                  <a:lnTo>
                    <a:pt x="1076" y="417"/>
                  </a:lnTo>
                  <a:lnTo>
                    <a:pt x="1073" y="420"/>
                  </a:lnTo>
                  <a:lnTo>
                    <a:pt x="1070" y="420"/>
                  </a:lnTo>
                  <a:lnTo>
                    <a:pt x="1070" y="423"/>
                  </a:lnTo>
                  <a:lnTo>
                    <a:pt x="1059" y="426"/>
                  </a:lnTo>
                  <a:lnTo>
                    <a:pt x="1056" y="433"/>
                  </a:lnTo>
                  <a:lnTo>
                    <a:pt x="1052" y="433"/>
                  </a:lnTo>
                  <a:lnTo>
                    <a:pt x="1052" y="433"/>
                  </a:lnTo>
                  <a:lnTo>
                    <a:pt x="1052" y="433"/>
                  </a:lnTo>
                  <a:lnTo>
                    <a:pt x="1052" y="436"/>
                  </a:lnTo>
                  <a:lnTo>
                    <a:pt x="1046" y="439"/>
                  </a:lnTo>
                  <a:lnTo>
                    <a:pt x="1042" y="446"/>
                  </a:lnTo>
                  <a:lnTo>
                    <a:pt x="1035" y="449"/>
                  </a:lnTo>
                  <a:lnTo>
                    <a:pt x="1028" y="449"/>
                  </a:lnTo>
                  <a:lnTo>
                    <a:pt x="1028" y="449"/>
                  </a:lnTo>
                  <a:lnTo>
                    <a:pt x="1025" y="449"/>
                  </a:lnTo>
                  <a:lnTo>
                    <a:pt x="1025" y="449"/>
                  </a:lnTo>
                  <a:lnTo>
                    <a:pt x="1018" y="446"/>
                  </a:lnTo>
                  <a:lnTo>
                    <a:pt x="1018" y="443"/>
                  </a:lnTo>
                  <a:lnTo>
                    <a:pt x="1015" y="439"/>
                  </a:lnTo>
                  <a:lnTo>
                    <a:pt x="1011" y="443"/>
                  </a:lnTo>
                  <a:lnTo>
                    <a:pt x="1008" y="443"/>
                  </a:lnTo>
                  <a:lnTo>
                    <a:pt x="1004" y="443"/>
                  </a:lnTo>
                  <a:lnTo>
                    <a:pt x="1004" y="439"/>
                  </a:lnTo>
                  <a:lnTo>
                    <a:pt x="1001" y="439"/>
                  </a:lnTo>
                  <a:lnTo>
                    <a:pt x="1001" y="443"/>
                  </a:lnTo>
                  <a:lnTo>
                    <a:pt x="1001" y="443"/>
                  </a:lnTo>
                  <a:lnTo>
                    <a:pt x="1008" y="443"/>
                  </a:lnTo>
                  <a:lnTo>
                    <a:pt x="1008" y="446"/>
                  </a:lnTo>
                  <a:lnTo>
                    <a:pt x="1004" y="449"/>
                  </a:lnTo>
                  <a:lnTo>
                    <a:pt x="1008" y="449"/>
                  </a:lnTo>
                  <a:lnTo>
                    <a:pt x="1008" y="452"/>
                  </a:lnTo>
                  <a:lnTo>
                    <a:pt x="1004" y="455"/>
                  </a:lnTo>
                  <a:lnTo>
                    <a:pt x="1004" y="459"/>
                  </a:lnTo>
                  <a:lnTo>
                    <a:pt x="1001" y="459"/>
                  </a:lnTo>
                  <a:lnTo>
                    <a:pt x="997" y="459"/>
                  </a:lnTo>
                  <a:lnTo>
                    <a:pt x="994" y="462"/>
                  </a:lnTo>
                  <a:lnTo>
                    <a:pt x="994" y="465"/>
                  </a:lnTo>
                  <a:lnTo>
                    <a:pt x="990" y="468"/>
                  </a:lnTo>
                  <a:lnTo>
                    <a:pt x="987" y="468"/>
                  </a:lnTo>
                  <a:lnTo>
                    <a:pt x="987" y="472"/>
                  </a:lnTo>
                  <a:lnTo>
                    <a:pt x="987" y="472"/>
                  </a:lnTo>
                  <a:lnTo>
                    <a:pt x="987" y="472"/>
                  </a:lnTo>
                  <a:lnTo>
                    <a:pt x="987" y="472"/>
                  </a:lnTo>
                  <a:close/>
                  <a:moveTo>
                    <a:pt x="1224" y="485"/>
                  </a:moveTo>
                  <a:lnTo>
                    <a:pt x="1218" y="481"/>
                  </a:lnTo>
                  <a:lnTo>
                    <a:pt x="1214" y="481"/>
                  </a:lnTo>
                  <a:lnTo>
                    <a:pt x="1214" y="478"/>
                  </a:lnTo>
                  <a:lnTo>
                    <a:pt x="1211" y="478"/>
                  </a:lnTo>
                  <a:lnTo>
                    <a:pt x="1207" y="475"/>
                  </a:lnTo>
                  <a:lnTo>
                    <a:pt x="1211" y="468"/>
                  </a:lnTo>
                  <a:lnTo>
                    <a:pt x="1214" y="468"/>
                  </a:lnTo>
                  <a:lnTo>
                    <a:pt x="1214" y="465"/>
                  </a:lnTo>
                  <a:lnTo>
                    <a:pt x="1214" y="462"/>
                  </a:lnTo>
                  <a:lnTo>
                    <a:pt x="1214" y="462"/>
                  </a:lnTo>
                  <a:lnTo>
                    <a:pt x="1211" y="459"/>
                  </a:lnTo>
                  <a:lnTo>
                    <a:pt x="1207" y="459"/>
                  </a:lnTo>
                  <a:lnTo>
                    <a:pt x="1211" y="449"/>
                  </a:lnTo>
                  <a:lnTo>
                    <a:pt x="1214" y="452"/>
                  </a:lnTo>
                  <a:lnTo>
                    <a:pt x="1214" y="449"/>
                  </a:lnTo>
                  <a:lnTo>
                    <a:pt x="1214" y="446"/>
                  </a:lnTo>
                  <a:lnTo>
                    <a:pt x="1218" y="443"/>
                  </a:lnTo>
                  <a:lnTo>
                    <a:pt x="1218" y="439"/>
                  </a:lnTo>
                  <a:lnTo>
                    <a:pt x="1221" y="439"/>
                  </a:lnTo>
                  <a:lnTo>
                    <a:pt x="1224" y="439"/>
                  </a:lnTo>
                  <a:lnTo>
                    <a:pt x="1224" y="443"/>
                  </a:lnTo>
                  <a:lnTo>
                    <a:pt x="1231" y="446"/>
                  </a:lnTo>
                  <a:lnTo>
                    <a:pt x="1235" y="446"/>
                  </a:lnTo>
                  <a:lnTo>
                    <a:pt x="1238" y="449"/>
                  </a:lnTo>
                  <a:lnTo>
                    <a:pt x="1242" y="446"/>
                  </a:lnTo>
                  <a:lnTo>
                    <a:pt x="1248" y="449"/>
                  </a:lnTo>
                  <a:lnTo>
                    <a:pt x="1252" y="449"/>
                  </a:lnTo>
                  <a:lnTo>
                    <a:pt x="1255" y="449"/>
                  </a:lnTo>
                  <a:lnTo>
                    <a:pt x="1255" y="452"/>
                  </a:lnTo>
                  <a:lnTo>
                    <a:pt x="1262" y="455"/>
                  </a:lnTo>
                  <a:lnTo>
                    <a:pt x="1262" y="459"/>
                  </a:lnTo>
                  <a:lnTo>
                    <a:pt x="1262" y="462"/>
                  </a:lnTo>
                  <a:lnTo>
                    <a:pt x="1262" y="465"/>
                  </a:lnTo>
                  <a:lnTo>
                    <a:pt x="1266" y="468"/>
                  </a:lnTo>
                  <a:lnTo>
                    <a:pt x="1266" y="468"/>
                  </a:lnTo>
                  <a:lnTo>
                    <a:pt x="1266" y="472"/>
                  </a:lnTo>
                  <a:lnTo>
                    <a:pt x="1266" y="475"/>
                  </a:lnTo>
                  <a:lnTo>
                    <a:pt x="1266" y="478"/>
                  </a:lnTo>
                  <a:lnTo>
                    <a:pt x="1266" y="481"/>
                  </a:lnTo>
                  <a:lnTo>
                    <a:pt x="1266" y="481"/>
                  </a:lnTo>
                  <a:lnTo>
                    <a:pt x="1269" y="485"/>
                  </a:lnTo>
                  <a:lnTo>
                    <a:pt x="1269" y="485"/>
                  </a:lnTo>
                  <a:lnTo>
                    <a:pt x="1266" y="488"/>
                  </a:lnTo>
                  <a:lnTo>
                    <a:pt x="1266" y="488"/>
                  </a:lnTo>
                  <a:lnTo>
                    <a:pt x="1259" y="488"/>
                  </a:lnTo>
                  <a:lnTo>
                    <a:pt x="1259" y="485"/>
                  </a:lnTo>
                  <a:lnTo>
                    <a:pt x="1252" y="485"/>
                  </a:lnTo>
                  <a:lnTo>
                    <a:pt x="1248" y="481"/>
                  </a:lnTo>
                  <a:lnTo>
                    <a:pt x="1242" y="481"/>
                  </a:lnTo>
                  <a:lnTo>
                    <a:pt x="1242" y="481"/>
                  </a:lnTo>
                  <a:lnTo>
                    <a:pt x="1238" y="481"/>
                  </a:lnTo>
                  <a:lnTo>
                    <a:pt x="1231" y="481"/>
                  </a:lnTo>
                  <a:lnTo>
                    <a:pt x="1228" y="481"/>
                  </a:lnTo>
                  <a:lnTo>
                    <a:pt x="1224" y="485"/>
                  </a:lnTo>
                  <a:lnTo>
                    <a:pt x="1224" y="485"/>
                  </a:lnTo>
                  <a:lnTo>
                    <a:pt x="1224" y="485"/>
                  </a:lnTo>
                  <a:close/>
                  <a:moveTo>
                    <a:pt x="1200" y="491"/>
                  </a:moveTo>
                  <a:lnTo>
                    <a:pt x="1200" y="488"/>
                  </a:lnTo>
                  <a:lnTo>
                    <a:pt x="1204" y="485"/>
                  </a:lnTo>
                  <a:lnTo>
                    <a:pt x="1204" y="488"/>
                  </a:lnTo>
                  <a:lnTo>
                    <a:pt x="1204" y="488"/>
                  </a:lnTo>
                  <a:lnTo>
                    <a:pt x="1200" y="491"/>
                  </a:lnTo>
                  <a:lnTo>
                    <a:pt x="1200" y="491"/>
                  </a:lnTo>
                  <a:close/>
                  <a:moveTo>
                    <a:pt x="1207" y="494"/>
                  </a:moveTo>
                  <a:lnTo>
                    <a:pt x="1207" y="491"/>
                  </a:lnTo>
                  <a:lnTo>
                    <a:pt x="1207" y="491"/>
                  </a:lnTo>
                  <a:lnTo>
                    <a:pt x="1207" y="491"/>
                  </a:lnTo>
                  <a:lnTo>
                    <a:pt x="1211" y="491"/>
                  </a:lnTo>
                  <a:lnTo>
                    <a:pt x="1207" y="494"/>
                  </a:lnTo>
                  <a:lnTo>
                    <a:pt x="1207" y="494"/>
                  </a:lnTo>
                  <a:close/>
                  <a:moveTo>
                    <a:pt x="1218" y="494"/>
                  </a:moveTo>
                  <a:lnTo>
                    <a:pt x="1214" y="491"/>
                  </a:lnTo>
                  <a:lnTo>
                    <a:pt x="1214" y="491"/>
                  </a:lnTo>
                  <a:lnTo>
                    <a:pt x="1218" y="491"/>
                  </a:lnTo>
                  <a:lnTo>
                    <a:pt x="1218" y="491"/>
                  </a:lnTo>
                  <a:lnTo>
                    <a:pt x="1218" y="494"/>
                  </a:lnTo>
                  <a:lnTo>
                    <a:pt x="1218" y="494"/>
                  </a:lnTo>
                  <a:close/>
                  <a:moveTo>
                    <a:pt x="977" y="562"/>
                  </a:moveTo>
                  <a:lnTo>
                    <a:pt x="977" y="562"/>
                  </a:lnTo>
                  <a:lnTo>
                    <a:pt x="977" y="559"/>
                  </a:lnTo>
                  <a:lnTo>
                    <a:pt x="980" y="559"/>
                  </a:lnTo>
                  <a:lnTo>
                    <a:pt x="980" y="562"/>
                  </a:lnTo>
                  <a:lnTo>
                    <a:pt x="980" y="562"/>
                  </a:lnTo>
                  <a:lnTo>
                    <a:pt x="980" y="562"/>
                  </a:lnTo>
                  <a:lnTo>
                    <a:pt x="977" y="562"/>
                  </a:lnTo>
                  <a:lnTo>
                    <a:pt x="977" y="562"/>
                  </a:lnTo>
                  <a:close/>
                  <a:moveTo>
                    <a:pt x="987" y="578"/>
                  </a:moveTo>
                  <a:lnTo>
                    <a:pt x="990" y="585"/>
                  </a:lnTo>
                  <a:lnTo>
                    <a:pt x="990" y="581"/>
                  </a:lnTo>
                  <a:lnTo>
                    <a:pt x="990" y="581"/>
                  </a:lnTo>
                  <a:lnTo>
                    <a:pt x="994" y="578"/>
                  </a:lnTo>
                  <a:lnTo>
                    <a:pt x="990" y="578"/>
                  </a:lnTo>
                  <a:lnTo>
                    <a:pt x="987" y="578"/>
                  </a:lnTo>
                  <a:lnTo>
                    <a:pt x="987" y="578"/>
                  </a:lnTo>
                  <a:close/>
                  <a:moveTo>
                    <a:pt x="984" y="578"/>
                  </a:moveTo>
                  <a:lnTo>
                    <a:pt x="984" y="581"/>
                  </a:lnTo>
                  <a:lnTo>
                    <a:pt x="987" y="585"/>
                  </a:lnTo>
                  <a:lnTo>
                    <a:pt x="987" y="585"/>
                  </a:lnTo>
                  <a:lnTo>
                    <a:pt x="987" y="585"/>
                  </a:lnTo>
                  <a:lnTo>
                    <a:pt x="987" y="585"/>
                  </a:lnTo>
                  <a:lnTo>
                    <a:pt x="987" y="581"/>
                  </a:lnTo>
                  <a:lnTo>
                    <a:pt x="987" y="578"/>
                  </a:lnTo>
                  <a:lnTo>
                    <a:pt x="984" y="578"/>
                  </a:lnTo>
                  <a:lnTo>
                    <a:pt x="984" y="578"/>
                  </a:lnTo>
                  <a:close/>
                  <a:moveTo>
                    <a:pt x="1059" y="569"/>
                  </a:moveTo>
                  <a:lnTo>
                    <a:pt x="1059" y="565"/>
                  </a:lnTo>
                  <a:lnTo>
                    <a:pt x="1056" y="565"/>
                  </a:lnTo>
                  <a:lnTo>
                    <a:pt x="1052" y="565"/>
                  </a:lnTo>
                  <a:lnTo>
                    <a:pt x="1052" y="565"/>
                  </a:lnTo>
                  <a:lnTo>
                    <a:pt x="1049" y="565"/>
                  </a:lnTo>
                  <a:lnTo>
                    <a:pt x="1049" y="562"/>
                  </a:lnTo>
                  <a:lnTo>
                    <a:pt x="1049" y="562"/>
                  </a:lnTo>
                  <a:lnTo>
                    <a:pt x="1052" y="562"/>
                  </a:lnTo>
                  <a:lnTo>
                    <a:pt x="1052" y="559"/>
                  </a:lnTo>
                  <a:lnTo>
                    <a:pt x="1056" y="559"/>
                  </a:lnTo>
                  <a:lnTo>
                    <a:pt x="1059" y="562"/>
                  </a:lnTo>
                  <a:lnTo>
                    <a:pt x="1063" y="562"/>
                  </a:lnTo>
                  <a:lnTo>
                    <a:pt x="1063" y="565"/>
                  </a:lnTo>
                  <a:lnTo>
                    <a:pt x="1063" y="569"/>
                  </a:lnTo>
                  <a:lnTo>
                    <a:pt x="1063" y="569"/>
                  </a:lnTo>
                  <a:lnTo>
                    <a:pt x="1059" y="569"/>
                  </a:lnTo>
                  <a:lnTo>
                    <a:pt x="1059" y="569"/>
                  </a:lnTo>
                  <a:close/>
                  <a:moveTo>
                    <a:pt x="1101" y="581"/>
                  </a:moveTo>
                  <a:lnTo>
                    <a:pt x="1101" y="581"/>
                  </a:lnTo>
                  <a:lnTo>
                    <a:pt x="1097" y="578"/>
                  </a:lnTo>
                  <a:lnTo>
                    <a:pt x="1101" y="581"/>
                  </a:lnTo>
                  <a:lnTo>
                    <a:pt x="1101" y="581"/>
                  </a:lnTo>
                  <a:lnTo>
                    <a:pt x="1104" y="581"/>
                  </a:lnTo>
                  <a:lnTo>
                    <a:pt x="1101" y="581"/>
                  </a:lnTo>
                  <a:lnTo>
                    <a:pt x="1101" y="581"/>
                  </a:lnTo>
                  <a:close/>
                  <a:moveTo>
                    <a:pt x="1107" y="581"/>
                  </a:moveTo>
                  <a:lnTo>
                    <a:pt x="1107" y="585"/>
                  </a:lnTo>
                  <a:lnTo>
                    <a:pt x="1107" y="581"/>
                  </a:lnTo>
                  <a:lnTo>
                    <a:pt x="1107" y="581"/>
                  </a:lnTo>
                  <a:lnTo>
                    <a:pt x="1107" y="581"/>
                  </a:lnTo>
                  <a:close/>
                  <a:moveTo>
                    <a:pt x="1111" y="585"/>
                  </a:moveTo>
                  <a:lnTo>
                    <a:pt x="1114" y="585"/>
                  </a:lnTo>
                  <a:lnTo>
                    <a:pt x="1118" y="585"/>
                  </a:lnTo>
                  <a:lnTo>
                    <a:pt x="1118" y="585"/>
                  </a:lnTo>
                  <a:lnTo>
                    <a:pt x="1118" y="585"/>
                  </a:lnTo>
                  <a:lnTo>
                    <a:pt x="1114" y="585"/>
                  </a:lnTo>
                  <a:lnTo>
                    <a:pt x="1114" y="581"/>
                  </a:lnTo>
                  <a:lnTo>
                    <a:pt x="1111" y="581"/>
                  </a:lnTo>
                  <a:lnTo>
                    <a:pt x="1111" y="585"/>
                  </a:lnTo>
                  <a:lnTo>
                    <a:pt x="1111" y="585"/>
                  </a:lnTo>
                  <a:lnTo>
                    <a:pt x="1111" y="585"/>
                  </a:lnTo>
                  <a:close/>
                  <a:moveTo>
                    <a:pt x="1156" y="636"/>
                  </a:moveTo>
                  <a:lnTo>
                    <a:pt x="1156" y="633"/>
                  </a:lnTo>
                  <a:lnTo>
                    <a:pt x="1159" y="633"/>
                  </a:lnTo>
                  <a:lnTo>
                    <a:pt x="1159" y="630"/>
                  </a:lnTo>
                  <a:lnTo>
                    <a:pt x="1159" y="630"/>
                  </a:lnTo>
                  <a:lnTo>
                    <a:pt x="1162" y="633"/>
                  </a:lnTo>
                  <a:lnTo>
                    <a:pt x="1159" y="633"/>
                  </a:lnTo>
                  <a:lnTo>
                    <a:pt x="1159" y="636"/>
                  </a:lnTo>
                  <a:lnTo>
                    <a:pt x="1156" y="636"/>
                  </a:lnTo>
                  <a:lnTo>
                    <a:pt x="1156" y="636"/>
                  </a:lnTo>
                  <a:close/>
                  <a:moveTo>
                    <a:pt x="1152" y="646"/>
                  </a:moveTo>
                  <a:lnTo>
                    <a:pt x="1152" y="643"/>
                  </a:lnTo>
                  <a:lnTo>
                    <a:pt x="1152" y="640"/>
                  </a:lnTo>
                  <a:lnTo>
                    <a:pt x="1156" y="640"/>
                  </a:lnTo>
                  <a:lnTo>
                    <a:pt x="1159" y="640"/>
                  </a:lnTo>
                  <a:lnTo>
                    <a:pt x="1159" y="643"/>
                  </a:lnTo>
                  <a:lnTo>
                    <a:pt x="1156" y="643"/>
                  </a:lnTo>
                  <a:lnTo>
                    <a:pt x="1156" y="646"/>
                  </a:lnTo>
                  <a:lnTo>
                    <a:pt x="1152" y="646"/>
                  </a:lnTo>
                  <a:lnTo>
                    <a:pt x="1152" y="646"/>
                  </a:lnTo>
                  <a:close/>
                  <a:moveTo>
                    <a:pt x="1128" y="598"/>
                  </a:moveTo>
                  <a:lnTo>
                    <a:pt x="1125" y="594"/>
                  </a:lnTo>
                  <a:lnTo>
                    <a:pt x="1128" y="594"/>
                  </a:lnTo>
                  <a:lnTo>
                    <a:pt x="1128" y="598"/>
                  </a:lnTo>
                  <a:lnTo>
                    <a:pt x="1128" y="598"/>
                  </a:lnTo>
                  <a:close/>
                  <a:moveTo>
                    <a:pt x="1121" y="598"/>
                  </a:moveTo>
                  <a:lnTo>
                    <a:pt x="1118" y="594"/>
                  </a:lnTo>
                  <a:lnTo>
                    <a:pt x="1121" y="594"/>
                  </a:lnTo>
                  <a:lnTo>
                    <a:pt x="1121" y="598"/>
                  </a:lnTo>
                  <a:lnTo>
                    <a:pt x="1121" y="598"/>
                  </a:lnTo>
                  <a:lnTo>
                    <a:pt x="1121" y="598"/>
                  </a:lnTo>
                  <a:close/>
                  <a:moveTo>
                    <a:pt x="1121" y="598"/>
                  </a:moveTo>
                  <a:lnTo>
                    <a:pt x="1125" y="601"/>
                  </a:lnTo>
                  <a:lnTo>
                    <a:pt x="1125" y="601"/>
                  </a:lnTo>
                  <a:lnTo>
                    <a:pt x="1128" y="601"/>
                  </a:lnTo>
                  <a:lnTo>
                    <a:pt x="1128" y="601"/>
                  </a:lnTo>
                  <a:lnTo>
                    <a:pt x="1125" y="598"/>
                  </a:lnTo>
                  <a:lnTo>
                    <a:pt x="1125" y="598"/>
                  </a:lnTo>
                  <a:lnTo>
                    <a:pt x="1121" y="598"/>
                  </a:lnTo>
                  <a:lnTo>
                    <a:pt x="1121" y="598"/>
                  </a:lnTo>
                  <a:close/>
                  <a:moveTo>
                    <a:pt x="1149" y="591"/>
                  </a:moveTo>
                  <a:lnTo>
                    <a:pt x="1149" y="591"/>
                  </a:lnTo>
                  <a:lnTo>
                    <a:pt x="1152" y="591"/>
                  </a:lnTo>
                  <a:lnTo>
                    <a:pt x="1152" y="594"/>
                  </a:lnTo>
                  <a:lnTo>
                    <a:pt x="1152" y="594"/>
                  </a:lnTo>
                  <a:lnTo>
                    <a:pt x="1152" y="598"/>
                  </a:lnTo>
                  <a:lnTo>
                    <a:pt x="1156" y="594"/>
                  </a:lnTo>
                  <a:lnTo>
                    <a:pt x="1156" y="594"/>
                  </a:lnTo>
                  <a:lnTo>
                    <a:pt x="1156" y="594"/>
                  </a:lnTo>
                  <a:lnTo>
                    <a:pt x="1159" y="594"/>
                  </a:lnTo>
                  <a:lnTo>
                    <a:pt x="1162" y="594"/>
                  </a:lnTo>
                  <a:lnTo>
                    <a:pt x="1162" y="591"/>
                  </a:lnTo>
                  <a:lnTo>
                    <a:pt x="1162" y="591"/>
                  </a:lnTo>
                  <a:lnTo>
                    <a:pt x="1156" y="591"/>
                  </a:lnTo>
                  <a:lnTo>
                    <a:pt x="1156" y="588"/>
                  </a:lnTo>
                  <a:lnTo>
                    <a:pt x="1152" y="588"/>
                  </a:lnTo>
                  <a:lnTo>
                    <a:pt x="1149" y="588"/>
                  </a:lnTo>
                  <a:lnTo>
                    <a:pt x="1149" y="588"/>
                  </a:lnTo>
                  <a:lnTo>
                    <a:pt x="1149" y="591"/>
                  </a:lnTo>
                  <a:lnTo>
                    <a:pt x="1149" y="591"/>
                  </a:lnTo>
                  <a:close/>
                  <a:moveTo>
                    <a:pt x="1190" y="588"/>
                  </a:moveTo>
                  <a:lnTo>
                    <a:pt x="1190" y="585"/>
                  </a:lnTo>
                  <a:lnTo>
                    <a:pt x="1193" y="585"/>
                  </a:lnTo>
                  <a:lnTo>
                    <a:pt x="1193" y="588"/>
                  </a:lnTo>
                  <a:lnTo>
                    <a:pt x="1190" y="588"/>
                  </a:lnTo>
                  <a:lnTo>
                    <a:pt x="1190" y="588"/>
                  </a:lnTo>
                  <a:close/>
                  <a:moveTo>
                    <a:pt x="1176" y="604"/>
                  </a:moveTo>
                  <a:lnTo>
                    <a:pt x="1180" y="601"/>
                  </a:lnTo>
                  <a:lnTo>
                    <a:pt x="1180" y="598"/>
                  </a:lnTo>
                  <a:lnTo>
                    <a:pt x="1183" y="598"/>
                  </a:lnTo>
                  <a:lnTo>
                    <a:pt x="1183" y="594"/>
                  </a:lnTo>
                  <a:lnTo>
                    <a:pt x="1187" y="594"/>
                  </a:lnTo>
                  <a:lnTo>
                    <a:pt x="1187" y="598"/>
                  </a:lnTo>
                  <a:lnTo>
                    <a:pt x="1187" y="598"/>
                  </a:lnTo>
                  <a:lnTo>
                    <a:pt x="1183" y="601"/>
                  </a:lnTo>
                  <a:lnTo>
                    <a:pt x="1180" y="604"/>
                  </a:lnTo>
                  <a:lnTo>
                    <a:pt x="1176" y="604"/>
                  </a:lnTo>
                  <a:lnTo>
                    <a:pt x="1176" y="604"/>
                  </a:lnTo>
                  <a:lnTo>
                    <a:pt x="1176" y="604"/>
                  </a:lnTo>
                  <a:close/>
                  <a:moveTo>
                    <a:pt x="1162" y="623"/>
                  </a:moveTo>
                  <a:lnTo>
                    <a:pt x="1169" y="617"/>
                  </a:lnTo>
                  <a:lnTo>
                    <a:pt x="1169" y="617"/>
                  </a:lnTo>
                  <a:lnTo>
                    <a:pt x="1173" y="617"/>
                  </a:lnTo>
                  <a:lnTo>
                    <a:pt x="1176" y="614"/>
                  </a:lnTo>
                  <a:lnTo>
                    <a:pt x="1180" y="611"/>
                  </a:lnTo>
                  <a:lnTo>
                    <a:pt x="1180" y="607"/>
                  </a:lnTo>
                  <a:lnTo>
                    <a:pt x="1176" y="607"/>
                  </a:lnTo>
                  <a:lnTo>
                    <a:pt x="1173" y="607"/>
                  </a:lnTo>
                  <a:lnTo>
                    <a:pt x="1173" y="611"/>
                  </a:lnTo>
                  <a:lnTo>
                    <a:pt x="1173" y="611"/>
                  </a:lnTo>
                  <a:lnTo>
                    <a:pt x="1169" y="614"/>
                  </a:lnTo>
                  <a:lnTo>
                    <a:pt x="1166" y="614"/>
                  </a:lnTo>
                  <a:lnTo>
                    <a:pt x="1159" y="614"/>
                  </a:lnTo>
                  <a:lnTo>
                    <a:pt x="1156" y="617"/>
                  </a:lnTo>
                  <a:lnTo>
                    <a:pt x="1156" y="617"/>
                  </a:lnTo>
                  <a:lnTo>
                    <a:pt x="1152" y="620"/>
                  </a:lnTo>
                  <a:lnTo>
                    <a:pt x="1156" y="623"/>
                  </a:lnTo>
                  <a:lnTo>
                    <a:pt x="1156" y="623"/>
                  </a:lnTo>
                  <a:lnTo>
                    <a:pt x="1159" y="623"/>
                  </a:lnTo>
                  <a:lnTo>
                    <a:pt x="1162" y="623"/>
                  </a:lnTo>
                  <a:lnTo>
                    <a:pt x="1162" y="623"/>
                  </a:lnTo>
                  <a:close/>
                  <a:moveTo>
                    <a:pt x="1193" y="620"/>
                  </a:moveTo>
                  <a:lnTo>
                    <a:pt x="1193" y="614"/>
                  </a:lnTo>
                  <a:lnTo>
                    <a:pt x="1193" y="614"/>
                  </a:lnTo>
                  <a:lnTo>
                    <a:pt x="1193" y="611"/>
                  </a:lnTo>
                  <a:lnTo>
                    <a:pt x="1197" y="611"/>
                  </a:lnTo>
                  <a:lnTo>
                    <a:pt x="1200" y="611"/>
                  </a:lnTo>
                  <a:lnTo>
                    <a:pt x="1204" y="614"/>
                  </a:lnTo>
                  <a:lnTo>
                    <a:pt x="1200" y="617"/>
                  </a:lnTo>
                  <a:lnTo>
                    <a:pt x="1197" y="617"/>
                  </a:lnTo>
                  <a:lnTo>
                    <a:pt x="1197" y="620"/>
                  </a:lnTo>
                  <a:lnTo>
                    <a:pt x="1193" y="620"/>
                  </a:lnTo>
                  <a:lnTo>
                    <a:pt x="1193" y="620"/>
                  </a:lnTo>
                  <a:close/>
                  <a:moveTo>
                    <a:pt x="1218" y="646"/>
                  </a:moveTo>
                  <a:lnTo>
                    <a:pt x="1218" y="643"/>
                  </a:lnTo>
                  <a:lnTo>
                    <a:pt x="1218" y="636"/>
                  </a:lnTo>
                  <a:lnTo>
                    <a:pt x="1218" y="636"/>
                  </a:lnTo>
                  <a:lnTo>
                    <a:pt x="1214" y="636"/>
                  </a:lnTo>
                  <a:lnTo>
                    <a:pt x="1214" y="640"/>
                  </a:lnTo>
                  <a:lnTo>
                    <a:pt x="1211" y="643"/>
                  </a:lnTo>
                  <a:lnTo>
                    <a:pt x="1214" y="646"/>
                  </a:lnTo>
                  <a:lnTo>
                    <a:pt x="1214" y="646"/>
                  </a:lnTo>
                  <a:lnTo>
                    <a:pt x="1214" y="649"/>
                  </a:lnTo>
                  <a:lnTo>
                    <a:pt x="1218" y="646"/>
                  </a:lnTo>
                  <a:lnTo>
                    <a:pt x="1218" y="646"/>
                  </a:lnTo>
                  <a:lnTo>
                    <a:pt x="1218" y="646"/>
                  </a:lnTo>
                  <a:close/>
                  <a:moveTo>
                    <a:pt x="1221" y="646"/>
                  </a:moveTo>
                  <a:lnTo>
                    <a:pt x="1221" y="643"/>
                  </a:lnTo>
                  <a:lnTo>
                    <a:pt x="1221" y="640"/>
                  </a:lnTo>
                  <a:lnTo>
                    <a:pt x="1221" y="643"/>
                  </a:lnTo>
                  <a:lnTo>
                    <a:pt x="1224" y="643"/>
                  </a:lnTo>
                  <a:lnTo>
                    <a:pt x="1221" y="646"/>
                  </a:lnTo>
                  <a:lnTo>
                    <a:pt x="1221" y="646"/>
                  </a:lnTo>
                  <a:lnTo>
                    <a:pt x="1221" y="646"/>
                  </a:lnTo>
                  <a:close/>
                  <a:moveTo>
                    <a:pt x="1228" y="653"/>
                  </a:moveTo>
                  <a:lnTo>
                    <a:pt x="1224" y="649"/>
                  </a:lnTo>
                  <a:lnTo>
                    <a:pt x="1228" y="646"/>
                  </a:lnTo>
                  <a:lnTo>
                    <a:pt x="1228" y="649"/>
                  </a:lnTo>
                  <a:lnTo>
                    <a:pt x="1228" y="649"/>
                  </a:lnTo>
                  <a:lnTo>
                    <a:pt x="1228" y="653"/>
                  </a:lnTo>
                  <a:lnTo>
                    <a:pt x="1228" y="653"/>
                  </a:lnTo>
                  <a:close/>
                  <a:moveTo>
                    <a:pt x="1214" y="659"/>
                  </a:moveTo>
                  <a:lnTo>
                    <a:pt x="1214" y="659"/>
                  </a:lnTo>
                  <a:lnTo>
                    <a:pt x="1214" y="662"/>
                  </a:lnTo>
                  <a:lnTo>
                    <a:pt x="1214" y="665"/>
                  </a:lnTo>
                  <a:lnTo>
                    <a:pt x="1218" y="669"/>
                  </a:lnTo>
                  <a:lnTo>
                    <a:pt x="1218" y="665"/>
                  </a:lnTo>
                  <a:lnTo>
                    <a:pt x="1221" y="669"/>
                  </a:lnTo>
                  <a:lnTo>
                    <a:pt x="1224" y="669"/>
                  </a:lnTo>
                  <a:lnTo>
                    <a:pt x="1228" y="669"/>
                  </a:lnTo>
                  <a:lnTo>
                    <a:pt x="1231" y="669"/>
                  </a:lnTo>
                  <a:lnTo>
                    <a:pt x="1231" y="665"/>
                  </a:lnTo>
                  <a:lnTo>
                    <a:pt x="1231" y="665"/>
                  </a:lnTo>
                  <a:lnTo>
                    <a:pt x="1231" y="662"/>
                  </a:lnTo>
                  <a:lnTo>
                    <a:pt x="1228" y="662"/>
                  </a:lnTo>
                  <a:lnTo>
                    <a:pt x="1224" y="659"/>
                  </a:lnTo>
                  <a:lnTo>
                    <a:pt x="1221" y="659"/>
                  </a:lnTo>
                  <a:lnTo>
                    <a:pt x="1221" y="659"/>
                  </a:lnTo>
                  <a:lnTo>
                    <a:pt x="1221" y="656"/>
                  </a:lnTo>
                  <a:lnTo>
                    <a:pt x="1221" y="656"/>
                  </a:lnTo>
                  <a:lnTo>
                    <a:pt x="1221" y="656"/>
                  </a:lnTo>
                  <a:lnTo>
                    <a:pt x="1218" y="659"/>
                  </a:lnTo>
                  <a:lnTo>
                    <a:pt x="1218" y="659"/>
                  </a:lnTo>
                  <a:lnTo>
                    <a:pt x="1214" y="659"/>
                  </a:lnTo>
                  <a:lnTo>
                    <a:pt x="1214" y="659"/>
                  </a:lnTo>
                  <a:close/>
                  <a:moveTo>
                    <a:pt x="1111" y="779"/>
                  </a:moveTo>
                  <a:lnTo>
                    <a:pt x="1118" y="779"/>
                  </a:lnTo>
                  <a:lnTo>
                    <a:pt x="1118" y="779"/>
                  </a:lnTo>
                  <a:lnTo>
                    <a:pt x="1114" y="775"/>
                  </a:lnTo>
                  <a:lnTo>
                    <a:pt x="1114" y="775"/>
                  </a:lnTo>
                  <a:lnTo>
                    <a:pt x="1111" y="779"/>
                  </a:lnTo>
                  <a:lnTo>
                    <a:pt x="1111" y="779"/>
                  </a:lnTo>
                  <a:close/>
                  <a:moveTo>
                    <a:pt x="1056" y="698"/>
                  </a:moveTo>
                  <a:lnTo>
                    <a:pt x="1059" y="701"/>
                  </a:lnTo>
                  <a:lnTo>
                    <a:pt x="1059" y="701"/>
                  </a:lnTo>
                  <a:lnTo>
                    <a:pt x="1059" y="701"/>
                  </a:lnTo>
                  <a:lnTo>
                    <a:pt x="1059" y="698"/>
                  </a:lnTo>
                  <a:lnTo>
                    <a:pt x="1056" y="698"/>
                  </a:lnTo>
                  <a:lnTo>
                    <a:pt x="1056" y="698"/>
                  </a:lnTo>
                  <a:lnTo>
                    <a:pt x="1056" y="698"/>
                  </a:lnTo>
                  <a:close/>
                  <a:moveTo>
                    <a:pt x="1042" y="717"/>
                  </a:moveTo>
                  <a:lnTo>
                    <a:pt x="1042" y="714"/>
                  </a:lnTo>
                  <a:lnTo>
                    <a:pt x="1042" y="714"/>
                  </a:lnTo>
                  <a:lnTo>
                    <a:pt x="1039" y="711"/>
                  </a:lnTo>
                  <a:lnTo>
                    <a:pt x="1039" y="711"/>
                  </a:lnTo>
                  <a:lnTo>
                    <a:pt x="1035" y="707"/>
                  </a:lnTo>
                  <a:lnTo>
                    <a:pt x="1035" y="704"/>
                  </a:lnTo>
                  <a:lnTo>
                    <a:pt x="1035" y="701"/>
                  </a:lnTo>
                  <a:lnTo>
                    <a:pt x="1035" y="698"/>
                  </a:lnTo>
                  <a:lnTo>
                    <a:pt x="1035" y="701"/>
                  </a:lnTo>
                  <a:lnTo>
                    <a:pt x="1039" y="704"/>
                  </a:lnTo>
                  <a:lnTo>
                    <a:pt x="1042" y="704"/>
                  </a:lnTo>
                  <a:lnTo>
                    <a:pt x="1042" y="707"/>
                  </a:lnTo>
                  <a:lnTo>
                    <a:pt x="1042" y="711"/>
                  </a:lnTo>
                  <a:lnTo>
                    <a:pt x="1046" y="714"/>
                  </a:lnTo>
                  <a:lnTo>
                    <a:pt x="1049" y="714"/>
                  </a:lnTo>
                  <a:lnTo>
                    <a:pt x="1049" y="717"/>
                  </a:lnTo>
                  <a:lnTo>
                    <a:pt x="1046" y="717"/>
                  </a:lnTo>
                  <a:lnTo>
                    <a:pt x="1042" y="717"/>
                  </a:lnTo>
                  <a:lnTo>
                    <a:pt x="1042" y="717"/>
                  </a:lnTo>
                  <a:close/>
                  <a:moveTo>
                    <a:pt x="1021" y="717"/>
                  </a:moveTo>
                  <a:lnTo>
                    <a:pt x="1021" y="714"/>
                  </a:lnTo>
                  <a:lnTo>
                    <a:pt x="1021" y="711"/>
                  </a:lnTo>
                  <a:lnTo>
                    <a:pt x="1021" y="707"/>
                  </a:lnTo>
                  <a:lnTo>
                    <a:pt x="1021" y="704"/>
                  </a:lnTo>
                  <a:lnTo>
                    <a:pt x="1021" y="701"/>
                  </a:lnTo>
                  <a:lnTo>
                    <a:pt x="1025" y="701"/>
                  </a:lnTo>
                  <a:lnTo>
                    <a:pt x="1025" y="704"/>
                  </a:lnTo>
                  <a:lnTo>
                    <a:pt x="1025" y="704"/>
                  </a:lnTo>
                  <a:lnTo>
                    <a:pt x="1025" y="707"/>
                  </a:lnTo>
                  <a:lnTo>
                    <a:pt x="1025" y="711"/>
                  </a:lnTo>
                  <a:lnTo>
                    <a:pt x="1021" y="714"/>
                  </a:lnTo>
                  <a:lnTo>
                    <a:pt x="1021" y="717"/>
                  </a:lnTo>
                  <a:lnTo>
                    <a:pt x="1021" y="717"/>
                  </a:lnTo>
                  <a:close/>
                  <a:moveTo>
                    <a:pt x="1018" y="640"/>
                  </a:moveTo>
                  <a:lnTo>
                    <a:pt x="1018" y="640"/>
                  </a:lnTo>
                  <a:lnTo>
                    <a:pt x="1018" y="643"/>
                  </a:lnTo>
                  <a:lnTo>
                    <a:pt x="1025" y="643"/>
                  </a:lnTo>
                  <a:lnTo>
                    <a:pt x="1025" y="640"/>
                  </a:lnTo>
                  <a:lnTo>
                    <a:pt x="1025" y="640"/>
                  </a:lnTo>
                  <a:lnTo>
                    <a:pt x="1021" y="636"/>
                  </a:lnTo>
                  <a:lnTo>
                    <a:pt x="1018" y="640"/>
                  </a:lnTo>
                  <a:lnTo>
                    <a:pt x="1018" y="640"/>
                  </a:lnTo>
                  <a:close/>
                  <a:moveTo>
                    <a:pt x="1018" y="636"/>
                  </a:moveTo>
                  <a:lnTo>
                    <a:pt x="1021" y="633"/>
                  </a:lnTo>
                  <a:lnTo>
                    <a:pt x="1021" y="630"/>
                  </a:lnTo>
                  <a:lnTo>
                    <a:pt x="1025" y="627"/>
                  </a:lnTo>
                  <a:lnTo>
                    <a:pt x="1028" y="627"/>
                  </a:lnTo>
                  <a:lnTo>
                    <a:pt x="1028" y="627"/>
                  </a:lnTo>
                  <a:lnTo>
                    <a:pt x="1028" y="630"/>
                  </a:lnTo>
                  <a:lnTo>
                    <a:pt x="1028" y="633"/>
                  </a:lnTo>
                  <a:lnTo>
                    <a:pt x="1028" y="636"/>
                  </a:lnTo>
                  <a:lnTo>
                    <a:pt x="1025" y="636"/>
                  </a:lnTo>
                  <a:lnTo>
                    <a:pt x="1018" y="636"/>
                  </a:lnTo>
                  <a:lnTo>
                    <a:pt x="1018" y="636"/>
                  </a:lnTo>
                  <a:close/>
                  <a:moveTo>
                    <a:pt x="832" y="604"/>
                  </a:moveTo>
                  <a:lnTo>
                    <a:pt x="836" y="604"/>
                  </a:lnTo>
                  <a:lnTo>
                    <a:pt x="836" y="601"/>
                  </a:lnTo>
                  <a:lnTo>
                    <a:pt x="832" y="601"/>
                  </a:lnTo>
                  <a:lnTo>
                    <a:pt x="832" y="604"/>
                  </a:lnTo>
                  <a:lnTo>
                    <a:pt x="832" y="604"/>
                  </a:lnTo>
                  <a:lnTo>
                    <a:pt x="832" y="604"/>
                  </a:lnTo>
                  <a:close/>
                  <a:moveTo>
                    <a:pt x="674" y="565"/>
                  </a:moveTo>
                  <a:lnTo>
                    <a:pt x="677" y="565"/>
                  </a:lnTo>
                  <a:lnTo>
                    <a:pt x="681" y="565"/>
                  </a:lnTo>
                  <a:lnTo>
                    <a:pt x="677" y="565"/>
                  </a:lnTo>
                  <a:lnTo>
                    <a:pt x="677" y="565"/>
                  </a:lnTo>
                  <a:lnTo>
                    <a:pt x="674" y="565"/>
                  </a:lnTo>
                  <a:lnTo>
                    <a:pt x="674" y="565"/>
                  </a:lnTo>
                  <a:close/>
                  <a:moveTo>
                    <a:pt x="664" y="572"/>
                  </a:moveTo>
                  <a:lnTo>
                    <a:pt x="667" y="572"/>
                  </a:lnTo>
                  <a:lnTo>
                    <a:pt x="667" y="569"/>
                  </a:lnTo>
                  <a:lnTo>
                    <a:pt x="664" y="569"/>
                  </a:lnTo>
                  <a:lnTo>
                    <a:pt x="664" y="572"/>
                  </a:lnTo>
                  <a:lnTo>
                    <a:pt x="664" y="572"/>
                  </a:lnTo>
                  <a:close/>
                  <a:moveTo>
                    <a:pt x="667" y="581"/>
                  </a:moveTo>
                  <a:lnTo>
                    <a:pt x="667" y="581"/>
                  </a:lnTo>
                  <a:lnTo>
                    <a:pt x="667" y="581"/>
                  </a:lnTo>
                  <a:lnTo>
                    <a:pt x="671" y="585"/>
                  </a:lnTo>
                  <a:lnTo>
                    <a:pt x="667" y="581"/>
                  </a:lnTo>
                  <a:lnTo>
                    <a:pt x="667" y="581"/>
                  </a:lnTo>
                  <a:close/>
                  <a:moveTo>
                    <a:pt x="667" y="585"/>
                  </a:moveTo>
                  <a:lnTo>
                    <a:pt x="667" y="581"/>
                  </a:lnTo>
                  <a:lnTo>
                    <a:pt x="664" y="581"/>
                  </a:lnTo>
                  <a:lnTo>
                    <a:pt x="667" y="585"/>
                  </a:lnTo>
                  <a:lnTo>
                    <a:pt x="667" y="585"/>
                  </a:lnTo>
                  <a:lnTo>
                    <a:pt x="667" y="585"/>
                  </a:lnTo>
                  <a:close/>
                  <a:moveTo>
                    <a:pt x="674" y="591"/>
                  </a:moveTo>
                  <a:lnTo>
                    <a:pt x="677" y="598"/>
                  </a:lnTo>
                  <a:lnTo>
                    <a:pt x="677" y="598"/>
                  </a:lnTo>
                  <a:lnTo>
                    <a:pt x="681" y="594"/>
                  </a:lnTo>
                  <a:lnTo>
                    <a:pt x="677" y="591"/>
                  </a:lnTo>
                  <a:lnTo>
                    <a:pt x="681" y="591"/>
                  </a:lnTo>
                  <a:lnTo>
                    <a:pt x="677" y="591"/>
                  </a:lnTo>
                  <a:lnTo>
                    <a:pt x="677" y="591"/>
                  </a:lnTo>
                  <a:lnTo>
                    <a:pt x="677" y="591"/>
                  </a:lnTo>
                  <a:lnTo>
                    <a:pt x="674" y="591"/>
                  </a:lnTo>
                  <a:lnTo>
                    <a:pt x="674" y="591"/>
                  </a:lnTo>
                  <a:close/>
                  <a:moveTo>
                    <a:pt x="671" y="611"/>
                  </a:moveTo>
                  <a:lnTo>
                    <a:pt x="667" y="607"/>
                  </a:lnTo>
                  <a:lnTo>
                    <a:pt x="671" y="604"/>
                  </a:lnTo>
                  <a:lnTo>
                    <a:pt x="671" y="601"/>
                  </a:lnTo>
                  <a:lnTo>
                    <a:pt x="674" y="598"/>
                  </a:lnTo>
                  <a:lnTo>
                    <a:pt x="674" y="601"/>
                  </a:lnTo>
                  <a:lnTo>
                    <a:pt x="674" y="604"/>
                  </a:lnTo>
                  <a:lnTo>
                    <a:pt x="674" y="604"/>
                  </a:lnTo>
                  <a:lnTo>
                    <a:pt x="674" y="607"/>
                  </a:lnTo>
                  <a:lnTo>
                    <a:pt x="674" y="607"/>
                  </a:lnTo>
                  <a:lnTo>
                    <a:pt x="671" y="611"/>
                  </a:lnTo>
                  <a:lnTo>
                    <a:pt x="671" y="611"/>
                  </a:lnTo>
                  <a:lnTo>
                    <a:pt x="671" y="611"/>
                  </a:lnTo>
                  <a:lnTo>
                    <a:pt x="671" y="611"/>
                  </a:lnTo>
                  <a:close/>
                  <a:moveTo>
                    <a:pt x="812" y="536"/>
                  </a:moveTo>
                  <a:lnTo>
                    <a:pt x="812" y="536"/>
                  </a:lnTo>
                  <a:lnTo>
                    <a:pt x="815" y="533"/>
                  </a:lnTo>
                  <a:lnTo>
                    <a:pt x="815" y="536"/>
                  </a:lnTo>
                  <a:lnTo>
                    <a:pt x="815" y="536"/>
                  </a:lnTo>
                  <a:lnTo>
                    <a:pt x="812" y="536"/>
                  </a:lnTo>
                  <a:lnTo>
                    <a:pt x="812" y="536"/>
                  </a:lnTo>
                  <a:close/>
                  <a:moveTo>
                    <a:pt x="860" y="514"/>
                  </a:moveTo>
                  <a:lnTo>
                    <a:pt x="860" y="507"/>
                  </a:lnTo>
                  <a:lnTo>
                    <a:pt x="860" y="507"/>
                  </a:lnTo>
                  <a:lnTo>
                    <a:pt x="860" y="504"/>
                  </a:lnTo>
                  <a:lnTo>
                    <a:pt x="863" y="501"/>
                  </a:lnTo>
                  <a:lnTo>
                    <a:pt x="863" y="504"/>
                  </a:lnTo>
                  <a:lnTo>
                    <a:pt x="863" y="504"/>
                  </a:lnTo>
                  <a:lnTo>
                    <a:pt x="863" y="507"/>
                  </a:lnTo>
                  <a:lnTo>
                    <a:pt x="863" y="507"/>
                  </a:lnTo>
                  <a:lnTo>
                    <a:pt x="863" y="510"/>
                  </a:lnTo>
                  <a:lnTo>
                    <a:pt x="860" y="514"/>
                  </a:lnTo>
                  <a:lnTo>
                    <a:pt x="860" y="514"/>
                  </a:lnTo>
                  <a:close/>
                  <a:moveTo>
                    <a:pt x="808" y="562"/>
                  </a:moveTo>
                  <a:lnTo>
                    <a:pt x="808" y="559"/>
                  </a:lnTo>
                  <a:lnTo>
                    <a:pt x="808" y="559"/>
                  </a:lnTo>
                  <a:lnTo>
                    <a:pt x="808" y="556"/>
                  </a:lnTo>
                  <a:lnTo>
                    <a:pt x="808" y="556"/>
                  </a:lnTo>
                  <a:lnTo>
                    <a:pt x="812" y="552"/>
                  </a:lnTo>
                  <a:lnTo>
                    <a:pt x="812" y="552"/>
                  </a:lnTo>
                  <a:lnTo>
                    <a:pt x="808" y="549"/>
                  </a:lnTo>
                  <a:lnTo>
                    <a:pt x="808" y="549"/>
                  </a:lnTo>
                  <a:lnTo>
                    <a:pt x="808" y="546"/>
                  </a:lnTo>
                  <a:lnTo>
                    <a:pt x="812" y="546"/>
                  </a:lnTo>
                  <a:lnTo>
                    <a:pt x="812" y="543"/>
                  </a:lnTo>
                  <a:lnTo>
                    <a:pt x="808" y="539"/>
                  </a:lnTo>
                  <a:lnTo>
                    <a:pt x="805" y="543"/>
                  </a:lnTo>
                  <a:lnTo>
                    <a:pt x="805" y="543"/>
                  </a:lnTo>
                  <a:lnTo>
                    <a:pt x="805" y="546"/>
                  </a:lnTo>
                  <a:lnTo>
                    <a:pt x="801" y="543"/>
                  </a:lnTo>
                  <a:lnTo>
                    <a:pt x="798" y="543"/>
                  </a:lnTo>
                  <a:lnTo>
                    <a:pt x="791" y="546"/>
                  </a:lnTo>
                  <a:lnTo>
                    <a:pt x="788" y="549"/>
                  </a:lnTo>
                  <a:lnTo>
                    <a:pt x="788" y="549"/>
                  </a:lnTo>
                  <a:lnTo>
                    <a:pt x="791" y="546"/>
                  </a:lnTo>
                  <a:lnTo>
                    <a:pt x="794" y="543"/>
                  </a:lnTo>
                  <a:lnTo>
                    <a:pt x="794" y="539"/>
                  </a:lnTo>
                  <a:lnTo>
                    <a:pt x="794" y="543"/>
                  </a:lnTo>
                  <a:lnTo>
                    <a:pt x="791" y="539"/>
                  </a:lnTo>
                  <a:lnTo>
                    <a:pt x="791" y="539"/>
                  </a:lnTo>
                  <a:lnTo>
                    <a:pt x="794" y="536"/>
                  </a:lnTo>
                  <a:lnTo>
                    <a:pt x="791" y="533"/>
                  </a:lnTo>
                  <a:lnTo>
                    <a:pt x="794" y="530"/>
                  </a:lnTo>
                  <a:lnTo>
                    <a:pt x="798" y="530"/>
                  </a:lnTo>
                  <a:lnTo>
                    <a:pt x="794" y="533"/>
                  </a:lnTo>
                  <a:lnTo>
                    <a:pt x="798" y="536"/>
                  </a:lnTo>
                  <a:lnTo>
                    <a:pt x="801" y="539"/>
                  </a:lnTo>
                  <a:lnTo>
                    <a:pt x="801" y="536"/>
                  </a:lnTo>
                  <a:lnTo>
                    <a:pt x="805" y="536"/>
                  </a:lnTo>
                  <a:lnTo>
                    <a:pt x="808" y="533"/>
                  </a:lnTo>
                  <a:lnTo>
                    <a:pt x="805" y="533"/>
                  </a:lnTo>
                  <a:lnTo>
                    <a:pt x="805" y="530"/>
                  </a:lnTo>
                  <a:lnTo>
                    <a:pt x="808" y="530"/>
                  </a:lnTo>
                  <a:lnTo>
                    <a:pt x="808" y="533"/>
                  </a:lnTo>
                  <a:lnTo>
                    <a:pt x="812" y="533"/>
                  </a:lnTo>
                  <a:lnTo>
                    <a:pt x="815" y="530"/>
                  </a:lnTo>
                  <a:lnTo>
                    <a:pt x="815" y="527"/>
                  </a:lnTo>
                  <a:lnTo>
                    <a:pt x="815" y="530"/>
                  </a:lnTo>
                  <a:lnTo>
                    <a:pt x="818" y="530"/>
                  </a:lnTo>
                  <a:lnTo>
                    <a:pt x="822" y="527"/>
                  </a:lnTo>
                  <a:lnTo>
                    <a:pt x="818" y="533"/>
                  </a:lnTo>
                  <a:lnTo>
                    <a:pt x="818" y="536"/>
                  </a:lnTo>
                  <a:lnTo>
                    <a:pt x="822" y="536"/>
                  </a:lnTo>
                  <a:lnTo>
                    <a:pt x="822" y="536"/>
                  </a:lnTo>
                  <a:lnTo>
                    <a:pt x="822" y="539"/>
                  </a:lnTo>
                  <a:lnTo>
                    <a:pt x="822" y="539"/>
                  </a:lnTo>
                  <a:lnTo>
                    <a:pt x="825" y="536"/>
                  </a:lnTo>
                  <a:lnTo>
                    <a:pt x="825" y="533"/>
                  </a:lnTo>
                  <a:lnTo>
                    <a:pt x="829" y="530"/>
                  </a:lnTo>
                  <a:lnTo>
                    <a:pt x="832" y="527"/>
                  </a:lnTo>
                  <a:lnTo>
                    <a:pt x="832" y="530"/>
                  </a:lnTo>
                  <a:lnTo>
                    <a:pt x="829" y="533"/>
                  </a:lnTo>
                  <a:lnTo>
                    <a:pt x="829" y="539"/>
                  </a:lnTo>
                  <a:lnTo>
                    <a:pt x="832" y="539"/>
                  </a:lnTo>
                  <a:lnTo>
                    <a:pt x="832" y="539"/>
                  </a:lnTo>
                  <a:lnTo>
                    <a:pt x="836" y="539"/>
                  </a:lnTo>
                  <a:lnTo>
                    <a:pt x="839" y="536"/>
                  </a:lnTo>
                  <a:lnTo>
                    <a:pt x="843" y="530"/>
                  </a:lnTo>
                  <a:lnTo>
                    <a:pt x="843" y="527"/>
                  </a:lnTo>
                  <a:lnTo>
                    <a:pt x="843" y="523"/>
                  </a:lnTo>
                  <a:lnTo>
                    <a:pt x="843" y="523"/>
                  </a:lnTo>
                  <a:lnTo>
                    <a:pt x="843" y="520"/>
                  </a:lnTo>
                  <a:lnTo>
                    <a:pt x="839" y="520"/>
                  </a:lnTo>
                  <a:lnTo>
                    <a:pt x="839" y="520"/>
                  </a:lnTo>
                  <a:lnTo>
                    <a:pt x="836" y="520"/>
                  </a:lnTo>
                  <a:lnTo>
                    <a:pt x="836" y="517"/>
                  </a:lnTo>
                  <a:lnTo>
                    <a:pt x="839" y="517"/>
                  </a:lnTo>
                  <a:lnTo>
                    <a:pt x="836" y="517"/>
                  </a:lnTo>
                  <a:lnTo>
                    <a:pt x="832" y="517"/>
                  </a:lnTo>
                  <a:lnTo>
                    <a:pt x="832" y="514"/>
                  </a:lnTo>
                  <a:lnTo>
                    <a:pt x="829" y="510"/>
                  </a:lnTo>
                  <a:lnTo>
                    <a:pt x="829" y="510"/>
                  </a:lnTo>
                  <a:lnTo>
                    <a:pt x="825" y="504"/>
                  </a:lnTo>
                  <a:lnTo>
                    <a:pt x="825" y="501"/>
                  </a:lnTo>
                  <a:lnTo>
                    <a:pt x="829" y="497"/>
                  </a:lnTo>
                  <a:lnTo>
                    <a:pt x="825" y="491"/>
                  </a:lnTo>
                  <a:lnTo>
                    <a:pt x="825" y="497"/>
                  </a:lnTo>
                  <a:lnTo>
                    <a:pt x="825" y="501"/>
                  </a:lnTo>
                  <a:lnTo>
                    <a:pt x="822" y="494"/>
                  </a:lnTo>
                  <a:lnTo>
                    <a:pt x="818" y="494"/>
                  </a:lnTo>
                  <a:lnTo>
                    <a:pt x="815" y="488"/>
                  </a:lnTo>
                  <a:lnTo>
                    <a:pt x="815" y="485"/>
                  </a:lnTo>
                  <a:lnTo>
                    <a:pt x="812" y="481"/>
                  </a:lnTo>
                  <a:lnTo>
                    <a:pt x="812" y="478"/>
                  </a:lnTo>
                  <a:lnTo>
                    <a:pt x="812" y="475"/>
                  </a:lnTo>
                  <a:lnTo>
                    <a:pt x="808" y="472"/>
                  </a:lnTo>
                  <a:lnTo>
                    <a:pt x="808" y="472"/>
                  </a:lnTo>
                  <a:lnTo>
                    <a:pt x="812" y="468"/>
                  </a:lnTo>
                  <a:lnTo>
                    <a:pt x="815" y="465"/>
                  </a:lnTo>
                  <a:lnTo>
                    <a:pt x="815" y="465"/>
                  </a:lnTo>
                  <a:lnTo>
                    <a:pt x="818" y="468"/>
                  </a:lnTo>
                  <a:lnTo>
                    <a:pt x="818" y="465"/>
                  </a:lnTo>
                  <a:lnTo>
                    <a:pt x="818" y="462"/>
                  </a:lnTo>
                  <a:lnTo>
                    <a:pt x="822" y="455"/>
                  </a:lnTo>
                  <a:lnTo>
                    <a:pt x="822" y="452"/>
                  </a:lnTo>
                  <a:lnTo>
                    <a:pt x="825" y="449"/>
                  </a:lnTo>
                  <a:lnTo>
                    <a:pt x="822" y="446"/>
                  </a:lnTo>
                  <a:lnTo>
                    <a:pt x="822" y="443"/>
                  </a:lnTo>
                  <a:lnTo>
                    <a:pt x="825" y="443"/>
                  </a:lnTo>
                  <a:lnTo>
                    <a:pt x="825" y="436"/>
                  </a:lnTo>
                  <a:lnTo>
                    <a:pt x="829" y="433"/>
                  </a:lnTo>
                  <a:lnTo>
                    <a:pt x="829" y="430"/>
                  </a:lnTo>
                  <a:lnTo>
                    <a:pt x="832" y="426"/>
                  </a:lnTo>
                  <a:lnTo>
                    <a:pt x="832" y="420"/>
                  </a:lnTo>
                  <a:lnTo>
                    <a:pt x="836" y="420"/>
                  </a:lnTo>
                  <a:lnTo>
                    <a:pt x="836" y="417"/>
                  </a:lnTo>
                  <a:lnTo>
                    <a:pt x="839" y="413"/>
                  </a:lnTo>
                  <a:lnTo>
                    <a:pt x="839" y="410"/>
                  </a:lnTo>
                  <a:lnTo>
                    <a:pt x="839" y="407"/>
                  </a:lnTo>
                  <a:lnTo>
                    <a:pt x="839" y="407"/>
                  </a:lnTo>
                  <a:lnTo>
                    <a:pt x="843" y="404"/>
                  </a:lnTo>
                  <a:lnTo>
                    <a:pt x="839" y="401"/>
                  </a:lnTo>
                  <a:lnTo>
                    <a:pt x="839" y="397"/>
                  </a:lnTo>
                  <a:lnTo>
                    <a:pt x="839" y="394"/>
                  </a:lnTo>
                  <a:lnTo>
                    <a:pt x="836" y="394"/>
                  </a:lnTo>
                  <a:lnTo>
                    <a:pt x="836" y="388"/>
                  </a:lnTo>
                  <a:lnTo>
                    <a:pt x="836" y="388"/>
                  </a:lnTo>
                  <a:lnTo>
                    <a:pt x="832" y="381"/>
                  </a:lnTo>
                  <a:lnTo>
                    <a:pt x="829" y="381"/>
                  </a:lnTo>
                  <a:lnTo>
                    <a:pt x="829" y="381"/>
                  </a:lnTo>
                  <a:lnTo>
                    <a:pt x="825" y="381"/>
                  </a:lnTo>
                  <a:lnTo>
                    <a:pt x="825" y="384"/>
                  </a:lnTo>
                  <a:lnTo>
                    <a:pt x="825" y="384"/>
                  </a:lnTo>
                  <a:lnTo>
                    <a:pt x="818" y="378"/>
                  </a:lnTo>
                  <a:lnTo>
                    <a:pt x="818" y="378"/>
                  </a:lnTo>
                  <a:lnTo>
                    <a:pt x="815" y="375"/>
                  </a:lnTo>
                  <a:lnTo>
                    <a:pt x="812" y="375"/>
                  </a:lnTo>
                  <a:lnTo>
                    <a:pt x="812" y="381"/>
                  </a:lnTo>
                  <a:lnTo>
                    <a:pt x="812" y="381"/>
                  </a:lnTo>
                  <a:lnTo>
                    <a:pt x="808" y="381"/>
                  </a:lnTo>
                  <a:lnTo>
                    <a:pt x="808" y="384"/>
                  </a:lnTo>
                  <a:lnTo>
                    <a:pt x="808" y="388"/>
                  </a:lnTo>
                  <a:lnTo>
                    <a:pt x="805" y="388"/>
                  </a:lnTo>
                  <a:lnTo>
                    <a:pt x="801" y="394"/>
                  </a:lnTo>
                  <a:lnTo>
                    <a:pt x="801" y="397"/>
                  </a:lnTo>
                  <a:lnTo>
                    <a:pt x="801" y="401"/>
                  </a:lnTo>
                  <a:lnTo>
                    <a:pt x="798" y="404"/>
                  </a:lnTo>
                  <a:lnTo>
                    <a:pt x="798" y="407"/>
                  </a:lnTo>
                  <a:lnTo>
                    <a:pt x="798" y="410"/>
                  </a:lnTo>
                  <a:lnTo>
                    <a:pt x="794" y="410"/>
                  </a:lnTo>
                  <a:lnTo>
                    <a:pt x="794" y="417"/>
                  </a:lnTo>
                  <a:lnTo>
                    <a:pt x="791" y="420"/>
                  </a:lnTo>
                  <a:lnTo>
                    <a:pt x="791" y="417"/>
                  </a:lnTo>
                  <a:lnTo>
                    <a:pt x="788" y="423"/>
                  </a:lnTo>
                  <a:lnTo>
                    <a:pt x="788" y="426"/>
                  </a:lnTo>
                  <a:lnTo>
                    <a:pt x="788" y="430"/>
                  </a:lnTo>
                  <a:lnTo>
                    <a:pt x="788" y="433"/>
                  </a:lnTo>
                  <a:lnTo>
                    <a:pt x="784" y="436"/>
                  </a:lnTo>
                  <a:lnTo>
                    <a:pt x="788" y="436"/>
                  </a:lnTo>
                  <a:lnTo>
                    <a:pt x="784" y="439"/>
                  </a:lnTo>
                  <a:lnTo>
                    <a:pt x="781" y="439"/>
                  </a:lnTo>
                  <a:lnTo>
                    <a:pt x="784" y="443"/>
                  </a:lnTo>
                  <a:lnTo>
                    <a:pt x="788" y="443"/>
                  </a:lnTo>
                  <a:lnTo>
                    <a:pt x="788" y="446"/>
                  </a:lnTo>
                  <a:lnTo>
                    <a:pt x="784" y="446"/>
                  </a:lnTo>
                  <a:lnTo>
                    <a:pt x="781" y="446"/>
                  </a:lnTo>
                  <a:lnTo>
                    <a:pt x="777" y="446"/>
                  </a:lnTo>
                  <a:lnTo>
                    <a:pt x="777" y="446"/>
                  </a:lnTo>
                  <a:lnTo>
                    <a:pt x="774" y="449"/>
                  </a:lnTo>
                  <a:lnTo>
                    <a:pt x="774" y="452"/>
                  </a:lnTo>
                  <a:lnTo>
                    <a:pt x="774" y="452"/>
                  </a:lnTo>
                  <a:lnTo>
                    <a:pt x="770" y="452"/>
                  </a:lnTo>
                  <a:lnTo>
                    <a:pt x="770" y="449"/>
                  </a:lnTo>
                  <a:lnTo>
                    <a:pt x="770" y="446"/>
                  </a:lnTo>
                  <a:lnTo>
                    <a:pt x="770" y="443"/>
                  </a:lnTo>
                  <a:lnTo>
                    <a:pt x="770" y="439"/>
                  </a:lnTo>
                  <a:lnTo>
                    <a:pt x="770" y="433"/>
                  </a:lnTo>
                  <a:lnTo>
                    <a:pt x="774" y="430"/>
                  </a:lnTo>
                  <a:lnTo>
                    <a:pt x="774" y="426"/>
                  </a:lnTo>
                  <a:lnTo>
                    <a:pt x="774" y="423"/>
                  </a:lnTo>
                  <a:lnTo>
                    <a:pt x="777" y="423"/>
                  </a:lnTo>
                  <a:lnTo>
                    <a:pt x="777" y="413"/>
                  </a:lnTo>
                  <a:lnTo>
                    <a:pt x="784" y="413"/>
                  </a:lnTo>
                  <a:lnTo>
                    <a:pt x="784" y="410"/>
                  </a:lnTo>
                  <a:lnTo>
                    <a:pt x="781" y="410"/>
                  </a:lnTo>
                  <a:lnTo>
                    <a:pt x="781" y="410"/>
                  </a:lnTo>
                  <a:lnTo>
                    <a:pt x="781" y="407"/>
                  </a:lnTo>
                  <a:lnTo>
                    <a:pt x="781" y="404"/>
                  </a:lnTo>
                  <a:lnTo>
                    <a:pt x="781" y="397"/>
                  </a:lnTo>
                  <a:lnTo>
                    <a:pt x="781" y="397"/>
                  </a:lnTo>
                  <a:lnTo>
                    <a:pt x="777" y="394"/>
                  </a:lnTo>
                  <a:lnTo>
                    <a:pt x="781" y="391"/>
                  </a:lnTo>
                  <a:lnTo>
                    <a:pt x="781" y="388"/>
                  </a:lnTo>
                  <a:lnTo>
                    <a:pt x="777" y="388"/>
                  </a:lnTo>
                  <a:lnTo>
                    <a:pt x="774" y="384"/>
                  </a:lnTo>
                  <a:lnTo>
                    <a:pt x="770" y="384"/>
                  </a:lnTo>
                  <a:lnTo>
                    <a:pt x="767" y="388"/>
                  </a:lnTo>
                  <a:lnTo>
                    <a:pt x="770" y="391"/>
                  </a:lnTo>
                  <a:lnTo>
                    <a:pt x="770" y="394"/>
                  </a:lnTo>
                  <a:lnTo>
                    <a:pt x="774" y="394"/>
                  </a:lnTo>
                  <a:lnTo>
                    <a:pt x="774" y="397"/>
                  </a:lnTo>
                  <a:lnTo>
                    <a:pt x="770" y="397"/>
                  </a:lnTo>
                  <a:lnTo>
                    <a:pt x="770" y="394"/>
                  </a:lnTo>
                  <a:lnTo>
                    <a:pt x="767" y="394"/>
                  </a:lnTo>
                  <a:lnTo>
                    <a:pt x="763" y="397"/>
                  </a:lnTo>
                  <a:lnTo>
                    <a:pt x="767" y="401"/>
                  </a:lnTo>
                  <a:lnTo>
                    <a:pt x="767" y="404"/>
                  </a:lnTo>
                  <a:lnTo>
                    <a:pt x="770" y="407"/>
                  </a:lnTo>
                  <a:lnTo>
                    <a:pt x="767" y="407"/>
                  </a:lnTo>
                  <a:lnTo>
                    <a:pt x="767" y="407"/>
                  </a:lnTo>
                  <a:lnTo>
                    <a:pt x="763" y="404"/>
                  </a:lnTo>
                  <a:lnTo>
                    <a:pt x="763" y="407"/>
                  </a:lnTo>
                  <a:lnTo>
                    <a:pt x="760" y="407"/>
                  </a:lnTo>
                  <a:lnTo>
                    <a:pt x="760" y="404"/>
                  </a:lnTo>
                  <a:lnTo>
                    <a:pt x="760" y="404"/>
                  </a:lnTo>
                  <a:lnTo>
                    <a:pt x="757" y="407"/>
                  </a:lnTo>
                  <a:lnTo>
                    <a:pt x="753" y="407"/>
                  </a:lnTo>
                  <a:lnTo>
                    <a:pt x="753" y="404"/>
                  </a:lnTo>
                  <a:lnTo>
                    <a:pt x="757" y="401"/>
                  </a:lnTo>
                  <a:lnTo>
                    <a:pt x="757" y="401"/>
                  </a:lnTo>
                  <a:lnTo>
                    <a:pt x="750" y="401"/>
                  </a:lnTo>
                  <a:lnTo>
                    <a:pt x="746" y="407"/>
                  </a:lnTo>
                  <a:lnTo>
                    <a:pt x="743" y="401"/>
                  </a:lnTo>
                  <a:lnTo>
                    <a:pt x="743" y="401"/>
                  </a:lnTo>
                  <a:lnTo>
                    <a:pt x="739" y="404"/>
                  </a:lnTo>
                  <a:lnTo>
                    <a:pt x="736" y="404"/>
                  </a:lnTo>
                  <a:lnTo>
                    <a:pt x="732" y="404"/>
                  </a:lnTo>
                  <a:lnTo>
                    <a:pt x="729" y="404"/>
                  </a:lnTo>
                  <a:lnTo>
                    <a:pt x="729" y="401"/>
                  </a:lnTo>
                  <a:lnTo>
                    <a:pt x="732" y="401"/>
                  </a:lnTo>
                  <a:lnTo>
                    <a:pt x="736" y="397"/>
                  </a:lnTo>
                  <a:lnTo>
                    <a:pt x="739" y="401"/>
                  </a:lnTo>
                  <a:lnTo>
                    <a:pt x="743" y="397"/>
                  </a:lnTo>
                  <a:lnTo>
                    <a:pt x="743" y="397"/>
                  </a:lnTo>
                  <a:lnTo>
                    <a:pt x="746" y="394"/>
                  </a:lnTo>
                  <a:lnTo>
                    <a:pt x="746" y="397"/>
                  </a:lnTo>
                  <a:lnTo>
                    <a:pt x="753" y="394"/>
                  </a:lnTo>
                  <a:lnTo>
                    <a:pt x="753" y="391"/>
                  </a:lnTo>
                  <a:lnTo>
                    <a:pt x="753" y="388"/>
                  </a:lnTo>
                  <a:lnTo>
                    <a:pt x="750" y="388"/>
                  </a:lnTo>
                  <a:lnTo>
                    <a:pt x="746" y="381"/>
                  </a:lnTo>
                  <a:lnTo>
                    <a:pt x="743" y="381"/>
                  </a:lnTo>
                  <a:lnTo>
                    <a:pt x="743" y="378"/>
                  </a:lnTo>
                  <a:lnTo>
                    <a:pt x="736" y="375"/>
                  </a:lnTo>
                  <a:lnTo>
                    <a:pt x="736" y="371"/>
                  </a:lnTo>
                  <a:lnTo>
                    <a:pt x="732" y="371"/>
                  </a:lnTo>
                  <a:lnTo>
                    <a:pt x="729" y="375"/>
                  </a:lnTo>
                  <a:lnTo>
                    <a:pt x="726" y="375"/>
                  </a:lnTo>
                  <a:lnTo>
                    <a:pt x="719" y="381"/>
                  </a:lnTo>
                  <a:lnTo>
                    <a:pt x="722" y="381"/>
                  </a:lnTo>
                  <a:lnTo>
                    <a:pt x="722" y="384"/>
                  </a:lnTo>
                  <a:lnTo>
                    <a:pt x="719" y="384"/>
                  </a:lnTo>
                  <a:lnTo>
                    <a:pt x="715" y="384"/>
                  </a:lnTo>
                  <a:lnTo>
                    <a:pt x="715" y="384"/>
                  </a:lnTo>
                  <a:lnTo>
                    <a:pt x="712" y="384"/>
                  </a:lnTo>
                  <a:lnTo>
                    <a:pt x="708" y="381"/>
                  </a:lnTo>
                  <a:lnTo>
                    <a:pt x="705" y="381"/>
                  </a:lnTo>
                  <a:lnTo>
                    <a:pt x="705" y="384"/>
                  </a:lnTo>
                  <a:lnTo>
                    <a:pt x="701" y="384"/>
                  </a:lnTo>
                  <a:lnTo>
                    <a:pt x="698" y="381"/>
                  </a:lnTo>
                  <a:lnTo>
                    <a:pt x="701" y="381"/>
                  </a:lnTo>
                  <a:lnTo>
                    <a:pt x="705" y="381"/>
                  </a:lnTo>
                  <a:lnTo>
                    <a:pt x="708" y="378"/>
                  </a:lnTo>
                  <a:lnTo>
                    <a:pt x="712" y="378"/>
                  </a:lnTo>
                  <a:lnTo>
                    <a:pt x="712" y="378"/>
                  </a:lnTo>
                  <a:lnTo>
                    <a:pt x="715" y="375"/>
                  </a:lnTo>
                  <a:lnTo>
                    <a:pt x="715" y="371"/>
                  </a:lnTo>
                  <a:lnTo>
                    <a:pt x="719" y="368"/>
                  </a:lnTo>
                  <a:lnTo>
                    <a:pt x="722" y="368"/>
                  </a:lnTo>
                  <a:lnTo>
                    <a:pt x="722" y="365"/>
                  </a:lnTo>
                  <a:lnTo>
                    <a:pt x="722" y="359"/>
                  </a:lnTo>
                  <a:lnTo>
                    <a:pt x="722" y="355"/>
                  </a:lnTo>
                  <a:lnTo>
                    <a:pt x="722" y="352"/>
                  </a:lnTo>
                  <a:lnTo>
                    <a:pt x="719" y="352"/>
                  </a:lnTo>
                  <a:lnTo>
                    <a:pt x="715" y="355"/>
                  </a:lnTo>
                  <a:lnTo>
                    <a:pt x="705" y="355"/>
                  </a:lnTo>
                  <a:lnTo>
                    <a:pt x="698" y="359"/>
                  </a:lnTo>
                  <a:lnTo>
                    <a:pt x="684" y="362"/>
                  </a:lnTo>
                  <a:lnTo>
                    <a:pt x="667" y="365"/>
                  </a:lnTo>
                  <a:lnTo>
                    <a:pt x="664" y="368"/>
                  </a:lnTo>
                  <a:lnTo>
                    <a:pt x="653" y="371"/>
                  </a:lnTo>
                  <a:lnTo>
                    <a:pt x="640" y="378"/>
                  </a:lnTo>
                  <a:lnTo>
                    <a:pt x="633" y="381"/>
                  </a:lnTo>
                  <a:lnTo>
                    <a:pt x="633" y="384"/>
                  </a:lnTo>
                  <a:lnTo>
                    <a:pt x="636" y="384"/>
                  </a:lnTo>
                  <a:lnTo>
                    <a:pt x="640" y="384"/>
                  </a:lnTo>
                  <a:lnTo>
                    <a:pt x="636" y="388"/>
                  </a:lnTo>
                  <a:lnTo>
                    <a:pt x="633" y="388"/>
                  </a:lnTo>
                  <a:lnTo>
                    <a:pt x="626" y="391"/>
                  </a:lnTo>
                  <a:lnTo>
                    <a:pt x="619" y="391"/>
                  </a:lnTo>
                  <a:lnTo>
                    <a:pt x="615" y="394"/>
                  </a:lnTo>
                  <a:lnTo>
                    <a:pt x="615" y="397"/>
                  </a:lnTo>
                  <a:lnTo>
                    <a:pt x="612" y="401"/>
                  </a:lnTo>
                  <a:lnTo>
                    <a:pt x="609" y="404"/>
                  </a:lnTo>
                  <a:lnTo>
                    <a:pt x="609" y="407"/>
                  </a:lnTo>
                  <a:lnTo>
                    <a:pt x="612" y="407"/>
                  </a:lnTo>
                  <a:lnTo>
                    <a:pt x="612" y="407"/>
                  </a:lnTo>
                  <a:lnTo>
                    <a:pt x="612" y="410"/>
                  </a:lnTo>
                  <a:lnTo>
                    <a:pt x="612" y="410"/>
                  </a:lnTo>
                  <a:lnTo>
                    <a:pt x="615" y="410"/>
                  </a:lnTo>
                  <a:lnTo>
                    <a:pt x="619" y="407"/>
                  </a:lnTo>
                  <a:lnTo>
                    <a:pt x="622" y="410"/>
                  </a:lnTo>
                  <a:lnTo>
                    <a:pt x="626" y="410"/>
                  </a:lnTo>
                  <a:lnTo>
                    <a:pt x="626" y="413"/>
                  </a:lnTo>
                  <a:lnTo>
                    <a:pt x="619" y="413"/>
                  </a:lnTo>
                  <a:lnTo>
                    <a:pt x="615" y="413"/>
                  </a:lnTo>
                  <a:lnTo>
                    <a:pt x="612" y="413"/>
                  </a:lnTo>
                  <a:lnTo>
                    <a:pt x="612" y="417"/>
                  </a:lnTo>
                  <a:lnTo>
                    <a:pt x="619" y="420"/>
                  </a:lnTo>
                  <a:lnTo>
                    <a:pt x="622" y="420"/>
                  </a:lnTo>
                  <a:lnTo>
                    <a:pt x="622" y="417"/>
                  </a:lnTo>
                  <a:lnTo>
                    <a:pt x="626" y="417"/>
                  </a:lnTo>
                  <a:lnTo>
                    <a:pt x="626" y="417"/>
                  </a:lnTo>
                  <a:lnTo>
                    <a:pt x="626" y="420"/>
                  </a:lnTo>
                  <a:lnTo>
                    <a:pt x="629" y="420"/>
                  </a:lnTo>
                  <a:lnTo>
                    <a:pt x="636" y="420"/>
                  </a:lnTo>
                  <a:lnTo>
                    <a:pt x="640" y="420"/>
                  </a:lnTo>
                  <a:lnTo>
                    <a:pt x="643" y="420"/>
                  </a:lnTo>
                  <a:lnTo>
                    <a:pt x="650" y="420"/>
                  </a:lnTo>
                  <a:lnTo>
                    <a:pt x="653" y="420"/>
                  </a:lnTo>
                  <a:lnTo>
                    <a:pt x="657" y="423"/>
                  </a:lnTo>
                  <a:lnTo>
                    <a:pt x="660" y="423"/>
                  </a:lnTo>
                  <a:lnTo>
                    <a:pt x="664" y="423"/>
                  </a:lnTo>
                  <a:lnTo>
                    <a:pt x="660" y="426"/>
                  </a:lnTo>
                  <a:lnTo>
                    <a:pt x="660" y="426"/>
                  </a:lnTo>
                  <a:lnTo>
                    <a:pt x="653" y="423"/>
                  </a:lnTo>
                  <a:lnTo>
                    <a:pt x="646" y="423"/>
                  </a:lnTo>
                  <a:lnTo>
                    <a:pt x="646" y="423"/>
                  </a:lnTo>
                  <a:lnTo>
                    <a:pt x="650" y="426"/>
                  </a:lnTo>
                  <a:lnTo>
                    <a:pt x="650" y="426"/>
                  </a:lnTo>
                  <a:lnTo>
                    <a:pt x="643" y="426"/>
                  </a:lnTo>
                  <a:lnTo>
                    <a:pt x="643" y="426"/>
                  </a:lnTo>
                  <a:lnTo>
                    <a:pt x="633" y="426"/>
                  </a:lnTo>
                  <a:lnTo>
                    <a:pt x="629" y="430"/>
                  </a:lnTo>
                  <a:lnTo>
                    <a:pt x="629" y="426"/>
                  </a:lnTo>
                  <a:lnTo>
                    <a:pt x="626" y="426"/>
                  </a:lnTo>
                  <a:lnTo>
                    <a:pt x="622" y="426"/>
                  </a:lnTo>
                  <a:lnTo>
                    <a:pt x="619" y="426"/>
                  </a:lnTo>
                  <a:lnTo>
                    <a:pt x="612" y="426"/>
                  </a:lnTo>
                  <a:lnTo>
                    <a:pt x="609" y="430"/>
                  </a:lnTo>
                  <a:lnTo>
                    <a:pt x="602" y="430"/>
                  </a:lnTo>
                  <a:lnTo>
                    <a:pt x="602" y="433"/>
                  </a:lnTo>
                  <a:lnTo>
                    <a:pt x="602" y="443"/>
                  </a:lnTo>
                  <a:lnTo>
                    <a:pt x="602" y="446"/>
                  </a:lnTo>
                  <a:lnTo>
                    <a:pt x="602" y="449"/>
                  </a:lnTo>
                  <a:lnTo>
                    <a:pt x="602" y="449"/>
                  </a:lnTo>
                  <a:lnTo>
                    <a:pt x="602" y="452"/>
                  </a:lnTo>
                  <a:lnTo>
                    <a:pt x="605" y="452"/>
                  </a:lnTo>
                  <a:lnTo>
                    <a:pt x="609" y="452"/>
                  </a:lnTo>
                  <a:lnTo>
                    <a:pt x="609" y="452"/>
                  </a:lnTo>
                  <a:lnTo>
                    <a:pt x="612" y="452"/>
                  </a:lnTo>
                  <a:lnTo>
                    <a:pt x="615" y="452"/>
                  </a:lnTo>
                  <a:lnTo>
                    <a:pt x="615" y="452"/>
                  </a:lnTo>
                  <a:lnTo>
                    <a:pt x="615" y="452"/>
                  </a:lnTo>
                  <a:lnTo>
                    <a:pt x="619" y="452"/>
                  </a:lnTo>
                  <a:lnTo>
                    <a:pt x="619" y="455"/>
                  </a:lnTo>
                  <a:lnTo>
                    <a:pt x="622" y="452"/>
                  </a:lnTo>
                  <a:lnTo>
                    <a:pt x="626" y="455"/>
                  </a:lnTo>
                  <a:lnTo>
                    <a:pt x="626" y="455"/>
                  </a:lnTo>
                  <a:lnTo>
                    <a:pt x="626" y="459"/>
                  </a:lnTo>
                  <a:lnTo>
                    <a:pt x="629" y="455"/>
                  </a:lnTo>
                  <a:lnTo>
                    <a:pt x="633" y="455"/>
                  </a:lnTo>
                  <a:lnTo>
                    <a:pt x="633" y="459"/>
                  </a:lnTo>
                  <a:lnTo>
                    <a:pt x="640" y="459"/>
                  </a:lnTo>
                  <a:lnTo>
                    <a:pt x="640" y="459"/>
                  </a:lnTo>
                  <a:lnTo>
                    <a:pt x="643" y="459"/>
                  </a:lnTo>
                  <a:lnTo>
                    <a:pt x="646" y="459"/>
                  </a:lnTo>
                  <a:lnTo>
                    <a:pt x="650" y="459"/>
                  </a:lnTo>
                  <a:lnTo>
                    <a:pt x="653" y="459"/>
                  </a:lnTo>
                  <a:lnTo>
                    <a:pt x="657" y="459"/>
                  </a:lnTo>
                  <a:lnTo>
                    <a:pt x="660" y="459"/>
                  </a:lnTo>
                  <a:lnTo>
                    <a:pt x="664" y="462"/>
                  </a:lnTo>
                  <a:lnTo>
                    <a:pt x="664" y="462"/>
                  </a:lnTo>
                  <a:lnTo>
                    <a:pt x="667" y="462"/>
                  </a:lnTo>
                  <a:lnTo>
                    <a:pt x="671" y="465"/>
                  </a:lnTo>
                  <a:lnTo>
                    <a:pt x="671" y="465"/>
                  </a:lnTo>
                  <a:lnTo>
                    <a:pt x="671" y="468"/>
                  </a:lnTo>
                  <a:lnTo>
                    <a:pt x="674" y="468"/>
                  </a:lnTo>
                  <a:lnTo>
                    <a:pt x="677" y="468"/>
                  </a:lnTo>
                  <a:lnTo>
                    <a:pt x="677" y="472"/>
                  </a:lnTo>
                  <a:lnTo>
                    <a:pt x="681" y="472"/>
                  </a:lnTo>
                  <a:lnTo>
                    <a:pt x="681" y="475"/>
                  </a:lnTo>
                  <a:lnTo>
                    <a:pt x="681" y="475"/>
                  </a:lnTo>
                  <a:lnTo>
                    <a:pt x="681" y="478"/>
                  </a:lnTo>
                  <a:lnTo>
                    <a:pt x="684" y="481"/>
                  </a:lnTo>
                  <a:lnTo>
                    <a:pt x="688" y="485"/>
                  </a:lnTo>
                  <a:lnTo>
                    <a:pt x="688" y="485"/>
                  </a:lnTo>
                  <a:lnTo>
                    <a:pt x="688" y="485"/>
                  </a:lnTo>
                  <a:lnTo>
                    <a:pt x="688" y="488"/>
                  </a:lnTo>
                  <a:lnTo>
                    <a:pt x="688" y="488"/>
                  </a:lnTo>
                  <a:lnTo>
                    <a:pt x="681" y="485"/>
                  </a:lnTo>
                  <a:lnTo>
                    <a:pt x="674" y="485"/>
                  </a:lnTo>
                  <a:lnTo>
                    <a:pt x="671" y="485"/>
                  </a:lnTo>
                  <a:lnTo>
                    <a:pt x="671" y="485"/>
                  </a:lnTo>
                  <a:lnTo>
                    <a:pt x="667" y="485"/>
                  </a:lnTo>
                  <a:lnTo>
                    <a:pt x="667" y="485"/>
                  </a:lnTo>
                  <a:lnTo>
                    <a:pt x="664" y="481"/>
                  </a:lnTo>
                  <a:lnTo>
                    <a:pt x="660" y="481"/>
                  </a:lnTo>
                  <a:lnTo>
                    <a:pt x="657" y="478"/>
                  </a:lnTo>
                  <a:lnTo>
                    <a:pt x="657" y="478"/>
                  </a:lnTo>
                  <a:lnTo>
                    <a:pt x="653" y="478"/>
                  </a:lnTo>
                  <a:lnTo>
                    <a:pt x="650" y="478"/>
                  </a:lnTo>
                  <a:lnTo>
                    <a:pt x="650" y="478"/>
                  </a:lnTo>
                  <a:lnTo>
                    <a:pt x="643" y="475"/>
                  </a:lnTo>
                  <a:lnTo>
                    <a:pt x="643" y="475"/>
                  </a:lnTo>
                  <a:lnTo>
                    <a:pt x="643" y="475"/>
                  </a:lnTo>
                  <a:lnTo>
                    <a:pt x="640" y="472"/>
                  </a:lnTo>
                  <a:lnTo>
                    <a:pt x="636" y="472"/>
                  </a:lnTo>
                  <a:lnTo>
                    <a:pt x="633" y="472"/>
                  </a:lnTo>
                  <a:lnTo>
                    <a:pt x="626" y="472"/>
                  </a:lnTo>
                  <a:lnTo>
                    <a:pt x="619" y="472"/>
                  </a:lnTo>
                  <a:lnTo>
                    <a:pt x="615" y="472"/>
                  </a:lnTo>
                  <a:lnTo>
                    <a:pt x="602" y="472"/>
                  </a:lnTo>
                  <a:lnTo>
                    <a:pt x="598" y="472"/>
                  </a:lnTo>
                  <a:lnTo>
                    <a:pt x="595" y="472"/>
                  </a:lnTo>
                  <a:lnTo>
                    <a:pt x="591" y="475"/>
                  </a:lnTo>
                  <a:lnTo>
                    <a:pt x="591" y="481"/>
                  </a:lnTo>
                  <a:lnTo>
                    <a:pt x="588" y="485"/>
                  </a:lnTo>
                  <a:lnTo>
                    <a:pt x="588" y="491"/>
                  </a:lnTo>
                  <a:lnTo>
                    <a:pt x="588" y="491"/>
                  </a:lnTo>
                  <a:lnTo>
                    <a:pt x="588" y="494"/>
                  </a:lnTo>
                  <a:lnTo>
                    <a:pt x="591" y="494"/>
                  </a:lnTo>
                  <a:lnTo>
                    <a:pt x="591" y="497"/>
                  </a:lnTo>
                  <a:lnTo>
                    <a:pt x="588" y="497"/>
                  </a:lnTo>
                  <a:lnTo>
                    <a:pt x="591" y="504"/>
                  </a:lnTo>
                  <a:lnTo>
                    <a:pt x="595" y="507"/>
                  </a:lnTo>
                  <a:lnTo>
                    <a:pt x="595" y="507"/>
                  </a:lnTo>
                  <a:lnTo>
                    <a:pt x="602" y="510"/>
                  </a:lnTo>
                  <a:lnTo>
                    <a:pt x="602" y="510"/>
                  </a:lnTo>
                  <a:lnTo>
                    <a:pt x="605" y="510"/>
                  </a:lnTo>
                  <a:lnTo>
                    <a:pt x="609" y="514"/>
                  </a:lnTo>
                  <a:lnTo>
                    <a:pt x="612" y="514"/>
                  </a:lnTo>
                  <a:lnTo>
                    <a:pt x="615" y="510"/>
                  </a:lnTo>
                  <a:lnTo>
                    <a:pt x="619" y="510"/>
                  </a:lnTo>
                  <a:lnTo>
                    <a:pt x="619" y="514"/>
                  </a:lnTo>
                  <a:lnTo>
                    <a:pt x="626" y="514"/>
                  </a:lnTo>
                  <a:lnTo>
                    <a:pt x="626" y="517"/>
                  </a:lnTo>
                  <a:lnTo>
                    <a:pt x="629" y="520"/>
                  </a:lnTo>
                  <a:lnTo>
                    <a:pt x="629" y="520"/>
                  </a:lnTo>
                  <a:lnTo>
                    <a:pt x="626" y="520"/>
                  </a:lnTo>
                  <a:lnTo>
                    <a:pt x="626" y="523"/>
                  </a:lnTo>
                  <a:lnTo>
                    <a:pt x="626" y="527"/>
                  </a:lnTo>
                  <a:lnTo>
                    <a:pt x="626" y="527"/>
                  </a:lnTo>
                  <a:lnTo>
                    <a:pt x="622" y="530"/>
                  </a:lnTo>
                  <a:lnTo>
                    <a:pt x="619" y="530"/>
                  </a:lnTo>
                  <a:lnTo>
                    <a:pt x="619" y="533"/>
                  </a:lnTo>
                  <a:lnTo>
                    <a:pt x="615" y="533"/>
                  </a:lnTo>
                  <a:lnTo>
                    <a:pt x="619" y="536"/>
                  </a:lnTo>
                  <a:lnTo>
                    <a:pt x="619" y="539"/>
                  </a:lnTo>
                  <a:lnTo>
                    <a:pt x="622" y="543"/>
                  </a:lnTo>
                  <a:lnTo>
                    <a:pt x="622" y="546"/>
                  </a:lnTo>
                  <a:lnTo>
                    <a:pt x="615" y="546"/>
                  </a:lnTo>
                  <a:lnTo>
                    <a:pt x="619" y="549"/>
                  </a:lnTo>
                  <a:lnTo>
                    <a:pt x="626" y="549"/>
                  </a:lnTo>
                  <a:lnTo>
                    <a:pt x="626" y="549"/>
                  </a:lnTo>
                  <a:lnTo>
                    <a:pt x="629" y="549"/>
                  </a:lnTo>
                  <a:lnTo>
                    <a:pt x="629" y="549"/>
                  </a:lnTo>
                  <a:lnTo>
                    <a:pt x="633" y="549"/>
                  </a:lnTo>
                  <a:lnTo>
                    <a:pt x="633" y="549"/>
                  </a:lnTo>
                  <a:lnTo>
                    <a:pt x="636" y="549"/>
                  </a:lnTo>
                  <a:lnTo>
                    <a:pt x="640" y="549"/>
                  </a:lnTo>
                  <a:lnTo>
                    <a:pt x="646" y="552"/>
                  </a:lnTo>
                  <a:lnTo>
                    <a:pt x="650" y="549"/>
                  </a:lnTo>
                  <a:lnTo>
                    <a:pt x="653" y="549"/>
                  </a:lnTo>
                  <a:lnTo>
                    <a:pt x="653" y="549"/>
                  </a:lnTo>
                  <a:lnTo>
                    <a:pt x="657" y="549"/>
                  </a:lnTo>
                  <a:lnTo>
                    <a:pt x="657" y="549"/>
                  </a:lnTo>
                  <a:lnTo>
                    <a:pt x="660" y="549"/>
                  </a:lnTo>
                  <a:lnTo>
                    <a:pt x="664" y="549"/>
                  </a:lnTo>
                  <a:lnTo>
                    <a:pt x="664" y="552"/>
                  </a:lnTo>
                  <a:lnTo>
                    <a:pt x="664" y="552"/>
                  </a:lnTo>
                  <a:lnTo>
                    <a:pt x="667" y="552"/>
                  </a:lnTo>
                  <a:lnTo>
                    <a:pt x="667" y="552"/>
                  </a:lnTo>
                  <a:lnTo>
                    <a:pt x="667" y="556"/>
                  </a:lnTo>
                  <a:lnTo>
                    <a:pt x="671" y="556"/>
                  </a:lnTo>
                  <a:lnTo>
                    <a:pt x="671" y="552"/>
                  </a:lnTo>
                  <a:lnTo>
                    <a:pt x="677" y="552"/>
                  </a:lnTo>
                  <a:lnTo>
                    <a:pt x="677" y="549"/>
                  </a:lnTo>
                  <a:lnTo>
                    <a:pt x="681" y="549"/>
                  </a:lnTo>
                  <a:lnTo>
                    <a:pt x="684" y="549"/>
                  </a:lnTo>
                  <a:lnTo>
                    <a:pt x="688" y="546"/>
                  </a:lnTo>
                  <a:lnTo>
                    <a:pt x="695" y="546"/>
                  </a:lnTo>
                  <a:lnTo>
                    <a:pt x="698" y="543"/>
                  </a:lnTo>
                  <a:lnTo>
                    <a:pt x="698" y="543"/>
                  </a:lnTo>
                  <a:lnTo>
                    <a:pt x="701" y="543"/>
                  </a:lnTo>
                  <a:lnTo>
                    <a:pt x="705" y="543"/>
                  </a:lnTo>
                  <a:lnTo>
                    <a:pt x="708" y="543"/>
                  </a:lnTo>
                  <a:lnTo>
                    <a:pt x="708" y="543"/>
                  </a:lnTo>
                  <a:lnTo>
                    <a:pt x="715" y="543"/>
                  </a:lnTo>
                  <a:lnTo>
                    <a:pt x="726" y="539"/>
                  </a:lnTo>
                  <a:lnTo>
                    <a:pt x="726" y="536"/>
                  </a:lnTo>
                  <a:lnTo>
                    <a:pt x="726" y="536"/>
                  </a:lnTo>
                  <a:lnTo>
                    <a:pt x="729" y="539"/>
                  </a:lnTo>
                  <a:lnTo>
                    <a:pt x="729" y="536"/>
                  </a:lnTo>
                  <a:lnTo>
                    <a:pt x="732" y="536"/>
                  </a:lnTo>
                  <a:lnTo>
                    <a:pt x="732" y="533"/>
                  </a:lnTo>
                  <a:lnTo>
                    <a:pt x="732" y="533"/>
                  </a:lnTo>
                  <a:lnTo>
                    <a:pt x="736" y="533"/>
                  </a:lnTo>
                  <a:lnTo>
                    <a:pt x="736" y="533"/>
                  </a:lnTo>
                  <a:lnTo>
                    <a:pt x="739" y="530"/>
                  </a:lnTo>
                  <a:lnTo>
                    <a:pt x="739" y="530"/>
                  </a:lnTo>
                  <a:lnTo>
                    <a:pt x="739" y="530"/>
                  </a:lnTo>
                  <a:lnTo>
                    <a:pt x="743" y="530"/>
                  </a:lnTo>
                  <a:lnTo>
                    <a:pt x="743" y="530"/>
                  </a:lnTo>
                  <a:lnTo>
                    <a:pt x="743" y="533"/>
                  </a:lnTo>
                  <a:lnTo>
                    <a:pt x="743" y="533"/>
                  </a:lnTo>
                  <a:lnTo>
                    <a:pt x="743" y="536"/>
                  </a:lnTo>
                  <a:lnTo>
                    <a:pt x="743" y="536"/>
                  </a:lnTo>
                  <a:lnTo>
                    <a:pt x="739" y="539"/>
                  </a:lnTo>
                  <a:lnTo>
                    <a:pt x="739" y="539"/>
                  </a:lnTo>
                  <a:lnTo>
                    <a:pt x="739" y="543"/>
                  </a:lnTo>
                  <a:lnTo>
                    <a:pt x="739" y="543"/>
                  </a:lnTo>
                  <a:lnTo>
                    <a:pt x="743" y="546"/>
                  </a:lnTo>
                  <a:lnTo>
                    <a:pt x="746" y="543"/>
                  </a:lnTo>
                  <a:lnTo>
                    <a:pt x="746" y="543"/>
                  </a:lnTo>
                  <a:lnTo>
                    <a:pt x="750" y="546"/>
                  </a:lnTo>
                  <a:lnTo>
                    <a:pt x="753" y="549"/>
                  </a:lnTo>
                  <a:lnTo>
                    <a:pt x="753" y="549"/>
                  </a:lnTo>
                  <a:lnTo>
                    <a:pt x="753" y="549"/>
                  </a:lnTo>
                  <a:lnTo>
                    <a:pt x="753" y="546"/>
                  </a:lnTo>
                  <a:lnTo>
                    <a:pt x="757" y="549"/>
                  </a:lnTo>
                  <a:lnTo>
                    <a:pt x="757" y="549"/>
                  </a:lnTo>
                  <a:lnTo>
                    <a:pt x="753" y="552"/>
                  </a:lnTo>
                  <a:lnTo>
                    <a:pt x="753" y="552"/>
                  </a:lnTo>
                  <a:lnTo>
                    <a:pt x="750" y="552"/>
                  </a:lnTo>
                  <a:lnTo>
                    <a:pt x="750" y="556"/>
                  </a:lnTo>
                  <a:lnTo>
                    <a:pt x="753" y="556"/>
                  </a:lnTo>
                  <a:lnTo>
                    <a:pt x="753" y="556"/>
                  </a:lnTo>
                  <a:lnTo>
                    <a:pt x="757" y="559"/>
                  </a:lnTo>
                  <a:lnTo>
                    <a:pt x="760" y="559"/>
                  </a:lnTo>
                  <a:lnTo>
                    <a:pt x="763" y="556"/>
                  </a:lnTo>
                  <a:lnTo>
                    <a:pt x="763" y="556"/>
                  </a:lnTo>
                  <a:lnTo>
                    <a:pt x="763" y="556"/>
                  </a:lnTo>
                  <a:lnTo>
                    <a:pt x="767" y="559"/>
                  </a:lnTo>
                  <a:lnTo>
                    <a:pt x="767" y="562"/>
                  </a:lnTo>
                  <a:lnTo>
                    <a:pt x="770" y="559"/>
                  </a:lnTo>
                  <a:lnTo>
                    <a:pt x="774" y="559"/>
                  </a:lnTo>
                  <a:lnTo>
                    <a:pt x="774" y="562"/>
                  </a:lnTo>
                  <a:lnTo>
                    <a:pt x="777" y="562"/>
                  </a:lnTo>
                  <a:lnTo>
                    <a:pt x="781" y="565"/>
                  </a:lnTo>
                  <a:lnTo>
                    <a:pt x="781" y="565"/>
                  </a:lnTo>
                  <a:lnTo>
                    <a:pt x="781" y="562"/>
                  </a:lnTo>
                  <a:lnTo>
                    <a:pt x="781" y="562"/>
                  </a:lnTo>
                  <a:lnTo>
                    <a:pt x="784" y="559"/>
                  </a:lnTo>
                  <a:lnTo>
                    <a:pt x="788" y="562"/>
                  </a:lnTo>
                  <a:lnTo>
                    <a:pt x="788" y="565"/>
                  </a:lnTo>
                  <a:lnTo>
                    <a:pt x="788" y="565"/>
                  </a:lnTo>
                  <a:lnTo>
                    <a:pt x="791" y="562"/>
                  </a:lnTo>
                  <a:lnTo>
                    <a:pt x="791" y="562"/>
                  </a:lnTo>
                  <a:lnTo>
                    <a:pt x="794" y="562"/>
                  </a:lnTo>
                  <a:lnTo>
                    <a:pt x="794" y="565"/>
                  </a:lnTo>
                  <a:lnTo>
                    <a:pt x="798" y="565"/>
                  </a:lnTo>
                  <a:lnTo>
                    <a:pt x="798" y="562"/>
                  </a:lnTo>
                  <a:lnTo>
                    <a:pt x="798" y="562"/>
                  </a:lnTo>
                  <a:lnTo>
                    <a:pt x="801" y="559"/>
                  </a:lnTo>
                  <a:lnTo>
                    <a:pt x="801" y="562"/>
                  </a:lnTo>
                  <a:lnTo>
                    <a:pt x="805" y="562"/>
                  </a:lnTo>
                  <a:lnTo>
                    <a:pt x="805" y="562"/>
                  </a:lnTo>
                  <a:lnTo>
                    <a:pt x="808" y="562"/>
                  </a:lnTo>
                  <a:lnTo>
                    <a:pt x="808" y="562"/>
                  </a:lnTo>
                  <a:close/>
                  <a:moveTo>
                    <a:pt x="1169" y="678"/>
                  </a:moveTo>
                  <a:lnTo>
                    <a:pt x="1169" y="675"/>
                  </a:lnTo>
                  <a:lnTo>
                    <a:pt x="1169" y="672"/>
                  </a:lnTo>
                  <a:lnTo>
                    <a:pt x="1169" y="669"/>
                  </a:lnTo>
                  <a:lnTo>
                    <a:pt x="1169" y="665"/>
                  </a:lnTo>
                  <a:lnTo>
                    <a:pt x="1173" y="662"/>
                  </a:lnTo>
                  <a:lnTo>
                    <a:pt x="1176" y="656"/>
                  </a:lnTo>
                  <a:lnTo>
                    <a:pt x="1180" y="656"/>
                  </a:lnTo>
                  <a:lnTo>
                    <a:pt x="1183" y="649"/>
                  </a:lnTo>
                  <a:lnTo>
                    <a:pt x="1190" y="646"/>
                  </a:lnTo>
                  <a:lnTo>
                    <a:pt x="1190" y="646"/>
                  </a:lnTo>
                  <a:lnTo>
                    <a:pt x="1193" y="646"/>
                  </a:lnTo>
                  <a:lnTo>
                    <a:pt x="1193" y="646"/>
                  </a:lnTo>
                  <a:lnTo>
                    <a:pt x="1197" y="643"/>
                  </a:lnTo>
                  <a:lnTo>
                    <a:pt x="1200" y="646"/>
                  </a:lnTo>
                  <a:lnTo>
                    <a:pt x="1204" y="646"/>
                  </a:lnTo>
                  <a:lnTo>
                    <a:pt x="1207" y="646"/>
                  </a:lnTo>
                  <a:lnTo>
                    <a:pt x="1207" y="649"/>
                  </a:lnTo>
                  <a:lnTo>
                    <a:pt x="1211" y="653"/>
                  </a:lnTo>
                  <a:lnTo>
                    <a:pt x="1211" y="656"/>
                  </a:lnTo>
                  <a:lnTo>
                    <a:pt x="1207" y="659"/>
                  </a:lnTo>
                  <a:lnTo>
                    <a:pt x="1204" y="662"/>
                  </a:lnTo>
                  <a:lnTo>
                    <a:pt x="1204" y="665"/>
                  </a:lnTo>
                  <a:lnTo>
                    <a:pt x="1200" y="672"/>
                  </a:lnTo>
                  <a:lnTo>
                    <a:pt x="1197" y="675"/>
                  </a:lnTo>
                  <a:lnTo>
                    <a:pt x="1193" y="675"/>
                  </a:lnTo>
                  <a:lnTo>
                    <a:pt x="1190" y="675"/>
                  </a:lnTo>
                  <a:lnTo>
                    <a:pt x="1190" y="678"/>
                  </a:lnTo>
                  <a:lnTo>
                    <a:pt x="1187" y="678"/>
                  </a:lnTo>
                  <a:lnTo>
                    <a:pt x="1183" y="678"/>
                  </a:lnTo>
                  <a:lnTo>
                    <a:pt x="1180" y="678"/>
                  </a:lnTo>
                  <a:lnTo>
                    <a:pt x="1173" y="678"/>
                  </a:lnTo>
                  <a:lnTo>
                    <a:pt x="1173" y="678"/>
                  </a:lnTo>
                  <a:lnTo>
                    <a:pt x="1169" y="678"/>
                  </a:lnTo>
                  <a:lnTo>
                    <a:pt x="1169" y="678"/>
                  </a:lnTo>
                  <a:lnTo>
                    <a:pt x="1169" y="678"/>
                  </a:lnTo>
                  <a:close/>
                  <a:moveTo>
                    <a:pt x="825" y="552"/>
                  </a:moveTo>
                  <a:lnTo>
                    <a:pt x="825" y="549"/>
                  </a:lnTo>
                  <a:lnTo>
                    <a:pt x="825" y="549"/>
                  </a:lnTo>
                  <a:lnTo>
                    <a:pt x="829" y="546"/>
                  </a:lnTo>
                  <a:lnTo>
                    <a:pt x="825" y="546"/>
                  </a:lnTo>
                  <a:lnTo>
                    <a:pt x="825" y="543"/>
                  </a:lnTo>
                  <a:lnTo>
                    <a:pt x="829" y="543"/>
                  </a:lnTo>
                  <a:lnTo>
                    <a:pt x="829" y="546"/>
                  </a:lnTo>
                  <a:lnTo>
                    <a:pt x="832" y="546"/>
                  </a:lnTo>
                  <a:lnTo>
                    <a:pt x="832" y="549"/>
                  </a:lnTo>
                  <a:lnTo>
                    <a:pt x="829" y="549"/>
                  </a:lnTo>
                  <a:lnTo>
                    <a:pt x="829" y="549"/>
                  </a:lnTo>
                  <a:lnTo>
                    <a:pt x="825" y="552"/>
                  </a:lnTo>
                  <a:lnTo>
                    <a:pt x="825" y="552"/>
                  </a:lnTo>
                  <a:lnTo>
                    <a:pt x="825" y="552"/>
                  </a:lnTo>
                  <a:close/>
                  <a:moveTo>
                    <a:pt x="791" y="578"/>
                  </a:moveTo>
                  <a:lnTo>
                    <a:pt x="794" y="575"/>
                  </a:lnTo>
                  <a:lnTo>
                    <a:pt x="794" y="572"/>
                  </a:lnTo>
                  <a:lnTo>
                    <a:pt x="794" y="572"/>
                  </a:lnTo>
                  <a:lnTo>
                    <a:pt x="798" y="569"/>
                  </a:lnTo>
                  <a:lnTo>
                    <a:pt x="794" y="569"/>
                  </a:lnTo>
                  <a:lnTo>
                    <a:pt x="794" y="572"/>
                  </a:lnTo>
                  <a:lnTo>
                    <a:pt x="791" y="572"/>
                  </a:lnTo>
                  <a:lnTo>
                    <a:pt x="788" y="572"/>
                  </a:lnTo>
                  <a:lnTo>
                    <a:pt x="788" y="572"/>
                  </a:lnTo>
                  <a:lnTo>
                    <a:pt x="791" y="575"/>
                  </a:lnTo>
                  <a:lnTo>
                    <a:pt x="791" y="578"/>
                  </a:lnTo>
                  <a:lnTo>
                    <a:pt x="791" y="578"/>
                  </a:lnTo>
                  <a:close/>
                  <a:moveTo>
                    <a:pt x="832" y="572"/>
                  </a:moveTo>
                  <a:lnTo>
                    <a:pt x="829" y="572"/>
                  </a:lnTo>
                  <a:lnTo>
                    <a:pt x="825" y="575"/>
                  </a:lnTo>
                  <a:lnTo>
                    <a:pt x="825" y="575"/>
                  </a:lnTo>
                  <a:lnTo>
                    <a:pt x="822" y="572"/>
                  </a:lnTo>
                  <a:lnTo>
                    <a:pt x="822" y="572"/>
                  </a:lnTo>
                  <a:lnTo>
                    <a:pt x="825" y="565"/>
                  </a:lnTo>
                  <a:lnTo>
                    <a:pt x="825" y="565"/>
                  </a:lnTo>
                  <a:lnTo>
                    <a:pt x="829" y="562"/>
                  </a:lnTo>
                  <a:lnTo>
                    <a:pt x="829" y="562"/>
                  </a:lnTo>
                  <a:lnTo>
                    <a:pt x="829" y="565"/>
                  </a:lnTo>
                  <a:lnTo>
                    <a:pt x="832" y="569"/>
                  </a:lnTo>
                  <a:lnTo>
                    <a:pt x="832" y="572"/>
                  </a:lnTo>
                  <a:lnTo>
                    <a:pt x="832" y="572"/>
                  </a:lnTo>
                  <a:close/>
                  <a:moveTo>
                    <a:pt x="836" y="565"/>
                  </a:moveTo>
                  <a:lnTo>
                    <a:pt x="836" y="565"/>
                  </a:lnTo>
                  <a:lnTo>
                    <a:pt x="832" y="562"/>
                  </a:lnTo>
                  <a:lnTo>
                    <a:pt x="836" y="559"/>
                  </a:lnTo>
                  <a:lnTo>
                    <a:pt x="839" y="559"/>
                  </a:lnTo>
                  <a:lnTo>
                    <a:pt x="839" y="562"/>
                  </a:lnTo>
                  <a:lnTo>
                    <a:pt x="839" y="562"/>
                  </a:lnTo>
                  <a:lnTo>
                    <a:pt x="836" y="565"/>
                  </a:lnTo>
                  <a:lnTo>
                    <a:pt x="836" y="565"/>
                  </a:lnTo>
                  <a:lnTo>
                    <a:pt x="836" y="565"/>
                  </a:lnTo>
                  <a:lnTo>
                    <a:pt x="836" y="565"/>
                  </a:lnTo>
                  <a:close/>
                  <a:moveTo>
                    <a:pt x="908" y="569"/>
                  </a:moveTo>
                  <a:lnTo>
                    <a:pt x="908" y="562"/>
                  </a:lnTo>
                  <a:lnTo>
                    <a:pt x="911" y="559"/>
                  </a:lnTo>
                  <a:lnTo>
                    <a:pt x="918" y="559"/>
                  </a:lnTo>
                  <a:lnTo>
                    <a:pt x="918" y="562"/>
                  </a:lnTo>
                  <a:lnTo>
                    <a:pt x="915" y="569"/>
                  </a:lnTo>
                  <a:lnTo>
                    <a:pt x="911" y="569"/>
                  </a:lnTo>
                  <a:lnTo>
                    <a:pt x="911" y="569"/>
                  </a:lnTo>
                  <a:lnTo>
                    <a:pt x="911" y="565"/>
                  </a:lnTo>
                  <a:lnTo>
                    <a:pt x="911" y="565"/>
                  </a:lnTo>
                  <a:lnTo>
                    <a:pt x="908" y="569"/>
                  </a:lnTo>
                  <a:lnTo>
                    <a:pt x="908" y="569"/>
                  </a:lnTo>
                  <a:lnTo>
                    <a:pt x="908" y="569"/>
                  </a:lnTo>
                  <a:lnTo>
                    <a:pt x="908" y="569"/>
                  </a:lnTo>
                  <a:close/>
                  <a:moveTo>
                    <a:pt x="904" y="562"/>
                  </a:moveTo>
                  <a:lnTo>
                    <a:pt x="904" y="565"/>
                  </a:lnTo>
                  <a:lnTo>
                    <a:pt x="908" y="562"/>
                  </a:lnTo>
                  <a:lnTo>
                    <a:pt x="904" y="556"/>
                  </a:lnTo>
                  <a:lnTo>
                    <a:pt x="904" y="559"/>
                  </a:lnTo>
                  <a:lnTo>
                    <a:pt x="904" y="562"/>
                  </a:lnTo>
                  <a:lnTo>
                    <a:pt x="904" y="562"/>
                  </a:lnTo>
                  <a:close/>
                  <a:moveTo>
                    <a:pt x="901" y="591"/>
                  </a:moveTo>
                  <a:lnTo>
                    <a:pt x="904" y="591"/>
                  </a:lnTo>
                  <a:lnTo>
                    <a:pt x="908" y="588"/>
                  </a:lnTo>
                  <a:lnTo>
                    <a:pt x="908" y="585"/>
                  </a:lnTo>
                  <a:lnTo>
                    <a:pt x="904" y="585"/>
                  </a:lnTo>
                  <a:lnTo>
                    <a:pt x="901" y="585"/>
                  </a:lnTo>
                  <a:lnTo>
                    <a:pt x="904" y="578"/>
                  </a:lnTo>
                  <a:lnTo>
                    <a:pt x="908" y="575"/>
                  </a:lnTo>
                  <a:lnTo>
                    <a:pt x="904" y="575"/>
                  </a:lnTo>
                  <a:lnTo>
                    <a:pt x="901" y="581"/>
                  </a:lnTo>
                  <a:lnTo>
                    <a:pt x="901" y="578"/>
                  </a:lnTo>
                  <a:lnTo>
                    <a:pt x="901" y="569"/>
                  </a:lnTo>
                  <a:lnTo>
                    <a:pt x="901" y="559"/>
                  </a:lnTo>
                  <a:lnTo>
                    <a:pt x="894" y="556"/>
                  </a:lnTo>
                  <a:lnTo>
                    <a:pt x="894" y="552"/>
                  </a:lnTo>
                  <a:lnTo>
                    <a:pt x="891" y="552"/>
                  </a:lnTo>
                  <a:lnTo>
                    <a:pt x="891" y="556"/>
                  </a:lnTo>
                  <a:lnTo>
                    <a:pt x="891" y="552"/>
                  </a:lnTo>
                  <a:lnTo>
                    <a:pt x="891" y="549"/>
                  </a:lnTo>
                  <a:lnTo>
                    <a:pt x="891" y="546"/>
                  </a:lnTo>
                  <a:lnTo>
                    <a:pt x="891" y="543"/>
                  </a:lnTo>
                  <a:lnTo>
                    <a:pt x="891" y="539"/>
                  </a:lnTo>
                  <a:lnTo>
                    <a:pt x="887" y="543"/>
                  </a:lnTo>
                  <a:lnTo>
                    <a:pt x="880" y="546"/>
                  </a:lnTo>
                  <a:lnTo>
                    <a:pt x="877" y="552"/>
                  </a:lnTo>
                  <a:lnTo>
                    <a:pt x="880" y="556"/>
                  </a:lnTo>
                  <a:lnTo>
                    <a:pt x="877" y="556"/>
                  </a:lnTo>
                  <a:lnTo>
                    <a:pt x="874" y="552"/>
                  </a:lnTo>
                  <a:lnTo>
                    <a:pt x="874" y="552"/>
                  </a:lnTo>
                  <a:lnTo>
                    <a:pt x="874" y="556"/>
                  </a:lnTo>
                  <a:lnTo>
                    <a:pt x="870" y="556"/>
                  </a:lnTo>
                  <a:lnTo>
                    <a:pt x="870" y="559"/>
                  </a:lnTo>
                  <a:lnTo>
                    <a:pt x="870" y="562"/>
                  </a:lnTo>
                  <a:lnTo>
                    <a:pt x="867" y="562"/>
                  </a:lnTo>
                  <a:lnTo>
                    <a:pt x="863" y="565"/>
                  </a:lnTo>
                  <a:lnTo>
                    <a:pt x="856" y="562"/>
                  </a:lnTo>
                  <a:lnTo>
                    <a:pt x="856" y="565"/>
                  </a:lnTo>
                  <a:lnTo>
                    <a:pt x="853" y="565"/>
                  </a:lnTo>
                  <a:lnTo>
                    <a:pt x="843" y="569"/>
                  </a:lnTo>
                  <a:lnTo>
                    <a:pt x="846" y="572"/>
                  </a:lnTo>
                  <a:lnTo>
                    <a:pt x="849" y="575"/>
                  </a:lnTo>
                  <a:lnTo>
                    <a:pt x="853" y="575"/>
                  </a:lnTo>
                  <a:lnTo>
                    <a:pt x="853" y="572"/>
                  </a:lnTo>
                  <a:lnTo>
                    <a:pt x="853" y="569"/>
                  </a:lnTo>
                  <a:lnTo>
                    <a:pt x="856" y="572"/>
                  </a:lnTo>
                  <a:lnTo>
                    <a:pt x="856" y="578"/>
                  </a:lnTo>
                  <a:lnTo>
                    <a:pt x="860" y="581"/>
                  </a:lnTo>
                  <a:lnTo>
                    <a:pt x="860" y="578"/>
                  </a:lnTo>
                  <a:lnTo>
                    <a:pt x="863" y="578"/>
                  </a:lnTo>
                  <a:lnTo>
                    <a:pt x="860" y="581"/>
                  </a:lnTo>
                  <a:lnTo>
                    <a:pt x="867" y="585"/>
                  </a:lnTo>
                  <a:lnTo>
                    <a:pt x="870" y="588"/>
                  </a:lnTo>
                  <a:lnTo>
                    <a:pt x="870" y="591"/>
                  </a:lnTo>
                  <a:lnTo>
                    <a:pt x="874" y="594"/>
                  </a:lnTo>
                  <a:lnTo>
                    <a:pt x="877" y="591"/>
                  </a:lnTo>
                  <a:lnTo>
                    <a:pt x="877" y="594"/>
                  </a:lnTo>
                  <a:lnTo>
                    <a:pt x="880" y="598"/>
                  </a:lnTo>
                  <a:lnTo>
                    <a:pt x="884" y="598"/>
                  </a:lnTo>
                  <a:lnTo>
                    <a:pt x="887" y="598"/>
                  </a:lnTo>
                  <a:lnTo>
                    <a:pt x="891" y="594"/>
                  </a:lnTo>
                  <a:lnTo>
                    <a:pt x="894" y="591"/>
                  </a:lnTo>
                  <a:lnTo>
                    <a:pt x="901" y="588"/>
                  </a:lnTo>
                  <a:lnTo>
                    <a:pt x="901" y="591"/>
                  </a:lnTo>
                  <a:lnTo>
                    <a:pt x="901" y="591"/>
                  </a:lnTo>
                  <a:close/>
                  <a:moveTo>
                    <a:pt x="1297" y="569"/>
                  </a:moveTo>
                  <a:lnTo>
                    <a:pt x="1297" y="565"/>
                  </a:lnTo>
                  <a:lnTo>
                    <a:pt x="1297" y="565"/>
                  </a:lnTo>
                  <a:lnTo>
                    <a:pt x="1297" y="562"/>
                  </a:lnTo>
                  <a:lnTo>
                    <a:pt x="1300" y="562"/>
                  </a:lnTo>
                  <a:lnTo>
                    <a:pt x="1304" y="562"/>
                  </a:lnTo>
                  <a:lnTo>
                    <a:pt x="1304" y="565"/>
                  </a:lnTo>
                  <a:lnTo>
                    <a:pt x="1307" y="565"/>
                  </a:lnTo>
                  <a:lnTo>
                    <a:pt x="1307" y="565"/>
                  </a:lnTo>
                  <a:lnTo>
                    <a:pt x="1307" y="569"/>
                  </a:lnTo>
                  <a:lnTo>
                    <a:pt x="1304" y="569"/>
                  </a:lnTo>
                  <a:lnTo>
                    <a:pt x="1300" y="569"/>
                  </a:lnTo>
                  <a:lnTo>
                    <a:pt x="1300" y="569"/>
                  </a:lnTo>
                  <a:lnTo>
                    <a:pt x="1297" y="569"/>
                  </a:lnTo>
                  <a:lnTo>
                    <a:pt x="1297" y="569"/>
                  </a:lnTo>
                  <a:lnTo>
                    <a:pt x="1297" y="569"/>
                  </a:lnTo>
                  <a:lnTo>
                    <a:pt x="1297" y="569"/>
                  </a:lnTo>
                  <a:close/>
                  <a:moveTo>
                    <a:pt x="1290" y="856"/>
                  </a:moveTo>
                  <a:lnTo>
                    <a:pt x="1286" y="856"/>
                  </a:lnTo>
                  <a:lnTo>
                    <a:pt x="1283" y="856"/>
                  </a:lnTo>
                  <a:lnTo>
                    <a:pt x="1276" y="853"/>
                  </a:lnTo>
                  <a:lnTo>
                    <a:pt x="1273" y="853"/>
                  </a:lnTo>
                  <a:lnTo>
                    <a:pt x="1269" y="853"/>
                  </a:lnTo>
                  <a:lnTo>
                    <a:pt x="1266" y="846"/>
                  </a:lnTo>
                  <a:lnTo>
                    <a:pt x="1266" y="846"/>
                  </a:lnTo>
                  <a:lnTo>
                    <a:pt x="1262" y="843"/>
                  </a:lnTo>
                  <a:lnTo>
                    <a:pt x="1259" y="846"/>
                  </a:lnTo>
                  <a:lnTo>
                    <a:pt x="1255" y="843"/>
                  </a:lnTo>
                  <a:lnTo>
                    <a:pt x="1255" y="846"/>
                  </a:lnTo>
                  <a:lnTo>
                    <a:pt x="1248" y="843"/>
                  </a:lnTo>
                  <a:lnTo>
                    <a:pt x="1248" y="840"/>
                  </a:lnTo>
                  <a:lnTo>
                    <a:pt x="1248" y="840"/>
                  </a:lnTo>
                  <a:lnTo>
                    <a:pt x="1245" y="840"/>
                  </a:lnTo>
                  <a:lnTo>
                    <a:pt x="1242" y="837"/>
                  </a:lnTo>
                  <a:lnTo>
                    <a:pt x="1242" y="833"/>
                  </a:lnTo>
                  <a:lnTo>
                    <a:pt x="1238" y="833"/>
                  </a:lnTo>
                  <a:lnTo>
                    <a:pt x="1235" y="833"/>
                  </a:lnTo>
                  <a:lnTo>
                    <a:pt x="1235" y="830"/>
                  </a:lnTo>
                  <a:lnTo>
                    <a:pt x="1235" y="827"/>
                  </a:lnTo>
                  <a:lnTo>
                    <a:pt x="1238" y="827"/>
                  </a:lnTo>
                  <a:lnTo>
                    <a:pt x="1235" y="827"/>
                  </a:lnTo>
                  <a:lnTo>
                    <a:pt x="1235" y="827"/>
                  </a:lnTo>
                  <a:lnTo>
                    <a:pt x="1231" y="827"/>
                  </a:lnTo>
                  <a:lnTo>
                    <a:pt x="1231" y="827"/>
                  </a:lnTo>
                  <a:lnTo>
                    <a:pt x="1231" y="827"/>
                  </a:lnTo>
                  <a:lnTo>
                    <a:pt x="1228" y="827"/>
                  </a:lnTo>
                  <a:lnTo>
                    <a:pt x="1221" y="824"/>
                  </a:lnTo>
                  <a:lnTo>
                    <a:pt x="1218" y="821"/>
                  </a:lnTo>
                  <a:lnTo>
                    <a:pt x="1218" y="821"/>
                  </a:lnTo>
                  <a:lnTo>
                    <a:pt x="1214" y="817"/>
                  </a:lnTo>
                  <a:lnTo>
                    <a:pt x="1214" y="817"/>
                  </a:lnTo>
                  <a:lnTo>
                    <a:pt x="1211" y="817"/>
                  </a:lnTo>
                  <a:lnTo>
                    <a:pt x="1207" y="814"/>
                  </a:lnTo>
                  <a:lnTo>
                    <a:pt x="1207" y="811"/>
                  </a:lnTo>
                  <a:lnTo>
                    <a:pt x="1207" y="808"/>
                  </a:lnTo>
                  <a:lnTo>
                    <a:pt x="1204" y="804"/>
                  </a:lnTo>
                  <a:lnTo>
                    <a:pt x="1204" y="804"/>
                  </a:lnTo>
                  <a:lnTo>
                    <a:pt x="1207" y="804"/>
                  </a:lnTo>
                  <a:lnTo>
                    <a:pt x="1218" y="801"/>
                  </a:lnTo>
                  <a:lnTo>
                    <a:pt x="1218" y="798"/>
                  </a:lnTo>
                  <a:lnTo>
                    <a:pt x="1211" y="798"/>
                  </a:lnTo>
                  <a:lnTo>
                    <a:pt x="1211" y="795"/>
                  </a:lnTo>
                  <a:lnTo>
                    <a:pt x="1207" y="791"/>
                  </a:lnTo>
                  <a:lnTo>
                    <a:pt x="1207" y="791"/>
                  </a:lnTo>
                  <a:lnTo>
                    <a:pt x="1207" y="791"/>
                  </a:lnTo>
                  <a:lnTo>
                    <a:pt x="1204" y="795"/>
                  </a:lnTo>
                  <a:lnTo>
                    <a:pt x="1204" y="798"/>
                  </a:lnTo>
                  <a:lnTo>
                    <a:pt x="1200" y="795"/>
                  </a:lnTo>
                  <a:lnTo>
                    <a:pt x="1204" y="791"/>
                  </a:lnTo>
                  <a:lnTo>
                    <a:pt x="1204" y="788"/>
                  </a:lnTo>
                  <a:lnTo>
                    <a:pt x="1200" y="791"/>
                  </a:lnTo>
                  <a:lnTo>
                    <a:pt x="1200" y="788"/>
                  </a:lnTo>
                  <a:lnTo>
                    <a:pt x="1200" y="785"/>
                  </a:lnTo>
                  <a:lnTo>
                    <a:pt x="1197" y="785"/>
                  </a:lnTo>
                  <a:lnTo>
                    <a:pt x="1197" y="782"/>
                  </a:lnTo>
                  <a:lnTo>
                    <a:pt x="1197" y="782"/>
                  </a:lnTo>
                  <a:lnTo>
                    <a:pt x="1193" y="775"/>
                  </a:lnTo>
                  <a:lnTo>
                    <a:pt x="1190" y="775"/>
                  </a:lnTo>
                  <a:lnTo>
                    <a:pt x="1193" y="772"/>
                  </a:lnTo>
                  <a:lnTo>
                    <a:pt x="1197" y="769"/>
                  </a:lnTo>
                  <a:lnTo>
                    <a:pt x="1193" y="769"/>
                  </a:lnTo>
                  <a:lnTo>
                    <a:pt x="1187" y="772"/>
                  </a:lnTo>
                  <a:lnTo>
                    <a:pt x="1187" y="775"/>
                  </a:lnTo>
                  <a:lnTo>
                    <a:pt x="1187" y="772"/>
                  </a:lnTo>
                  <a:lnTo>
                    <a:pt x="1190" y="769"/>
                  </a:lnTo>
                  <a:lnTo>
                    <a:pt x="1187" y="769"/>
                  </a:lnTo>
                  <a:lnTo>
                    <a:pt x="1183" y="769"/>
                  </a:lnTo>
                  <a:lnTo>
                    <a:pt x="1183" y="769"/>
                  </a:lnTo>
                  <a:lnTo>
                    <a:pt x="1180" y="775"/>
                  </a:lnTo>
                  <a:lnTo>
                    <a:pt x="1180" y="775"/>
                  </a:lnTo>
                  <a:lnTo>
                    <a:pt x="1176" y="772"/>
                  </a:lnTo>
                  <a:lnTo>
                    <a:pt x="1180" y="769"/>
                  </a:lnTo>
                  <a:lnTo>
                    <a:pt x="1180" y="766"/>
                  </a:lnTo>
                  <a:lnTo>
                    <a:pt x="1180" y="766"/>
                  </a:lnTo>
                  <a:lnTo>
                    <a:pt x="1176" y="766"/>
                  </a:lnTo>
                  <a:lnTo>
                    <a:pt x="1176" y="769"/>
                  </a:lnTo>
                  <a:lnTo>
                    <a:pt x="1173" y="769"/>
                  </a:lnTo>
                  <a:lnTo>
                    <a:pt x="1169" y="769"/>
                  </a:lnTo>
                  <a:lnTo>
                    <a:pt x="1169" y="772"/>
                  </a:lnTo>
                  <a:lnTo>
                    <a:pt x="1166" y="772"/>
                  </a:lnTo>
                  <a:lnTo>
                    <a:pt x="1162" y="769"/>
                  </a:lnTo>
                  <a:lnTo>
                    <a:pt x="1159" y="769"/>
                  </a:lnTo>
                  <a:lnTo>
                    <a:pt x="1156" y="762"/>
                  </a:lnTo>
                  <a:lnTo>
                    <a:pt x="1156" y="762"/>
                  </a:lnTo>
                  <a:lnTo>
                    <a:pt x="1152" y="766"/>
                  </a:lnTo>
                  <a:lnTo>
                    <a:pt x="1152" y="769"/>
                  </a:lnTo>
                  <a:lnTo>
                    <a:pt x="1152" y="772"/>
                  </a:lnTo>
                  <a:lnTo>
                    <a:pt x="1149" y="769"/>
                  </a:lnTo>
                  <a:lnTo>
                    <a:pt x="1145" y="769"/>
                  </a:lnTo>
                  <a:lnTo>
                    <a:pt x="1142" y="772"/>
                  </a:lnTo>
                  <a:lnTo>
                    <a:pt x="1142" y="772"/>
                  </a:lnTo>
                  <a:lnTo>
                    <a:pt x="1138" y="772"/>
                  </a:lnTo>
                  <a:lnTo>
                    <a:pt x="1135" y="772"/>
                  </a:lnTo>
                  <a:lnTo>
                    <a:pt x="1132" y="772"/>
                  </a:lnTo>
                  <a:lnTo>
                    <a:pt x="1125" y="772"/>
                  </a:lnTo>
                  <a:lnTo>
                    <a:pt x="1128" y="769"/>
                  </a:lnTo>
                  <a:lnTo>
                    <a:pt x="1121" y="766"/>
                  </a:lnTo>
                  <a:lnTo>
                    <a:pt x="1121" y="769"/>
                  </a:lnTo>
                  <a:lnTo>
                    <a:pt x="1118" y="766"/>
                  </a:lnTo>
                  <a:lnTo>
                    <a:pt x="1114" y="759"/>
                  </a:lnTo>
                  <a:lnTo>
                    <a:pt x="1118" y="756"/>
                  </a:lnTo>
                  <a:lnTo>
                    <a:pt x="1118" y="753"/>
                  </a:lnTo>
                  <a:lnTo>
                    <a:pt x="1118" y="749"/>
                  </a:lnTo>
                  <a:lnTo>
                    <a:pt x="1121" y="746"/>
                  </a:lnTo>
                  <a:lnTo>
                    <a:pt x="1125" y="746"/>
                  </a:lnTo>
                  <a:lnTo>
                    <a:pt x="1128" y="746"/>
                  </a:lnTo>
                  <a:lnTo>
                    <a:pt x="1132" y="743"/>
                  </a:lnTo>
                  <a:lnTo>
                    <a:pt x="1135" y="746"/>
                  </a:lnTo>
                  <a:lnTo>
                    <a:pt x="1135" y="743"/>
                  </a:lnTo>
                  <a:lnTo>
                    <a:pt x="1132" y="740"/>
                  </a:lnTo>
                  <a:lnTo>
                    <a:pt x="1132" y="737"/>
                  </a:lnTo>
                  <a:lnTo>
                    <a:pt x="1135" y="737"/>
                  </a:lnTo>
                  <a:lnTo>
                    <a:pt x="1135" y="737"/>
                  </a:lnTo>
                  <a:lnTo>
                    <a:pt x="1135" y="737"/>
                  </a:lnTo>
                  <a:lnTo>
                    <a:pt x="1135" y="733"/>
                  </a:lnTo>
                  <a:lnTo>
                    <a:pt x="1138" y="733"/>
                  </a:lnTo>
                  <a:lnTo>
                    <a:pt x="1142" y="740"/>
                  </a:lnTo>
                  <a:lnTo>
                    <a:pt x="1145" y="740"/>
                  </a:lnTo>
                  <a:lnTo>
                    <a:pt x="1149" y="740"/>
                  </a:lnTo>
                  <a:lnTo>
                    <a:pt x="1152" y="743"/>
                  </a:lnTo>
                  <a:lnTo>
                    <a:pt x="1156" y="743"/>
                  </a:lnTo>
                  <a:lnTo>
                    <a:pt x="1159" y="746"/>
                  </a:lnTo>
                  <a:lnTo>
                    <a:pt x="1159" y="743"/>
                  </a:lnTo>
                  <a:lnTo>
                    <a:pt x="1162" y="743"/>
                  </a:lnTo>
                  <a:lnTo>
                    <a:pt x="1166" y="746"/>
                  </a:lnTo>
                  <a:lnTo>
                    <a:pt x="1166" y="746"/>
                  </a:lnTo>
                  <a:lnTo>
                    <a:pt x="1173" y="746"/>
                  </a:lnTo>
                  <a:lnTo>
                    <a:pt x="1173" y="743"/>
                  </a:lnTo>
                  <a:lnTo>
                    <a:pt x="1176" y="743"/>
                  </a:lnTo>
                  <a:lnTo>
                    <a:pt x="1180" y="743"/>
                  </a:lnTo>
                  <a:lnTo>
                    <a:pt x="1180" y="743"/>
                  </a:lnTo>
                  <a:lnTo>
                    <a:pt x="1180" y="743"/>
                  </a:lnTo>
                  <a:lnTo>
                    <a:pt x="1183" y="746"/>
                  </a:lnTo>
                  <a:lnTo>
                    <a:pt x="1187" y="743"/>
                  </a:lnTo>
                  <a:lnTo>
                    <a:pt x="1187" y="740"/>
                  </a:lnTo>
                  <a:lnTo>
                    <a:pt x="1190" y="737"/>
                  </a:lnTo>
                  <a:lnTo>
                    <a:pt x="1193" y="740"/>
                  </a:lnTo>
                  <a:lnTo>
                    <a:pt x="1193" y="743"/>
                  </a:lnTo>
                  <a:lnTo>
                    <a:pt x="1193" y="746"/>
                  </a:lnTo>
                  <a:lnTo>
                    <a:pt x="1193" y="743"/>
                  </a:lnTo>
                  <a:lnTo>
                    <a:pt x="1197" y="743"/>
                  </a:lnTo>
                  <a:lnTo>
                    <a:pt x="1200" y="743"/>
                  </a:lnTo>
                  <a:lnTo>
                    <a:pt x="1200" y="743"/>
                  </a:lnTo>
                  <a:lnTo>
                    <a:pt x="1200" y="733"/>
                  </a:lnTo>
                  <a:lnTo>
                    <a:pt x="1197" y="730"/>
                  </a:lnTo>
                  <a:lnTo>
                    <a:pt x="1197" y="727"/>
                  </a:lnTo>
                  <a:lnTo>
                    <a:pt x="1193" y="724"/>
                  </a:lnTo>
                  <a:lnTo>
                    <a:pt x="1193" y="720"/>
                  </a:lnTo>
                  <a:lnTo>
                    <a:pt x="1197" y="717"/>
                  </a:lnTo>
                  <a:lnTo>
                    <a:pt x="1197" y="717"/>
                  </a:lnTo>
                  <a:lnTo>
                    <a:pt x="1204" y="714"/>
                  </a:lnTo>
                  <a:lnTo>
                    <a:pt x="1211" y="711"/>
                  </a:lnTo>
                  <a:lnTo>
                    <a:pt x="1214" y="711"/>
                  </a:lnTo>
                  <a:lnTo>
                    <a:pt x="1218" y="704"/>
                  </a:lnTo>
                  <a:lnTo>
                    <a:pt x="1221" y="704"/>
                  </a:lnTo>
                  <a:lnTo>
                    <a:pt x="1221" y="707"/>
                  </a:lnTo>
                  <a:lnTo>
                    <a:pt x="1224" y="707"/>
                  </a:lnTo>
                  <a:lnTo>
                    <a:pt x="1228" y="707"/>
                  </a:lnTo>
                  <a:lnTo>
                    <a:pt x="1221" y="704"/>
                  </a:lnTo>
                  <a:lnTo>
                    <a:pt x="1221" y="701"/>
                  </a:lnTo>
                  <a:lnTo>
                    <a:pt x="1228" y="698"/>
                  </a:lnTo>
                  <a:lnTo>
                    <a:pt x="1228" y="695"/>
                  </a:lnTo>
                  <a:lnTo>
                    <a:pt x="1231" y="695"/>
                  </a:lnTo>
                  <a:lnTo>
                    <a:pt x="1238" y="695"/>
                  </a:lnTo>
                  <a:lnTo>
                    <a:pt x="1242" y="691"/>
                  </a:lnTo>
                  <a:lnTo>
                    <a:pt x="1245" y="691"/>
                  </a:lnTo>
                  <a:lnTo>
                    <a:pt x="1242" y="688"/>
                  </a:lnTo>
                  <a:lnTo>
                    <a:pt x="1245" y="685"/>
                  </a:lnTo>
                  <a:lnTo>
                    <a:pt x="1245" y="678"/>
                  </a:lnTo>
                  <a:lnTo>
                    <a:pt x="1245" y="678"/>
                  </a:lnTo>
                  <a:lnTo>
                    <a:pt x="1245" y="678"/>
                  </a:lnTo>
                  <a:lnTo>
                    <a:pt x="1245" y="675"/>
                  </a:lnTo>
                  <a:lnTo>
                    <a:pt x="1245" y="672"/>
                  </a:lnTo>
                  <a:lnTo>
                    <a:pt x="1245" y="669"/>
                  </a:lnTo>
                  <a:lnTo>
                    <a:pt x="1242" y="669"/>
                  </a:lnTo>
                  <a:lnTo>
                    <a:pt x="1242" y="665"/>
                  </a:lnTo>
                  <a:lnTo>
                    <a:pt x="1245" y="662"/>
                  </a:lnTo>
                  <a:lnTo>
                    <a:pt x="1248" y="662"/>
                  </a:lnTo>
                  <a:lnTo>
                    <a:pt x="1248" y="659"/>
                  </a:lnTo>
                  <a:lnTo>
                    <a:pt x="1248" y="656"/>
                  </a:lnTo>
                  <a:lnTo>
                    <a:pt x="1248" y="656"/>
                  </a:lnTo>
                  <a:lnTo>
                    <a:pt x="1248" y="656"/>
                  </a:lnTo>
                  <a:lnTo>
                    <a:pt x="1245" y="656"/>
                  </a:lnTo>
                  <a:lnTo>
                    <a:pt x="1245" y="659"/>
                  </a:lnTo>
                  <a:lnTo>
                    <a:pt x="1245" y="659"/>
                  </a:lnTo>
                  <a:lnTo>
                    <a:pt x="1245" y="656"/>
                  </a:lnTo>
                  <a:lnTo>
                    <a:pt x="1245" y="653"/>
                  </a:lnTo>
                  <a:lnTo>
                    <a:pt x="1242" y="653"/>
                  </a:lnTo>
                  <a:lnTo>
                    <a:pt x="1235" y="653"/>
                  </a:lnTo>
                  <a:lnTo>
                    <a:pt x="1231" y="649"/>
                  </a:lnTo>
                  <a:lnTo>
                    <a:pt x="1231" y="649"/>
                  </a:lnTo>
                  <a:lnTo>
                    <a:pt x="1238" y="646"/>
                  </a:lnTo>
                  <a:lnTo>
                    <a:pt x="1238" y="646"/>
                  </a:lnTo>
                  <a:lnTo>
                    <a:pt x="1235" y="646"/>
                  </a:lnTo>
                  <a:lnTo>
                    <a:pt x="1238" y="643"/>
                  </a:lnTo>
                  <a:lnTo>
                    <a:pt x="1238" y="640"/>
                  </a:lnTo>
                  <a:lnTo>
                    <a:pt x="1231" y="636"/>
                  </a:lnTo>
                  <a:lnTo>
                    <a:pt x="1231" y="636"/>
                  </a:lnTo>
                  <a:lnTo>
                    <a:pt x="1231" y="640"/>
                  </a:lnTo>
                  <a:lnTo>
                    <a:pt x="1231" y="643"/>
                  </a:lnTo>
                  <a:lnTo>
                    <a:pt x="1231" y="643"/>
                  </a:lnTo>
                  <a:lnTo>
                    <a:pt x="1228" y="643"/>
                  </a:lnTo>
                  <a:lnTo>
                    <a:pt x="1224" y="643"/>
                  </a:lnTo>
                  <a:lnTo>
                    <a:pt x="1224" y="640"/>
                  </a:lnTo>
                  <a:lnTo>
                    <a:pt x="1224" y="636"/>
                  </a:lnTo>
                  <a:lnTo>
                    <a:pt x="1224" y="633"/>
                  </a:lnTo>
                  <a:lnTo>
                    <a:pt x="1224" y="633"/>
                  </a:lnTo>
                  <a:lnTo>
                    <a:pt x="1221" y="633"/>
                  </a:lnTo>
                  <a:lnTo>
                    <a:pt x="1221" y="633"/>
                  </a:lnTo>
                  <a:lnTo>
                    <a:pt x="1224" y="630"/>
                  </a:lnTo>
                  <a:lnTo>
                    <a:pt x="1224" y="630"/>
                  </a:lnTo>
                  <a:lnTo>
                    <a:pt x="1224" y="630"/>
                  </a:lnTo>
                  <a:lnTo>
                    <a:pt x="1224" y="627"/>
                  </a:lnTo>
                  <a:lnTo>
                    <a:pt x="1228" y="627"/>
                  </a:lnTo>
                  <a:lnTo>
                    <a:pt x="1228" y="623"/>
                  </a:lnTo>
                  <a:lnTo>
                    <a:pt x="1224" y="623"/>
                  </a:lnTo>
                  <a:lnTo>
                    <a:pt x="1221" y="627"/>
                  </a:lnTo>
                  <a:lnTo>
                    <a:pt x="1221" y="630"/>
                  </a:lnTo>
                  <a:lnTo>
                    <a:pt x="1218" y="630"/>
                  </a:lnTo>
                  <a:lnTo>
                    <a:pt x="1214" y="630"/>
                  </a:lnTo>
                  <a:lnTo>
                    <a:pt x="1214" y="627"/>
                  </a:lnTo>
                  <a:lnTo>
                    <a:pt x="1214" y="627"/>
                  </a:lnTo>
                  <a:lnTo>
                    <a:pt x="1211" y="630"/>
                  </a:lnTo>
                  <a:lnTo>
                    <a:pt x="1207" y="630"/>
                  </a:lnTo>
                  <a:lnTo>
                    <a:pt x="1207" y="630"/>
                  </a:lnTo>
                  <a:lnTo>
                    <a:pt x="1204" y="630"/>
                  </a:lnTo>
                  <a:lnTo>
                    <a:pt x="1200" y="633"/>
                  </a:lnTo>
                  <a:lnTo>
                    <a:pt x="1200" y="633"/>
                  </a:lnTo>
                  <a:lnTo>
                    <a:pt x="1197" y="633"/>
                  </a:lnTo>
                  <a:lnTo>
                    <a:pt x="1197" y="630"/>
                  </a:lnTo>
                  <a:lnTo>
                    <a:pt x="1200" y="630"/>
                  </a:lnTo>
                  <a:lnTo>
                    <a:pt x="1200" y="627"/>
                  </a:lnTo>
                  <a:lnTo>
                    <a:pt x="1197" y="627"/>
                  </a:lnTo>
                  <a:lnTo>
                    <a:pt x="1200" y="623"/>
                  </a:lnTo>
                  <a:lnTo>
                    <a:pt x="1200" y="623"/>
                  </a:lnTo>
                  <a:lnTo>
                    <a:pt x="1204" y="623"/>
                  </a:lnTo>
                  <a:lnTo>
                    <a:pt x="1207" y="623"/>
                  </a:lnTo>
                  <a:lnTo>
                    <a:pt x="1207" y="623"/>
                  </a:lnTo>
                  <a:lnTo>
                    <a:pt x="1211" y="623"/>
                  </a:lnTo>
                  <a:lnTo>
                    <a:pt x="1214" y="620"/>
                  </a:lnTo>
                  <a:lnTo>
                    <a:pt x="1214" y="620"/>
                  </a:lnTo>
                  <a:lnTo>
                    <a:pt x="1214" y="617"/>
                  </a:lnTo>
                  <a:lnTo>
                    <a:pt x="1211" y="614"/>
                  </a:lnTo>
                  <a:lnTo>
                    <a:pt x="1207" y="614"/>
                  </a:lnTo>
                  <a:lnTo>
                    <a:pt x="1207" y="611"/>
                  </a:lnTo>
                  <a:lnTo>
                    <a:pt x="1207" y="611"/>
                  </a:lnTo>
                  <a:lnTo>
                    <a:pt x="1204" y="607"/>
                  </a:lnTo>
                  <a:lnTo>
                    <a:pt x="1204" y="607"/>
                  </a:lnTo>
                  <a:lnTo>
                    <a:pt x="1200" y="604"/>
                  </a:lnTo>
                  <a:lnTo>
                    <a:pt x="1200" y="604"/>
                  </a:lnTo>
                  <a:lnTo>
                    <a:pt x="1197" y="604"/>
                  </a:lnTo>
                  <a:lnTo>
                    <a:pt x="1197" y="601"/>
                  </a:lnTo>
                  <a:lnTo>
                    <a:pt x="1200" y="601"/>
                  </a:lnTo>
                  <a:lnTo>
                    <a:pt x="1200" y="601"/>
                  </a:lnTo>
                  <a:lnTo>
                    <a:pt x="1204" y="601"/>
                  </a:lnTo>
                  <a:lnTo>
                    <a:pt x="1204" y="601"/>
                  </a:lnTo>
                  <a:lnTo>
                    <a:pt x="1207" y="598"/>
                  </a:lnTo>
                  <a:lnTo>
                    <a:pt x="1204" y="598"/>
                  </a:lnTo>
                  <a:lnTo>
                    <a:pt x="1200" y="594"/>
                  </a:lnTo>
                  <a:lnTo>
                    <a:pt x="1197" y="594"/>
                  </a:lnTo>
                  <a:lnTo>
                    <a:pt x="1197" y="594"/>
                  </a:lnTo>
                  <a:lnTo>
                    <a:pt x="1193" y="594"/>
                  </a:lnTo>
                  <a:lnTo>
                    <a:pt x="1193" y="598"/>
                  </a:lnTo>
                  <a:lnTo>
                    <a:pt x="1193" y="598"/>
                  </a:lnTo>
                  <a:lnTo>
                    <a:pt x="1193" y="594"/>
                  </a:lnTo>
                  <a:lnTo>
                    <a:pt x="1193" y="591"/>
                  </a:lnTo>
                  <a:lnTo>
                    <a:pt x="1197" y="585"/>
                  </a:lnTo>
                  <a:lnTo>
                    <a:pt x="1197" y="585"/>
                  </a:lnTo>
                  <a:lnTo>
                    <a:pt x="1200" y="578"/>
                  </a:lnTo>
                  <a:lnTo>
                    <a:pt x="1200" y="575"/>
                  </a:lnTo>
                  <a:lnTo>
                    <a:pt x="1200" y="575"/>
                  </a:lnTo>
                  <a:lnTo>
                    <a:pt x="1200" y="572"/>
                  </a:lnTo>
                  <a:lnTo>
                    <a:pt x="1197" y="575"/>
                  </a:lnTo>
                  <a:lnTo>
                    <a:pt x="1193" y="572"/>
                  </a:lnTo>
                  <a:lnTo>
                    <a:pt x="1193" y="575"/>
                  </a:lnTo>
                  <a:lnTo>
                    <a:pt x="1193" y="575"/>
                  </a:lnTo>
                  <a:lnTo>
                    <a:pt x="1190" y="575"/>
                  </a:lnTo>
                  <a:lnTo>
                    <a:pt x="1187" y="572"/>
                  </a:lnTo>
                  <a:lnTo>
                    <a:pt x="1187" y="569"/>
                  </a:lnTo>
                  <a:lnTo>
                    <a:pt x="1183" y="565"/>
                  </a:lnTo>
                  <a:lnTo>
                    <a:pt x="1183" y="565"/>
                  </a:lnTo>
                  <a:lnTo>
                    <a:pt x="1183" y="562"/>
                  </a:lnTo>
                  <a:lnTo>
                    <a:pt x="1187" y="562"/>
                  </a:lnTo>
                  <a:lnTo>
                    <a:pt x="1187" y="559"/>
                  </a:lnTo>
                  <a:lnTo>
                    <a:pt x="1187" y="559"/>
                  </a:lnTo>
                  <a:lnTo>
                    <a:pt x="1187" y="556"/>
                  </a:lnTo>
                  <a:lnTo>
                    <a:pt x="1183" y="556"/>
                  </a:lnTo>
                  <a:lnTo>
                    <a:pt x="1183" y="556"/>
                  </a:lnTo>
                  <a:lnTo>
                    <a:pt x="1183" y="562"/>
                  </a:lnTo>
                  <a:lnTo>
                    <a:pt x="1180" y="565"/>
                  </a:lnTo>
                  <a:lnTo>
                    <a:pt x="1180" y="562"/>
                  </a:lnTo>
                  <a:lnTo>
                    <a:pt x="1176" y="559"/>
                  </a:lnTo>
                  <a:lnTo>
                    <a:pt x="1176" y="562"/>
                  </a:lnTo>
                  <a:lnTo>
                    <a:pt x="1176" y="562"/>
                  </a:lnTo>
                  <a:lnTo>
                    <a:pt x="1173" y="562"/>
                  </a:lnTo>
                  <a:lnTo>
                    <a:pt x="1173" y="565"/>
                  </a:lnTo>
                  <a:lnTo>
                    <a:pt x="1176" y="572"/>
                  </a:lnTo>
                  <a:lnTo>
                    <a:pt x="1180" y="569"/>
                  </a:lnTo>
                  <a:lnTo>
                    <a:pt x="1180" y="575"/>
                  </a:lnTo>
                  <a:lnTo>
                    <a:pt x="1183" y="578"/>
                  </a:lnTo>
                  <a:lnTo>
                    <a:pt x="1183" y="581"/>
                  </a:lnTo>
                  <a:lnTo>
                    <a:pt x="1183" y="585"/>
                  </a:lnTo>
                  <a:lnTo>
                    <a:pt x="1180" y="588"/>
                  </a:lnTo>
                  <a:lnTo>
                    <a:pt x="1176" y="588"/>
                  </a:lnTo>
                  <a:lnTo>
                    <a:pt x="1169" y="588"/>
                  </a:lnTo>
                  <a:lnTo>
                    <a:pt x="1166" y="588"/>
                  </a:lnTo>
                  <a:lnTo>
                    <a:pt x="1162" y="588"/>
                  </a:lnTo>
                  <a:lnTo>
                    <a:pt x="1159" y="585"/>
                  </a:lnTo>
                  <a:lnTo>
                    <a:pt x="1159" y="585"/>
                  </a:lnTo>
                  <a:lnTo>
                    <a:pt x="1159" y="581"/>
                  </a:lnTo>
                  <a:lnTo>
                    <a:pt x="1156" y="581"/>
                  </a:lnTo>
                  <a:lnTo>
                    <a:pt x="1149" y="578"/>
                  </a:lnTo>
                  <a:lnTo>
                    <a:pt x="1142" y="578"/>
                  </a:lnTo>
                  <a:lnTo>
                    <a:pt x="1145" y="585"/>
                  </a:lnTo>
                  <a:lnTo>
                    <a:pt x="1149" y="588"/>
                  </a:lnTo>
                  <a:lnTo>
                    <a:pt x="1145" y="588"/>
                  </a:lnTo>
                  <a:lnTo>
                    <a:pt x="1142" y="588"/>
                  </a:lnTo>
                  <a:lnTo>
                    <a:pt x="1142" y="585"/>
                  </a:lnTo>
                  <a:lnTo>
                    <a:pt x="1138" y="581"/>
                  </a:lnTo>
                  <a:lnTo>
                    <a:pt x="1138" y="581"/>
                  </a:lnTo>
                  <a:lnTo>
                    <a:pt x="1135" y="578"/>
                  </a:lnTo>
                  <a:lnTo>
                    <a:pt x="1132" y="575"/>
                  </a:lnTo>
                  <a:lnTo>
                    <a:pt x="1128" y="572"/>
                  </a:lnTo>
                  <a:lnTo>
                    <a:pt x="1128" y="572"/>
                  </a:lnTo>
                  <a:lnTo>
                    <a:pt x="1125" y="572"/>
                  </a:lnTo>
                  <a:lnTo>
                    <a:pt x="1125" y="569"/>
                  </a:lnTo>
                  <a:lnTo>
                    <a:pt x="1121" y="565"/>
                  </a:lnTo>
                  <a:lnTo>
                    <a:pt x="1121" y="565"/>
                  </a:lnTo>
                  <a:lnTo>
                    <a:pt x="1118" y="565"/>
                  </a:lnTo>
                  <a:lnTo>
                    <a:pt x="1118" y="565"/>
                  </a:lnTo>
                  <a:lnTo>
                    <a:pt x="1125" y="572"/>
                  </a:lnTo>
                  <a:lnTo>
                    <a:pt x="1125" y="575"/>
                  </a:lnTo>
                  <a:lnTo>
                    <a:pt x="1128" y="578"/>
                  </a:lnTo>
                  <a:lnTo>
                    <a:pt x="1132" y="578"/>
                  </a:lnTo>
                  <a:lnTo>
                    <a:pt x="1132" y="581"/>
                  </a:lnTo>
                  <a:lnTo>
                    <a:pt x="1132" y="581"/>
                  </a:lnTo>
                  <a:lnTo>
                    <a:pt x="1128" y="581"/>
                  </a:lnTo>
                  <a:lnTo>
                    <a:pt x="1128" y="585"/>
                  </a:lnTo>
                  <a:lnTo>
                    <a:pt x="1121" y="581"/>
                  </a:lnTo>
                  <a:lnTo>
                    <a:pt x="1121" y="581"/>
                  </a:lnTo>
                  <a:lnTo>
                    <a:pt x="1118" y="578"/>
                  </a:lnTo>
                  <a:lnTo>
                    <a:pt x="1114" y="578"/>
                  </a:lnTo>
                  <a:lnTo>
                    <a:pt x="1114" y="575"/>
                  </a:lnTo>
                  <a:lnTo>
                    <a:pt x="1107" y="575"/>
                  </a:lnTo>
                  <a:lnTo>
                    <a:pt x="1104" y="578"/>
                  </a:lnTo>
                  <a:lnTo>
                    <a:pt x="1101" y="575"/>
                  </a:lnTo>
                  <a:lnTo>
                    <a:pt x="1097" y="575"/>
                  </a:lnTo>
                  <a:lnTo>
                    <a:pt x="1094" y="575"/>
                  </a:lnTo>
                  <a:lnTo>
                    <a:pt x="1090" y="572"/>
                  </a:lnTo>
                  <a:lnTo>
                    <a:pt x="1087" y="569"/>
                  </a:lnTo>
                  <a:lnTo>
                    <a:pt x="1087" y="569"/>
                  </a:lnTo>
                  <a:lnTo>
                    <a:pt x="1094" y="562"/>
                  </a:lnTo>
                  <a:lnTo>
                    <a:pt x="1094" y="562"/>
                  </a:lnTo>
                  <a:lnTo>
                    <a:pt x="1094" y="562"/>
                  </a:lnTo>
                  <a:lnTo>
                    <a:pt x="1094" y="562"/>
                  </a:lnTo>
                  <a:lnTo>
                    <a:pt x="1090" y="565"/>
                  </a:lnTo>
                  <a:lnTo>
                    <a:pt x="1087" y="565"/>
                  </a:lnTo>
                  <a:lnTo>
                    <a:pt x="1083" y="569"/>
                  </a:lnTo>
                  <a:lnTo>
                    <a:pt x="1080" y="565"/>
                  </a:lnTo>
                  <a:lnTo>
                    <a:pt x="1076" y="565"/>
                  </a:lnTo>
                  <a:lnTo>
                    <a:pt x="1076" y="565"/>
                  </a:lnTo>
                  <a:lnTo>
                    <a:pt x="1080" y="569"/>
                  </a:lnTo>
                  <a:lnTo>
                    <a:pt x="1076" y="569"/>
                  </a:lnTo>
                  <a:lnTo>
                    <a:pt x="1073" y="569"/>
                  </a:lnTo>
                  <a:lnTo>
                    <a:pt x="1066" y="565"/>
                  </a:lnTo>
                  <a:lnTo>
                    <a:pt x="1066" y="559"/>
                  </a:lnTo>
                  <a:lnTo>
                    <a:pt x="1063" y="559"/>
                  </a:lnTo>
                  <a:lnTo>
                    <a:pt x="1063" y="556"/>
                  </a:lnTo>
                  <a:lnTo>
                    <a:pt x="1070" y="552"/>
                  </a:lnTo>
                  <a:lnTo>
                    <a:pt x="1073" y="549"/>
                  </a:lnTo>
                  <a:lnTo>
                    <a:pt x="1070" y="549"/>
                  </a:lnTo>
                  <a:lnTo>
                    <a:pt x="1070" y="552"/>
                  </a:lnTo>
                  <a:lnTo>
                    <a:pt x="1063" y="552"/>
                  </a:lnTo>
                  <a:lnTo>
                    <a:pt x="1063" y="556"/>
                  </a:lnTo>
                  <a:lnTo>
                    <a:pt x="1059" y="556"/>
                  </a:lnTo>
                  <a:lnTo>
                    <a:pt x="1059" y="552"/>
                  </a:lnTo>
                  <a:lnTo>
                    <a:pt x="1059" y="552"/>
                  </a:lnTo>
                  <a:lnTo>
                    <a:pt x="1059" y="549"/>
                  </a:lnTo>
                  <a:lnTo>
                    <a:pt x="1056" y="549"/>
                  </a:lnTo>
                  <a:lnTo>
                    <a:pt x="1056" y="552"/>
                  </a:lnTo>
                  <a:lnTo>
                    <a:pt x="1056" y="556"/>
                  </a:lnTo>
                  <a:lnTo>
                    <a:pt x="1056" y="556"/>
                  </a:lnTo>
                  <a:lnTo>
                    <a:pt x="1052" y="556"/>
                  </a:lnTo>
                  <a:lnTo>
                    <a:pt x="1049" y="552"/>
                  </a:lnTo>
                  <a:lnTo>
                    <a:pt x="1046" y="552"/>
                  </a:lnTo>
                  <a:lnTo>
                    <a:pt x="1046" y="552"/>
                  </a:lnTo>
                  <a:lnTo>
                    <a:pt x="1046" y="556"/>
                  </a:lnTo>
                  <a:lnTo>
                    <a:pt x="1042" y="556"/>
                  </a:lnTo>
                  <a:lnTo>
                    <a:pt x="1039" y="552"/>
                  </a:lnTo>
                  <a:lnTo>
                    <a:pt x="1039" y="549"/>
                  </a:lnTo>
                  <a:lnTo>
                    <a:pt x="1039" y="549"/>
                  </a:lnTo>
                  <a:lnTo>
                    <a:pt x="1042" y="552"/>
                  </a:lnTo>
                  <a:lnTo>
                    <a:pt x="1042" y="549"/>
                  </a:lnTo>
                  <a:lnTo>
                    <a:pt x="1039" y="546"/>
                  </a:lnTo>
                  <a:lnTo>
                    <a:pt x="1032" y="546"/>
                  </a:lnTo>
                  <a:lnTo>
                    <a:pt x="1032" y="543"/>
                  </a:lnTo>
                  <a:lnTo>
                    <a:pt x="1032" y="539"/>
                  </a:lnTo>
                  <a:lnTo>
                    <a:pt x="1032" y="533"/>
                  </a:lnTo>
                  <a:lnTo>
                    <a:pt x="1032" y="530"/>
                  </a:lnTo>
                  <a:lnTo>
                    <a:pt x="1032" y="527"/>
                  </a:lnTo>
                  <a:lnTo>
                    <a:pt x="1035" y="527"/>
                  </a:lnTo>
                  <a:lnTo>
                    <a:pt x="1035" y="527"/>
                  </a:lnTo>
                  <a:lnTo>
                    <a:pt x="1032" y="520"/>
                  </a:lnTo>
                  <a:lnTo>
                    <a:pt x="1035" y="520"/>
                  </a:lnTo>
                  <a:lnTo>
                    <a:pt x="1039" y="520"/>
                  </a:lnTo>
                  <a:lnTo>
                    <a:pt x="1039" y="523"/>
                  </a:lnTo>
                  <a:lnTo>
                    <a:pt x="1046" y="523"/>
                  </a:lnTo>
                  <a:lnTo>
                    <a:pt x="1049" y="527"/>
                  </a:lnTo>
                  <a:lnTo>
                    <a:pt x="1049" y="530"/>
                  </a:lnTo>
                  <a:lnTo>
                    <a:pt x="1056" y="530"/>
                  </a:lnTo>
                  <a:lnTo>
                    <a:pt x="1063" y="530"/>
                  </a:lnTo>
                  <a:lnTo>
                    <a:pt x="1063" y="530"/>
                  </a:lnTo>
                  <a:lnTo>
                    <a:pt x="1070" y="530"/>
                  </a:lnTo>
                  <a:lnTo>
                    <a:pt x="1066" y="527"/>
                  </a:lnTo>
                  <a:lnTo>
                    <a:pt x="1066" y="527"/>
                  </a:lnTo>
                  <a:lnTo>
                    <a:pt x="1063" y="523"/>
                  </a:lnTo>
                  <a:lnTo>
                    <a:pt x="1063" y="520"/>
                  </a:lnTo>
                  <a:lnTo>
                    <a:pt x="1056" y="520"/>
                  </a:lnTo>
                  <a:lnTo>
                    <a:pt x="1052" y="517"/>
                  </a:lnTo>
                  <a:lnTo>
                    <a:pt x="1049" y="517"/>
                  </a:lnTo>
                  <a:lnTo>
                    <a:pt x="1046" y="514"/>
                  </a:lnTo>
                  <a:lnTo>
                    <a:pt x="1042" y="514"/>
                  </a:lnTo>
                  <a:lnTo>
                    <a:pt x="1035" y="510"/>
                  </a:lnTo>
                  <a:lnTo>
                    <a:pt x="1032" y="507"/>
                  </a:lnTo>
                  <a:lnTo>
                    <a:pt x="1035" y="504"/>
                  </a:lnTo>
                  <a:lnTo>
                    <a:pt x="1035" y="501"/>
                  </a:lnTo>
                  <a:lnTo>
                    <a:pt x="1035" y="497"/>
                  </a:lnTo>
                  <a:lnTo>
                    <a:pt x="1039" y="494"/>
                  </a:lnTo>
                  <a:lnTo>
                    <a:pt x="1042" y="494"/>
                  </a:lnTo>
                  <a:lnTo>
                    <a:pt x="1042" y="491"/>
                  </a:lnTo>
                  <a:lnTo>
                    <a:pt x="1042" y="485"/>
                  </a:lnTo>
                  <a:lnTo>
                    <a:pt x="1046" y="485"/>
                  </a:lnTo>
                  <a:lnTo>
                    <a:pt x="1046" y="481"/>
                  </a:lnTo>
                  <a:lnTo>
                    <a:pt x="1049" y="481"/>
                  </a:lnTo>
                  <a:lnTo>
                    <a:pt x="1052" y="478"/>
                  </a:lnTo>
                  <a:lnTo>
                    <a:pt x="1056" y="478"/>
                  </a:lnTo>
                  <a:lnTo>
                    <a:pt x="1056" y="475"/>
                  </a:lnTo>
                  <a:lnTo>
                    <a:pt x="1056" y="475"/>
                  </a:lnTo>
                  <a:lnTo>
                    <a:pt x="1052" y="475"/>
                  </a:lnTo>
                  <a:lnTo>
                    <a:pt x="1052" y="472"/>
                  </a:lnTo>
                  <a:lnTo>
                    <a:pt x="1056" y="468"/>
                  </a:lnTo>
                  <a:lnTo>
                    <a:pt x="1059" y="462"/>
                  </a:lnTo>
                  <a:lnTo>
                    <a:pt x="1063" y="462"/>
                  </a:lnTo>
                  <a:lnTo>
                    <a:pt x="1066" y="459"/>
                  </a:lnTo>
                  <a:lnTo>
                    <a:pt x="1066" y="459"/>
                  </a:lnTo>
                  <a:lnTo>
                    <a:pt x="1070" y="459"/>
                  </a:lnTo>
                  <a:lnTo>
                    <a:pt x="1070" y="455"/>
                  </a:lnTo>
                  <a:lnTo>
                    <a:pt x="1073" y="455"/>
                  </a:lnTo>
                  <a:lnTo>
                    <a:pt x="1073" y="455"/>
                  </a:lnTo>
                  <a:lnTo>
                    <a:pt x="1076" y="455"/>
                  </a:lnTo>
                  <a:lnTo>
                    <a:pt x="1073" y="452"/>
                  </a:lnTo>
                  <a:lnTo>
                    <a:pt x="1080" y="446"/>
                  </a:lnTo>
                  <a:lnTo>
                    <a:pt x="1083" y="446"/>
                  </a:lnTo>
                  <a:lnTo>
                    <a:pt x="1080" y="443"/>
                  </a:lnTo>
                  <a:lnTo>
                    <a:pt x="1083" y="439"/>
                  </a:lnTo>
                  <a:lnTo>
                    <a:pt x="1090" y="439"/>
                  </a:lnTo>
                  <a:lnTo>
                    <a:pt x="1090" y="436"/>
                  </a:lnTo>
                  <a:lnTo>
                    <a:pt x="1094" y="436"/>
                  </a:lnTo>
                  <a:lnTo>
                    <a:pt x="1097" y="439"/>
                  </a:lnTo>
                  <a:lnTo>
                    <a:pt x="1094" y="436"/>
                  </a:lnTo>
                  <a:lnTo>
                    <a:pt x="1097" y="433"/>
                  </a:lnTo>
                  <a:lnTo>
                    <a:pt x="1104" y="430"/>
                  </a:lnTo>
                  <a:lnTo>
                    <a:pt x="1111" y="423"/>
                  </a:lnTo>
                  <a:lnTo>
                    <a:pt x="1121" y="423"/>
                  </a:lnTo>
                  <a:lnTo>
                    <a:pt x="1128" y="420"/>
                  </a:lnTo>
                  <a:lnTo>
                    <a:pt x="1132" y="420"/>
                  </a:lnTo>
                  <a:lnTo>
                    <a:pt x="1135" y="420"/>
                  </a:lnTo>
                  <a:lnTo>
                    <a:pt x="1138" y="420"/>
                  </a:lnTo>
                  <a:lnTo>
                    <a:pt x="1138" y="420"/>
                  </a:lnTo>
                  <a:lnTo>
                    <a:pt x="1145" y="420"/>
                  </a:lnTo>
                  <a:lnTo>
                    <a:pt x="1149" y="423"/>
                  </a:lnTo>
                  <a:lnTo>
                    <a:pt x="1159" y="426"/>
                  </a:lnTo>
                  <a:lnTo>
                    <a:pt x="1159" y="430"/>
                  </a:lnTo>
                  <a:lnTo>
                    <a:pt x="1159" y="433"/>
                  </a:lnTo>
                  <a:lnTo>
                    <a:pt x="1152" y="433"/>
                  </a:lnTo>
                  <a:lnTo>
                    <a:pt x="1145" y="436"/>
                  </a:lnTo>
                  <a:lnTo>
                    <a:pt x="1142" y="436"/>
                  </a:lnTo>
                  <a:lnTo>
                    <a:pt x="1142" y="439"/>
                  </a:lnTo>
                  <a:lnTo>
                    <a:pt x="1138" y="443"/>
                  </a:lnTo>
                  <a:lnTo>
                    <a:pt x="1135" y="443"/>
                  </a:lnTo>
                  <a:lnTo>
                    <a:pt x="1128" y="449"/>
                  </a:lnTo>
                  <a:lnTo>
                    <a:pt x="1121" y="455"/>
                  </a:lnTo>
                  <a:lnTo>
                    <a:pt x="1114" y="459"/>
                  </a:lnTo>
                  <a:lnTo>
                    <a:pt x="1111" y="459"/>
                  </a:lnTo>
                  <a:lnTo>
                    <a:pt x="1107" y="465"/>
                  </a:lnTo>
                  <a:lnTo>
                    <a:pt x="1107" y="468"/>
                  </a:lnTo>
                  <a:lnTo>
                    <a:pt x="1107" y="472"/>
                  </a:lnTo>
                  <a:lnTo>
                    <a:pt x="1111" y="475"/>
                  </a:lnTo>
                  <a:lnTo>
                    <a:pt x="1111" y="478"/>
                  </a:lnTo>
                  <a:lnTo>
                    <a:pt x="1107" y="478"/>
                  </a:lnTo>
                  <a:lnTo>
                    <a:pt x="1104" y="481"/>
                  </a:lnTo>
                  <a:lnTo>
                    <a:pt x="1101" y="485"/>
                  </a:lnTo>
                  <a:lnTo>
                    <a:pt x="1101" y="488"/>
                  </a:lnTo>
                  <a:lnTo>
                    <a:pt x="1101" y="494"/>
                  </a:lnTo>
                  <a:lnTo>
                    <a:pt x="1097" y="494"/>
                  </a:lnTo>
                  <a:lnTo>
                    <a:pt x="1097" y="497"/>
                  </a:lnTo>
                  <a:lnTo>
                    <a:pt x="1097" y="501"/>
                  </a:lnTo>
                  <a:lnTo>
                    <a:pt x="1101" y="504"/>
                  </a:lnTo>
                  <a:lnTo>
                    <a:pt x="1101" y="507"/>
                  </a:lnTo>
                  <a:lnTo>
                    <a:pt x="1101" y="510"/>
                  </a:lnTo>
                  <a:lnTo>
                    <a:pt x="1104" y="514"/>
                  </a:lnTo>
                  <a:lnTo>
                    <a:pt x="1104" y="517"/>
                  </a:lnTo>
                  <a:lnTo>
                    <a:pt x="1107" y="517"/>
                  </a:lnTo>
                  <a:lnTo>
                    <a:pt x="1107" y="520"/>
                  </a:lnTo>
                  <a:lnTo>
                    <a:pt x="1107" y="523"/>
                  </a:lnTo>
                  <a:lnTo>
                    <a:pt x="1104" y="520"/>
                  </a:lnTo>
                  <a:lnTo>
                    <a:pt x="1104" y="520"/>
                  </a:lnTo>
                  <a:lnTo>
                    <a:pt x="1104" y="523"/>
                  </a:lnTo>
                  <a:lnTo>
                    <a:pt x="1101" y="523"/>
                  </a:lnTo>
                  <a:lnTo>
                    <a:pt x="1097" y="523"/>
                  </a:lnTo>
                  <a:lnTo>
                    <a:pt x="1097" y="523"/>
                  </a:lnTo>
                  <a:lnTo>
                    <a:pt x="1097" y="527"/>
                  </a:lnTo>
                  <a:lnTo>
                    <a:pt x="1101" y="527"/>
                  </a:lnTo>
                  <a:lnTo>
                    <a:pt x="1104" y="527"/>
                  </a:lnTo>
                  <a:lnTo>
                    <a:pt x="1104" y="527"/>
                  </a:lnTo>
                  <a:lnTo>
                    <a:pt x="1104" y="530"/>
                  </a:lnTo>
                  <a:lnTo>
                    <a:pt x="1104" y="530"/>
                  </a:lnTo>
                  <a:lnTo>
                    <a:pt x="1101" y="536"/>
                  </a:lnTo>
                  <a:lnTo>
                    <a:pt x="1101" y="539"/>
                  </a:lnTo>
                  <a:lnTo>
                    <a:pt x="1101" y="539"/>
                  </a:lnTo>
                  <a:lnTo>
                    <a:pt x="1104" y="536"/>
                  </a:lnTo>
                  <a:lnTo>
                    <a:pt x="1104" y="533"/>
                  </a:lnTo>
                  <a:lnTo>
                    <a:pt x="1107" y="527"/>
                  </a:lnTo>
                  <a:lnTo>
                    <a:pt x="1111" y="527"/>
                  </a:lnTo>
                  <a:lnTo>
                    <a:pt x="1111" y="520"/>
                  </a:lnTo>
                  <a:lnTo>
                    <a:pt x="1114" y="520"/>
                  </a:lnTo>
                  <a:lnTo>
                    <a:pt x="1118" y="517"/>
                  </a:lnTo>
                  <a:lnTo>
                    <a:pt x="1118" y="514"/>
                  </a:lnTo>
                  <a:lnTo>
                    <a:pt x="1114" y="510"/>
                  </a:lnTo>
                  <a:lnTo>
                    <a:pt x="1118" y="510"/>
                  </a:lnTo>
                  <a:lnTo>
                    <a:pt x="1114" y="507"/>
                  </a:lnTo>
                  <a:lnTo>
                    <a:pt x="1111" y="507"/>
                  </a:lnTo>
                  <a:lnTo>
                    <a:pt x="1111" y="504"/>
                  </a:lnTo>
                  <a:lnTo>
                    <a:pt x="1111" y="504"/>
                  </a:lnTo>
                  <a:lnTo>
                    <a:pt x="1111" y="497"/>
                  </a:lnTo>
                  <a:lnTo>
                    <a:pt x="1107" y="494"/>
                  </a:lnTo>
                  <a:lnTo>
                    <a:pt x="1107" y="491"/>
                  </a:lnTo>
                  <a:lnTo>
                    <a:pt x="1111" y="491"/>
                  </a:lnTo>
                  <a:lnTo>
                    <a:pt x="1111" y="494"/>
                  </a:lnTo>
                  <a:lnTo>
                    <a:pt x="1111" y="491"/>
                  </a:lnTo>
                  <a:lnTo>
                    <a:pt x="1118" y="491"/>
                  </a:lnTo>
                  <a:lnTo>
                    <a:pt x="1118" y="488"/>
                  </a:lnTo>
                  <a:lnTo>
                    <a:pt x="1118" y="488"/>
                  </a:lnTo>
                  <a:lnTo>
                    <a:pt x="1121" y="485"/>
                  </a:lnTo>
                  <a:lnTo>
                    <a:pt x="1121" y="485"/>
                  </a:lnTo>
                  <a:lnTo>
                    <a:pt x="1125" y="488"/>
                  </a:lnTo>
                  <a:lnTo>
                    <a:pt x="1125" y="491"/>
                  </a:lnTo>
                  <a:lnTo>
                    <a:pt x="1125" y="491"/>
                  </a:lnTo>
                  <a:lnTo>
                    <a:pt x="1128" y="491"/>
                  </a:lnTo>
                  <a:lnTo>
                    <a:pt x="1128" y="488"/>
                  </a:lnTo>
                  <a:lnTo>
                    <a:pt x="1132" y="485"/>
                  </a:lnTo>
                  <a:lnTo>
                    <a:pt x="1135" y="485"/>
                  </a:lnTo>
                  <a:lnTo>
                    <a:pt x="1132" y="481"/>
                  </a:lnTo>
                  <a:lnTo>
                    <a:pt x="1135" y="481"/>
                  </a:lnTo>
                  <a:lnTo>
                    <a:pt x="1138" y="481"/>
                  </a:lnTo>
                  <a:lnTo>
                    <a:pt x="1135" y="478"/>
                  </a:lnTo>
                  <a:lnTo>
                    <a:pt x="1135" y="478"/>
                  </a:lnTo>
                  <a:lnTo>
                    <a:pt x="1128" y="481"/>
                  </a:lnTo>
                  <a:lnTo>
                    <a:pt x="1125" y="481"/>
                  </a:lnTo>
                  <a:lnTo>
                    <a:pt x="1125" y="478"/>
                  </a:lnTo>
                  <a:lnTo>
                    <a:pt x="1121" y="478"/>
                  </a:lnTo>
                  <a:lnTo>
                    <a:pt x="1121" y="475"/>
                  </a:lnTo>
                  <a:lnTo>
                    <a:pt x="1125" y="475"/>
                  </a:lnTo>
                  <a:lnTo>
                    <a:pt x="1125" y="472"/>
                  </a:lnTo>
                  <a:lnTo>
                    <a:pt x="1125" y="465"/>
                  </a:lnTo>
                  <a:lnTo>
                    <a:pt x="1128" y="462"/>
                  </a:lnTo>
                  <a:lnTo>
                    <a:pt x="1128" y="459"/>
                  </a:lnTo>
                  <a:lnTo>
                    <a:pt x="1132" y="455"/>
                  </a:lnTo>
                  <a:lnTo>
                    <a:pt x="1135" y="459"/>
                  </a:lnTo>
                  <a:lnTo>
                    <a:pt x="1138" y="462"/>
                  </a:lnTo>
                  <a:lnTo>
                    <a:pt x="1138" y="462"/>
                  </a:lnTo>
                  <a:lnTo>
                    <a:pt x="1145" y="465"/>
                  </a:lnTo>
                  <a:lnTo>
                    <a:pt x="1149" y="468"/>
                  </a:lnTo>
                  <a:lnTo>
                    <a:pt x="1152" y="468"/>
                  </a:lnTo>
                  <a:lnTo>
                    <a:pt x="1149" y="465"/>
                  </a:lnTo>
                  <a:lnTo>
                    <a:pt x="1149" y="465"/>
                  </a:lnTo>
                  <a:lnTo>
                    <a:pt x="1142" y="462"/>
                  </a:lnTo>
                  <a:lnTo>
                    <a:pt x="1142" y="459"/>
                  </a:lnTo>
                  <a:lnTo>
                    <a:pt x="1138" y="455"/>
                  </a:lnTo>
                  <a:lnTo>
                    <a:pt x="1135" y="455"/>
                  </a:lnTo>
                  <a:lnTo>
                    <a:pt x="1135" y="455"/>
                  </a:lnTo>
                  <a:lnTo>
                    <a:pt x="1135" y="452"/>
                  </a:lnTo>
                  <a:lnTo>
                    <a:pt x="1142" y="452"/>
                  </a:lnTo>
                  <a:lnTo>
                    <a:pt x="1142" y="452"/>
                  </a:lnTo>
                  <a:lnTo>
                    <a:pt x="1145" y="452"/>
                  </a:lnTo>
                  <a:lnTo>
                    <a:pt x="1152" y="459"/>
                  </a:lnTo>
                  <a:lnTo>
                    <a:pt x="1156" y="459"/>
                  </a:lnTo>
                  <a:lnTo>
                    <a:pt x="1159" y="459"/>
                  </a:lnTo>
                  <a:lnTo>
                    <a:pt x="1152" y="459"/>
                  </a:lnTo>
                  <a:lnTo>
                    <a:pt x="1149" y="452"/>
                  </a:lnTo>
                  <a:lnTo>
                    <a:pt x="1145" y="449"/>
                  </a:lnTo>
                  <a:lnTo>
                    <a:pt x="1145" y="449"/>
                  </a:lnTo>
                  <a:lnTo>
                    <a:pt x="1145" y="446"/>
                  </a:lnTo>
                  <a:lnTo>
                    <a:pt x="1152" y="443"/>
                  </a:lnTo>
                  <a:lnTo>
                    <a:pt x="1156" y="446"/>
                  </a:lnTo>
                  <a:lnTo>
                    <a:pt x="1152" y="446"/>
                  </a:lnTo>
                  <a:lnTo>
                    <a:pt x="1156" y="449"/>
                  </a:lnTo>
                  <a:lnTo>
                    <a:pt x="1156" y="449"/>
                  </a:lnTo>
                  <a:lnTo>
                    <a:pt x="1156" y="446"/>
                  </a:lnTo>
                  <a:lnTo>
                    <a:pt x="1159" y="443"/>
                  </a:lnTo>
                  <a:lnTo>
                    <a:pt x="1162" y="443"/>
                  </a:lnTo>
                  <a:lnTo>
                    <a:pt x="1162" y="446"/>
                  </a:lnTo>
                  <a:lnTo>
                    <a:pt x="1166" y="449"/>
                  </a:lnTo>
                  <a:lnTo>
                    <a:pt x="1166" y="452"/>
                  </a:lnTo>
                  <a:lnTo>
                    <a:pt x="1169" y="449"/>
                  </a:lnTo>
                  <a:lnTo>
                    <a:pt x="1169" y="449"/>
                  </a:lnTo>
                  <a:lnTo>
                    <a:pt x="1166" y="446"/>
                  </a:lnTo>
                  <a:lnTo>
                    <a:pt x="1166" y="443"/>
                  </a:lnTo>
                  <a:lnTo>
                    <a:pt x="1176" y="439"/>
                  </a:lnTo>
                  <a:lnTo>
                    <a:pt x="1183" y="439"/>
                  </a:lnTo>
                  <a:lnTo>
                    <a:pt x="1187" y="439"/>
                  </a:lnTo>
                  <a:lnTo>
                    <a:pt x="1190" y="436"/>
                  </a:lnTo>
                  <a:lnTo>
                    <a:pt x="1197" y="436"/>
                  </a:lnTo>
                  <a:lnTo>
                    <a:pt x="1204" y="436"/>
                  </a:lnTo>
                  <a:lnTo>
                    <a:pt x="1207" y="439"/>
                  </a:lnTo>
                  <a:lnTo>
                    <a:pt x="1207" y="439"/>
                  </a:lnTo>
                  <a:lnTo>
                    <a:pt x="1207" y="443"/>
                  </a:lnTo>
                  <a:lnTo>
                    <a:pt x="1207" y="449"/>
                  </a:lnTo>
                  <a:lnTo>
                    <a:pt x="1207" y="452"/>
                  </a:lnTo>
                  <a:lnTo>
                    <a:pt x="1204" y="452"/>
                  </a:lnTo>
                  <a:lnTo>
                    <a:pt x="1200" y="459"/>
                  </a:lnTo>
                  <a:lnTo>
                    <a:pt x="1200" y="459"/>
                  </a:lnTo>
                  <a:lnTo>
                    <a:pt x="1204" y="462"/>
                  </a:lnTo>
                  <a:lnTo>
                    <a:pt x="1207" y="462"/>
                  </a:lnTo>
                  <a:lnTo>
                    <a:pt x="1207" y="465"/>
                  </a:lnTo>
                  <a:lnTo>
                    <a:pt x="1200" y="468"/>
                  </a:lnTo>
                  <a:lnTo>
                    <a:pt x="1200" y="472"/>
                  </a:lnTo>
                  <a:lnTo>
                    <a:pt x="1200" y="475"/>
                  </a:lnTo>
                  <a:lnTo>
                    <a:pt x="1204" y="478"/>
                  </a:lnTo>
                  <a:lnTo>
                    <a:pt x="1204" y="478"/>
                  </a:lnTo>
                  <a:lnTo>
                    <a:pt x="1200" y="481"/>
                  </a:lnTo>
                  <a:lnTo>
                    <a:pt x="1197" y="481"/>
                  </a:lnTo>
                  <a:lnTo>
                    <a:pt x="1193" y="485"/>
                  </a:lnTo>
                  <a:lnTo>
                    <a:pt x="1190" y="485"/>
                  </a:lnTo>
                  <a:lnTo>
                    <a:pt x="1187" y="488"/>
                  </a:lnTo>
                  <a:lnTo>
                    <a:pt x="1187" y="491"/>
                  </a:lnTo>
                  <a:lnTo>
                    <a:pt x="1183" y="494"/>
                  </a:lnTo>
                  <a:lnTo>
                    <a:pt x="1187" y="494"/>
                  </a:lnTo>
                  <a:lnTo>
                    <a:pt x="1190" y="491"/>
                  </a:lnTo>
                  <a:lnTo>
                    <a:pt x="1193" y="488"/>
                  </a:lnTo>
                  <a:lnTo>
                    <a:pt x="1197" y="488"/>
                  </a:lnTo>
                  <a:lnTo>
                    <a:pt x="1197" y="488"/>
                  </a:lnTo>
                  <a:lnTo>
                    <a:pt x="1197" y="488"/>
                  </a:lnTo>
                  <a:lnTo>
                    <a:pt x="1197" y="491"/>
                  </a:lnTo>
                  <a:lnTo>
                    <a:pt x="1190" y="494"/>
                  </a:lnTo>
                  <a:lnTo>
                    <a:pt x="1187" y="497"/>
                  </a:lnTo>
                  <a:lnTo>
                    <a:pt x="1187" y="497"/>
                  </a:lnTo>
                  <a:lnTo>
                    <a:pt x="1187" y="501"/>
                  </a:lnTo>
                  <a:lnTo>
                    <a:pt x="1187" y="501"/>
                  </a:lnTo>
                  <a:lnTo>
                    <a:pt x="1183" y="501"/>
                  </a:lnTo>
                  <a:lnTo>
                    <a:pt x="1180" y="501"/>
                  </a:lnTo>
                  <a:lnTo>
                    <a:pt x="1180" y="504"/>
                  </a:lnTo>
                  <a:lnTo>
                    <a:pt x="1183" y="504"/>
                  </a:lnTo>
                  <a:lnTo>
                    <a:pt x="1183" y="504"/>
                  </a:lnTo>
                  <a:lnTo>
                    <a:pt x="1183" y="507"/>
                  </a:lnTo>
                  <a:lnTo>
                    <a:pt x="1180" y="507"/>
                  </a:lnTo>
                  <a:lnTo>
                    <a:pt x="1183" y="507"/>
                  </a:lnTo>
                  <a:lnTo>
                    <a:pt x="1187" y="507"/>
                  </a:lnTo>
                  <a:lnTo>
                    <a:pt x="1190" y="507"/>
                  </a:lnTo>
                  <a:lnTo>
                    <a:pt x="1190" y="504"/>
                  </a:lnTo>
                  <a:lnTo>
                    <a:pt x="1190" y="501"/>
                  </a:lnTo>
                  <a:lnTo>
                    <a:pt x="1193" y="501"/>
                  </a:lnTo>
                  <a:lnTo>
                    <a:pt x="1197" y="497"/>
                  </a:lnTo>
                  <a:lnTo>
                    <a:pt x="1197" y="497"/>
                  </a:lnTo>
                  <a:lnTo>
                    <a:pt x="1197" y="501"/>
                  </a:lnTo>
                  <a:lnTo>
                    <a:pt x="1200" y="504"/>
                  </a:lnTo>
                  <a:lnTo>
                    <a:pt x="1200" y="501"/>
                  </a:lnTo>
                  <a:lnTo>
                    <a:pt x="1197" y="494"/>
                  </a:lnTo>
                  <a:lnTo>
                    <a:pt x="1200" y="494"/>
                  </a:lnTo>
                  <a:lnTo>
                    <a:pt x="1200" y="491"/>
                  </a:lnTo>
                  <a:lnTo>
                    <a:pt x="1204" y="494"/>
                  </a:lnTo>
                  <a:lnTo>
                    <a:pt x="1204" y="497"/>
                  </a:lnTo>
                  <a:lnTo>
                    <a:pt x="1204" y="497"/>
                  </a:lnTo>
                  <a:lnTo>
                    <a:pt x="1207" y="497"/>
                  </a:lnTo>
                  <a:lnTo>
                    <a:pt x="1211" y="494"/>
                  </a:lnTo>
                  <a:lnTo>
                    <a:pt x="1214" y="497"/>
                  </a:lnTo>
                  <a:lnTo>
                    <a:pt x="1214" y="497"/>
                  </a:lnTo>
                  <a:lnTo>
                    <a:pt x="1214" y="501"/>
                  </a:lnTo>
                  <a:lnTo>
                    <a:pt x="1211" y="507"/>
                  </a:lnTo>
                  <a:lnTo>
                    <a:pt x="1204" y="510"/>
                  </a:lnTo>
                  <a:lnTo>
                    <a:pt x="1204" y="510"/>
                  </a:lnTo>
                  <a:lnTo>
                    <a:pt x="1207" y="514"/>
                  </a:lnTo>
                  <a:lnTo>
                    <a:pt x="1211" y="514"/>
                  </a:lnTo>
                  <a:lnTo>
                    <a:pt x="1214" y="514"/>
                  </a:lnTo>
                  <a:lnTo>
                    <a:pt x="1211" y="510"/>
                  </a:lnTo>
                  <a:lnTo>
                    <a:pt x="1214" y="507"/>
                  </a:lnTo>
                  <a:lnTo>
                    <a:pt x="1214" y="504"/>
                  </a:lnTo>
                  <a:lnTo>
                    <a:pt x="1218" y="507"/>
                  </a:lnTo>
                  <a:lnTo>
                    <a:pt x="1218" y="510"/>
                  </a:lnTo>
                  <a:lnTo>
                    <a:pt x="1221" y="510"/>
                  </a:lnTo>
                  <a:lnTo>
                    <a:pt x="1218" y="504"/>
                  </a:lnTo>
                  <a:lnTo>
                    <a:pt x="1218" y="501"/>
                  </a:lnTo>
                  <a:lnTo>
                    <a:pt x="1218" y="494"/>
                  </a:lnTo>
                  <a:lnTo>
                    <a:pt x="1218" y="494"/>
                  </a:lnTo>
                  <a:lnTo>
                    <a:pt x="1221" y="497"/>
                  </a:lnTo>
                  <a:lnTo>
                    <a:pt x="1221" y="501"/>
                  </a:lnTo>
                  <a:lnTo>
                    <a:pt x="1221" y="501"/>
                  </a:lnTo>
                  <a:lnTo>
                    <a:pt x="1221" y="501"/>
                  </a:lnTo>
                  <a:lnTo>
                    <a:pt x="1224" y="501"/>
                  </a:lnTo>
                  <a:lnTo>
                    <a:pt x="1231" y="507"/>
                  </a:lnTo>
                  <a:lnTo>
                    <a:pt x="1231" y="507"/>
                  </a:lnTo>
                  <a:lnTo>
                    <a:pt x="1235" y="507"/>
                  </a:lnTo>
                  <a:lnTo>
                    <a:pt x="1238" y="510"/>
                  </a:lnTo>
                  <a:lnTo>
                    <a:pt x="1242" y="510"/>
                  </a:lnTo>
                  <a:lnTo>
                    <a:pt x="1238" y="507"/>
                  </a:lnTo>
                  <a:lnTo>
                    <a:pt x="1235" y="507"/>
                  </a:lnTo>
                  <a:lnTo>
                    <a:pt x="1235" y="504"/>
                  </a:lnTo>
                  <a:lnTo>
                    <a:pt x="1228" y="497"/>
                  </a:lnTo>
                  <a:lnTo>
                    <a:pt x="1224" y="497"/>
                  </a:lnTo>
                  <a:lnTo>
                    <a:pt x="1224" y="497"/>
                  </a:lnTo>
                  <a:lnTo>
                    <a:pt x="1228" y="491"/>
                  </a:lnTo>
                  <a:lnTo>
                    <a:pt x="1231" y="491"/>
                  </a:lnTo>
                  <a:lnTo>
                    <a:pt x="1235" y="488"/>
                  </a:lnTo>
                  <a:lnTo>
                    <a:pt x="1242" y="488"/>
                  </a:lnTo>
                  <a:lnTo>
                    <a:pt x="1245" y="488"/>
                  </a:lnTo>
                  <a:lnTo>
                    <a:pt x="1248" y="491"/>
                  </a:lnTo>
                  <a:lnTo>
                    <a:pt x="1248" y="491"/>
                  </a:lnTo>
                  <a:lnTo>
                    <a:pt x="1255" y="491"/>
                  </a:lnTo>
                  <a:lnTo>
                    <a:pt x="1255" y="494"/>
                  </a:lnTo>
                  <a:lnTo>
                    <a:pt x="1259" y="497"/>
                  </a:lnTo>
                  <a:lnTo>
                    <a:pt x="1262" y="497"/>
                  </a:lnTo>
                  <a:lnTo>
                    <a:pt x="1262" y="501"/>
                  </a:lnTo>
                  <a:lnTo>
                    <a:pt x="1262" y="501"/>
                  </a:lnTo>
                  <a:lnTo>
                    <a:pt x="1266" y="497"/>
                  </a:lnTo>
                  <a:lnTo>
                    <a:pt x="1266" y="497"/>
                  </a:lnTo>
                  <a:lnTo>
                    <a:pt x="1269" y="501"/>
                  </a:lnTo>
                  <a:lnTo>
                    <a:pt x="1273" y="504"/>
                  </a:lnTo>
                  <a:lnTo>
                    <a:pt x="1273" y="504"/>
                  </a:lnTo>
                  <a:lnTo>
                    <a:pt x="1273" y="507"/>
                  </a:lnTo>
                  <a:lnTo>
                    <a:pt x="1273" y="507"/>
                  </a:lnTo>
                  <a:lnTo>
                    <a:pt x="1273" y="510"/>
                  </a:lnTo>
                  <a:lnTo>
                    <a:pt x="1269" y="514"/>
                  </a:lnTo>
                  <a:lnTo>
                    <a:pt x="1269" y="514"/>
                  </a:lnTo>
                  <a:lnTo>
                    <a:pt x="1266" y="514"/>
                  </a:lnTo>
                  <a:lnTo>
                    <a:pt x="1259" y="514"/>
                  </a:lnTo>
                  <a:lnTo>
                    <a:pt x="1252" y="520"/>
                  </a:lnTo>
                  <a:lnTo>
                    <a:pt x="1259" y="517"/>
                  </a:lnTo>
                  <a:lnTo>
                    <a:pt x="1266" y="514"/>
                  </a:lnTo>
                  <a:lnTo>
                    <a:pt x="1266" y="517"/>
                  </a:lnTo>
                  <a:lnTo>
                    <a:pt x="1266" y="520"/>
                  </a:lnTo>
                  <a:lnTo>
                    <a:pt x="1259" y="520"/>
                  </a:lnTo>
                  <a:lnTo>
                    <a:pt x="1255" y="527"/>
                  </a:lnTo>
                  <a:lnTo>
                    <a:pt x="1252" y="530"/>
                  </a:lnTo>
                  <a:lnTo>
                    <a:pt x="1252" y="530"/>
                  </a:lnTo>
                  <a:lnTo>
                    <a:pt x="1248" y="530"/>
                  </a:lnTo>
                  <a:lnTo>
                    <a:pt x="1252" y="530"/>
                  </a:lnTo>
                  <a:lnTo>
                    <a:pt x="1259" y="527"/>
                  </a:lnTo>
                  <a:lnTo>
                    <a:pt x="1262" y="520"/>
                  </a:lnTo>
                  <a:lnTo>
                    <a:pt x="1266" y="520"/>
                  </a:lnTo>
                  <a:lnTo>
                    <a:pt x="1273" y="517"/>
                  </a:lnTo>
                  <a:lnTo>
                    <a:pt x="1276" y="517"/>
                  </a:lnTo>
                  <a:lnTo>
                    <a:pt x="1276" y="520"/>
                  </a:lnTo>
                  <a:lnTo>
                    <a:pt x="1279" y="520"/>
                  </a:lnTo>
                  <a:lnTo>
                    <a:pt x="1279" y="520"/>
                  </a:lnTo>
                  <a:lnTo>
                    <a:pt x="1276" y="523"/>
                  </a:lnTo>
                  <a:lnTo>
                    <a:pt x="1279" y="527"/>
                  </a:lnTo>
                  <a:lnTo>
                    <a:pt x="1273" y="527"/>
                  </a:lnTo>
                  <a:lnTo>
                    <a:pt x="1273" y="530"/>
                  </a:lnTo>
                  <a:lnTo>
                    <a:pt x="1269" y="530"/>
                  </a:lnTo>
                  <a:lnTo>
                    <a:pt x="1266" y="530"/>
                  </a:lnTo>
                  <a:lnTo>
                    <a:pt x="1262" y="530"/>
                  </a:lnTo>
                  <a:lnTo>
                    <a:pt x="1259" y="533"/>
                  </a:lnTo>
                  <a:lnTo>
                    <a:pt x="1266" y="533"/>
                  </a:lnTo>
                  <a:lnTo>
                    <a:pt x="1266" y="533"/>
                  </a:lnTo>
                  <a:lnTo>
                    <a:pt x="1259" y="536"/>
                  </a:lnTo>
                  <a:lnTo>
                    <a:pt x="1262" y="536"/>
                  </a:lnTo>
                  <a:lnTo>
                    <a:pt x="1262" y="536"/>
                  </a:lnTo>
                  <a:lnTo>
                    <a:pt x="1269" y="536"/>
                  </a:lnTo>
                  <a:lnTo>
                    <a:pt x="1269" y="533"/>
                  </a:lnTo>
                  <a:lnTo>
                    <a:pt x="1269" y="536"/>
                  </a:lnTo>
                  <a:lnTo>
                    <a:pt x="1269" y="536"/>
                  </a:lnTo>
                  <a:lnTo>
                    <a:pt x="1266" y="536"/>
                  </a:lnTo>
                  <a:lnTo>
                    <a:pt x="1262" y="539"/>
                  </a:lnTo>
                  <a:lnTo>
                    <a:pt x="1262" y="539"/>
                  </a:lnTo>
                  <a:lnTo>
                    <a:pt x="1266" y="539"/>
                  </a:lnTo>
                  <a:lnTo>
                    <a:pt x="1262" y="543"/>
                  </a:lnTo>
                  <a:lnTo>
                    <a:pt x="1259" y="546"/>
                  </a:lnTo>
                  <a:lnTo>
                    <a:pt x="1255" y="549"/>
                  </a:lnTo>
                  <a:lnTo>
                    <a:pt x="1259" y="549"/>
                  </a:lnTo>
                  <a:lnTo>
                    <a:pt x="1262" y="546"/>
                  </a:lnTo>
                  <a:lnTo>
                    <a:pt x="1266" y="539"/>
                  </a:lnTo>
                  <a:lnTo>
                    <a:pt x="1269" y="539"/>
                  </a:lnTo>
                  <a:lnTo>
                    <a:pt x="1276" y="536"/>
                  </a:lnTo>
                  <a:lnTo>
                    <a:pt x="1276" y="536"/>
                  </a:lnTo>
                  <a:lnTo>
                    <a:pt x="1276" y="536"/>
                  </a:lnTo>
                  <a:lnTo>
                    <a:pt x="1279" y="536"/>
                  </a:lnTo>
                  <a:lnTo>
                    <a:pt x="1279" y="533"/>
                  </a:lnTo>
                  <a:lnTo>
                    <a:pt x="1283" y="533"/>
                  </a:lnTo>
                  <a:lnTo>
                    <a:pt x="1286" y="533"/>
                  </a:lnTo>
                  <a:lnTo>
                    <a:pt x="1286" y="533"/>
                  </a:lnTo>
                  <a:lnTo>
                    <a:pt x="1279" y="539"/>
                  </a:lnTo>
                  <a:lnTo>
                    <a:pt x="1273" y="543"/>
                  </a:lnTo>
                  <a:lnTo>
                    <a:pt x="1273" y="543"/>
                  </a:lnTo>
                  <a:lnTo>
                    <a:pt x="1273" y="543"/>
                  </a:lnTo>
                  <a:lnTo>
                    <a:pt x="1273" y="546"/>
                  </a:lnTo>
                  <a:lnTo>
                    <a:pt x="1269" y="546"/>
                  </a:lnTo>
                  <a:lnTo>
                    <a:pt x="1269" y="549"/>
                  </a:lnTo>
                  <a:lnTo>
                    <a:pt x="1273" y="549"/>
                  </a:lnTo>
                  <a:lnTo>
                    <a:pt x="1273" y="549"/>
                  </a:lnTo>
                  <a:lnTo>
                    <a:pt x="1273" y="546"/>
                  </a:lnTo>
                  <a:lnTo>
                    <a:pt x="1279" y="543"/>
                  </a:lnTo>
                  <a:lnTo>
                    <a:pt x="1283" y="539"/>
                  </a:lnTo>
                  <a:lnTo>
                    <a:pt x="1283" y="543"/>
                  </a:lnTo>
                  <a:lnTo>
                    <a:pt x="1283" y="543"/>
                  </a:lnTo>
                  <a:lnTo>
                    <a:pt x="1283" y="546"/>
                  </a:lnTo>
                  <a:lnTo>
                    <a:pt x="1276" y="549"/>
                  </a:lnTo>
                  <a:lnTo>
                    <a:pt x="1276" y="552"/>
                  </a:lnTo>
                  <a:lnTo>
                    <a:pt x="1273" y="556"/>
                  </a:lnTo>
                  <a:lnTo>
                    <a:pt x="1273" y="556"/>
                  </a:lnTo>
                  <a:lnTo>
                    <a:pt x="1273" y="559"/>
                  </a:lnTo>
                  <a:lnTo>
                    <a:pt x="1276" y="556"/>
                  </a:lnTo>
                  <a:lnTo>
                    <a:pt x="1276" y="556"/>
                  </a:lnTo>
                  <a:lnTo>
                    <a:pt x="1283" y="549"/>
                  </a:lnTo>
                  <a:lnTo>
                    <a:pt x="1286" y="549"/>
                  </a:lnTo>
                  <a:lnTo>
                    <a:pt x="1286" y="549"/>
                  </a:lnTo>
                  <a:lnTo>
                    <a:pt x="1286" y="549"/>
                  </a:lnTo>
                  <a:lnTo>
                    <a:pt x="1286" y="552"/>
                  </a:lnTo>
                  <a:lnTo>
                    <a:pt x="1283" y="552"/>
                  </a:lnTo>
                  <a:lnTo>
                    <a:pt x="1279" y="559"/>
                  </a:lnTo>
                  <a:lnTo>
                    <a:pt x="1279" y="562"/>
                  </a:lnTo>
                  <a:lnTo>
                    <a:pt x="1283" y="562"/>
                  </a:lnTo>
                  <a:lnTo>
                    <a:pt x="1283" y="559"/>
                  </a:lnTo>
                  <a:lnTo>
                    <a:pt x="1283" y="559"/>
                  </a:lnTo>
                  <a:lnTo>
                    <a:pt x="1286" y="556"/>
                  </a:lnTo>
                  <a:lnTo>
                    <a:pt x="1290" y="552"/>
                  </a:lnTo>
                  <a:lnTo>
                    <a:pt x="1290" y="549"/>
                  </a:lnTo>
                  <a:lnTo>
                    <a:pt x="1293" y="546"/>
                  </a:lnTo>
                  <a:lnTo>
                    <a:pt x="1293" y="546"/>
                  </a:lnTo>
                  <a:lnTo>
                    <a:pt x="1297" y="543"/>
                  </a:lnTo>
                  <a:lnTo>
                    <a:pt x="1297" y="543"/>
                  </a:lnTo>
                  <a:lnTo>
                    <a:pt x="1297" y="539"/>
                  </a:lnTo>
                  <a:lnTo>
                    <a:pt x="1300" y="539"/>
                  </a:lnTo>
                  <a:lnTo>
                    <a:pt x="1300" y="536"/>
                  </a:lnTo>
                  <a:lnTo>
                    <a:pt x="1300" y="536"/>
                  </a:lnTo>
                  <a:lnTo>
                    <a:pt x="1304" y="539"/>
                  </a:lnTo>
                  <a:lnTo>
                    <a:pt x="1307" y="543"/>
                  </a:lnTo>
                  <a:lnTo>
                    <a:pt x="1310" y="546"/>
                  </a:lnTo>
                  <a:lnTo>
                    <a:pt x="1310" y="549"/>
                  </a:lnTo>
                  <a:lnTo>
                    <a:pt x="1310" y="552"/>
                  </a:lnTo>
                  <a:lnTo>
                    <a:pt x="1317" y="556"/>
                  </a:lnTo>
                  <a:lnTo>
                    <a:pt x="1317" y="556"/>
                  </a:lnTo>
                  <a:lnTo>
                    <a:pt x="1314" y="559"/>
                  </a:lnTo>
                  <a:lnTo>
                    <a:pt x="1310" y="562"/>
                  </a:lnTo>
                  <a:lnTo>
                    <a:pt x="1307" y="562"/>
                  </a:lnTo>
                  <a:lnTo>
                    <a:pt x="1304" y="559"/>
                  </a:lnTo>
                  <a:lnTo>
                    <a:pt x="1300" y="559"/>
                  </a:lnTo>
                  <a:lnTo>
                    <a:pt x="1300" y="559"/>
                  </a:lnTo>
                  <a:lnTo>
                    <a:pt x="1297" y="559"/>
                  </a:lnTo>
                  <a:lnTo>
                    <a:pt x="1297" y="559"/>
                  </a:lnTo>
                  <a:lnTo>
                    <a:pt x="1293" y="562"/>
                  </a:lnTo>
                  <a:lnTo>
                    <a:pt x="1290" y="565"/>
                  </a:lnTo>
                  <a:lnTo>
                    <a:pt x="1290" y="565"/>
                  </a:lnTo>
                  <a:lnTo>
                    <a:pt x="1286" y="565"/>
                  </a:lnTo>
                  <a:lnTo>
                    <a:pt x="1290" y="565"/>
                  </a:lnTo>
                  <a:lnTo>
                    <a:pt x="1293" y="565"/>
                  </a:lnTo>
                  <a:lnTo>
                    <a:pt x="1293" y="569"/>
                  </a:lnTo>
                  <a:lnTo>
                    <a:pt x="1290" y="572"/>
                  </a:lnTo>
                  <a:lnTo>
                    <a:pt x="1286" y="572"/>
                  </a:lnTo>
                  <a:lnTo>
                    <a:pt x="1286" y="575"/>
                  </a:lnTo>
                  <a:lnTo>
                    <a:pt x="1290" y="575"/>
                  </a:lnTo>
                  <a:lnTo>
                    <a:pt x="1293" y="572"/>
                  </a:lnTo>
                  <a:lnTo>
                    <a:pt x="1297" y="572"/>
                  </a:lnTo>
                  <a:lnTo>
                    <a:pt x="1300" y="572"/>
                  </a:lnTo>
                  <a:lnTo>
                    <a:pt x="1304" y="569"/>
                  </a:lnTo>
                  <a:lnTo>
                    <a:pt x="1307" y="569"/>
                  </a:lnTo>
                  <a:lnTo>
                    <a:pt x="1307" y="572"/>
                  </a:lnTo>
                  <a:lnTo>
                    <a:pt x="1310" y="572"/>
                  </a:lnTo>
                  <a:lnTo>
                    <a:pt x="1307" y="575"/>
                  </a:lnTo>
                  <a:lnTo>
                    <a:pt x="1310" y="572"/>
                  </a:lnTo>
                  <a:lnTo>
                    <a:pt x="1310" y="569"/>
                  </a:lnTo>
                  <a:lnTo>
                    <a:pt x="1310" y="565"/>
                  </a:lnTo>
                  <a:lnTo>
                    <a:pt x="1314" y="565"/>
                  </a:lnTo>
                  <a:lnTo>
                    <a:pt x="1317" y="562"/>
                  </a:lnTo>
                  <a:lnTo>
                    <a:pt x="1321" y="562"/>
                  </a:lnTo>
                  <a:lnTo>
                    <a:pt x="1317" y="565"/>
                  </a:lnTo>
                  <a:lnTo>
                    <a:pt x="1321" y="569"/>
                  </a:lnTo>
                  <a:lnTo>
                    <a:pt x="1317" y="572"/>
                  </a:lnTo>
                  <a:lnTo>
                    <a:pt x="1314" y="575"/>
                  </a:lnTo>
                  <a:lnTo>
                    <a:pt x="1310" y="575"/>
                  </a:lnTo>
                  <a:lnTo>
                    <a:pt x="1307" y="578"/>
                  </a:lnTo>
                  <a:lnTo>
                    <a:pt x="1307" y="578"/>
                  </a:lnTo>
                  <a:lnTo>
                    <a:pt x="1304" y="578"/>
                  </a:lnTo>
                  <a:lnTo>
                    <a:pt x="1300" y="578"/>
                  </a:lnTo>
                  <a:lnTo>
                    <a:pt x="1300" y="578"/>
                  </a:lnTo>
                  <a:lnTo>
                    <a:pt x="1297" y="581"/>
                  </a:lnTo>
                  <a:lnTo>
                    <a:pt x="1297" y="581"/>
                  </a:lnTo>
                  <a:lnTo>
                    <a:pt x="1293" y="585"/>
                  </a:lnTo>
                  <a:lnTo>
                    <a:pt x="1293" y="588"/>
                  </a:lnTo>
                  <a:lnTo>
                    <a:pt x="1293" y="588"/>
                  </a:lnTo>
                  <a:lnTo>
                    <a:pt x="1293" y="588"/>
                  </a:lnTo>
                  <a:lnTo>
                    <a:pt x="1297" y="585"/>
                  </a:lnTo>
                  <a:lnTo>
                    <a:pt x="1300" y="581"/>
                  </a:lnTo>
                  <a:lnTo>
                    <a:pt x="1304" y="581"/>
                  </a:lnTo>
                  <a:lnTo>
                    <a:pt x="1304" y="581"/>
                  </a:lnTo>
                  <a:lnTo>
                    <a:pt x="1307" y="581"/>
                  </a:lnTo>
                  <a:lnTo>
                    <a:pt x="1307" y="581"/>
                  </a:lnTo>
                  <a:lnTo>
                    <a:pt x="1304" y="585"/>
                  </a:lnTo>
                  <a:lnTo>
                    <a:pt x="1304" y="588"/>
                  </a:lnTo>
                  <a:lnTo>
                    <a:pt x="1297" y="591"/>
                  </a:lnTo>
                  <a:lnTo>
                    <a:pt x="1293" y="594"/>
                  </a:lnTo>
                  <a:lnTo>
                    <a:pt x="1293" y="594"/>
                  </a:lnTo>
                  <a:lnTo>
                    <a:pt x="1300" y="591"/>
                  </a:lnTo>
                  <a:lnTo>
                    <a:pt x="1307" y="585"/>
                  </a:lnTo>
                  <a:lnTo>
                    <a:pt x="1310" y="581"/>
                  </a:lnTo>
                  <a:lnTo>
                    <a:pt x="1310" y="578"/>
                  </a:lnTo>
                  <a:lnTo>
                    <a:pt x="1310" y="578"/>
                  </a:lnTo>
                  <a:lnTo>
                    <a:pt x="1314" y="578"/>
                  </a:lnTo>
                  <a:lnTo>
                    <a:pt x="1321" y="575"/>
                  </a:lnTo>
                  <a:lnTo>
                    <a:pt x="1324" y="572"/>
                  </a:lnTo>
                  <a:lnTo>
                    <a:pt x="1328" y="572"/>
                  </a:lnTo>
                  <a:lnTo>
                    <a:pt x="1328" y="572"/>
                  </a:lnTo>
                  <a:lnTo>
                    <a:pt x="1324" y="575"/>
                  </a:lnTo>
                  <a:lnTo>
                    <a:pt x="1321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4" y="581"/>
                  </a:lnTo>
                  <a:lnTo>
                    <a:pt x="1317" y="581"/>
                  </a:lnTo>
                  <a:lnTo>
                    <a:pt x="1317" y="581"/>
                  </a:lnTo>
                  <a:lnTo>
                    <a:pt x="1324" y="581"/>
                  </a:lnTo>
                  <a:lnTo>
                    <a:pt x="1324" y="578"/>
                  </a:lnTo>
                  <a:lnTo>
                    <a:pt x="1328" y="578"/>
                  </a:lnTo>
                  <a:lnTo>
                    <a:pt x="1331" y="575"/>
                  </a:lnTo>
                  <a:lnTo>
                    <a:pt x="1334" y="575"/>
                  </a:lnTo>
                  <a:lnTo>
                    <a:pt x="1334" y="575"/>
                  </a:lnTo>
                  <a:lnTo>
                    <a:pt x="1338" y="578"/>
                  </a:lnTo>
                  <a:lnTo>
                    <a:pt x="1341" y="581"/>
                  </a:lnTo>
                  <a:lnTo>
                    <a:pt x="1345" y="585"/>
                  </a:lnTo>
                  <a:lnTo>
                    <a:pt x="1348" y="585"/>
                  </a:lnTo>
                  <a:lnTo>
                    <a:pt x="1348" y="588"/>
                  </a:lnTo>
                  <a:lnTo>
                    <a:pt x="1348" y="591"/>
                  </a:lnTo>
                  <a:lnTo>
                    <a:pt x="1341" y="594"/>
                  </a:lnTo>
                  <a:lnTo>
                    <a:pt x="1341" y="591"/>
                  </a:lnTo>
                  <a:lnTo>
                    <a:pt x="1341" y="588"/>
                  </a:lnTo>
                  <a:lnTo>
                    <a:pt x="1338" y="591"/>
                  </a:lnTo>
                  <a:lnTo>
                    <a:pt x="1338" y="591"/>
                  </a:lnTo>
                  <a:lnTo>
                    <a:pt x="1338" y="594"/>
                  </a:lnTo>
                  <a:lnTo>
                    <a:pt x="1334" y="594"/>
                  </a:lnTo>
                  <a:lnTo>
                    <a:pt x="1328" y="594"/>
                  </a:lnTo>
                  <a:lnTo>
                    <a:pt x="1328" y="598"/>
                  </a:lnTo>
                  <a:lnTo>
                    <a:pt x="1321" y="598"/>
                  </a:lnTo>
                  <a:lnTo>
                    <a:pt x="1317" y="598"/>
                  </a:lnTo>
                  <a:lnTo>
                    <a:pt x="1314" y="601"/>
                  </a:lnTo>
                  <a:lnTo>
                    <a:pt x="1307" y="601"/>
                  </a:lnTo>
                  <a:lnTo>
                    <a:pt x="1310" y="601"/>
                  </a:lnTo>
                  <a:lnTo>
                    <a:pt x="1314" y="601"/>
                  </a:lnTo>
                  <a:lnTo>
                    <a:pt x="1314" y="604"/>
                  </a:lnTo>
                  <a:lnTo>
                    <a:pt x="1307" y="604"/>
                  </a:lnTo>
                  <a:lnTo>
                    <a:pt x="1307" y="607"/>
                  </a:lnTo>
                  <a:lnTo>
                    <a:pt x="1314" y="607"/>
                  </a:lnTo>
                  <a:lnTo>
                    <a:pt x="1317" y="604"/>
                  </a:lnTo>
                  <a:lnTo>
                    <a:pt x="1321" y="598"/>
                  </a:lnTo>
                  <a:lnTo>
                    <a:pt x="1328" y="598"/>
                  </a:lnTo>
                  <a:lnTo>
                    <a:pt x="1328" y="598"/>
                  </a:lnTo>
                  <a:lnTo>
                    <a:pt x="1331" y="598"/>
                  </a:lnTo>
                  <a:lnTo>
                    <a:pt x="1334" y="598"/>
                  </a:lnTo>
                  <a:lnTo>
                    <a:pt x="1334" y="601"/>
                  </a:lnTo>
                  <a:lnTo>
                    <a:pt x="1334" y="604"/>
                  </a:lnTo>
                  <a:lnTo>
                    <a:pt x="1331" y="604"/>
                  </a:lnTo>
                  <a:lnTo>
                    <a:pt x="1328" y="607"/>
                  </a:lnTo>
                  <a:lnTo>
                    <a:pt x="1328" y="607"/>
                  </a:lnTo>
                  <a:lnTo>
                    <a:pt x="1324" y="607"/>
                  </a:lnTo>
                  <a:lnTo>
                    <a:pt x="1321" y="611"/>
                  </a:lnTo>
                  <a:lnTo>
                    <a:pt x="1317" y="611"/>
                  </a:lnTo>
                  <a:lnTo>
                    <a:pt x="1314" y="611"/>
                  </a:lnTo>
                  <a:lnTo>
                    <a:pt x="1314" y="611"/>
                  </a:lnTo>
                  <a:lnTo>
                    <a:pt x="1310" y="614"/>
                  </a:lnTo>
                  <a:lnTo>
                    <a:pt x="1310" y="614"/>
                  </a:lnTo>
                  <a:lnTo>
                    <a:pt x="1314" y="611"/>
                  </a:lnTo>
                  <a:lnTo>
                    <a:pt x="1317" y="614"/>
                  </a:lnTo>
                  <a:lnTo>
                    <a:pt x="1321" y="614"/>
                  </a:lnTo>
                  <a:lnTo>
                    <a:pt x="1324" y="611"/>
                  </a:lnTo>
                  <a:lnTo>
                    <a:pt x="1324" y="607"/>
                  </a:lnTo>
                  <a:lnTo>
                    <a:pt x="1328" y="607"/>
                  </a:lnTo>
                  <a:lnTo>
                    <a:pt x="1331" y="607"/>
                  </a:lnTo>
                  <a:lnTo>
                    <a:pt x="1334" y="607"/>
                  </a:lnTo>
                  <a:lnTo>
                    <a:pt x="1338" y="604"/>
                  </a:lnTo>
                  <a:lnTo>
                    <a:pt x="1341" y="604"/>
                  </a:lnTo>
                  <a:lnTo>
                    <a:pt x="1341" y="604"/>
                  </a:lnTo>
                  <a:lnTo>
                    <a:pt x="1341" y="601"/>
                  </a:lnTo>
                  <a:lnTo>
                    <a:pt x="1341" y="601"/>
                  </a:lnTo>
                  <a:lnTo>
                    <a:pt x="1345" y="598"/>
                  </a:lnTo>
                  <a:lnTo>
                    <a:pt x="1345" y="594"/>
                  </a:lnTo>
                  <a:lnTo>
                    <a:pt x="1345" y="594"/>
                  </a:lnTo>
                  <a:lnTo>
                    <a:pt x="1348" y="598"/>
                  </a:lnTo>
                  <a:lnTo>
                    <a:pt x="1348" y="594"/>
                  </a:lnTo>
                  <a:lnTo>
                    <a:pt x="1348" y="598"/>
                  </a:lnTo>
                  <a:lnTo>
                    <a:pt x="1352" y="604"/>
                  </a:lnTo>
                  <a:lnTo>
                    <a:pt x="1355" y="611"/>
                  </a:lnTo>
                  <a:lnTo>
                    <a:pt x="1355" y="611"/>
                  </a:lnTo>
                  <a:lnTo>
                    <a:pt x="1355" y="614"/>
                  </a:lnTo>
                  <a:lnTo>
                    <a:pt x="1355" y="617"/>
                  </a:lnTo>
                  <a:lnTo>
                    <a:pt x="1348" y="617"/>
                  </a:lnTo>
                  <a:lnTo>
                    <a:pt x="1348" y="614"/>
                  </a:lnTo>
                  <a:lnTo>
                    <a:pt x="1341" y="614"/>
                  </a:lnTo>
                  <a:lnTo>
                    <a:pt x="1338" y="617"/>
                  </a:lnTo>
                  <a:lnTo>
                    <a:pt x="1334" y="617"/>
                  </a:lnTo>
                  <a:lnTo>
                    <a:pt x="1334" y="617"/>
                  </a:lnTo>
                  <a:lnTo>
                    <a:pt x="1331" y="617"/>
                  </a:lnTo>
                  <a:lnTo>
                    <a:pt x="1328" y="617"/>
                  </a:lnTo>
                  <a:lnTo>
                    <a:pt x="1328" y="620"/>
                  </a:lnTo>
                  <a:lnTo>
                    <a:pt x="1321" y="620"/>
                  </a:lnTo>
                  <a:lnTo>
                    <a:pt x="1324" y="620"/>
                  </a:lnTo>
                  <a:lnTo>
                    <a:pt x="1331" y="620"/>
                  </a:lnTo>
                  <a:lnTo>
                    <a:pt x="1334" y="620"/>
                  </a:lnTo>
                  <a:lnTo>
                    <a:pt x="1338" y="623"/>
                  </a:lnTo>
                  <a:lnTo>
                    <a:pt x="1341" y="627"/>
                  </a:lnTo>
                  <a:lnTo>
                    <a:pt x="1345" y="623"/>
                  </a:lnTo>
                  <a:lnTo>
                    <a:pt x="1345" y="623"/>
                  </a:lnTo>
                  <a:lnTo>
                    <a:pt x="1348" y="627"/>
                  </a:lnTo>
                  <a:lnTo>
                    <a:pt x="1352" y="627"/>
                  </a:lnTo>
                  <a:lnTo>
                    <a:pt x="1355" y="630"/>
                  </a:lnTo>
                  <a:lnTo>
                    <a:pt x="1355" y="630"/>
                  </a:lnTo>
                  <a:lnTo>
                    <a:pt x="1355" y="633"/>
                  </a:lnTo>
                  <a:lnTo>
                    <a:pt x="1359" y="636"/>
                  </a:lnTo>
                  <a:lnTo>
                    <a:pt x="1355" y="636"/>
                  </a:lnTo>
                  <a:lnTo>
                    <a:pt x="1352" y="636"/>
                  </a:lnTo>
                  <a:lnTo>
                    <a:pt x="1352" y="636"/>
                  </a:lnTo>
                  <a:lnTo>
                    <a:pt x="1348" y="636"/>
                  </a:lnTo>
                  <a:lnTo>
                    <a:pt x="1348" y="636"/>
                  </a:lnTo>
                  <a:lnTo>
                    <a:pt x="1345" y="636"/>
                  </a:lnTo>
                  <a:lnTo>
                    <a:pt x="1345" y="633"/>
                  </a:lnTo>
                  <a:lnTo>
                    <a:pt x="1341" y="636"/>
                  </a:lnTo>
                  <a:lnTo>
                    <a:pt x="1341" y="636"/>
                  </a:lnTo>
                  <a:lnTo>
                    <a:pt x="1334" y="630"/>
                  </a:lnTo>
                  <a:lnTo>
                    <a:pt x="1334" y="630"/>
                  </a:lnTo>
                  <a:lnTo>
                    <a:pt x="1331" y="630"/>
                  </a:lnTo>
                  <a:lnTo>
                    <a:pt x="1328" y="630"/>
                  </a:lnTo>
                  <a:lnTo>
                    <a:pt x="1324" y="630"/>
                  </a:lnTo>
                  <a:lnTo>
                    <a:pt x="1328" y="630"/>
                  </a:lnTo>
                  <a:lnTo>
                    <a:pt x="1331" y="633"/>
                  </a:lnTo>
                  <a:lnTo>
                    <a:pt x="1334" y="633"/>
                  </a:lnTo>
                  <a:lnTo>
                    <a:pt x="1331" y="633"/>
                  </a:lnTo>
                  <a:lnTo>
                    <a:pt x="1328" y="633"/>
                  </a:lnTo>
                  <a:lnTo>
                    <a:pt x="1328" y="636"/>
                  </a:lnTo>
                  <a:lnTo>
                    <a:pt x="1321" y="636"/>
                  </a:lnTo>
                  <a:lnTo>
                    <a:pt x="1317" y="636"/>
                  </a:lnTo>
                  <a:lnTo>
                    <a:pt x="1321" y="640"/>
                  </a:lnTo>
                  <a:lnTo>
                    <a:pt x="1321" y="640"/>
                  </a:lnTo>
                  <a:lnTo>
                    <a:pt x="1321" y="636"/>
                  </a:lnTo>
                  <a:lnTo>
                    <a:pt x="1328" y="636"/>
                  </a:lnTo>
                  <a:lnTo>
                    <a:pt x="1331" y="636"/>
                  </a:lnTo>
                  <a:lnTo>
                    <a:pt x="1331" y="636"/>
                  </a:lnTo>
                  <a:lnTo>
                    <a:pt x="1334" y="636"/>
                  </a:lnTo>
                  <a:lnTo>
                    <a:pt x="1334" y="640"/>
                  </a:lnTo>
                  <a:lnTo>
                    <a:pt x="1338" y="640"/>
                  </a:lnTo>
                  <a:lnTo>
                    <a:pt x="1338" y="640"/>
                  </a:lnTo>
                  <a:lnTo>
                    <a:pt x="1338" y="643"/>
                  </a:lnTo>
                  <a:lnTo>
                    <a:pt x="1334" y="643"/>
                  </a:lnTo>
                  <a:lnTo>
                    <a:pt x="1331" y="643"/>
                  </a:lnTo>
                  <a:lnTo>
                    <a:pt x="1331" y="643"/>
                  </a:lnTo>
                  <a:lnTo>
                    <a:pt x="1328" y="640"/>
                  </a:lnTo>
                  <a:lnTo>
                    <a:pt x="1328" y="640"/>
                  </a:lnTo>
                  <a:lnTo>
                    <a:pt x="1324" y="640"/>
                  </a:lnTo>
                  <a:lnTo>
                    <a:pt x="1328" y="643"/>
                  </a:lnTo>
                  <a:lnTo>
                    <a:pt x="1331" y="643"/>
                  </a:lnTo>
                  <a:lnTo>
                    <a:pt x="1331" y="646"/>
                  </a:lnTo>
                  <a:lnTo>
                    <a:pt x="1331" y="646"/>
                  </a:lnTo>
                  <a:lnTo>
                    <a:pt x="1334" y="649"/>
                  </a:lnTo>
                  <a:lnTo>
                    <a:pt x="1331" y="649"/>
                  </a:lnTo>
                  <a:lnTo>
                    <a:pt x="1324" y="646"/>
                  </a:lnTo>
                  <a:lnTo>
                    <a:pt x="1321" y="646"/>
                  </a:lnTo>
                  <a:lnTo>
                    <a:pt x="1314" y="646"/>
                  </a:lnTo>
                  <a:lnTo>
                    <a:pt x="1310" y="646"/>
                  </a:lnTo>
                  <a:lnTo>
                    <a:pt x="1310" y="646"/>
                  </a:lnTo>
                  <a:lnTo>
                    <a:pt x="1314" y="646"/>
                  </a:lnTo>
                  <a:lnTo>
                    <a:pt x="1324" y="653"/>
                  </a:lnTo>
                  <a:lnTo>
                    <a:pt x="1324" y="653"/>
                  </a:lnTo>
                  <a:lnTo>
                    <a:pt x="1324" y="653"/>
                  </a:lnTo>
                  <a:lnTo>
                    <a:pt x="1317" y="649"/>
                  </a:lnTo>
                  <a:lnTo>
                    <a:pt x="1317" y="653"/>
                  </a:lnTo>
                  <a:lnTo>
                    <a:pt x="1314" y="653"/>
                  </a:lnTo>
                  <a:lnTo>
                    <a:pt x="1317" y="653"/>
                  </a:lnTo>
                  <a:lnTo>
                    <a:pt x="1317" y="656"/>
                  </a:lnTo>
                  <a:lnTo>
                    <a:pt x="1321" y="656"/>
                  </a:lnTo>
                  <a:lnTo>
                    <a:pt x="1321" y="656"/>
                  </a:lnTo>
                  <a:lnTo>
                    <a:pt x="1324" y="656"/>
                  </a:lnTo>
                  <a:lnTo>
                    <a:pt x="1324" y="659"/>
                  </a:lnTo>
                  <a:lnTo>
                    <a:pt x="1324" y="659"/>
                  </a:lnTo>
                  <a:lnTo>
                    <a:pt x="1328" y="659"/>
                  </a:lnTo>
                  <a:lnTo>
                    <a:pt x="1328" y="656"/>
                  </a:lnTo>
                  <a:lnTo>
                    <a:pt x="1331" y="656"/>
                  </a:lnTo>
                  <a:lnTo>
                    <a:pt x="1328" y="659"/>
                  </a:lnTo>
                  <a:lnTo>
                    <a:pt x="1328" y="659"/>
                  </a:lnTo>
                  <a:lnTo>
                    <a:pt x="1328" y="662"/>
                  </a:lnTo>
                  <a:lnTo>
                    <a:pt x="1331" y="662"/>
                  </a:lnTo>
                  <a:lnTo>
                    <a:pt x="1331" y="659"/>
                  </a:lnTo>
                  <a:lnTo>
                    <a:pt x="1334" y="659"/>
                  </a:lnTo>
                  <a:lnTo>
                    <a:pt x="1338" y="659"/>
                  </a:lnTo>
                  <a:lnTo>
                    <a:pt x="1341" y="662"/>
                  </a:lnTo>
                  <a:lnTo>
                    <a:pt x="1341" y="662"/>
                  </a:lnTo>
                  <a:lnTo>
                    <a:pt x="1341" y="662"/>
                  </a:lnTo>
                  <a:lnTo>
                    <a:pt x="1341" y="665"/>
                  </a:lnTo>
                  <a:lnTo>
                    <a:pt x="1338" y="665"/>
                  </a:lnTo>
                  <a:lnTo>
                    <a:pt x="1334" y="662"/>
                  </a:lnTo>
                  <a:lnTo>
                    <a:pt x="1331" y="662"/>
                  </a:lnTo>
                  <a:lnTo>
                    <a:pt x="1324" y="665"/>
                  </a:lnTo>
                  <a:lnTo>
                    <a:pt x="1324" y="669"/>
                  </a:lnTo>
                  <a:lnTo>
                    <a:pt x="1328" y="665"/>
                  </a:lnTo>
                  <a:lnTo>
                    <a:pt x="1331" y="665"/>
                  </a:lnTo>
                  <a:lnTo>
                    <a:pt x="1334" y="665"/>
                  </a:lnTo>
                  <a:lnTo>
                    <a:pt x="1334" y="665"/>
                  </a:lnTo>
                  <a:lnTo>
                    <a:pt x="1331" y="669"/>
                  </a:lnTo>
                  <a:lnTo>
                    <a:pt x="1334" y="669"/>
                  </a:lnTo>
                  <a:lnTo>
                    <a:pt x="1338" y="669"/>
                  </a:lnTo>
                  <a:lnTo>
                    <a:pt x="1341" y="669"/>
                  </a:lnTo>
                  <a:lnTo>
                    <a:pt x="1338" y="672"/>
                  </a:lnTo>
                  <a:lnTo>
                    <a:pt x="1341" y="672"/>
                  </a:lnTo>
                  <a:lnTo>
                    <a:pt x="1345" y="675"/>
                  </a:lnTo>
                  <a:lnTo>
                    <a:pt x="1341" y="675"/>
                  </a:lnTo>
                  <a:lnTo>
                    <a:pt x="1341" y="678"/>
                  </a:lnTo>
                  <a:lnTo>
                    <a:pt x="1341" y="682"/>
                  </a:lnTo>
                  <a:lnTo>
                    <a:pt x="1341" y="682"/>
                  </a:lnTo>
                  <a:lnTo>
                    <a:pt x="1345" y="678"/>
                  </a:lnTo>
                  <a:lnTo>
                    <a:pt x="1345" y="675"/>
                  </a:lnTo>
                  <a:lnTo>
                    <a:pt x="1348" y="675"/>
                  </a:lnTo>
                  <a:lnTo>
                    <a:pt x="1348" y="678"/>
                  </a:lnTo>
                  <a:lnTo>
                    <a:pt x="1348" y="678"/>
                  </a:lnTo>
                  <a:lnTo>
                    <a:pt x="1345" y="685"/>
                  </a:lnTo>
                  <a:lnTo>
                    <a:pt x="1341" y="688"/>
                  </a:lnTo>
                  <a:lnTo>
                    <a:pt x="1341" y="691"/>
                  </a:lnTo>
                  <a:lnTo>
                    <a:pt x="1345" y="688"/>
                  </a:lnTo>
                  <a:lnTo>
                    <a:pt x="1348" y="685"/>
                  </a:lnTo>
                  <a:lnTo>
                    <a:pt x="1348" y="685"/>
                  </a:lnTo>
                  <a:lnTo>
                    <a:pt x="1348" y="682"/>
                  </a:lnTo>
                  <a:lnTo>
                    <a:pt x="1352" y="678"/>
                  </a:lnTo>
                  <a:lnTo>
                    <a:pt x="1352" y="678"/>
                  </a:lnTo>
                  <a:lnTo>
                    <a:pt x="1352" y="678"/>
                  </a:lnTo>
                  <a:lnTo>
                    <a:pt x="1355" y="675"/>
                  </a:lnTo>
                  <a:lnTo>
                    <a:pt x="1359" y="675"/>
                  </a:lnTo>
                  <a:lnTo>
                    <a:pt x="1355" y="678"/>
                  </a:lnTo>
                  <a:lnTo>
                    <a:pt x="1352" y="682"/>
                  </a:lnTo>
                  <a:lnTo>
                    <a:pt x="1352" y="685"/>
                  </a:lnTo>
                  <a:lnTo>
                    <a:pt x="1352" y="688"/>
                  </a:lnTo>
                  <a:lnTo>
                    <a:pt x="1352" y="691"/>
                  </a:lnTo>
                  <a:lnTo>
                    <a:pt x="1352" y="688"/>
                  </a:lnTo>
                  <a:lnTo>
                    <a:pt x="1352" y="688"/>
                  </a:lnTo>
                  <a:lnTo>
                    <a:pt x="1352" y="685"/>
                  </a:lnTo>
                  <a:lnTo>
                    <a:pt x="1355" y="682"/>
                  </a:lnTo>
                  <a:lnTo>
                    <a:pt x="1359" y="682"/>
                  </a:lnTo>
                  <a:lnTo>
                    <a:pt x="1362" y="678"/>
                  </a:lnTo>
                  <a:lnTo>
                    <a:pt x="1365" y="675"/>
                  </a:lnTo>
                  <a:lnTo>
                    <a:pt x="1365" y="675"/>
                  </a:lnTo>
                  <a:lnTo>
                    <a:pt x="1365" y="682"/>
                  </a:lnTo>
                  <a:lnTo>
                    <a:pt x="1362" y="682"/>
                  </a:lnTo>
                  <a:lnTo>
                    <a:pt x="1359" y="682"/>
                  </a:lnTo>
                  <a:lnTo>
                    <a:pt x="1359" y="685"/>
                  </a:lnTo>
                  <a:lnTo>
                    <a:pt x="1359" y="688"/>
                  </a:lnTo>
                  <a:lnTo>
                    <a:pt x="1359" y="688"/>
                  </a:lnTo>
                  <a:lnTo>
                    <a:pt x="1359" y="688"/>
                  </a:lnTo>
                  <a:lnTo>
                    <a:pt x="1362" y="688"/>
                  </a:lnTo>
                  <a:lnTo>
                    <a:pt x="1362" y="688"/>
                  </a:lnTo>
                  <a:lnTo>
                    <a:pt x="1369" y="685"/>
                  </a:lnTo>
                  <a:lnTo>
                    <a:pt x="1369" y="688"/>
                  </a:lnTo>
                  <a:lnTo>
                    <a:pt x="1369" y="691"/>
                  </a:lnTo>
                  <a:lnTo>
                    <a:pt x="1369" y="695"/>
                  </a:lnTo>
                  <a:lnTo>
                    <a:pt x="1369" y="695"/>
                  </a:lnTo>
                  <a:lnTo>
                    <a:pt x="1369" y="695"/>
                  </a:lnTo>
                  <a:lnTo>
                    <a:pt x="1369" y="695"/>
                  </a:lnTo>
                  <a:lnTo>
                    <a:pt x="1372" y="698"/>
                  </a:lnTo>
                  <a:lnTo>
                    <a:pt x="1369" y="698"/>
                  </a:lnTo>
                  <a:lnTo>
                    <a:pt x="1365" y="698"/>
                  </a:lnTo>
                  <a:lnTo>
                    <a:pt x="1369" y="701"/>
                  </a:lnTo>
                  <a:lnTo>
                    <a:pt x="1372" y="701"/>
                  </a:lnTo>
                  <a:lnTo>
                    <a:pt x="1365" y="704"/>
                  </a:lnTo>
                  <a:lnTo>
                    <a:pt x="1362" y="701"/>
                  </a:lnTo>
                  <a:lnTo>
                    <a:pt x="1362" y="704"/>
                  </a:lnTo>
                  <a:lnTo>
                    <a:pt x="1365" y="704"/>
                  </a:lnTo>
                  <a:lnTo>
                    <a:pt x="1372" y="704"/>
                  </a:lnTo>
                  <a:lnTo>
                    <a:pt x="1372" y="704"/>
                  </a:lnTo>
                  <a:lnTo>
                    <a:pt x="1376" y="704"/>
                  </a:lnTo>
                  <a:lnTo>
                    <a:pt x="1376" y="704"/>
                  </a:lnTo>
                  <a:lnTo>
                    <a:pt x="1376" y="707"/>
                  </a:lnTo>
                  <a:lnTo>
                    <a:pt x="1372" y="711"/>
                  </a:lnTo>
                  <a:lnTo>
                    <a:pt x="1376" y="707"/>
                  </a:lnTo>
                  <a:lnTo>
                    <a:pt x="1379" y="704"/>
                  </a:lnTo>
                  <a:lnTo>
                    <a:pt x="1383" y="704"/>
                  </a:lnTo>
                  <a:lnTo>
                    <a:pt x="1386" y="701"/>
                  </a:lnTo>
                  <a:lnTo>
                    <a:pt x="1386" y="701"/>
                  </a:lnTo>
                  <a:lnTo>
                    <a:pt x="1386" y="704"/>
                  </a:lnTo>
                  <a:lnTo>
                    <a:pt x="1386" y="704"/>
                  </a:lnTo>
                  <a:lnTo>
                    <a:pt x="1383" y="707"/>
                  </a:lnTo>
                  <a:lnTo>
                    <a:pt x="1383" y="707"/>
                  </a:lnTo>
                  <a:lnTo>
                    <a:pt x="1379" y="711"/>
                  </a:lnTo>
                  <a:lnTo>
                    <a:pt x="1376" y="714"/>
                  </a:lnTo>
                  <a:lnTo>
                    <a:pt x="1372" y="717"/>
                  </a:lnTo>
                  <a:lnTo>
                    <a:pt x="1372" y="717"/>
                  </a:lnTo>
                  <a:lnTo>
                    <a:pt x="1376" y="717"/>
                  </a:lnTo>
                  <a:lnTo>
                    <a:pt x="1379" y="717"/>
                  </a:lnTo>
                  <a:lnTo>
                    <a:pt x="1379" y="714"/>
                  </a:lnTo>
                  <a:lnTo>
                    <a:pt x="1383" y="711"/>
                  </a:lnTo>
                  <a:lnTo>
                    <a:pt x="1386" y="711"/>
                  </a:lnTo>
                  <a:lnTo>
                    <a:pt x="1386" y="711"/>
                  </a:lnTo>
                  <a:lnTo>
                    <a:pt x="1383" y="714"/>
                  </a:lnTo>
                  <a:lnTo>
                    <a:pt x="1383" y="717"/>
                  </a:lnTo>
                  <a:lnTo>
                    <a:pt x="1383" y="720"/>
                  </a:lnTo>
                  <a:lnTo>
                    <a:pt x="1383" y="720"/>
                  </a:lnTo>
                  <a:lnTo>
                    <a:pt x="1386" y="714"/>
                  </a:lnTo>
                  <a:lnTo>
                    <a:pt x="1386" y="714"/>
                  </a:lnTo>
                  <a:lnTo>
                    <a:pt x="1386" y="714"/>
                  </a:lnTo>
                  <a:lnTo>
                    <a:pt x="1390" y="714"/>
                  </a:lnTo>
                  <a:lnTo>
                    <a:pt x="1390" y="717"/>
                  </a:lnTo>
                  <a:lnTo>
                    <a:pt x="1393" y="720"/>
                  </a:lnTo>
                  <a:lnTo>
                    <a:pt x="1393" y="720"/>
                  </a:lnTo>
                  <a:lnTo>
                    <a:pt x="1393" y="717"/>
                  </a:lnTo>
                  <a:lnTo>
                    <a:pt x="1393" y="714"/>
                  </a:lnTo>
                  <a:lnTo>
                    <a:pt x="1400" y="711"/>
                  </a:lnTo>
                  <a:lnTo>
                    <a:pt x="1400" y="714"/>
                  </a:lnTo>
                  <a:lnTo>
                    <a:pt x="1396" y="714"/>
                  </a:lnTo>
                  <a:lnTo>
                    <a:pt x="1400" y="714"/>
                  </a:lnTo>
                  <a:lnTo>
                    <a:pt x="1403" y="714"/>
                  </a:lnTo>
                  <a:lnTo>
                    <a:pt x="1403" y="717"/>
                  </a:lnTo>
                  <a:lnTo>
                    <a:pt x="1403" y="720"/>
                  </a:lnTo>
                  <a:lnTo>
                    <a:pt x="1407" y="720"/>
                  </a:lnTo>
                  <a:lnTo>
                    <a:pt x="1407" y="720"/>
                  </a:lnTo>
                  <a:lnTo>
                    <a:pt x="1407" y="724"/>
                  </a:lnTo>
                  <a:lnTo>
                    <a:pt x="1410" y="727"/>
                  </a:lnTo>
                  <a:lnTo>
                    <a:pt x="1410" y="727"/>
                  </a:lnTo>
                  <a:lnTo>
                    <a:pt x="1410" y="727"/>
                  </a:lnTo>
                  <a:lnTo>
                    <a:pt x="1407" y="730"/>
                  </a:lnTo>
                  <a:lnTo>
                    <a:pt x="1403" y="730"/>
                  </a:lnTo>
                  <a:lnTo>
                    <a:pt x="1403" y="727"/>
                  </a:lnTo>
                  <a:lnTo>
                    <a:pt x="1403" y="724"/>
                  </a:lnTo>
                  <a:lnTo>
                    <a:pt x="1400" y="724"/>
                  </a:lnTo>
                  <a:lnTo>
                    <a:pt x="1400" y="724"/>
                  </a:lnTo>
                  <a:lnTo>
                    <a:pt x="1396" y="724"/>
                  </a:lnTo>
                  <a:lnTo>
                    <a:pt x="1393" y="727"/>
                  </a:lnTo>
                  <a:lnTo>
                    <a:pt x="1396" y="727"/>
                  </a:lnTo>
                  <a:lnTo>
                    <a:pt x="1400" y="727"/>
                  </a:lnTo>
                  <a:lnTo>
                    <a:pt x="1400" y="727"/>
                  </a:lnTo>
                  <a:lnTo>
                    <a:pt x="1400" y="727"/>
                  </a:lnTo>
                  <a:lnTo>
                    <a:pt x="1400" y="730"/>
                  </a:lnTo>
                  <a:lnTo>
                    <a:pt x="1400" y="730"/>
                  </a:lnTo>
                  <a:lnTo>
                    <a:pt x="1400" y="730"/>
                  </a:lnTo>
                  <a:lnTo>
                    <a:pt x="1396" y="730"/>
                  </a:lnTo>
                  <a:lnTo>
                    <a:pt x="1396" y="733"/>
                  </a:lnTo>
                  <a:lnTo>
                    <a:pt x="1396" y="733"/>
                  </a:lnTo>
                  <a:lnTo>
                    <a:pt x="1400" y="733"/>
                  </a:lnTo>
                  <a:lnTo>
                    <a:pt x="1403" y="733"/>
                  </a:lnTo>
                  <a:lnTo>
                    <a:pt x="1403" y="733"/>
                  </a:lnTo>
                  <a:lnTo>
                    <a:pt x="1400" y="737"/>
                  </a:lnTo>
                  <a:lnTo>
                    <a:pt x="1400" y="737"/>
                  </a:lnTo>
                  <a:lnTo>
                    <a:pt x="1396" y="737"/>
                  </a:lnTo>
                  <a:lnTo>
                    <a:pt x="1393" y="737"/>
                  </a:lnTo>
                  <a:lnTo>
                    <a:pt x="1390" y="737"/>
                  </a:lnTo>
                  <a:lnTo>
                    <a:pt x="1390" y="733"/>
                  </a:lnTo>
                  <a:lnTo>
                    <a:pt x="1390" y="733"/>
                  </a:lnTo>
                  <a:lnTo>
                    <a:pt x="1386" y="730"/>
                  </a:lnTo>
                  <a:lnTo>
                    <a:pt x="1386" y="730"/>
                  </a:lnTo>
                  <a:lnTo>
                    <a:pt x="1383" y="730"/>
                  </a:lnTo>
                  <a:lnTo>
                    <a:pt x="1386" y="733"/>
                  </a:lnTo>
                  <a:lnTo>
                    <a:pt x="1386" y="733"/>
                  </a:lnTo>
                  <a:lnTo>
                    <a:pt x="1386" y="737"/>
                  </a:lnTo>
                  <a:lnTo>
                    <a:pt x="1386" y="737"/>
                  </a:lnTo>
                  <a:lnTo>
                    <a:pt x="1383" y="737"/>
                  </a:lnTo>
                  <a:lnTo>
                    <a:pt x="1383" y="737"/>
                  </a:lnTo>
                  <a:lnTo>
                    <a:pt x="1379" y="733"/>
                  </a:lnTo>
                  <a:lnTo>
                    <a:pt x="1379" y="737"/>
                  </a:lnTo>
                  <a:lnTo>
                    <a:pt x="1383" y="740"/>
                  </a:lnTo>
                  <a:lnTo>
                    <a:pt x="1386" y="740"/>
                  </a:lnTo>
                  <a:lnTo>
                    <a:pt x="1390" y="740"/>
                  </a:lnTo>
                  <a:lnTo>
                    <a:pt x="1390" y="740"/>
                  </a:lnTo>
                  <a:lnTo>
                    <a:pt x="1390" y="743"/>
                  </a:lnTo>
                  <a:lnTo>
                    <a:pt x="1390" y="743"/>
                  </a:lnTo>
                  <a:lnTo>
                    <a:pt x="1383" y="743"/>
                  </a:lnTo>
                  <a:lnTo>
                    <a:pt x="1383" y="743"/>
                  </a:lnTo>
                  <a:lnTo>
                    <a:pt x="1379" y="740"/>
                  </a:lnTo>
                  <a:lnTo>
                    <a:pt x="1379" y="740"/>
                  </a:lnTo>
                  <a:lnTo>
                    <a:pt x="1376" y="740"/>
                  </a:lnTo>
                  <a:lnTo>
                    <a:pt x="1379" y="740"/>
                  </a:lnTo>
                  <a:lnTo>
                    <a:pt x="1383" y="743"/>
                  </a:lnTo>
                  <a:lnTo>
                    <a:pt x="1383" y="746"/>
                  </a:lnTo>
                  <a:lnTo>
                    <a:pt x="1383" y="749"/>
                  </a:lnTo>
                  <a:lnTo>
                    <a:pt x="1383" y="749"/>
                  </a:lnTo>
                  <a:lnTo>
                    <a:pt x="1379" y="749"/>
                  </a:lnTo>
                  <a:lnTo>
                    <a:pt x="1379" y="749"/>
                  </a:lnTo>
                  <a:lnTo>
                    <a:pt x="1376" y="746"/>
                  </a:lnTo>
                  <a:lnTo>
                    <a:pt x="1372" y="746"/>
                  </a:lnTo>
                  <a:lnTo>
                    <a:pt x="1376" y="746"/>
                  </a:lnTo>
                  <a:lnTo>
                    <a:pt x="1376" y="746"/>
                  </a:lnTo>
                  <a:lnTo>
                    <a:pt x="1376" y="749"/>
                  </a:lnTo>
                  <a:lnTo>
                    <a:pt x="1376" y="756"/>
                  </a:lnTo>
                  <a:lnTo>
                    <a:pt x="1376" y="756"/>
                  </a:lnTo>
                  <a:lnTo>
                    <a:pt x="1372" y="756"/>
                  </a:lnTo>
                  <a:lnTo>
                    <a:pt x="1372" y="753"/>
                  </a:lnTo>
                  <a:lnTo>
                    <a:pt x="1372" y="753"/>
                  </a:lnTo>
                  <a:lnTo>
                    <a:pt x="1369" y="753"/>
                  </a:lnTo>
                  <a:lnTo>
                    <a:pt x="1369" y="753"/>
                  </a:lnTo>
                  <a:lnTo>
                    <a:pt x="1365" y="753"/>
                  </a:lnTo>
                  <a:lnTo>
                    <a:pt x="1365" y="753"/>
                  </a:lnTo>
                  <a:lnTo>
                    <a:pt x="1365" y="753"/>
                  </a:lnTo>
                  <a:lnTo>
                    <a:pt x="1365" y="749"/>
                  </a:lnTo>
                  <a:lnTo>
                    <a:pt x="1365" y="746"/>
                  </a:lnTo>
                  <a:lnTo>
                    <a:pt x="1362" y="746"/>
                  </a:lnTo>
                  <a:lnTo>
                    <a:pt x="1362" y="746"/>
                  </a:lnTo>
                  <a:lnTo>
                    <a:pt x="1362" y="753"/>
                  </a:lnTo>
                  <a:lnTo>
                    <a:pt x="1362" y="753"/>
                  </a:lnTo>
                  <a:lnTo>
                    <a:pt x="1359" y="753"/>
                  </a:lnTo>
                  <a:lnTo>
                    <a:pt x="1359" y="753"/>
                  </a:lnTo>
                  <a:lnTo>
                    <a:pt x="1362" y="753"/>
                  </a:lnTo>
                  <a:lnTo>
                    <a:pt x="1362" y="756"/>
                  </a:lnTo>
                  <a:lnTo>
                    <a:pt x="1362" y="756"/>
                  </a:lnTo>
                  <a:lnTo>
                    <a:pt x="1359" y="756"/>
                  </a:lnTo>
                  <a:lnTo>
                    <a:pt x="1359" y="756"/>
                  </a:lnTo>
                  <a:lnTo>
                    <a:pt x="1359" y="756"/>
                  </a:lnTo>
                  <a:lnTo>
                    <a:pt x="1359" y="759"/>
                  </a:lnTo>
                  <a:lnTo>
                    <a:pt x="1362" y="759"/>
                  </a:lnTo>
                  <a:lnTo>
                    <a:pt x="1362" y="759"/>
                  </a:lnTo>
                  <a:lnTo>
                    <a:pt x="1362" y="762"/>
                  </a:lnTo>
                  <a:lnTo>
                    <a:pt x="1359" y="762"/>
                  </a:lnTo>
                  <a:lnTo>
                    <a:pt x="1359" y="762"/>
                  </a:lnTo>
                  <a:lnTo>
                    <a:pt x="1359" y="766"/>
                  </a:lnTo>
                  <a:lnTo>
                    <a:pt x="1359" y="769"/>
                  </a:lnTo>
                  <a:lnTo>
                    <a:pt x="1359" y="769"/>
                  </a:lnTo>
                  <a:lnTo>
                    <a:pt x="1359" y="766"/>
                  </a:lnTo>
                  <a:lnTo>
                    <a:pt x="1355" y="766"/>
                  </a:lnTo>
                  <a:lnTo>
                    <a:pt x="1359" y="769"/>
                  </a:lnTo>
                  <a:lnTo>
                    <a:pt x="1359" y="772"/>
                  </a:lnTo>
                  <a:lnTo>
                    <a:pt x="1359" y="772"/>
                  </a:lnTo>
                  <a:lnTo>
                    <a:pt x="1355" y="775"/>
                  </a:lnTo>
                  <a:lnTo>
                    <a:pt x="1355" y="775"/>
                  </a:lnTo>
                  <a:lnTo>
                    <a:pt x="1352" y="775"/>
                  </a:lnTo>
                  <a:lnTo>
                    <a:pt x="1352" y="775"/>
                  </a:lnTo>
                  <a:lnTo>
                    <a:pt x="1352" y="772"/>
                  </a:lnTo>
                  <a:lnTo>
                    <a:pt x="1352" y="772"/>
                  </a:lnTo>
                  <a:lnTo>
                    <a:pt x="1348" y="772"/>
                  </a:lnTo>
                  <a:lnTo>
                    <a:pt x="1348" y="769"/>
                  </a:lnTo>
                  <a:lnTo>
                    <a:pt x="1352" y="769"/>
                  </a:lnTo>
                  <a:lnTo>
                    <a:pt x="1352" y="766"/>
                  </a:lnTo>
                  <a:lnTo>
                    <a:pt x="1348" y="769"/>
                  </a:lnTo>
                  <a:lnTo>
                    <a:pt x="1348" y="769"/>
                  </a:lnTo>
                  <a:lnTo>
                    <a:pt x="1345" y="769"/>
                  </a:lnTo>
                  <a:lnTo>
                    <a:pt x="1345" y="769"/>
                  </a:lnTo>
                  <a:lnTo>
                    <a:pt x="1341" y="769"/>
                  </a:lnTo>
                  <a:lnTo>
                    <a:pt x="1345" y="766"/>
                  </a:lnTo>
                  <a:lnTo>
                    <a:pt x="1341" y="766"/>
                  </a:lnTo>
                  <a:lnTo>
                    <a:pt x="1341" y="762"/>
                  </a:lnTo>
                  <a:lnTo>
                    <a:pt x="1345" y="762"/>
                  </a:lnTo>
                  <a:lnTo>
                    <a:pt x="1345" y="762"/>
                  </a:lnTo>
                  <a:lnTo>
                    <a:pt x="1345" y="759"/>
                  </a:lnTo>
                  <a:lnTo>
                    <a:pt x="1345" y="759"/>
                  </a:lnTo>
                  <a:lnTo>
                    <a:pt x="1341" y="762"/>
                  </a:lnTo>
                  <a:lnTo>
                    <a:pt x="1341" y="766"/>
                  </a:lnTo>
                  <a:lnTo>
                    <a:pt x="1338" y="766"/>
                  </a:lnTo>
                  <a:lnTo>
                    <a:pt x="1338" y="766"/>
                  </a:lnTo>
                  <a:lnTo>
                    <a:pt x="1338" y="766"/>
                  </a:lnTo>
                  <a:lnTo>
                    <a:pt x="1338" y="762"/>
                  </a:lnTo>
                  <a:lnTo>
                    <a:pt x="1334" y="759"/>
                  </a:lnTo>
                  <a:lnTo>
                    <a:pt x="1338" y="759"/>
                  </a:lnTo>
                  <a:lnTo>
                    <a:pt x="1341" y="759"/>
                  </a:lnTo>
                  <a:lnTo>
                    <a:pt x="1341" y="756"/>
                  </a:lnTo>
                  <a:lnTo>
                    <a:pt x="1341" y="756"/>
                  </a:lnTo>
                  <a:lnTo>
                    <a:pt x="1341" y="756"/>
                  </a:lnTo>
                  <a:lnTo>
                    <a:pt x="1338" y="756"/>
                  </a:lnTo>
                  <a:lnTo>
                    <a:pt x="1338" y="756"/>
                  </a:lnTo>
                  <a:lnTo>
                    <a:pt x="1334" y="756"/>
                  </a:lnTo>
                  <a:lnTo>
                    <a:pt x="1334" y="756"/>
                  </a:lnTo>
                  <a:lnTo>
                    <a:pt x="1334" y="753"/>
                  </a:lnTo>
                  <a:lnTo>
                    <a:pt x="1338" y="753"/>
                  </a:lnTo>
                  <a:lnTo>
                    <a:pt x="1341" y="749"/>
                  </a:lnTo>
                  <a:lnTo>
                    <a:pt x="1338" y="749"/>
                  </a:lnTo>
                  <a:lnTo>
                    <a:pt x="1334" y="749"/>
                  </a:lnTo>
                  <a:lnTo>
                    <a:pt x="1334" y="749"/>
                  </a:lnTo>
                  <a:lnTo>
                    <a:pt x="1334" y="749"/>
                  </a:lnTo>
                  <a:lnTo>
                    <a:pt x="1334" y="749"/>
                  </a:lnTo>
                  <a:lnTo>
                    <a:pt x="1338" y="746"/>
                  </a:lnTo>
                  <a:lnTo>
                    <a:pt x="1341" y="746"/>
                  </a:lnTo>
                  <a:lnTo>
                    <a:pt x="1338" y="746"/>
                  </a:lnTo>
                  <a:lnTo>
                    <a:pt x="1334" y="746"/>
                  </a:lnTo>
                  <a:lnTo>
                    <a:pt x="1334" y="746"/>
                  </a:lnTo>
                  <a:lnTo>
                    <a:pt x="1334" y="746"/>
                  </a:lnTo>
                  <a:lnTo>
                    <a:pt x="1334" y="743"/>
                  </a:lnTo>
                  <a:lnTo>
                    <a:pt x="1334" y="740"/>
                  </a:lnTo>
                  <a:lnTo>
                    <a:pt x="1338" y="740"/>
                  </a:lnTo>
                  <a:lnTo>
                    <a:pt x="1341" y="740"/>
                  </a:lnTo>
                  <a:lnTo>
                    <a:pt x="1345" y="737"/>
                  </a:lnTo>
                  <a:lnTo>
                    <a:pt x="1348" y="737"/>
                  </a:lnTo>
                  <a:lnTo>
                    <a:pt x="1348" y="733"/>
                  </a:lnTo>
                  <a:lnTo>
                    <a:pt x="1352" y="730"/>
                  </a:lnTo>
                  <a:lnTo>
                    <a:pt x="1352" y="730"/>
                  </a:lnTo>
                  <a:lnTo>
                    <a:pt x="1352" y="730"/>
                  </a:lnTo>
                  <a:lnTo>
                    <a:pt x="1352" y="730"/>
                  </a:lnTo>
                  <a:lnTo>
                    <a:pt x="1348" y="733"/>
                  </a:lnTo>
                  <a:lnTo>
                    <a:pt x="1345" y="733"/>
                  </a:lnTo>
                  <a:lnTo>
                    <a:pt x="1345" y="737"/>
                  </a:lnTo>
                  <a:lnTo>
                    <a:pt x="1338" y="737"/>
                  </a:lnTo>
                  <a:lnTo>
                    <a:pt x="1338" y="737"/>
                  </a:lnTo>
                  <a:lnTo>
                    <a:pt x="1331" y="740"/>
                  </a:lnTo>
                  <a:lnTo>
                    <a:pt x="1328" y="740"/>
                  </a:lnTo>
                  <a:lnTo>
                    <a:pt x="1328" y="740"/>
                  </a:lnTo>
                  <a:lnTo>
                    <a:pt x="1328" y="740"/>
                  </a:lnTo>
                  <a:lnTo>
                    <a:pt x="1331" y="733"/>
                  </a:lnTo>
                  <a:lnTo>
                    <a:pt x="1334" y="733"/>
                  </a:lnTo>
                  <a:lnTo>
                    <a:pt x="1338" y="730"/>
                  </a:lnTo>
                  <a:lnTo>
                    <a:pt x="1338" y="730"/>
                  </a:lnTo>
                  <a:lnTo>
                    <a:pt x="1338" y="727"/>
                  </a:lnTo>
                  <a:lnTo>
                    <a:pt x="1334" y="730"/>
                  </a:lnTo>
                  <a:lnTo>
                    <a:pt x="1328" y="733"/>
                  </a:lnTo>
                  <a:lnTo>
                    <a:pt x="1324" y="733"/>
                  </a:lnTo>
                  <a:lnTo>
                    <a:pt x="1324" y="733"/>
                  </a:lnTo>
                  <a:lnTo>
                    <a:pt x="1324" y="733"/>
                  </a:lnTo>
                  <a:lnTo>
                    <a:pt x="1324" y="730"/>
                  </a:lnTo>
                  <a:lnTo>
                    <a:pt x="1321" y="730"/>
                  </a:lnTo>
                  <a:lnTo>
                    <a:pt x="1321" y="730"/>
                  </a:lnTo>
                  <a:lnTo>
                    <a:pt x="1317" y="730"/>
                  </a:lnTo>
                  <a:lnTo>
                    <a:pt x="1317" y="727"/>
                  </a:lnTo>
                  <a:lnTo>
                    <a:pt x="1321" y="727"/>
                  </a:lnTo>
                  <a:lnTo>
                    <a:pt x="1321" y="727"/>
                  </a:lnTo>
                  <a:lnTo>
                    <a:pt x="1321" y="724"/>
                  </a:lnTo>
                  <a:lnTo>
                    <a:pt x="1317" y="724"/>
                  </a:lnTo>
                  <a:lnTo>
                    <a:pt x="1317" y="724"/>
                  </a:lnTo>
                  <a:lnTo>
                    <a:pt x="1317" y="720"/>
                  </a:lnTo>
                  <a:lnTo>
                    <a:pt x="1317" y="720"/>
                  </a:lnTo>
                  <a:lnTo>
                    <a:pt x="1321" y="720"/>
                  </a:lnTo>
                  <a:lnTo>
                    <a:pt x="1317" y="717"/>
                  </a:lnTo>
                  <a:lnTo>
                    <a:pt x="1317" y="717"/>
                  </a:lnTo>
                  <a:lnTo>
                    <a:pt x="1314" y="717"/>
                  </a:lnTo>
                  <a:lnTo>
                    <a:pt x="1314" y="717"/>
                  </a:lnTo>
                  <a:lnTo>
                    <a:pt x="1314" y="720"/>
                  </a:lnTo>
                  <a:lnTo>
                    <a:pt x="1314" y="720"/>
                  </a:lnTo>
                  <a:lnTo>
                    <a:pt x="1310" y="720"/>
                  </a:lnTo>
                  <a:lnTo>
                    <a:pt x="1310" y="717"/>
                  </a:lnTo>
                  <a:lnTo>
                    <a:pt x="1307" y="717"/>
                  </a:lnTo>
                  <a:lnTo>
                    <a:pt x="1310" y="720"/>
                  </a:lnTo>
                  <a:lnTo>
                    <a:pt x="1310" y="724"/>
                  </a:lnTo>
                  <a:lnTo>
                    <a:pt x="1310" y="727"/>
                  </a:lnTo>
                  <a:lnTo>
                    <a:pt x="1310" y="727"/>
                  </a:lnTo>
                  <a:lnTo>
                    <a:pt x="1307" y="727"/>
                  </a:lnTo>
                  <a:lnTo>
                    <a:pt x="1310" y="727"/>
                  </a:lnTo>
                  <a:lnTo>
                    <a:pt x="1307" y="727"/>
                  </a:lnTo>
                  <a:lnTo>
                    <a:pt x="1304" y="727"/>
                  </a:lnTo>
                  <a:lnTo>
                    <a:pt x="1304" y="724"/>
                  </a:lnTo>
                  <a:lnTo>
                    <a:pt x="1304" y="720"/>
                  </a:lnTo>
                  <a:lnTo>
                    <a:pt x="1300" y="724"/>
                  </a:lnTo>
                  <a:lnTo>
                    <a:pt x="1304" y="724"/>
                  </a:lnTo>
                  <a:lnTo>
                    <a:pt x="1304" y="727"/>
                  </a:lnTo>
                  <a:lnTo>
                    <a:pt x="1304" y="730"/>
                  </a:lnTo>
                  <a:lnTo>
                    <a:pt x="1304" y="730"/>
                  </a:lnTo>
                  <a:lnTo>
                    <a:pt x="1307" y="730"/>
                  </a:lnTo>
                  <a:lnTo>
                    <a:pt x="1307" y="733"/>
                  </a:lnTo>
                  <a:lnTo>
                    <a:pt x="1307" y="737"/>
                  </a:lnTo>
                  <a:lnTo>
                    <a:pt x="1310" y="737"/>
                  </a:lnTo>
                  <a:lnTo>
                    <a:pt x="1310" y="740"/>
                  </a:lnTo>
                  <a:lnTo>
                    <a:pt x="1307" y="740"/>
                  </a:lnTo>
                  <a:lnTo>
                    <a:pt x="1304" y="740"/>
                  </a:lnTo>
                  <a:lnTo>
                    <a:pt x="1300" y="737"/>
                  </a:lnTo>
                  <a:lnTo>
                    <a:pt x="1300" y="740"/>
                  </a:lnTo>
                  <a:lnTo>
                    <a:pt x="1300" y="740"/>
                  </a:lnTo>
                  <a:lnTo>
                    <a:pt x="1297" y="737"/>
                  </a:lnTo>
                  <a:lnTo>
                    <a:pt x="1293" y="733"/>
                  </a:lnTo>
                  <a:lnTo>
                    <a:pt x="1297" y="733"/>
                  </a:lnTo>
                  <a:lnTo>
                    <a:pt x="1297" y="730"/>
                  </a:lnTo>
                  <a:lnTo>
                    <a:pt x="1293" y="730"/>
                  </a:lnTo>
                  <a:lnTo>
                    <a:pt x="1290" y="730"/>
                  </a:lnTo>
                  <a:lnTo>
                    <a:pt x="1290" y="727"/>
                  </a:lnTo>
                  <a:lnTo>
                    <a:pt x="1286" y="724"/>
                  </a:lnTo>
                  <a:lnTo>
                    <a:pt x="1286" y="727"/>
                  </a:lnTo>
                  <a:lnTo>
                    <a:pt x="1283" y="727"/>
                  </a:lnTo>
                  <a:lnTo>
                    <a:pt x="1279" y="727"/>
                  </a:lnTo>
                  <a:lnTo>
                    <a:pt x="1279" y="727"/>
                  </a:lnTo>
                  <a:lnTo>
                    <a:pt x="1283" y="727"/>
                  </a:lnTo>
                  <a:lnTo>
                    <a:pt x="1286" y="730"/>
                  </a:lnTo>
                  <a:lnTo>
                    <a:pt x="1290" y="730"/>
                  </a:lnTo>
                  <a:lnTo>
                    <a:pt x="1290" y="733"/>
                  </a:lnTo>
                  <a:lnTo>
                    <a:pt x="1290" y="737"/>
                  </a:lnTo>
                  <a:lnTo>
                    <a:pt x="1290" y="737"/>
                  </a:lnTo>
                  <a:lnTo>
                    <a:pt x="1290" y="737"/>
                  </a:lnTo>
                  <a:lnTo>
                    <a:pt x="1293" y="740"/>
                  </a:lnTo>
                  <a:lnTo>
                    <a:pt x="1290" y="740"/>
                  </a:lnTo>
                  <a:lnTo>
                    <a:pt x="1293" y="740"/>
                  </a:lnTo>
                  <a:lnTo>
                    <a:pt x="1297" y="740"/>
                  </a:lnTo>
                  <a:lnTo>
                    <a:pt x="1297" y="743"/>
                  </a:lnTo>
                  <a:lnTo>
                    <a:pt x="1293" y="746"/>
                  </a:lnTo>
                  <a:lnTo>
                    <a:pt x="1290" y="749"/>
                  </a:lnTo>
                  <a:lnTo>
                    <a:pt x="1286" y="753"/>
                  </a:lnTo>
                  <a:lnTo>
                    <a:pt x="1293" y="749"/>
                  </a:lnTo>
                  <a:lnTo>
                    <a:pt x="1293" y="749"/>
                  </a:lnTo>
                  <a:lnTo>
                    <a:pt x="1297" y="746"/>
                  </a:lnTo>
                  <a:lnTo>
                    <a:pt x="1300" y="746"/>
                  </a:lnTo>
                  <a:lnTo>
                    <a:pt x="1304" y="749"/>
                  </a:lnTo>
                  <a:lnTo>
                    <a:pt x="1304" y="749"/>
                  </a:lnTo>
                  <a:lnTo>
                    <a:pt x="1300" y="749"/>
                  </a:lnTo>
                  <a:lnTo>
                    <a:pt x="1297" y="753"/>
                  </a:lnTo>
                  <a:lnTo>
                    <a:pt x="1300" y="753"/>
                  </a:lnTo>
                  <a:lnTo>
                    <a:pt x="1304" y="753"/>
                  </a:lnTo>
                  <a:lnTo>
                    <a:pt x="1304" y="756"/>
                  </a:lnTo>
                  <a:lnTo>
                    <a:pt x="1304" y="756"/>
                  </a:lnTo>
                  <a:lnTo>
                    <a:pt x="1300" y="756"/>
                  </a:lnTo>
                  <a:lnTo>
                    <a:pt x="1297" y="759"/>
                  </a:lnTo>
                  <a:lnTo>
                    <a:pt x="1300" y="759"/>
                  </a:lnTo>
                  <a:lnTo>
                    <a:pt x="1300" y="762"/>
                  </a:lnTo>
                  <a:lnTo>
                    <a:pt x="1300" y="762"/>
                  </a:lnTo>
                  <a:lnTo>
                    <a:pt x="1300" y="762"/>
                  </a:lnTo>
                  <a:lnTo>
                    <a:pt x="1300" y="762"/>
                  </a:lnTo>
                  <a:lnTo>
                    <a:pt x="1300" y="766"/>
                  </a:lnTo>
                  <a:lnTo>
                    <a:pt x="1304" y="766"/>
                  </a:lnTo>
                  <a:lnTo>
                    <a:pt x="1304" y="769"/>
                  </a:lnTo>
                  <a:lnTo>
                    <a:pt x="1304" y="772"/>
                  </a:lnTo>
                  <a:lnTo>
                    <a:pt x="1304" y="772"/>
                  </a:lnTo>
                  <a:lnTo>
                    <a:pt x="1307" y="769"/>
                  </a:lnTo>
                  <a:lnTo>
                    <a:pt x="1307" y="766"/>
                  </a:lnTo>
                  <a:lnTo>
                    <a:pt x="1307" y="766"/>
                  </a:lnTo>
                  <a:lnTo>
                    <a:pt x="1310" y="769"/>
                  </a:lnTo>
                  <a:lnTo>
                    <a:pt x="1310" y="772"/>
                  </a:lnTo>
                  <a:lnTo>
                    <a:pt x="1310" y="772"/>
                  </a:lnTo>
                  <a:lnTo>
                    <a:pt x="1310" y="775"/>
                  </a:lnTo>
                  <a:lnTo>
                    <a:pt x="1307" y="775"/>
                  </a:lnTo>
                  <a:lnTo>
                    <a:pt x="1307" y="775"/>
                  </a:lnTo>
                  <a:lnTo>
                    <a:pt x="1314" y="775"/>
                  </a:lnTo>
                  <a:lnTo>
                    <a:pt x="1314" y="775"/>
                  </a:lnTo>
                  <a:lnTo>
                    <a:pt x="1314" y="779"/>
                  </a:lnTo>
                  <a:lnTo>
                    <a:pt x="1317" y="775"/>
                  </a:lnTo>
                  <a:lnTo>
                    <a:pt x="1317" y="772"/>
                  </a:lnTo>
                  <a:lnTo>
                    <a:pt x="1317" y="772"/>
                  </a:lnTo>
                  <a:lnTo>
                    <a:pt x="1321" y="775"/>
                  </a:lnTo>
                  <a:lnTo>
                    <a:pt x="1321" y="779"/>
                  </a:lnTo>
                  <a:lnTo>
                    <a:pt x="1317" y="782"/>
                  </a:lnTo>
                  <a:lnTo>
                    <a:pt x="1317" y="782"/>
                  </a:lnTo>
                  <a:lnTo>
                    <a:pt x="1317" y="785"/>
                  </a:lnTo>
                  <a:lnTo>
                    <a:pt x="1317" y="785"/>
                  </a:lnTo>
                  <a:lnTo>
                    <a:pt x="1321" y="785"/>
                  </a:lnTo>
                  <a:lnTo>
                    <a:pt x="1324" y="785"/>
                  </a:lnTo>
                  <a:lnTo>
                    <a:pt x="1328" y="785"/>
                  </a:lnTo>
                  <a:lnTo>
                    <a:pt x="1324" y="788"/>
                  </a:lnTo>
                  <a:lnTo>
                    <a:pt x="1321" y="788"/>
                  </a:lnTo>
                  <a:lnTo>
                    <a:pt x="1317" y="788"/>
                  </a:lnTo>
                  <a:lnTo>
                    <a:pt x="1321" y="791"/>
                  </a:lnTo>
                  <a:lnTo>
                    <a:pt x="1324" y="795"/>
                  </a:lnTo>
                  <a:lnTo>
                    <a:pt x="1321" y="798"/>
                  </a:lnTo>
                  <a:lnTo>
                    <a:pt x="1324" y="798"/>
                  </a:lnTo>
                  <a:lnTo>
                    <a:pt x="1324" y="801"/>
                  </a:lnTo>
                  <a:lnTo>
                    <a:pt x="1328" y="808"/>
                  </a:lnTo>
                  <a:lnTo>
                    <a:pt x="1331" y="808"/>
                  </a:lnTo>
                  <a:lnTo>
                    <a:pt x="1328" y="808"/>
                  </a:lnTo>
                  <a:lnTo>
                    <a:pt x="1328" y="814"/>
                  </a:lnTo>
                  <a:lnTo>
                    <a:pt x="1324" y="817"/>
                  </a:lnTo>
                  <a:lnTo>
                    <a:pt x="1324" y="821"/>
                  </a:lnTo>
                  <a:lnTo>
                    <a:pt x="1324" y="821"/>
                  </a:lnTo>
                  <a:lnTo>
                    <a:pt x="1321" y="817"/>
                  </a:lnTo>
                  <a:lnTo>
                    <a:pt x="1317" y="814"/>
                  </a:lnTo>
                  <a:lnTo>
                    <a:pt x="1321" y="811"/>
                  </a:lnTo>
                  <a:lnTo>
                    <a:pt x="1317" y="804"/>
                  </a:lnTo>
                  <a:lnTo>
                    <a:pt x="1317" y="808"/>
                  </a:lnTo>
                  <a:lnTo>
                    <a:pt x="1317" y="814"/>
                  </a:lnTo>
                  <a:lnTo>
                    <a:pt x="1321" y="821"/>
                  </a:lnTo>
                  <a:lnTo>
                    <a:pt x="1317" y="824"/>
                  </a:lnTo>
                  <a:lnTo>
                    <a:pt x="1317" y="827"/>
                  </a:lnTo>
                  <a:lnTo>
                    <a:pt x="1321" y="830"/>
                  </a:lnTo>
                  <a:lnTo>
                    <a:pt x="1317" y="830"/>
                  </a:lnTo>
                  <a:lnTo>
                    <a:pt x="1314" y="830"/>
                  </a:lnTo>
                  <a:lnTo>
                    <a:pt x="1314" y="827"/>
                  </a:lnTo>
                  <a:lnTo>
                    <a:pt x="1310" y="827"/>
                  </a:lnTo>
                  <a:lnTo>
                    <a:pt x="1314" y="833"/>
                  </a:lnTo>
                  <a:lnTo>
                    <a:pt x="1314" y="837"/>
                  </a:lnTo>
                  <a:lnTo>
                    <a:pt x="1314" y="840"/>
                  </a:lnTo>
                  <a:lnTo>
                    <a:pt x="1314" y="840"/>
                  </a:lnTo>
                  <a:lnTo>
                    <a:pt x="1310" y="840"/>
                  </a:lnTo>
                  <a:lnTo>
                    <a:pt x="1307" y="840"/>
                  </a:lnTo>
                  <a:lnTo>
                    <a:pt x="1307" y="833"/>
                  </a:lnTo>
                  <a:lnTo>
                    <a:pt x="1307" y="833"/>
                  </a:lnTo>
                  <a:lnTo>
                    <a:pt x="1307" y="830"/>
                  </a:lnTo>
                  <a:lnTo>
                    <a:pt x="1307" y="830"/>
                  </a:lnTo>
                  <a:lnTo>
                    <a:pt x="1304" y="830"/>
                  </a:lnTo>
                  <a:lnTo>
                    <a:pt x="1300" y="830"/>
                  </a:lnTo>
                  <a:lnTo>
                    <a:pt x="1300" y="824"/>
                  </a:lnTo>
                  <a:lnTo>
                    <a:pt x="1300" y="824"/>
                  </a:lnTo>
                  <a:lnTo>
                    <a:pt x="1300" y="827"/>
                  </a:lnTo>
                  <a:lnTo>
                    <a:pt x="1300" y="827"/>
                  </a:lnTo>
                  <a:lnTo>
                    <a:pt x="1300" y="824"/>
                  </a:lnTo>
                  <a:lnTo>
                    <a:pt x="1297" y="821"/>
                  </a:lnTo>
                  <a:lnTo>
                    <a:pt x="1297" y="821"/>
                  </a:lnTo>
                  <a:lnTo>
                    <a:pt x="1297" y="824"/>
                  </a:lnTo>
                  <a:lnTo>
                    <a:pt x="1297" y="824"/>
                  </a:lnTo>
                  <a:lnTo>
                    <a:pt x="1297" y="827"/>
                  </a:lnTo>
                  <a:lnTo>
                    <a:pt x="1293" y="824"/>
                  </a:lnTo>
                  <a:lnTo>
                    <a:pt x="1290" y="824"/>
                  </a:lnTo>
                  <a:lnTo>
                    <a:pt x="1290" y="821"/>
                  </a:lnTo>
                  <a:lnTo>
                    <a:pt x="1290" y="817"/>
                  </a:lnTo>
                  <a:lnTo>
                    <a:pt x="1290" y="814"/>
                  </a:lnTo>
                  <a:lnTo>
                    <a:pt x="1290" y="811"/>
                  </a:lnTo>
                  <a:lnTo>
                    <a:pt x="1290" y="814"/>
                  </a:lnTo>
                  <a:lnTo>
                    <a:pt x="1290" y="821"/>
                  </a:lnTo>
                  <a:lnTo>
                    <a:pt x="1290" y="824"/>
                  </a:lnTo>
                  <a:lnTo>
                    <a:pt x="1286" y="824"/>
                  </a:lnTo>
                  <a:lnTo>
                    <a:pt x="1286" y="821"/>
                  </a:lnTo>
                  <a:lnTo>
                    <a:pt x="1283" y="817"/>
                  </a:lnTo>
                  <a:lnTo>
                    <a:pt x="1283" y="814"/>
                  </a:lnTo>
                  <a:lnTo>
                    <a:pt x="1279" y="814"/>
                  </a:lnTo>
                  <a:lnTo>
                    <a:pt x="1276" y="811"/>
                  </a:lnTo>
                  <a:lnTo>
                    <a:pt x="1276" y="808"/>
                  </a:lnTo>
                  <a:lnTo>
                    <a:pt x="1276" y="808"/>
                  </a:lnTo>
                  <a:lnTo>
                    <a:pt x="1273" y="804"/>
                  </a:lnTo>
                  <a:lnTo>
                    <a:pt x="1273" y="804"/>
                  </a:lnTo>
                  <a:lnTo>
                    <a:pt x="1273" y="808"/>
                  </a:lnTo>
                  <a:lnTo>
                    <a:pt x="1273" y="811"/>
                  </a:lnTo>
                  <a:lnTo>
                    <a:pt x="1273" y="814"/>
                  </a:lnTo>
                  <a:lnTo>
                    <a:pt x="1273" y="811"/>
                  </a:lnTo>
                  <a:lnTo>
                    <a:pt x="1273" y="811"/>
                  </a:lnTo>
                  <a:lnTo>
                    <a:pt x="1269" y="808"/>
                  </a:lnTo>
                  <a:lnTo>
                    <a:pt x="1266" y="808"/>
                  </a:lnTo>
                  <a:lnTo>
                    <a:pt x="1262" y="801"/>
                  </a:lnTo>
                  <a:lnTo>
                    <a:pt x="1262" y="798"/>
                  </a:lnTo>
                  <a:lnTo>
                    <a:pt x="1259" y="798"/>
                  </a:lnTo>
                  <a:lnTo>
                    <a:pt x="1259" y="801"/>
                  </a:lnTo>
                  <a:lnTo>
                    <a:pt x="1255" y="798"/>
                  </a:lnTo>
                  <a:lnTo>
                    <a:pt x="1255" y="801"/>
                  </a:lnTo>
                  <a:lnTo>
                    <a:pt x="1255" y="808"/>
                  </a:lnTo>
                  <a:lnTo>
                    <a:pt x="1262" y="811"/>
                  </a:lnTo>
                  <a:lnTo>
                    <a:pt x="1262" y="811"/>
                  </a:lnTo>
                  <a:lnTo>
                    <a:pt x="1262" y="814"/>
                  </a:lnTo>
                  <a:lnTo>
                    <a:pt x="1262" y="817"/>
                  </a:lnTo>
                  <a:lnTo>
                    <a:pt x="1262" y="817"/>
                  </a:lnTo>
                  <a:lnTo>
                    <a:pt x="1269" y="817"/>
                  </a:lnTo>
                  <a:lnTo>
                    <a:pt x="1269" y="821"/>
                  </a:lnTo>
                  <a:lnTo>
                    <a:pt x="1269" y="824"/>
                  </a:lnTo>
                  <a:lnTo>
                    <a:pt x="1273" y="824"/>
                  </a:lnTo>
                  <a:lnTo>
                    <a:pt x="1273" y="824"/>
                  </a:lnTo>
                  <a:lnTo>
                    <a:pt x="1273" y="824"/>
                  </a:lnTo>
                  <a:lnTo>
                    <a:pt x="1276" y="824"/>
                  </a:lnTo>
                  <a:lnTo>
                    <a:pt x="1276" y="827"/>
                  </a:lnTo>
                  <a:lnTo>
                    <a:pt x="1279" y="830"/>
                  </a:lnTo>
                  <a:lnTo>
                    <a:pt x="1276" y="833"/>
                  </a:lnTo>
                  <a:lnTo>
                    <a:pt x="1279" y="833"/>
                  </a:lnTo>
                  <a:lnTo>
                    <a:pt x="1283" y="833"/>
                  </a:lnTo>
                  <a:lnTo>
                    <a:pt x="1283" y="837"/>
                  </a:lnTo>
                  <a:lnTo>
                    <a:pt x="1279" y="840"/>
                  </a:lnTo>
                  <a:lnTo>
                    <a:pt x="1283" y="840"/>
                  </a:lnTo>
                  <a:lnTo>
                    <a:pt x="1283" y="843"/>
                  </a:lnTo>
                  <a:lnTo>
                    <a:pt x="1283" y="843"/>
                  </a:lnTo>
                  <a:lnTo>
                    <a:pt x="1286" y="840"/>
                  </a:lnTo>
                  <a:lnTo>
                    <a:pt x="1286" y="843"/>
                  </a:lnTo>
                  <a:lnTo>
                    <a:pt x="1286" y="846"/>
                  </a:lnTo>
                  <a:lnTo>
                    <a:pt x="1290" y="846"/>
                  </a:lnTo>
                  <a:lnTo>
                    <a:pt x="1290" y="846"/>
                  </a:lnTo>
                  <a:lnTo>
                    <a:pt x="1290" y="846"/>
                  </a:lnTo>
                  <a:lnTo>
                    <a:pt x="1290" y="850"/>
                  </a:lnTo>
                  <a:lnTo>
                    <a:pt x="1286" y="850"/>
                  </a:lnTo>
                  <a:lnTo>
                    <a:pt x="1286" y="850"/>
                  </a:lnTo>
                  <a:lnTo>
                    <a:pt x="1286" y="853"/>
                  </a:lnTo>
                  <a:lnTo>
                    <a:pt x="1290" y="856"/>
                  </a:lnTo>
                  <a:lnTo>
                    <a:pt x="1290" y="856"/>
                  </a:lnTo>
                  <a:lnTo>
                    <a:pt x="1290" y="856"/>
                  </a:lnTo>
                  <a:lnTo>
                    <a:pt x="1290" y="856"/>
                  </a:lnTo>
                  <a:close/>
                  <a:moveTo>
                    <a:pt x="966" y="775"/>
                  </a:moveTo>
                  <a:lnTo>
                    <a:pt x="966" y="775"/>
                  </a:lnTo>
                  <a:lnTo>
                    <a:pt x="966" y="775"/>
                  </a:lnTo>
                  <a:lnTo>
                    <a:pt x="966" y="772"/>
                  </a:lnTo>
                  <a:lnTo>
                    <a:pt x="970" y="772"/>
                  </a:lnTo>
                  <a:lnTo>
                    <a:pt x="970" y="772"/>
                  </a:lnTo>
                  <a:lnTo>
                    <a:pt x="973" y="775"/>
                  </a:lnTo>
                  <a:lnTo>
                    <a:pt x="977" y="775"/>
                  </a:lnTo>
                  <a:lnTo>
                    <a:pt x="977" y="775"/>
                  </a:lnTo>
                  <a:lnTo>
                    <a:pt x="980" y="775"/>
                  </a:lnTo>
                  <a:lnTo>
                    <a:pt x="980" y="775"/>
                  </a:lnTo>
                  <a:lnTo>
                    <a:pt x="984" y="779"/>
                  </a:lnTo>
                  <a:lnTo>
                    <a:pt x="980" y="782"/>
                  </a:lnTo>
                  <a:lnTo>
                    <a:pt x="980" y="782"/>
                  </a:lnTo>
                  <a:lnTo>
                    <a:pt x="977" y="785"/>
                  </a:lnTo>
                  <a:lnTo>
                    <a:pt x="977" y="791"/>
                  </a:lnTo>
                  <a:lnTo>
                    <a:pt x="977" y="791"/>
                  </a:lnTo>
                  <a:lnTo>
                    <a:pt x="980" y="791"/>
                  </a:lnTo>
                  <a:lnTo>
                    <a:pt x="984" y="791"/>
                  </a:lnTo>
                  <a:lnTo>
                    <a:pt x="984" y="791"/>
                  </a:lnTo>
                  <a:lnTo>
                    <a:pt x="987" y="791"/>
                  </a:lnTo>
                  <a:lnTo>
                    <a:pt x="990" y="791"/>
                  </a:lnTo>
                  <a:lnTo>
                    <a:pt x="990" y="788"/>
                  </a:lnTo>
                  <a:lnTo>
                    <a:pt x="994" y="788"/>
                  </a:lnTo>
                  <a:lnTo>
                    <a:pt x="997" y="788"/>
                  </a:lnTo>
                  <a:lnTo>
                    <a:pt x="1001" y="785"/>
                  </a:lnTo>
                  <a:lnTo>
                    <a:pt x="1001" y="782"/>
                  </a:lnTo>
                  <a:lnTo>
                    <a:pt x="1004" y="779"/>
                  </a:lnTo>
                  <a:lnTo>
                    <a:pt x="1004" y="779"/>
                  </a:lnTo>
                  <a:lnTo>
                    <a:pt x="1008" y="779"/>
                  </a:lnTo>
                  <a:lnTo>
                    <a:pt x="1008" y="779"/>
                  </a:lnTo>
                  <a:lnTo>
                    <a:pt x="1011" y="779"/>
                  </a:lnTo>
                  <a:lnTo>
                    <a:pt x="1015" y="775"/>
                  </a:lnTo>
                  <a:lnTo>
                    <a:pt x="1015" y="775"/>
                  </a:lnTo>
                  <a:lnTo>
                    <a:pt x="1018" y="772"/>
                  </a:lnTo>
                  <a:lnTo>
                    <a:pt x="1018" y="769"/>
                  </a:lnTo>
                  <a:lnTo>
                    <a:pt x="1018" y="766"/>
                  </a:lnTo>
                  <a:lnTo>
                    <a:pt x="1021" y="766"/>
                  </a:lnTo>
                  <a:lnTo>
                    <a:pt x="1025" y="766"/>
                  </a:lnTo>
                  <a:lnTo>
                    <a:pt x="1025" y="766"/>
                  </a:lnTo>
                  <a:lnTo>
                    <a:pt x="1028" y="762"/>
                  </a:lnTo>
                  <a:lnTo>
                    <a:pt x="1028" y="762"/>
                  </a:lnTo>
                  <a:lnTo>
                    <a:pt x="1032" y="762"/>
                  </a:lnTo>
                  <a:lnTo>
                    <a:pt x="1032" y="766"/>
                  </a:lnTo>
                  <a:lnTo>
                    <a:pt x="1028" y="769"/>
                  </a:lnTo>
                  <a:lnTo>
                    <a:pt x="1028" y="769"/>
                  </a:lnTo>
                  <a:lnTo>
                    <a:pt x="1032" y="772"/>
                  </a:lnTo>
                  <a:lnTo>
                    <a:pt x="1035" y="772"/>
                  </a:lnTo>
                  <a:lnTo>
                    <a:pt x="1039" y="772"/>
                  </a:lnTo>
                  <a:lnTo>
                    <a:pt x="1039" y="775"/>
                  </a:lnTo>
                  <a:lnTo>
                    <a:pt x="1035" y="779"/>
                  </a:lnTo>
                  <a:lnTo>
                    <a:pt x="1035" y="779"/>
                  </a:lnTo>
                  <a:lnTo>
                    <a:pt x="1035" y="782"/>
                  </a:lnTo>
                  <a:lnTo>
                    <a:pt x="1035" y="782"/>
                  </a:lnTo>
                  <a:lnTo>
                    <a:pt x="1039" y="782"/>
                  </a:lnTo>
                  <a:lnTo>
                    <a:pt x="1042" y="782"/>
                  </a:lnTo>
                  <a:lnTo>
                    <a:pt x="1042" y="782"/>
                  </a:lnTo>
                  <a:lnTo>
                    <a:pt x="1046" y="782"/>
                  </a:lnTo>
                  <a:lnTo>
                    <a:pt x="1046" y="785"/>
                  </a:lnTo>
                  <a:lnTo>
                    <a:pt x="1049" y="785"/>
                  </a:lnTo>
                  <a:lnTo>
                    <a:pt x="1052" y="788"/>
                  </a:lnTo>
                  <a:lnTo>
                    <a:pt x="1052" y="788"/>
                  </a:lnTo>
                  <a:lnTo>
                    <a:pt x="1059" y="788"/>
                  </a:lnTo>
                  <a:lnTo>
                    <a:pt x="1059" y="788"/>
                  </a:lnTo>
                  <a:lnTo>
                    <a:pt x="1063" y="785"/>
                  </a:lnTo>
                  <a:lnTo>
                    <a:pt x="1063" y="785"/>
                  </a:lnTo>
                  <a:lnTo>
                    <a:pt x="1066" y="782"/>
                  </a:lnTo>
                  <a:lnTo>
                    <a:pt x="1070" y="782"/>
                  </a:lnTo>
                  <a:lnTo>
                    <a:pt x="1070" y="779"/>
                  </a:lnTo>
                  <a:lnTo>
                    <a:pt x="1070" y="779"/>
                  </a:lnTo>
                  <a:lnTo>
                    <a:pt x="1066" y="775"/>
                  </a:lnTo>
                  <a:lnTo>
                    <a:pt x="1070" y="775"/>
                  </a:lnTo>
                  <a:lnTo>
                    <a:pt x="1070" y="775"/>
                  </a:lnTo>
                  <a:lnTo>
                    <a:pt x="1066" y="772"/>
                  </a:lnTo>
                  <a:lnTo>
                    <a:pt x="1066" y="772"/>
                  </a:lnTo>
                  <a:lnTo>
                    <a:pt x="1066" y="772"/>
                  </a:lnTo>
                  <a:lnTo>
                    <a:pt x="1066" y="772"/>
                  </a:lnTo>
                  <a:lnTo>
                    <a:pt x="1063" y="775"/>
                  </a:lnTo>
                  <a:lnTo>
                    <a:pt x="1063" y="772"/>
                  </a:lnTo>
                  <a:lnTo>
                    <a:pt x="1059" y="772"/>
                  </a:lnTo>
                  <a:lnTo>
                    <a:pt x="1059" y="769"/>
                  </a:lnTo>
                  <a:lnTo>
                    <a:pt x="1056" y="769"/>
                  </a:lnTo>
                  <a:lnTo>
                    <a:pt x="1056" y="772"/>
                  </a:lnTo>
                  <a:lnTo>
                    <a:pt x="1049" y="772"/>
                  </a:lnTo>
                  <a:lnTo>
                    <a:pt x="1046" y="772"/>
                  </a:lnTo>
                  <a:lnTo>
                    <a:pt x="1049" y="769"/>
                  </a:lnTo>
                  <a:lnTo>
                    <a:pt x="1052" y="769"/>
                  </a:lnTo>
                  <a:lnTo>
                    <a:pt x="1056" y="766"/>
                  </a:lnTo>
                  <a:lnTo>
                    <a:pt x="1056" y="766"/>
                  </a:lnTo>
                  <a:lnTo>
                    <a:pt x="1052" y="766"/>
                  </a:lnTo>
                  <a:lnTo>
                    <a:pt x="1052" y="759"/>
                  </a:lnTo>
                  <a:lnTo>
                    <a:pt x="1056" y="759"/>
                  </a:lnTo>
                  <a:lnTo>
                    <a:pt x="1056" y="756"/>
                  </a:lnTo>
                  <a:lnTo>
                    <a:pt x="1052" y="756"/>
                  </a:lnTo>
                  <a:lnTo>
                    <a:pt x="1052" y="753"/>
                  </a:lnTo>
                  <a:lnTo>
                    <a:pt x="1049" y="749"/>
                  </a:lnTo>
                  <a:lnTo>
                    <a:pt x="1042" y="746"/>
                  </a:lnTo>
                  <a:lnTo>
                    <a:pt x="1042" y="746"/>
                  </a:lnTo>
                  <a:lnTo>
                    <a:pt x="1042" y="743"/>
                  </a:lnTo>
                  <a:lnTo>
                    <a:pt x="1039" y="743"/>
                  </a:lnTo>
                  <a:lnTo>
                    <a:pt x="1039" y="740"/>
                  </a:lnTo>
                  <a:lnTo>
                    <a:pt x="1039" y="737"/>
                  </a:lnTo>
                  <a:lnTo>
                    <a:pt x="1035" y="733"/>
                  </a:lnTo>
                  <a:lnTo>
                    <a:pt x="1032" y="733"/>
                  </a:lnTo>
                  <a:lnTo>
                    <a:pt x="1025" y="730"/>
                  </a:lnTo>
                  <a:lnTo>
                    <a:pt x="1025" y="727"/>
                  </a:lnTo>
                  <a:lnTo>
                    <a:pt x="1025" y="727"/>
                  </a:lnTo>
                  <a:lnTo>
                    <a:pt x="1025" y="724"/>
                  </a:lnTo>
                  <a:lnTo>
                    <a:pt x="1021" y="724"/>
                  </a:lnTo>
                  <a:lnTo>
                    <a:pt x="1021" y="720"/>
                  </a:lnTo>
                  <a:lnTo>
                    <a:pt x="1021" y="720"/>
                  </a:lnTo>
                  <a:lnTo>
                    <a:pt x="1018" y="724"/>
                  </a:lnTo>
                  <a:lnTo>
                    <a:pt x="1018" y="727"/>
                  </a:lnTo>
                  <a:lnTo>
                    <a:pt x="1015" y="727"/>
                  </a:lnTo>
                  <a:lnTo>
                    <a:pt x="1011" y="727"/>
                  </a:lnTo>
                  <a:lnTo>
                    <a:pt x="1015" y="724"/>
                  </a:lnTo>
                  <a:lnTo>
                    <a:pt x="1011" y="720"/>
                  </a:lnTo>
                  <a:lnTo>
                    <a:pt x="1011" y="717"/>
                  </a:lnTo>
                  <a:lnTo>
                    <a:pt x="1015" y="717"/>
                  </a:lnTo>
                  <a:lnTo>
                    <a:pt x="1018" y="717"/>
                  </a:lnTo>
                  <a:lnTo>
                    <a:pt x="1015" y="717"/>
                  </a:lnTo>
                  <a:lnTo>
                    <a:pt x="1015" y="714"/>
                  </a:lnTo>
                  <a:lnTo>
                    <a:pt x="1015" y="711"/>
                  </a:lnTo>
                  <a:lnTo>
                    <a:pt x="1011" y="711"/>
                  </a:lnTo>
                  <a:lnTo>
                    <a:pt x="1011" y="711"/>
                  </a:lnTo>
                  <a:lnTo>
                    <a:pt x="1015" y="707"/>
                  </a:lnTo>
                  <a:lnTo>
                    <a:pt x="1015" y="704"/>
                  </a:lnTo>
                  <a:lnTo>
                    <a:pt x="1004" y="707"/>
                  </a:lnTo>
                  <a:lnTo>
                    <a:pt x="1001" y="711"/>
                  </a:lnTo>
                  <a:lnTo>
                    <a:pt x="997" y="717"/>
                  </a:lnTo>
                  <a:lnTo>
                    <a:pt x="994" y="720"/>
                  </a:lnTo>
                  <a:lnTo>
                    <a:pt x="994" y="724"/>
                  </a:lnTo>
                  <a:lnTo>
                    <a:pt x="994" y="727"/>
                  </a:lnTo>
                  <a:lnTo>
                    <a:pt x="994" y="727"/>
                  </a:lnTo>
                  <a:lnTo>
                    <a:pt x="990" y="733"/>
                  </a:lnTo>
                  <a:lnTo>
                    <a:pt x="990" y="737"/>
                  </a:lnTo>
                  <a:lnTo>
                    <a:pt x="987" y="737"/>
                  </a:lnTo>
                  <a:lnTo>
                    <a:pt x="987" y="740"/>
                  </a:lnTo>
                  <a:lnTo>
                    <a:pt x="987" y="743"/>
                  </a:lnTo>
                  <a:lnTo>
                    <a:pt x="984" y="746"/>
                  </a:lnTo>
                  <a:lnTo>
                    <a:pt x="980" y="749"/>
                  </a:lnTo>
                  <a:lnTo>
                    <a:pt x="980" y="753"/>
                  </a:lnTo>
                  <a:lnTo>
                    <a:pt x="980" y="756"/>
                  </a:lnTo>
                  <a:lnTo>
                    <a:pt x="980" y="759"/>
                  </a:lnTo>
                  <a:lnTo>
                    <a:pt x="977" y="762"/>
                  </a:lnTo>
                  <a:lnTo>
                    <a:pt x="973" y="762"/>
                  </a:lnTo>
                  <a:lnTo>
                    <a:pt x="966" y="766"/>
                  </a:lnTo>
                  <a:lnTo>
                    <a:pt x="966" y="769"/>
                  </a:lnTo>
                  <a:lnTo>
                    <a:pt x="963" y="772"/>
                  </a:lnTo>
                  <a:lnTo>
                    <a:pt x="966" y="775"/>
                  </a:lnTo>
                  <a:lnTo>
                    <a:pt x="966" y="775"/>
                  </a:lnTo>
                  <a:close/>
                  <a:moveTo>
                    <a:pt x="997" y="824"/>
                  </a:moveTo>
                  <a:lnTo>
                    <a:pt x="997" y="824"/>
                  </a:lnTo>
                  <a:lnTo>
                    <a:pt x="997" y="824"/>
                  </a:lnTo>
                  <a:lnTo>
                    <a:pt x="997" y="824"/>
                  </a:lnTo>
                  <a:lnTo>
                    <a:pt x="1001" y="821"/>
                  </a:lnTo>
                  <a:lnTo>
                    <a:pt x="1004" y="821"/>
                  </a:lnTo>
                  <a:lnTo>
                    <a:pt x="1008" y="821"/>
                  </a:lnTo>
                  <a:lnTo>
                    <a:pt x="1008" y="824"/>
                  </a:lnTo>
                  <a:lnTo>
                    <a:pt x="1011" y="824"/>
                  </a:lnTo>
                  <a:lnTo>
                    <a:pt x="1015" y="821"/>
                  </a:lnTo>
                  <a:lnTo>
                    <a:pt x="1018" y="817"/>
                  </a:lnTo>
                  <a:lnTo>
                    <a:pt x="1021" y="817"/>
                  </a:lnTo>
                  <a:lnTo>
                    <a:pt x="1025" y="814"/>
                  </a:lnTo>
                  <a:lnTo>
                    <a:pt x="1028" y="814"/>
                  </a:lnTo>
                  <a:lnTo>
                    <a:pt x="1032" y="811"/>
                  </a:lnTo>
                  <a:lnTo>
                    <a:pt x="1032" y="808"/>
                  </a:lnTo>
                  <a:lnTo>
                    <a:pt x="1035" y="804"/>
                  </a:lnTo>
                  <a:lnTo>
                    <a:pt x="1035" y="804"/>
                  </a:lnTo>
                  <a:lnTo>
                    <a:pt x="1032" y="804"/>
                  </a:lnTo>
                  <a:lnTo>
                    <a:pt x="1028" y="801"/>
                  </a:lnTo>
                  <a:lnTo>
                    <a:pt x="1025" y="801"/>
                  </a:lnTo>
                  <a:lnTo>
                    <a:pt x="1021" y="804"/>
                  </a:lnTo>
                  <a:lnTo>
                    <a:pt x="1021" y="804"/>
                  </a:lnTo>
                  <a:lnTo>
                    <a:pt x="1018" y="804"/>
                  </a:lnTo>
                  <a:lnTo>
                    <a:pt x="1018" y="804"/>
                  </a:lnTo>
                  <a:lnTo>
                    <a:pt x="1015" y="804"/>
                  </a:lnTo>
                  <a:lnTo>
                    <a:pt x="1015" y="801"/>
                  </a:lnTo>
                  <a:lnTo>
                    <a:pt x="1011" y="801"/>
                  </a:lnTo>
                  <a:lnTo>
                    <a:pt x="1008" y="804"/>
                  </a:lnTo>
                  <a:lnTo>
                    <a:pt x="1004" y="808"/>
                  </a:lnTo>
                  <a:lnTo>
                    <a:pt x="1004" y="808"/>
                  </a:lnTo>
                  <a:lnTo>
                    <a:pt x="1001" y="811"/>
                  </a:lnTo>
                  <a:lnTo>
                    <a:pt x="994" y="811"/>
                  </a:lnTo>
                  <a:lnTo>
                    <a:pt x="994" y="814"/>
                  </a:lnTo>
                  <a:lnTo>
                    <a:pt x="997" y="814"/>
                  </a:lnTo>
                  <a:lnTo>
                    <a:pt x="997" y="817"/>
                  </a:lnTo>
                  <a:lnTo>
                    <a:pt x="997" y="821"/>
                  </a:lnTo>
                  <a:lnTo>
                    <a:pt x="997" y="824"/>
                  </a:lnTo>
                  <a:lnTo>
                    <a:pt x="997" y="824"/>
                  </a:lnTo>
                  <a:close/>
                  <a:moveTo>
                    <a:pt x="1307" y="846"/>
                  </a:moveTo>
                  <a:lnTo>
                    <a:pt x="1310" y="846"/>
                  </a:lnTo>
                  <a:lnTo>
                    <a:pt x="1314" y="846"/>
                  </a:lnTo>
                  <a:lnTo>
                    <a:pt x="1317" y="850"/>
                  </a:lnTo>
                  <a:lnTo>
                    <a:pt x="1317" y="846"/>
                  </a:lnTo>
                  <a:lnTo>
                    <a:pt x="1317" y="846"/>
                  </a:lnTo>
                  <a:lnTo>
                    <a:pt x="1321" y="843"/>
                  </a:lnTo>
                  <a:lnTo>
                    <a:pt x="1321" y="843"/>
                  </a:lnTo>
                  <a:lnTo>
                    <a:pt x="1317" y="843"/>
                  </a:lnTo>
                  <a:lnTo>
                    <a:pt x="1314" y="843"/>
                  </a:lnTo>
                  <a:lnTo>
                    <a:pt x="1310" y="843"/>
                  </a:lnTo>
                  <a:lnTo>
                    <a:pt x="1307" y="846"/>
                  </a:lnTo>
                  <a:lnTo>
                    <a:pt x="1307" y="846"/>
                  </a:lnTo>
                  <a:close/>
                  <a:moveTo>
                    <a:pt x="1211" y="824"/>
                  </a:moveTo>
                  <a:lnTo>
                    <a:pt x="1211" y="824"/>
                  </a:lnTo>
                  <a:lnTo>
                    <a:pt x="1218" y="824"/>
                  </a:lnTo>
                  <a:lnTo>
                    <a:pt x="1218" y="827"/>
                  </a:lnTo>
                  <a:lnTo>
                    <a:pt x="1218" y="827"/>
                  </a:lnTo>
                  <a:lnTo>
                    <a:pt x="1218" y="830"/>
                  </a:lnTo>
                  <a:lnTo>
                    <a:pt x="1218" y="830"/>
                  </a:lnTo>
                  <a:lnTo>
                    <a:pt x="1221" y="833"/>
                  </a:lnTo>
                  <a:lnTo>
                    <a:pt x="1221" y="833"/>
                  </a:lnTo>
                  <a:lnTo>
                    <a:pt x="1224" y="830"/>
                  </a:lnTo>
                  <a:lnTo>
                    <a:pt x="1224" y="830"/>
                  </a:lnTo>
                  <a:lnTo>
                    <a:pt x="1224" y="830"/>
                  </a:lnTo>
                  <a:lnTo>
                    <a:pt x="1221" y="827"/>
                  </a:lnTo>
                  <a:lnTo>
                    <a:pt x="1218" y="827"/>
                  </a:lnTo>
                  <a:lnTo>
                    <a:pt x="1218" y="824"/>
                  </a:lnTo>
                  <a:lnTo>
                    <a:pt x="1214" y="824"/>
                  </a:lnTo>
                  <a:lnTo>
                    <a:pt x="1211" y="824"/>
                  </a:lnTo>
                  <a:lnTo>
                    <a:pt x="1211" y="824"/>
                  </a:lnTo>
                  <a:lnTo>
                    <a:pt x="1211" y="824"/>
                  </a:lnTo>
                  <a:close/>
                  <a:moveTo>
                    <a:pt x="1304" y="866"/>
                  </a:moveTo>
                  <a:lnTo>
                    <a:pt x="1300" y="866"/>
                  </a:lnTo>
                  <a:lnTo>
                    <a:pt x="1300" y="863"/>
                  </a:lnTo>
                  <a:lnTo>
                    <a:pt x="1300" y="863"/>
                  </a:lnTo>
                  <a:lnTo>
                    <a:pt x="1300" y="859"/>
                  </a:lnTo>
                  <a:lnTo>
                    <a:pt x="1300" y="859"/>
                  </a:lnTo>
                  <a:lnTo>
                    <a:pt x="1304" y="859"/>
                  </a:lnTo>
                  <a:lnTo>
                    <a:pt x="1304" y="863"/>
                  </a:lnTo>
                  <a:lnTo>
                    <a:pt x="1307" y="863"/>
                  </a:lnTo>
                  <a:lnTo>
                    <a:pt x="1307" y="866"/>
                  </a:lnTo>
                  <a:lnTo>
                    <a:pt x="1304" y="866"/>
                  </a:lnTo>
                  <a:lnTo>
                    <a:pt x="1304" y="866"/>
                  </a:lnTo>
                  <a:close/>
                  <a:moveTo>
                    <a:pt x="1300" y="875"/>
                  </a:moveTo>
                  <a:lnTo>
                    <a:pt x="1300" y="875"/>
                  </a:lnTo>
                  <a:lnTo>
                    <a:pt x="1300" y="872"/>
                  </a:lnTo>
                  <a:lnTo>
                    <a:pt x="1297" y="872"/>
                  </a:lnTo>
                  <a:lnTo>
                    <a:pt x="1297" y="872"/>
                  </a:lnTo>
                  <a:lnTo>
                    <a:pt x="1293" y="869"/>
                  </a:lnTo>
                  <a:lnTo>
                    <a:pt x="1293" y="869"/>
                  </a:lnTo>
                  <a:lnTo>
                    <a:pt x="1293" y="869"/>
                  </a:lnTo>
                  <a:lnTo>
                    <a:pt x="1297" y="866"/>
                  </a:lnTo>
                  <a:lnTo>
                    <a:pt x="1304" y="869"/>
                  </a:lnTo>
                  <a:lnTo>
                    <a:pt x="1307" y="869"/>
                  </a:lnTo>
                  <a:lnTo>
                    <a:pt x="1307" y="869"/>
                  </a:lnTo>
                  <a:lnTo>
                    <a:pt x="1304" y="872"/>
                  </a:lnTo>
                  <a:lnTo>
                    <a:pt x="1304" y="872"/>
                  </a:lnTo>
                  <a:lnTo>
                    <a:pt x="1304" y="875"/>
                  </a:lnTo>
                  <a:lnTo>
                    <a:pt x="1304" y="875"/>
                  </a:lnTo>
                  <a:lnTo>
                    <a:pt x="1300" y="875"/>
                  </a:lnTo>
                  <a:lnTo>
                    <a:pt x="1300" y="875"/>
                  </a:lnTo>
                  <a:close/>
                  <a:moveTo>
                    <a:pt x="1204" y="927"/>
                  </a:moveTo>
                  <a:lnTo>
                    <a:pt x="1204" y="927"/>
                  </a:lnTo>
                  <a:lnTo>
                    <a:pt x="1204" y="927"/>
                  </a:lnTo>
                  <a:lnTo>
                    <a:pt x="1204" y="927"/>
                  </a:lnTo>
                  <a:lnTo>
                    <a:pt x="1204" y="927"/>
                  </a:lnTo>
                  <a:close/>
                  <a:moveTo>
                    <a:pt x="1207" y="927"/>
                  </a:moveTo>
                  <a:lnTo>
                    <a:pt x="1207" y="927"/>
                  </a:lnTo>
                  <a:lnTo>
                    <a:pt x="1207" y="927"/>
                  </a:lnTo>
                  <a:lnTo>
                    <a:pt x="1207" y="927"/>
                  </a:lnTo>
                  <a:lnTo>
                    <a:pt x="1207" y="927"/>
                  </a:lnTo>
                  <a:close/>
                  <a:moveTo>
                    <a:pt x="1211" y="927"/>
                  </a:moveTo>
                  <a:lnTo>
                    <a:pt x="1207" y="927"/>
                  </a:lnTo>
                  <a:lnTo>
                    <a:pt x="1207" y="930"/>
                  </a:lnTo>
                  <a:lnTo>
                    <a:pt x="1207" y="930"/>
                  </a:lnTo>
                  <a:lnTo>
                    <a:pt x="1211" y="930"/>
                  </a:lnTo>
                  <a:lnTo>
                    <a:pt x="1211" y="927"/>
                  </a:lnTo>
                  <a:lnTo>
                    <a:pt x="1211" y="927"/>
                  </a:lnTo>
                  <a:lnTo>
                    <a:pt x="1211" y="927"/>
                  </a:lnTo>
                  <a:close/>
                  <a:moveTo>
                    <a:pt x="1235" y="901"/>
                  </a:moveTo>
                  <a:lnTo>
                    <a:pt x="1235" y="898"/>
                  </a:lnTo>
                  <a:lnTo>
                    <a:pt x="1235" y="898"/>
                  </a:lnTo>
                  <a:lnTo>
                    <a:pt x="1238" y="895"/>
                  </a:lnTo>
                  <a:lnTo>
                    <a:pt x="1238" y="895"/>
                  </a:lnTo>
                  <a:lnTo>
                    <a:pt x="1242" y="892"/>
                  </a:lnTo>
                  <a:lnTo>
                    <a:pt x="1245" y="892"/>
                  </a:lnTo>
                  <a:lnTo>
                    <a:pt x="1245" y="892"/>
                  </a:lnTo>
                  <a:lnTo>
                    <a:pt x="1245" y="895"/>
                  </a:lnTo>
                  <a:lnTo>
                    <a:pt x="1245" y="895"/>
                  </a:lnTo>
                  <a:lnTo>
                    <a:pt x="1245" y="895"/>
                  </a:lnTo>
                  <a:lnTo>
                    <a:pt x="1245" y="898"/>
                  </a:lnTo>
                  <a:lnTo>
                    <a:pt x="1242" y="898"/>
                  </a:lnTo>
                  <a:lnTo>
                    <a:pt x="1238" y="898"/>
                  </a:lnTo>
                  <a:lnTo>
                    <a:pt x="1235" y="901"/>
                  </a:lnTo>
                  <a:lnTo>
                    <a:pt x="1235" y="901"/>
                  </a:lnTo>
                  <a:lnTo>
                    <a:pt x="1235" y="901"/>
                  </a:lnTo>
                  <a:close/>
                  <a:moveTo>
                    <a:pt x="1149" y="821"/>
                  </a:moveTo>
                  <a:lnTo>
                    <a:pt x="1152" y="821"/>
                  </a:lnTo>
                  <a:lnTo>
                    <a:pt x="1156" y="824"/>
                  </a:lnTo>
                  <a:lnTo>
                    <a:pt x="1159" y="824"/>
                  </a:lnTo>
                  <a:lnTo>
                    <a:pt x="1162" y="827"/>
                  </a:lnTo>
                  <a:lnTo>
                    <a:pt x="1162" y="824"/>
                  </a:lnTo>
                  <a:lnTo>
                    <a:pt x="1159" y="824"/>
                  </a:lnTo>
                  <a:lnTo>
                    <a:pt x="1156" y="821"/>
                  </a:lnTo>
                  <a:lnTo>
                    <a:pt x="1152" y="821"/>
                  </a:lnTo>
                  <a:lnTo>
                    <a:pt x="1149" y="821"/>
                  </a:lnTo>
                  <a:lnTo>
                    <a:pt x="1149" y="821"/>
                  </a:lnTo>
                  <a:close/>
                  <a:moveTo>
                    <a:pt x="1121" y="798"/>
                  </a:moveTo>
                  <a:lnTo>
                    <a:pt x="1121" y="798"/>
                  </a:lnTo>
                  <a:lnTo>
                    <a:pt x="1125" y="798"/>
                  </a:lnTo>
                  <a:lnTo>
                    <a:pt x="1125" y="801"/>
                  </a:lnTo>
                  <a:lnTo>
                    <a:pt x="1128" y="798"/>
                  </a:lnTo>
                  <a:lnTo>
                    <a:pt x="1128" y="798"/>
                  </a:lnTo>
                  <a:lnTo>
                    <a:pt x="1128" y="798"/>
                  </a:lnTo>
                  <a:lnTo>
                    <a:pt x="1128" y="795"/>
                  </a:lnTo>
                  <a:lnTo>
                    <a:pt x="1128" y="795"/>
                  </a:lnTo>
                  <a:lnTo>
                    <a:pt x="1128" y="795"/>
                  </a:lnTo>
                  <a:lnTo>
                    <a:pt x="1128" y="795"/>
                  </a:lnTo>
                  <a:lnTo>
                    <a:pt x="1125" y="791"/>
                  </a:lnTo>
                  <a:lnTo>
                    <a:pt x="1125" y="791"/>
                  </a:lnTo>
                  <a:lnTo>
                    <a:pt x="1121" y="788"/>
                  </a:lnTo>
                  <a:lnTo>
                    <a:pt x="1121" y="788"/>
                  </a:lnTo>
                  <a:lnTo>
                    <a:pt x="1121" y="788"/>
                  </a:lnTo>
                  <a:lnTo>
                    <a:pt x="1118" y="788"/>
                  </a:lnTo>
                  <a:lnTo>
                    <a:pt x="1114" y="788"/>
                  </a:lnTo>
                  <a:lnTo>
                    <a:pt x="1114" y="788"/>
                  </a:lnTo>
                  <a:lnTo>
                    <a:pt x="1114" y="791"/>
                  </a:lnTo>
                  <a:lnTo>
                    <a:pt x="1118" y="791"/>
                  </a:lnTo>
                  <a:lnTo>
                    <a:pt x="1118" y="791"/>
                  </a:lnTo>
                  <a:lnTo>
                    <a:pt x="1118" y="795"/>
                  </a:lnTo>
                  <a:lnTo>
                    <a:pt x="1121" y="795"/>
                  </a:lnTo>
                  <a:lnTo>
                    <a:pt x="1121" y="798"/>
                  </a:lnTo>
                  <a:lnTo>
                    <a:pt x="1121" y="798"/>
                  </a:lnTo>
                  <a:close/>
                  <a:moveTo>
                    <a:pt x="1101" y="808"/>
                  </a:moveTo>
                  <a:lnTo>
                    <a:pt x="1104" y="804"/>
                  </a:lnTo>
                  <a:lnTo>
                    <a:pt x="1107" y="804"/>
                  </a:lnTo>
                  <a:lnTo>
                    <a:pt x="1107" y="804"/>
                  </a:lnTo>
                  <a:lnTo>
                    <a:pt x="1111" y="804"/>
                  </a:lnTo>
                  <a:lnTo>
                    <a:pt x="1111" y="801"/>
                  </a:lnTo>
                  <a:lnTo>
                    <a:pt x="1111" y="801"/>
                  </a:lnTo>
                  <a:lnTo>
                    <a:pt x="1111" y="798"/>
                  </a:lnTo>
                  <a:lnTo>
                    <a:pt x="1107" y="795"/>
                  </a:lnTo>
                  <a:lnTo>
                    <a:pt x="1104" y="795"/>
                  </a:lnTo>
                  <a:lnTo>
                    <a:pt x="1101" y="795"/>
                  </a:lnTo>
                  <a:lnTo>
                    <a:pt x="1101" y="791"/>
                  </a:lnTo>
                  <a:lnTo>
                    <a:pt x="1097" y="791"/>
                  </a:lnTo>
                  <a:lnTo>
                    <a:pt x="1094" y="791"/>
                  </a:lnTo>
                  <a:lnTo>
                    <a:pt x="1094" y="791"/>
                  </a:lnTo>
                  <a:lnTo>
                    <a:pt x="1094" y="795"/>
                  </a:lnTo>
                  <a:lnTo>
                    <a:pt x="1094" y="798"/>
                  </a:lnTo>
                  <a:lnTo>
                    <a:pt x="1097" y="798"/>
                  </a:lnTo>
                  <a:lnTo>
                    <a:pt x="1097" y="801"/>
                  </a:lnTo>
                  <a:lnTo>
                    <a:pt x="1101" y="801"/>
                  </a:lnTo>
                  <a:lnTo>
                    <a:pt x="1101" y="804"/>
                  </a:lnTo>
                  <a:lnTo>
                    <a:pt x="1101" y="808"/>
                  </a:lnTo>
                  <a:lnTo>
                    <a:pt x="1101" y="808"/>
                  </a:lnTo>
                  <a:close/>
                  <a:moveTo>
                    <a:pt x="1097" y="821"/>
                  </a:moveTo>
                  <a:lnTo>
                    <a:pt x="1097" y="821"/>
                  </a:lnTo>
                  <a:lnTo>
                    <a:pt x="1097" y="821"/>
                  </a:lnTo>
                  <a:lnTo>
                    <a:pt x="1094" y="817"/>
                  </a:lnTo>
                  <a:lnTo>
                    <a:pt x="1094" y="817"/>
                  </a:lnTo>
                  <a:lnTo>
                    <a:pt x="1094" y="821"/>
                  </a:lnTo>
                  <a:lnTo>
                    <a:pt x="1097" y="821"/>
                  </a:lnTo>
                  <a:lnTo>
                    <a:pt x="1097" y="821"/>
                  </a:lnTo>
                  <a:close/>
                  <a:moveTo>
                    <a:pt x="1056" y="846"/>
                  </a:moveTo>
                  <a:lnTo>
                    <a:pt x="1056" y="846"/>
                  </a:lnTo>
                  <a:lnTo>
                    <a:pt x="1056" y="843"/>
                  </a:lnTo>
                  <a:lnTo>
                    <a:pt x="1059" y="843"/>
                  </a:lnTo>
                  <a:lnTo>
                    <a:pt x="1059" y="843"/>
                  </a:lnTo>
                  <a:lnTo>
                    <a:pt x="1059" y="840"/>
                  </a:lnTo>
                  <a:lnTo>
                    <a:pt x="1059" y="840"/>
                  </a:lnTo>
                  <a:lnTo>
                    <a:pt x="1059" y="837"/>
                  </a:lnTo>
                  <a:lnTo>
                    <a:pt x="1063" y="837"/>
                  </a:lnTo>
                  <a:lnTo>
                    <a:pt x="1066" y="833"/>
                  </a:lnTo>
                  <a:lnTo>
                    <a:pt x="1066" y="833"/>
                  </a:lnTo>
                  <a:lnTo>
                    <a:pt x="1066" y="830"/>
                  </a:lnTo>
                  <a:lnTo>
                    <a:pt x="1066" y="830"/>
                  </a:lnTo>
                  <a:lnTo>
                    <a:pt x="1066" y="830"/>
                  </a:lnTo>
                  <a:lnTo>
                    <a:pt x="1070" y="827"/>
                  </a:lnTo>
                  <a:lnTo>
                    <a:pt x="1070" y="824"/>
                  </a:lnTo>
                  <a:lnTo>
                    <a:pt x="1070" y="824"/>
                  </a:lnTo>
                  <a:lnTo>
                    <a:pt x="1070" y="821"/>
                  </a:lnTo>
                  <a:lnTo>
                    <a:pt x="1070" y="821"/>
                  </a:lnTo>
                  <a:lnTo>
                    <a:pt x="1066" y="821"/>
                  </a:lnTo>
                  <a:lnTo>
                    <a:pt x="1066" y="821"/>
                  </a:lnTo>
                  <a:lnTo>
                    <a:pt x="1063" y="821"/>
                  </a:lnTo>
                  <a:lnTo>
                    <a:pt x="1063" y="817"/>
                  </a:lnTo>
                  <a:lnTo>
                    <a:pt x="1059" y="821"/>
                  </a:lnTo>
                  <a:lnTo>
                    <a:pt x="1056" y="824"/>
                  </a:lnTo>
                  <a:lnTo>
                    <a:pt x="1056" y="824"/>
                  </a:lnTo>
                  <a:lnTo>
                    <a:pt x="1052" y="827"/>
                  </a:lnTo>
                  <a:lnTo>
                    <a:pt x="1052" y="827"/>
                  </a:lnTo>
                  <a:lnTo>
                    <a:pt x="1052" y="830"/>
                  </a:lnTo>
                  <a:lnTo>
                    <a:pt x="1049" y="833"/>
                  </a:lnTo>
                  <a:lnTo>
                    <a:pt x="1049" y="833"/>
                  </a:lnTo>
                  <a:lnTo>
                    <a:pt x="1049" y="837"/>
                  </a:lnTo>
                  <a:lnTo>
                    <a:pt x="1049" y="840"/>
                  </a:lnTo>
                  <a:lnTo>
                    <a:pt x="1049" y="840"/>
                  </a:lnTo>
                  <a:lnTo>
                    <a:pt x="1052" y="840"/>
                  </a:lnTo>
                  <a:lnTo>
                    <a:pt x="1052" y="843"/>
                  </a:lnTo>
                  <a:lnTo>
                    <a:pt x="1056" y="843"/>
                  </a:lnTo>
                  <a:lnTo>
                    <a:pt x="1056" y="846"/>
                  </a:lnTo>
                  <a:lnTo>
                    <a:pt x="1056" y="846"/>
                  </a:lnTo>
                  <a:close/>
                  <a:moveTo>
                    <a:pt x="1015" y="982"/>
                  </a:moveTo>
                  <a:lnTo>
                    <a:pt x="1018" y="985"/>
                  </a:lnTo>
                  <a:lnTo>
                    <a:pt x="1018" y="985"/>
                  </a:lnTo>
                  <a:lnTo>
                    <a:pt x="1018" y="982"/>
                  </a:lnTo>
                  <a:lnTo>
                    <a:pt x="1015" y="982"/>
                  </a:lnTo>
                  <a:lnTo>
                    <a:pt x="1015" y="982"/>
                  </a:lnTo>
                  <a:close/>
                  <a:moveTo>
                    <a:pt x="1018" y="998"/>
                  </a:moveTo>
                  <a:lnTo>
                    <a:pt x="1021" y="995"/>
                  </a:lnTo>
                  <a:lnTo>
                    <a:pt x="1021" y="992"/>
                  </a:lnTo>
                  <a:lnTo>
                    <a:pt x="1021" y="992"/>
                  </a:lnTo>
                  <a:lnTo>
                    <a:pt x="1021" y="995"/>
                  </a:lnTo>
                  <a:lnTo>
                    <a:pt x="1021" y="998"/>
                  </a:lnTo>
                  <a:lnTo>
                    <a:pt x="1021" y="998"/>
                  </a:lnTo>
                  <a:lnTo>
                    <a:pt x="1018" y="998"/>
                  </a:lnTo>
                  <a:lnTo>
                    <a:pt x="1018" y="998"/>
                  </a:lnTo>
                  <a:close/>
                  <a:moveTo>
                    <a:pt x="997" y="992"/>
                  </a:moveTo>
                  <a:lnTo>
                    <a:pt x="997" y="988"/>
                  </a:lnTo>
                  <a:lnTo>
                    <a:pt x="1001" y="988"/>
                  </a:lnTo>
                  <a:lnTo>
                    <a:pt x="1001" y="988"/>
                  </a:lnTo>
                  <a:lnTo>
                    <a:pt x="1004" y="988"/>
                  </a:lnTo>
                  <a:lnTo>
                    <a:pt x="1004" y="988"/>
                  </a:lnTo>
                  <a:lnTo>
                    <a:pt x="1008" y="985"/>
                  </a:lnTo>
                  <a:lnTo>
                    <a:pt x="1004" y="988"/>
                  </a:lnTo>
                  <a:lnTo>
                    <a:pt x="1001" y="992"/>
                  </a:lnTo>
                  <a:lnTo>
                    <a:pt x="997" y="995"/>
                  </a:lnTo>
                  <a:lnTo>
                    <a:pt x="997" y="992"/>
                  </a:lnTo>
                  <a:lnTo>
                    <a:pt x="997" y="992"/>
                  </a:lnTo>
                  <a:close/>
                  <a:moveTo>
                    <a:pt x="1011" y="998"/>
                  </a:moveTo>
                  <a:lnTo>
                    <a:pt x="1015" y="995"/>
                  </a:lnTo>
                  <a:lnTo>
                    <a:pt x="1018" y="992"/>
                  </a:lnTo>
                  <a:lnTo>
                    <a:pt x="1018" y="992"/>
                  </a:lnTo>
                  <a:lnTo>
                    <a:pt x="1018" y="992"/>
                  </a:lnTo>
                  <a:lnTo>
                    <a:pt x="1015" y="998"/>
                  </a:lnTo>
                  <a:lnTo>
                    <a:pt x="1011" y="1001"/>
                  </a:lnTo>
                  <a:lnTo>
                    <a:pt x="1015" y="998"/>
                  </a:lnTo>
                  <a:lnTo>
                    <a:pt x="1018" y="995"/>
                  </a:lnTo>
                  <a:lnTo>
                    <a:pt x="1021" y="995"/>
                  </a:lnTo>
                  <a:lnTo>
                    <a:pt x="1021" y="988"/>
                  </a:lnTo>
                  <a:lnTo>
                    <a:pt x="1018" y="988"/>
                  </a:lnTo>
                  <a:lnTo>
                    <a:pt x="1018" y="988"/>
                  </a:lnTo>
                  <a:lnTo>
                    <a:pt x="1018" y="985"/>
                  </a:lnTo>
                  <a:lnTo>
                    <a:pt x="1015" y="985"/>
                  </a:lnTo>
                  <a:lnTo>
                    <a:pt x="1015" y="985"/>
                  </a:lnTo>
                  <a:lnTo>
                    <a:pt x="1011" y="992"/>
                  </a:lnTo>
                  <a:lnTo>
                    <a:pt x="1008" y="995"/>
                  </a:lnTo>
                  <a:lnTo>
                    <a:pt x="1008" y="995"/>
                  </a:lnTo>
                  <a:lnTo>
                    <a:pt x="1008" y="992"/>
                  </a:lnTo>
                  <a:lnTo>
                    <a:pt x="1011" y="992"/>
                  </a:lnTo>
                  <a:lnTo>
                    <a:pt x="1011" y="988"/>
                  </a:lnTo>
                  <a:lnTo>
                    <a:pt x="1011" y="985"/>
                  </a:lnTo>
                  <a:lnTo>
                    <a:pt x="1008" y="988"/>
                  </a:lnTo>
                  <a:lnTo>
                    <a:pt x="1004" y="992"/>
                  </a:lnTo>
                  <a:lnTo>
                    <a:pt x="1001" y="995"/>
                  </a:lnTo>
                  <a:lnTo>
                    <a:pt x="1001" y="998"/>
                  </a:lnTo>
                  <a:lnTo>
                    <a:pt x="997" y="1001"/>
                  </a:lnTo>
                  <a:lnTo>
                    <a:pt x="1001" y="1001"/>
                  </a:lnTo>
                  <a:lnTo>
                    <a:pt x="1001" y="1001"/>
                  </a:lnTo>
                  <a:lnTo>
                    <a:pt x="1004" y="998"/>
                  </a:lnTo>
                  <a:lnTo>
                    <a:pt x="1008" y="998"/>
                  </a:lnTo>
                  <a:lnTo>
                    <a:pt x="1004" y="998"/>
                  </a:lnTo>
                  <a:lnTo>
                    <a:pt x="1004" y="1001"/>
                  </a:lnTo>
                  <a:lnTo>
                    <a:pt x="1004" y="1005"/>
                  </a:lnTo>
                  <a:lnTo>
                    <a:pt x="1008" y="1001"/>
                  </a:lnTo>
                  <a:lnTo>
                    <a:pt x="1008" y="1001"/>
                  </a:lnTo>
                  <a:lnTo>
                    <a:pt x="1008" y="1001"/>
                  </a:lnTo>
                  <a:lnTo>
                    <a:pt x="1011" y="998"/>
                  </a:lnTo>
                  <a:lnTo>
                    <a:pt x="1011" y="998"/>
                  </a:lnTo>
                  <a:close/>
                  <a:moveTo>
                    <a:pt x="1008" y="998"/>
                  </a:moveTo>
                  <a:lnTo>
                    <a:pt x="1008" y="995"/>
                  </a:lnTo>
                  <a:lnTo>
                    <a:pt x="1015" y="992"/>
                  </a:lnTo>
                  <a:lnTo>
                    <a:pt x="1011" y="995"/>
                  </a:lnTo>
                  <a:lnTo>
                    <a:pt x="1008" y="998"/>
                  </a:lnTo>
                  <a:lnTo>
                    <a:pt x="1008" y="998"/>
                  </a:lnTo>
                  <a:lnTo>
                    <a:pt x="1008" y="998"/>
                  </a:lnTo>
                  <a:close/>
                  <a:moveTo>
                    <a:pt x="1269" y="1224"/>
                  </a:moveTo>
                  <a:lnTo>
                    <a:pt x="1266" y="1224"/>
                  </a:lnTo>
                  <a:lnTo>
                    <a:pt x="1266" y="1221"/>
                  </a:lnTo>
                  <a:lnTo>
                    <a:pt x="1269" y="1221"/>
                  </a:lnTo>
                  <a:lnTo>
                    <a:pt x="1269" y="1221"/>
                  </a:lnTo>
                  <a:lnTo>
                    <a:pt x="1273" y="1218"/>
                  </a:lnTo>
                  <a:lnTo>
                    <a:pt x="1273" y="1218"/>
                  </a:lnTo>
                  <a:lnTo>
                    <a:pt x="1273" y="1218"/>
                  </a:lnTo>
                  <a:lnTo>
                    <a:pt x="1273" y="1218"/>
                  </a:lnTo>
                  <a:lnTo>
                    <a:pt x="1269" y="1221"/>
                  </a:lnTo>
                  <a:lnTo>
                    <a:pt x="1266" y="1221"/>
                  </a:lnTo>
                  <a:lnTo>
                    <a:pt x="1266" y="1224"/>
                  </a:lnTo>
                  <a:lnTo>
                    <a:pt x="1269" y="1224"/>
                  </a:lnTo>
                  <a:lnTo>
                    <a:pt x="1269" y="1224"/>
                  </a:lnTo>
                  <a:lnTo>
                    <a:pt x="1269" y="1224"/>
                  </a:lnTo>
                  <a:close/>
                  <a:moveTo>
                    <a:pt x="1365" y="1237"/>
                  </a:moveTo>
                  <a:lnTo>
                    <a:pt x="1362" y="1237"/>
                  </a:lnTo>
                  <a:lnTo>
                    <a:pt x="1365" y="1234"/>
                  </a:lnTo>
                  <a:lnTo>
                    <a:pt x="1362" y="1231"/>
                  </a:lnTo>
                  <a:lnTo>
                    <a:pt x="1362" y="1231"/>
                  </a:lnTo>
                  <a:lnTo>
                    <a:pt x="1362" y="1228"/>
                  </a:lnTo>
                  <a:lnTo>
                    <a:pt x="1365" y="1228"/>
                  </a:lnTo>
                  <a:lnTo>
                    <a:pt x="1365" y="1228"/>
                  </a:lnTo>
                  <a:lnTo>
                    <a:pt x="1365" y="1231"/>
                  </a:lnTo>
                  <a:lnTo>
                    <a:pt x="1365" y="1231"/>
                  </a:lnTo>
                  <a:lnTo>
                    <a:pt x="1365" y="1234"/>
                  </a:lnTo>
                  <a:lnTo>
                    <a:pt x="1365" y="1234"/>
                  </a:lnTo>
                  <a:lnTo>
                    <a:pt x="1365" y="1234"/>
                  </a:lnTo>
                  <a:lnTo>
                    <a:pt x="1365" y="1237"/>
                  </a:lnTo>
                  <a:lnTo>
                    <a:pt x="1365" y="1237"/>
                  </a:lnTo>
                  <a:lnTo>
                    <a:pt x="1365" y="1237"/>
                  </a:lnTo>
                  <a:lnTo>
                    <a:pt x="1365" y="1237"/>
                  </a:lnTo>
                  <a:close/>
                  <a:moveTo>
                    <a:pt x="1369" y="1240"/>
                  </a:moveTo>
                  <a:lnTo>
                    <a:pt x="1369" y="1237"/>
                  </a:lnTo>
                  <a:lnTo>
                    <a:pt x="1369" y="1237"/>
                  </a:lnTo>
                  <a:lnTo>
                    <a:pt x="1369" y="1240"/>
                  </a:lnTo>
                  <a:lnTo>
                    <a:pt x="1369" y="1240"/>
                  </a:lnTo>
                  <a:lnTo>
                    <a:pt x="1369" y="1240"/>
                  </a:lnTo>
                  <a:lnTo>
                    <a:pt x="1369" y="1240"/>
                  </a:lnTo>
                  <a:close/>
                  <a:moveTo>
                    <a:pt x="1407" y="1124"/>
                  </a:moveTo>
                  <a:lnTo>
                    <a:pt x="1407" y="1121"/>
                  </a:lnTo>
                  <a:lnTo>
                    <a:pt x="1410" y="1121"/>
                  </a:lnTo>
                  <a:lnTo>
                    <a:pt x="1410" y="1121"/>
                  </a:lnTo>
                  <a:lnTo>
                    <a:pt x="1407" y="1124"/>
                  </a:lnTo>
                  <a:lnTo>
                    <a:pt x="1407" y="1124"/>
                  </a:lnTo>
                  <a:lnTo>
                    <a:pt x="1407" y="1124"/>
                  </a:lnTo>
                  <a:lnTo>
                    <a:pt x="1407" y="1124"/>
                  </a:lnTo>
                  <a:lnTo>
                    <a:pt x="1407" y="1124"/>
                  </a:lnTo>
                  <a:close/>
                  <a:moveTo>
                    <a:pt x="1393" y="1150"/>
                  </a:moveTo>
                  <a:lnTo>
                    <a:pt x="1393" y="1150"/>
                  </a:lnTo>
                  <a:lnTo>
                    <a:pt x="1396" y="1150"/>
                  </a:lnTo>
                  <a:lnTo>
                    <a:pt x="1396" y="1150"/>
                  </a:lnTo>
                  <a:lnTo>
                    <a:pt x="1396" y="1150"/>
                  </a:lnTo>
                  <a:lnTo>
                    <a:pt x="1396" y="1150"/>
                  </a:lnTo>
                  <a:lnTo>
                    <a:pt x="1396" y="1147"/>
                  </a:lnTo>
                  <a:lnTo>
                    <a:pt x="1393" y="1150"/>
                  </a:lnTo>
                  <a:lnTo>
                    <a:pt x="1393" y="1150"/>
                  </a:lnTo>
                  <a:close/>
                  <a:moveTo>
                    <a:pt x="1414" y="1176"/>
                  </a:moveTo>
                  <a:lnTo>
                    <a:pt x="1414" y="1173"/>
                  </a:lnTo>
                  <a:lnTo>
                    <a:pt x="1414" y="1173"/>
                  </a:lnTo>
                  <a:lnTo>
                    <a:pt x="1414" y="1173"/>
                  </a:lnTo>
                  <a:lnTo>
                    <a:pt x="1414" y="1173"/>
                  </a:lnTo>
                  <a:lnTo>
                    <a:pt x="1417" y="1173"/>
                  </a:lnTo>
                  <a:lnTo>
                    <a:pt x="1417" y="1173"/>
                  </a:lnTo>
                  <a:lnTo>
                    <a:pt x="1417" y="1176"/>
                  </a:lnTo>
                  <a:lnTo>
                    <a:pt x="1417" y="1176"/>
                  </a:lnTo>
                  <a:lnTo>
                    <a:pt x="1417" y="1176"/>
                  </a:lnTo>
                  <a:lnTo>
                    <a:pt x="1414" y="1176"/>
                  </a:lnTo>
                  <a:lnTo>
                    <a:pt x="1414" y="1176"/>
                  </a:lnTo>
                  <a:close/>
                  <a:moveTo>
                    <a:pt x="1403" y="1176"/>
                  </a:moveTo>
                  <a:lnTo>
                    <a:pt x="1407" y="1176"/>
                  </a:lnTo>
                  <a:lnTo>
                    <a:pt x="1407" y="1176"/>
                  </a:lnTo>
                  <a:lnTo>
                    <a:pt x="1410" y="1176"/>
                  </a:lnTo>
                  <a:lnTo>
                    <a:pt x="1407" y="1173"/>
                  </a:lnTo>
                  <a:lnTo>
                    <a:pt x="1410" y="1173"/>
                  </a:lnTo>
                  <a:lnTo>
                    <a:pt x="1410" y="1176"/>
                  </a:lnTo>
                  <a:lnTo>
                    <a:pt x="1407" y="1179"/>
                  </a:lnTo>
                  <a:lnTo>
                    <a:pt x="1407" y="1179"/>
                  </a:lnTo>
                  <a:lnTo>
                    <a:pt x="1403" y="1179"/>
                  </a:lnTo>
                  <a:lnTo>
                    <a:pt x="1403" y="1176"/>
                  </a:lnTo>
                  <a:lnTo>
                    <a:pt x="1403" y="1176"/>
                  </a:lnTo>
                  <a:lnTo>
                    <a:pt x="1403" y="1176"/>
                  </a:lnTo>
                  <a:close/>
                  <a:moveTo>
                    <a:pt x="1372" y="1218"/>
                  </a:moveTo>
                  <a:lnTo>
                    <a:pt x="1376" y="1218"/>
                  </a:lnTo>
                  <a:lnTo>
                    <a:pt x="1376" y="1218"/>
                  </a:lnTo>
                  <a:lnTo>
                    <a:pt x="1376" y="1218"/>
                  </a:lnTo>
                  <a:lnTo>
                    <a:pt x="1372" y="1218"/>
                  </a:lnTo>
                  <a:lnTo>
                    <a:pt x="1372" y="1218"/>
                  </a:lnTo>
                  <a:close/>
                  <a:moveTo>
                    <a:pt x="1414" y="1208"/>
                  </a:moveTo>
                  <a:lnTo>
                    <a:pt x="1414" y="1208"/>
                  </a:lnTo>
                  <a:lnTo>
                    <a:pt x="1417" y="1211"/>
                  </a:lnTo>
                  <a:lnTo>
                    <a:pt x="1420" y="1211"/>
                  </a:lnTo>
                  <a:lnTo>
                    <a:pt x="1420" y="1208"/>
                  </a:lnTo>
                  <a:lnTo>
                    <a:pt x="1417" y="1208"/>
                  </a:lnTo>
                  <a:lnTo>
                    <a:pt x="1414" y="1208"/>
                  </a:lnTo>
                  <a:lnTo>
                    <a:pt x="1414" y="1208"/>
                  </a:lnTo>
                  <a:close/>
                  <a:moveTo>
                    <a:pt x="1372" y="1147"/>
                  </a:moveTo>
                  <a:lnTo>
                    <a:pt x="1369" y="1147"/>
                  </a:lnTo>
                  <a:lnTo>
                    <a:pt x="1365" y="1150"/>
                  </a:lnTo>
                  <a:lnTo>
                    <a:pt x="1362" y="1150"/>
                  </a:lnTo>
                  <a:lnTo>
                    <a:pt x="1365" y="1150"/>
                  </a:lnTo>
                  <a:lnTo>
                    <a:pt x="1362" y="1153"/>
                  </a:lnTo>
                  <a:lnTo>
                    <a:pt x="1362" y="1153"/>
                  </a:lnTo>
                  <a:lnTo>
                    <a:pt x="1362" y="1153"/>
                  </a:lnTo>
                  <a:lnTo>
                    <a:pt x="1362" y="1156"/>
                  </a:lnTo>
                  <a:lnTo>
                    <a:pt x="1362" y="1156"/>
                  </a:lnTo>
                  <a:lnTo>
                    <a:pt x="1359" y="1156"/>
                  </a:lnTo>
                  <a:lnTo>
                    <a:pt x="1359" y="1160"/>
                  </a:lnTo>
                  <a:lnTo>
                    <a:pt x="1359" y="1160"/>
                  </a:lnTo>
                  <a:lnTo>
                    <a:pt x="1359" y="1160"/>
                  </a:lnTo>
                  <a:lnTo>
                    <a:pt x="1359" y="1160"/>
                  </a:lnTo>
                  <a:lnTo>
                    <a:pt x="1359" y="1163"/>
                  </a:lnTo>
                  <a:lnTo>
                    <a:pt x="1355" y="1163"/>
                  </a:lnTo>
                  <a:lnTo>
                    <a:pt x="1352" y="1166"/>
                  </a:lnTo>
                  <a:lnTo>
                    <a:pt x="1352" y="1166"/>
                  </a:lnTo>
                  <a:lnTo>
                    <a:pt x="1348" y="1173"/>
                  </a:lnTo>
                  <a:lnTo>
                    <a:pt x="1348" y="1173"/>
                  </a:lnTo>
                  <a:lnTo>
                    <a:pt x="1348" y="1176"/>
                  </a:lnTo>
                  <a:lnTo>
                    <a:pt x="1348" y="1176"/>
                  </a:lnTo>
                  <a:lnTo>
                    <a:pt x="1348" y="1176"/>
                  </a:lnTo>
                  <a:lnTo>
                    <a:pt x="1348" y="1176"/>
                  </a:lnTo>
                  <a:lnTo>
                    <a:pt x="1348" y="1176"/>
                  </a:lnTo>
                  <a:lnTo>
                    <a:pt x="1345" y="1176"/>
                  </a:lnTo>
                  <a:lnTo>
                    <a:pt x="1341" y="1179"/>
                  </a:lnTo>
                  <a:lnTo>
                    <a:pt x="1341" y="1179"/>
                  </a:lnTo>
                  <a:lnTo>
                    <a:pt x="1345" y="1182"/>
                  </a:lnTo>
                  <a:lnTo>
                    <a:pt x="1345" y="1182"/>
                  </a:lnTo>
                  <a:lnTo>
                    <a:pt x="1345" y="1182"/>
                  </a:lnTo>
                  <a:lnTo>
                    <a:pt x="1345" y="1186"/>
                  </a:lnTo>
                  <a:lnTo>
                    <a:pt x="1341" y="1186"/>
                  </a:lnTo>
                  <a:lnTo>
                    <a:pt x="1338" y="1186"/>
                  </a:lnTo>
                  <a:lnTo>
                    <a:pt x="1338" y="1186"/>
                  </a:lnTo>
                  <a:lnTo>
                    <a:pt x="1338" y="1189"/>
                  </a:lnTo>
                  <a:lnTo>
                    <a:pt x="1334" y="1189"/>
                  </a:lnTo>
                  <a:lnTo>
                    <a:pt x="1331" y="1192"/>
                  </a:lnTo>
                  <a:lnTo>
                    <a:pt x="1331" y="1195"/>
                  </a:lnTo>
                  <a:lnTo>
                    <a:pt x="1328" y="1195"/>
                  </a:lnTo>
                  <a:lnTo>
                    <a:pt x="1328" y="1192"/>
                  </a:lnTo>
                  <a:lnTo>
                    <a:pt x="1328" y="1195"/>
                  </a:lnTo>
                  <a:lnTo>
                    <a:pt x="1328" y="1192"/>
                  </a:lnTo>
                  <a:lnTo>
                    <a:pt x="1328" y="1192"/>
                  </a:lnTo>
                  <a:lnTo>
                    <a:pt x="1328" y="1189"/>
                  </a:lnTo>
                  <a:lnTo>
                    <a:pt x="1331" y="1189"/>
                  </a:lnTo>
                  <a:lnTo>
                    <a:pt x="1328" y="1189"/>
                  </a:lnTo>
                  <a:lnTo>
                    <a:pt x="1328" y="1192"/>
                  </a:lnTo>
                  <a:lnTo>
                    <a:pt x="1321" y="1192"/>
                  </a:lnTo>
                  <a:lnTo>
                    <a:pt x="1321" y="1198"/>
                  </a:lnTo>
                  <a:lnTo>
                    <a:pt x="1321" y="1198"/>
                  </a:lnTo>
                  <a:lnTo>
                    <a:pt x="1324" y="1195"/>
                  </a:lnTo>
                  <a:lnTo>
                    <a:pt x="1331" y="1195"/>
                  </a:lnTo>
                  <a:lnTo>
                    <a:pt x="1334" y="1195"/>
                  </a:lnTo>
                  <a:lnTo>
                    <a:pt x="1331" y="1198"/>
                  </a:lnTo>
                  <a:lnTo>
                    <a:pt x="1328" y="1202"/>
                  </a:lnTo>
                  <a:lnTo>
                    <a:pt x="1324" y="1205"/>
                  </a:lnTo>
                  <a:lnTo>
                    <a:pt x="1321" y="1208"/>
                  </a:lnTo>
                  <a:lnTo>
                    <a:pt x="1317" y="1208"/>
                  </a:lnTo>
                  <a:lnTo>
                    <a:pt x="1314" y="1208"/>
                  </a:lnTo>
                  <a:lnTo>
                    <a:pt x="1314" y="1211"/>
                  </a:lnTo>
                  <a:lnTo>
                    <a:pt x="1314" y="1211"/>
                  </a:lnTo>
                  <a:lnTo>
                    <a:pt x="1314" y="1215"/>
                  </a:lnTo>
                  <a:lnTo>
                    <a:pt x="1314" y="1218"/>
                  </a:lnTo>
                  <a:lnTo>
                    <a:pt x="1317" y="1218"/>
                  </a:lnTo>
                  <a:lnTo>
                    <a:pt x="1321" y="1218"/>
                  </a:lnTo>
                  <a:lnTo>
                    <a:pt x="1324" y="1218"/>
                  </a:lnTo>
                  <a:lnTo>
                    <a:pt x="1328" y="1215"/>
                  </a:lnTo>
                  <a:lnTo>
                    <a:pt x="1331" y="1215"/>
                  </a:lnTo>
                  <a:lnTo>
                    <a:pt x="1334" y="1215"/>
                  </a:lnTo>
                  <a:lnTo>
                    <a:pt x="1334" y="1211"/>
                  </a:lnTo>
                  <a:lnTo>
                    <a:pt x="1334" y="1215"/>
                  </a:lnTo>
                  <a:lnTo>
                    <a:pt x="1331" y="1215"/>
                  </a:lnTo>
                  <a:lnTo>
                    <a:pt x="1338" y="1215"/>
                  </a:lnTo>
                  <a:lnTo>
                    <a:pt x="1338" y="1215"/>
                  </a:lnTo>
                  <a:lnTo>
                    <a:pt x="1341" y="1218"/>
                  </a:lnTo>
                  <a:lnTo>
                    <a:pt x="1345" y="1218"/>
                  </a:lnTo>
                  <a:lnTo>
                    <a:pt x="1348" y="1215"/>
                  </a:lnTo>
                  <a:lnTo>
                    <a:pt x="1348" y="1218"/>
                  </a:lnTo>
                  <a:lnTo>
                    <a:pt x="1352" y="1218"/>
                  </a:lnTo>
                  <a:lnTo>
                    <a:pt x="1355" y="1218"/>
                  </a:lnTo>
                  <a:lnTo>
                    <a:pt x="1355" y="1218"/>
                  </a:lnTo>
                  <a:lnTo>
                    <a:pt x="1355" y="1218"/>
                  </a:lnTo>
                  <a:lnTo>
                    <a:pt x="1359" y="1218"/>
                  </a:lnTo>
                  <a:lnTo>
                    <a:pt x="1359" y="1218"/>
                  </a:lnTo>
                  <a:lnTo>
                    <a:pt x="1359" y="1218"/>
                  </a:lnTo>
                  <a:lnTo>
                    <a:pt x="1362" y="1218"/>
                  </a:lnTo>
                  <a:lnTo>
                    <a:pt x="1365" y="1218"/>
                  </a:lnTo>
                  <a:lnTo>
                    <a:pt x="1365" y="1218"/>
                  </a:lnTo>
                  <a:lnTo>
                    <a:pt x="1365" y="1218"/>
                  </a:lnTo>
                  <a:lnTo>
                    <a:pt x="1369" y="1218"/>
                  </a:lnTo>
                  <a:lnTo>
                    <a:pt x="1369" y="1218"/>
                  </a:lnTo>
                  <a:lnTo>
                    <a:pt x="1372" y="1218"/>
                  </a:lnTo>
                  <a:lnTo>
                    <a:pt x="1372" y="1215"/>
                  </a:lnTo>
                  <a:lnTo>
                    <a:pt x="1372" y="1211"/>
                  </a:lnTo>
                  <a:lnTo>
                    <a:pt x="1372" y="1215"/>
                  </a:lnTo>
                  <a:lnTo>
                    <a:pt x="1372" y="1211"/>
                  </a:lnTo>
                  <a:lnTo>
                    <a:pt x="1376" y="1211"/>
                  </a:lnTo>
                  <a:lnTo>
                    <a:pt x="1372" y="1211"/>
                  </a:lnTo>
                  <a:lnTo>
                    <a:pt x="1372" y="1215"/>
                  </a:lnTo>
                  <a:lnTo>
                    <a:pt x="1372" y="1215"/>
                  </a:lnTo>
                  <a:lnTo>
                    <a:pt x="1376" y="1215"/>
                  </a:lnTo>
                  <a:lnTo>
                    <a:pt x="1376" y="1211"/>
                  </a:lnTo>
                  <a:lnTo>
                    <a:pt x="1376" y="1211"/>
                  </a:lnTo>
                  <a:lnTo>
                    <a:pt x="1376" y="1215"/>
                  </a:lnTo>
                  <a:lnTo>
                    <a:pt x="1376" y="1215"/>
                  </a:lnTo>
                  <a:lnTo>
                    <a:pt x="1376" y="1218"/>
                  </a:lnTo>
                  <a:lnTo>
                    <a:pt x="1379" y="1218"/>
                  </a:lnTo>
                  <a:lnTo>
                    <a:pt x="1379" y="1218"/>
                  </a:lnTo>
                  <a:lnTo>
                    <a:pt x="1379" y="1218"/>
                  </a:lnTo>
                  <a:lnTo>
                    <a:pt x="1376" y="1218"/>
                  </a:lnTo>
                  <a:lnTo>
                    <a:pt x="1372" y="1221"/>
                  </a:lnTo>
                  <a:lnTo>
                    <a:pt x="1372" y="1221"/>
                  </a:lnTo>
                  <a:lnTo>
                    <a:pt x="1376" y="1221"/>
                  </a:lnTo>
                  <a:lnTo>
                    <a:pt x="1376" y="1221"/>
                  </a:lnTo>
                  <a:lnTo>
                    <a:pt x="1376" y="1221"/>
                  </a:lnTo>
                  <a:lnTo>
                    <a:pt x="1379" y="1221"/>
                  </a:lnTo>
                  <a:lnTo>
                    <a:pt x="1379" y="1221"/>
                  </a:lnTo>
                  <a:lnTo>
                    <a:pt x="1383" y="1221"/>
                  </a:lnTo>
                  <a:lnTo>
                    <a:pt x="1383" y="1221"/>
                  </a:lnTo>
                  <a:lnTo>
                    <a:pt x="1386" y="1218"/>
                  </a:lnTo>
                  <a:lnTo>
                    <a:pt x="1386" y="1218"/>
                  </a:lnTo>
                  <a:lnTo>
                    <a:pt x="1386" y="1218"/>
                  </a:lnTo>
                  <a:lnTo>
                    <a:pt x="1390" y="1218"/>
                  </a:lnTo>
                  <a:lnTo>
                    <a:pt x="1390" y="1221"/>
                  </a:lnTo>
                  <a:lnTo>
                    <a:pt x="1393" y="1218"/>
                  </a:lnTo>
                  <a:lnTo>
                    <a:pt x="1393" y="1218"/>
                  </a:lnTo>
                  <a:lnTo>
                    <a:pt x="1396" y="1218"/>
                  </a:lnTo>
                  <a:lnTo>
                    <a:pt x="1396" y="1221"/>
                  </a:lnTo>
                  <a:lnTo>
                    <a:pt x="1396" y="1221"/>
                  </a:lnTo>
                  <a:lnTo>
                    <a:pt x="1393" y="1221"/>
                  </a:lnTo>
                  <a:lnTo>
                    <a:pt x="1390" y="1221"/>
                  </a:lnTo>
                  <a:lnTo>
                    <a:pt x="1386" y="1224"/>
                  </a:lnTo>
                  <a:lnTo>
                    <a:pt x="1386" y="1224"/>
                  </a:lnTo>
                  <a:lnTo>
                    <a:pt x="1386" y="1224"/>
                  </a:lnTo>
                  <a:lnTo>
                    <a:pt x="1386" y="1228"/>
                  </a:lnTo>
                  <a:lnTo>
                    <a:pt x="1383" y="1228"/>
                  </a:lnTo>
                  <a:lnTo>
                    <a:pt x="1379" y="1228"/>
                  </a:lnTo>
                  <a:lnTo>
                    <a:pt x="1379" y="1228"/>
                  </a:lnTo>
                  <a:lnTo>
                    <a:pt x="1379" y="1231"/>
                  </a:lnTo>
                  <a:lnTo>
                    <a:pt x="1376" y="1231"/>
                  </a:lnTo>
                  <a:lnTo>
                    <a:pt x="1372" y="1231"/>
                  </a:lnTo>
                  <a:lnTo>
                    <a:pt x="1372" y="1234"/>
                  </a:lnTo>
                  <a:lnTo>
                    <a:pt x="1372" y="1234"/>
                  </a:lnTo>
                  <a:lnTo>
                    <a:pt x="1372" y="1234"/>
                  </a:lnTo>
                  <a:lnTo>
                    <a:pt x="1376" y="1234"/>
                  </a:lnTo>
                  <a:lnTo>
                    <a:pt x="1376" y="1234"/>
                  </a:lnTo>
                  <a:lnTo>
                    <a:pt x="1379" y="1234"/>
                  </a:lnTo>
                  <a:lnTo>
                    <a:pt x="1379" y="1234"/>
                  </a:lnTo>
                  <a:lnTo>
                    <a:pt x="1379" y="1234"/>
                  </a:lnTo>
                  <a:lnTo>
                    <a:pt x="1383" y="1237"/>
                  </a:lnTo>
                  <a:lnTo>
                    <a:pt x="1383" y="1234"/>
                  </a:lnTo>
                  <a:lnTo>
                    <a:pt x="1386" y="1234"/>
                  </a:lnTo>
                  <a:lnTo>
                    <a:pt x="1386" y="1231"/>
                  </a:lnTo>
                  <a:lnTo>
                    <a:pt x="1386" y="1231"/>
                  </a:lnTo>
                  <a:lnTo>
                    <a:pt x="1390" y="1231"/>
                  </a:lnTo>
                  <a:lnTo>
                    <a:pt x="1390" y="1228"/>
                  </a:lnTo>
                  <a:lnTo>
                    <a:pt x="1390" y="1228"/>
                  </a:lnTo>
                  <a:lnTo>
                    <a:pt x="1393" y="1224"/>
                  </a:lnTo>
                  <a:lnTo>
                    <a:pt x="1396" y="1224"/>
                  </a:lnTo>
                  <a:lnTo>
                    <a:pt x="1396" y="1224"/>
                  </a:lnTo>
                  <a:lnTo>
                    <a:pt x="1400" y="1224"/>
                  </a:lnTo>
                  <a:lnTo>
                    <a:pt x="1396" y="1224"/>
                  </a:lnTo>
                  <a:lnTo>
                    <a:pt x="1400" y="1224"/>
                  </a:lnTo>
                  <a:lnTo>
                    <a:pt x="1400" y="1224"/>
                  </a:lnTo>
                  <a:lnTo>
                    <a:pt x="1403" y="1221"/>
                  </a:lnTo>
                  <a:lnTo>
                    <a:pt x="1403" y="1218"/>
                  </a:lnTo>
                  <a:lnTo>
                    <a:pt x="1403" y="1215"/>
                  </a:lnTo>
                  <a:lnTo>
                    <a:pt x="1403" y="1215"/>
                  </a:lnTo>
                  <a:lnTo>
                    <a:pt x="1407" y="1215"/>
                  </a:lnTo>
                  <a:lnTo>
                    <a:pt x="1407" y="1215"/>
                  </a:lnTo>
                  <a:lnTo>
                    <a:pt x="1410" y="1215"/>
                  </a:lnTo>
                  <a:lnTo>
                    <a:pt x="1410" y="1215"/>
                  </a:lnTo>
                  <a:lnTo>
                    <a:pt x="1410" y="1218"/>
                  </a:lnTo>
                  <a:lnTo>
                    <a:pt x="1410" y="1221"/>
                  </a:lnTo>
                  <a:lnTo>
                    <a:pt x="1410" y="1224"/>
                  </a:lnTo>
                  <a:lnTo>
                    <a:pt x="1410" y="1224"/>
                  </a:lnTo>
                  <a:lnTo>
                    <a:pt x="1410" y="1228"/>
                  </a:lnTo>
                  <a:lnTo>
                    <a:pt x="1407" y="1228"/>
                  </a:lnTo>
                  <a:lnTo>
                    <a:pt x="1403" y="1234"/>
                  </a:lnTo>
                  <a:lnTo>
                    <a:pt x="1403" y="1234"/>
                  </a:lnTo>
                  <a:lnTo>
                    <a:pt x="1403" y="1237"/>
                  </a:lnTo>
                  <a:lnTo>
                    <a:pt x="1403" y="1237"/>
                  </a:lnTo>
                  <a:lnTo>
                    <a:pt x="1407" y="1237"/>
                  </a:lnTo>
                  <a:lnTo>
                    <a:pt x="1407" y="1237"/>
                  </a:lnTo>
                  <a:lnTo>
                    <a:pt x="1410" y="1234"/>
                  </a:lnTo>
                  <a:lnTo>
                    <a:pt x="1414" y="1234"/>
                  </a:lnTo>
                  <a:lnTo>
                    <a:pt x="1414" y="1231"/>
                  </a:lnTo>
                  <a:lnTo>
                    <a:pt x="1417" y="1228"/>
                  </a:lnTo>
                  <a:lnTo>
                    <a:pt x="1417" y="1231"/>
                  </a:lnTo>
                  <a:lnTo>
                    <a:pt x="1420" y="1231"/>
                  </a:lnTo>
                  <a:lnTo>
                    <a:pt x="1420" y="1231"/>
                  </a:lnTo>
                  <a:lnTo>
                    <a:pt x="1417" y="1231"/>
                  </a:lnTo>
                  <a:lnTo>
                    <a:pt x="1414" y="1234"/>
                  </a:lnTo>
                  <a:lnTo>
                    <a:pt x="1414" y="1237"/>
                  </a:lnTo>
                  <a:lnTo>
                    <a:pt x="1414" y="1237"/>
                  </a:lnTo>
                  <a:lnTo>
                    <a:pt x="1414" y="1240"/>
                  </a:lnTo>
                  <a:lnTo>
                    <a:pt x="1414" y="1240"/>
                  </a:lnTo>
                  <a:lnTo>
                    <a:pt x="1417" y="1244"/>
                  </a:lnTo>
                  <a:lnTo>
                    <a:pt x="1417" y="1240"/>
                  </a:lnTo>
                  <a:lnTo>
                    <a:pt x="1420" y="1240"/>
                  </a:lnTo>
                  <a:lnTo>
                    <a:pt x="1420" y="1240"/>
                  </a:lnTo>
                  <a:lnTo>
                    <a:pt x="1420" y="1240"/>
                  </a:lnTo>
                  <a:lnTo>
                    <a:pt x="1420" y="1240"/>
                  </a:lnTo>
                  <a:lnTo>
                    <a:pt x="1420" y="1240"/>
                  </a:lnTo>
                  <a:lnTo>
                    <a:pt x="1424" y="1240"/>
                  </a:lnTo>
                  <a:lnTo>
                    <a:pt x="1427" y="1240"/>
                  </a:lnTo>
                  <a:lnTo>
                    <a:pt x="1427" y="1240"/>
                  </a:lnTo>
                  <a:lnTo>
                    <a:pt x="1427" y="1240"/>
                  </a:lnTo>
                  <a:lnTo>
                    <a:pt x="1427" y="1237"/>
                  </a:lnTo>
                  <a:lnTo>
                    <a:pt x="1427" y="1234"/>
                  </a:lnTo>
                  <a:lnTo>
                    <a:pt x="1427" y="1234"/>
                  </a:lnTo>
                  <a:lnTo>
                    <a:pt x="1431" y="1234"/>
                  </a:lnTo>
                  <a:lnTo>
                    <a:pt x="1427" y="1231"/>
                  </a:lnTo>
                  <a:lnTo>
                    <a:pt x="1431" y="1231"/>
                  </a:lnTo>
                  <a:lnTo>
                    <a:pt x="1434" y="1224"/>
                  </a:lnTo>
                  <a:lnTo>
                    <a:pt x="1434" y="1224"/>
                  </a:lnTo>
                  <a:lnTo>
                    <a:pt x="1434" y="1218"/>
                  </a:lnTo>
                  <a:lnTo>
                    <a:pt x="1434" y="1218"/>
                  </a:lnTo>
                  <a:lnTo>
                    <a:pt x="1434" y="1218"/>
                  </a:lnTo>
                  <a:lnTo>
                    <a:pt x="1434" y="1218"/>
                  </a:lnTo>
                  <a:lnTo>
                    <a:pt x="1431" y="1221"/>
                  </a:lnTo>
                  <a:lnTo>
                    <a:pt x="1427" y="1221"/>
                  </a:lnTo>
                  <a:lnTo>
                    <a:pt x="1427" y="1224"/>
                  </a:lnTo>
                  <a:lnTo>
                    <a:pt x="1424" y="1224"/>
                  </a:lnTo>
                  <a:lnTo>
                    <a:pt x="1424" y="1221"/>
                  </a:lnTo>
                  <a:lnTo>
                    <a:pt x="1424" y="1221"/>
                  </a:lnTo>
                  <a:lnTo>
                    <a:pt x="1424" y="1218"/>
                  </a:lnTo>
                  <a:lnTo>
                    <a:pt x="1427" y="1215"/>
                  </a:lnTo>
                  <a:lnTo>
                    <a:pt x="1427" y="1215"/>
                  </a:lnTo>
                  <a:lnTo>
                    <a:pt x="1431" y="1211"/>
                  </a:lnTo>
                  <a:lnTo>
                    <a:pt x="1431" y="1211"/>
                  </a:lnTo>
                  <a:lnTo>
                    <a:pt x="1434" y="1211"/>
                  </a:lnTo>
                  <a:lnTo>
                    <a:pt x="1434" y="1208"/>
                  </a:lnTo>
                  <a:lnTo>
                    <a:pt x="1431" y="1211"/>
                  </a:lnTo>
                  <a:lnTo>
                    <a:pt x="1431" y="1211"/>
                  </a:lnTo>
                  <a:lnTo>
                    <a:pt x="1427" y="1211"/>
                  </a:lnTo>
                  <a:lnTo>
                    <a:pt x="1424" y="1211"/>
                  </a:lnTo>
                  <a:lnTo>
                    <a:pt x="1424" y="1215"/>
                  </a:lnTo>
                  <a:lnTo>
                    <a:pt x="1424" y="1215"/>
                  </a:lnTo>
                  <a:lnTo>
                    <a:pt x="1417" y="1218"/>
                  </a:lnTo>
                  <a:lnTo>
                    <a:pt x="1417" y="1221"/>
                  </a:lnTo>
                  <a:lnTo>
                    <a:pt x="1417" y="1221"/>
                  </a:lnTo>
                  <a:lnTo>
                    <a:pt x="1414" y="1218"/>
                  </a:lnTo>
                  <a:lnTo>
                    <a:pt x="1414" y="1218"/>
                  </a:lnTo>
                  <a:lnTo>
                    <a:pt x="1414" y="1215"/>
                  </a:lnTo>
                  <a:lnTo>
                    <a:pt x="1414" y="1215"/>
                  </a:lnTo>
                  <a:lnTo>
                    <a:pt x="1414" y="1215"/>
                  </a:lnTo>
                  <a:lnTo>
                    <a:pt x="1414" y="1215"/>
                  </a:lnTo>
                  <a:lnTo>
                    <a:pt x="1417" y="1211"/>
                  </a:lnTo>
                  <a:lnTo>
                    <a:pt x="1417" y="1211"/>
                  </a:lnTo>
                  <a:lnTo>
                    <a:pt x="1414" y="1211"/>
                  </a:lnTo>
                  <a:lnTo>
                    <a:pt x="1414" y="1211"/>
                  </a:lnTo>
                  <a:lnTo>
                    <a:pt x="1417" y="1211"/>
                  </a:lnTo>
                  <a:lnTo>
                    <a:pt x="1414" y="1211"/>
                  </a:lnTo>
                  <a:lnTo>
                    <a:pt x="1414" y="1208"/>
                  </a:lnTo>
                  <a:lnTo>
                    <a:pt x="1414" y="1208"/>
                  </a:lnTo>
                  <a:lnTo>
                    <a:pt x="1414" y="1208"/>
                  </a:lnTo>
                  <a:lnTo>
                    <a:pt x="1417" y="1208"/>
                  </a:lnTo>
                  <a:lnTo>
                    <a:pt x="1417" y="1208"/>
                  </a:lnTo>
                  <a:lnTo>
                    <a:pt x="1420" y="1205"/>
                  </a:lnTo>
                  <a:lnTo>
                    <a:pt x="1424" y="1202"/>
                  </a:lnTo>
                  <a:lnTo>
                    <a:pt x="1424" y="1202"/>
                  </a:lnTo>
                  <a:lnTo>
                    <a:pt x="1427" y="1202"/>
                  </a:lnTo>
                  <a:lnTo>
                    <a:pt x="1431" y="1202"/>
                  </a:lnTo>
                  <a:lnTo>
                    <a:pt x="1431" y="1198"/>
                  </a:lnTo>
                  <a:lnTo>
                    <a:pt x="1431" y="1195"/>
                  </a:lnTo>
                  <a:lnTo>
                    <a:pt x="1431" y="1195"/>
                  </a:lnTo>
                  <a:lnTo>
                    <a:pt x="1427" y="1198"/>
                  </a:lnTo>
                  <a:lnTo>
                    <a:pt x="1424" y="1198"/>
                  </a:lnTo>
                  <a:lnTo>
                    <a:pt x="1424" y="1198"/>
                  </a:lnTo>
                  <a:lnTo>
                    <a:pt x="1424" y="1198"/>
                  </a:lnTo>
                  <a:lnTo>
                    <a:pt x="1424" y="1198"/>
                  </a:lnTo>
                  <a:lnTo>
                    <a:pt x="1424" y="1202"/>
                  </a:lnTo>
                  <a:lnTo>
                    <a:pt x="1420" y="1202"/>
                  </a:lnTo>
                  <a:lnTo>
                    <a:pt x="1420" y="1202"/>
                  </a:lnTo>
                  <a:lnTo>
                    <a:pt x="1417" y="1202"/>
                  </a:lnTo>
                  <a:lnTo>
                    <a:pt x="1414" y="1205"/>
                  </a:lnTo>
                  <a:lnTo>
                    <a:pt x="1414" y="1205"/>
                  </a:lnTo>
                  <a:lnTo>
                    <a:pt x="1414" y="1205"/>
                  </a:lnTo>
                  <a:lnTo>
                    <a:pt x="1414" y="1205"/>
                  </a:lnTo>
                  <a:lnTo>
                    <a:pt x="1414" y="1202"/>
                  </a:lnTo>
                  <a:lnTo>
                    <a:pt x="1414" y="1205"/>
                  </a:lnTo>
                  <a:lnTo>
                    <a:pt x="1410" y="1202"/>
                  </a:lnTo>
                  <a:lnTo>
                    <a:pt x="1414" y="1202"/>
                  </a:lnTo>
                  <a:lnTo>
                    <a:pt x="1414" y="1202"/>
                  </a:lnTo>
                  <a:lnTo>
                    <a:pt x="1417" y="1198"/>
                  </a:lnTo>
                  <a:lnTo>
                    <a:pt x="1414" y="1198"/>
                  </a:lnTo>
                  <a:lnTo>
                    <a:pt x="1417" y="1198"/>
                  </a:lnTo>
                  <a:lnTo>
                    <a:pt x="1417" y="1195"/>
                  </a:lnTo>
                  <a:lnTo>
                    <a:pt x="1417" y="1195"/>
                  </a:lnTo>
                  <a:lnTo>
                    <a:pt x="1414" y="1195"/>
                  </a:lnTo>
                  <a:lnTo>
                    <a:pt x="1417" y="1195"/>
                  </a:lnTo>
                  <a:lnTo>
                    <a:pt x="1417" y="1192"/>
                  </a:lnTo>
                  <a:lnTo>
                    <a:pt x="1414" y="1192"/>
                  </a:lnTo>
                  <a:lnTo>
                    <a:pt x="1414" y="1192"/>
                  </a:lnTo>
                  <a:lnTo>
                    <a:pt x="1410" y="1192"/>
                  </a:lnTo>
                  <a:lnTo>
                    <a:pt x="1414" y="1192"/>
                  </a:lnTo>
                  <a:lnTo>
                    <a:pt x="1414" y="1192"/>
                  </a:lnTo>
                  <a:lnTo>
                    <a:pt x="1417" y="1192"/>
                  </a:lnTo>
                  <a:lnTo>
                    <a:pt x="1420" y="1189"/>
                  </a:lnTo>
                  <a:lnTo>
                    <a:pt x="1420" y="1189"/>
                  </a:lnTo>
                  <a:lnTo>
                    <a:pt x="1420" y="1189"/>
                  </a:lnTo>
                  <a:lnTo>
                    <a:pt x="1424" y="1189"/>
                  </a:lnTo>
                  <a:lnTo>
                    <a:pt x="1424" y="1186"/>
                  </a:lnTo>
                  <a:lnTo>
                    <a:pt x="1424" y="1186"/>
                  </a:lnTo>
                  <a:lnTo>
                    <a:pt x="1427" y="1182"/>
                  </a:lnTo>
                  <a:lnTo>
                    <a:pt x="1424" y="1182"/>
                  </a:lnTo>
                  <a:lnTo>
                    <a:pt x="1420" y="1179"/>
                  </a:lnTo>
                  <a:lnTo>
                    <a:pt x="1417" y="1179"/>
                  </a:lnTo>
                  <a:lnTo>
                    <a:pt x="1414" y="1179"/>
                  </a:lnTo>
                  <a:lnTo>
                    <a:pt x="1414" y="1179"/>
                  </a:lnTo>
                  <a:lnTo>
                    <a:pt x="1414" y="1182"/>
                  </a:lnTo>
                  <a:lnTo>
                    <a:pt x="1410" y="1182"/>
                  </a:lnTo>
                  <a:lnTo>
                    <a:pt x="1410" y="1186"/>
                  </a:lnTo>
                  <a:lnTo>
                    <a:pt x="1407" y="1189"/>
                  </a:lnTo>
                  <a:lnTo>
                    <a:pt x="1410" y="1186"/>
                  </a:lnTo>
                  <a:lnTo>
                    <a:pt x="1410" y="1182"/>
                  </a:lnTo>
                  <a:lnTo>
                    <a:pt x="1410" y="1182"/>
                  </a:lnTo>
                  <a:lnTo>
                    <a:pt x="1410" y="1179"/>
                  </a:lnTo>
                  <a:lnTo>
                    <a:pt x="1410" y="1179"/>
                  </a:lnTo>
                  <a:lnTo>
                    <a:pt x="1410" y="1179"/>
                  </a:lnTo>
                  <a:lnTo>
                    <a:pt x="1407" y="1179"/>
                  </a:lnTo>
                  <a:lnTo>
                    <a:pt x="1407" y="1182"/>
                  </a:lnTo>
                  <a:lnTo>
                    <a:pt x="1403" y="1182"/>
                  </a:lnTo>
                  <a:lnTo>
                    <a:pt x="1403" y="1182"/>
                  </a:lnTo>
                  <a:lnTo>
                    <a:pt x="1403" y="1182"/>
                  </a:lnTo>
                  <a:lnTo>
                    <a:pt x="1400" y="1182"/>
                  </a:lnTo>
                  <a:lnTo>
                    <a:pt x="1400" y="1182"/>
                  </a:lnTo>
                  <a:lnTo>
                    <a:pt x="1396" y="1182"/>
                  </a:lnTo>
                  <a:lnTo>
                    <a:pt x="1396" y="1186"/>
                  </a:lnTo>
                  <a:lnTo>
                    <a:pt x="1393" y="1189"/>
                  </a:lnTo>
                  <a:lnTo>
                    <a:pt x="1396" y="1186"/>
                  </a:lnTo>
                  <a:lnTo>
                    <a:pt x="1396" y="1182"/>
                  </a:lnTo>
                  <a:lnTo>
                    <a:pt x="1396" y="1179"/>
                  </a:lnTo>
                  <a:lnTo>
                    <a:pt x="1396" y="1179"/>
                  </a:lnTo>
                  <a:lnTo>
                    <a:pt x="1393" y="1179"/>
                  </a:lnTo>
                  <a:lnTo>
                    <a:pt x="1393" y="1182"/>
                  </a:lnTo>
                  <a:lnTo>
                    <a:pt x="1393" y="1182"/>
                  </a:lnTo>
                  <a:lnTo>
                    <a:pt x="1390" y="1182"/>
                  </a:lnTo>
                  <a:lnTo>
                    <a:pt x="1393" y="1182"/>
                  </a:lnTo>
                  <a:lnTo>
                    <a:pt x="1393" y="1179"/>
                  </a:lnTo>
                  <a:lnTo>
                    <a:pt x="1393" y="1179"/>
                  </a:lnTo>
                  <a:lnTo>
                    <a:pt x="1390" y="1179"/>
                  </a:lnTo>
                  <a:lnTo>
                    <a:pt x="1386" y="1182"/>
                  </a:lnTo>
                  <a:lnTo>
                    <a:pt x="1386" y="1182"/>
                  </a:lnTo>
                  <a:lnTo>
                    <a:pt x="1386" y="1179"/>
                  </a:lnTo>
                  <a:lnTo>
                    <a:pt x="1383" y="1179"/>
                  </a:lnTo>
                  <a:lnTo>
                    <a:pt x="1379" y="1179"/>
                  </a:lnTo>
                  <a:lnTo>
                    <a:pt x="1379" y="1179"/>
                  </a:lnTo>
                  <a:lnTo>
                    <a:pt x="1379" y="1179"/>
                  </a:lnTo>
                  <a:lnTo>
                    <a:pt x="1383" y="1179"/>
                  </a:lnTo>
                  <a:lnTo>
                    <a:pt x="1383" y="1176"/>
                  </a:lnTo>
                  <a:lnTo>
                    <a:pt x="1386" y="1173"/>
                  </a:lnTo>
                  <a:lnTo>
                    <a:pt x="1383" y="1173"/>
                  </a:lnTo>
                  <a:lnTo>
                    <a:pt x="1383" y="1173"/>
                  </a:lnTo>
                  <a:lnTo>
                    <a:pt x="1379" y="1176"/>
                  </a:lnTo>
                  <a:lnTo>
                    <a:pt x="1383" y="1173"/>
                  </a:lnTo>
                  <a:lnTo>
                    <a:pt x="1383" y="1173"/>
                  </a:lnTo>
                  <a:lnTo>
                    <a:pt x="1386" y="1169"/>
                  </a:lnTo>
                  <a:lnTo>
                    <a:pt x="1390" y="1169"/>
                  </a:lnTo>
                  <a:lnTo>
                    <a:pt x="1393" y="1169"/>
                  </a:lnTo>
                  <a:lnTo>
                    <a:pt x="1393" y="1169"/>
                  </a:lnTo>
                  <a:lnTo>
                    <a:pt x="1393" y="1166"/>
                  </a:lnTo>
                  <a:lnTo>
                    <a:pt x="1393" y="1166"/>
                  </a:lnTo>
                  <a:lnTo>
                    <a:pt x="1390" y="1169"/>
                  </a:lnTo>
                  <a:lnTo>
                    <a:pt x="1386" y="1166"/>
                  </a:lnTo>
                  <a:lnTo>
                    <a:pt x="1383" y="1166"/>
                  </a:lnTo>
                  <a:lnTo>
                    <a:pt x="1383" y="1166"/>
                  </a:lnTo>
                  <a:lnTo>
                    <a:pt x="1383" y="1166"/>
                  </a:lnTo>
                  <a:lnTo>
                    <a:pt x="1383" y="1163"/>
                  </a:lnTo>
                  <a:lnTo>
                    <a:pt x="1383" y="1163"/>
                  </a:lnTo>
                  <a:lnTo>
                    <a:pt x="1383" y="1163"/>
                  </a:lnTo>
                  <a:lnTo>
                    <a:pt x="1383" y="1163"/>
                  </a:lnTo>
                  <a:lnTo>
                    <a:pt x="1379" y="1163"/>
                  </a:lnTo>
                  <a:lnTo>
                    <a:pt x="1376" y="1166"/>
                  </a:lnTo>
                  <a:lnTo>
                    <a:pt x="1376" y="1169"/>
                  </a:lnTo>
                  <a:lnTo>
                    <a:pt x="1372" y="1169"/>
                  </a:lnTo>
                  <a:lnTo>
                    <a:pt x="1372" y="1173"/>
                  </a:lnTo>
                  <a:lnTo>
                    <a:pt x="1369" y="1173"/>
                  </a:lnTo>
                  <a:lnTo>
                    <a:pt x="1369" y="1176"/>
                  </a:lnTo>
                  <a:lnTo>
                    <a:pt x="1369" y="1173"/>
                  </a:lnTo>
                  <a:lnTo>
                    <a:pt x="1369" y="1169"/>
                  </a:lnTo>
                  <a:lnTo>
                    <a:pt x="1369" y="1169"/>
                  </a:lnTo>
                  <a:lnTo>
                    <a:pt x="1369" y="1166"/>
                  </a:lnTo>
                  <a:lnTo>
                    <a:pt x="1372" y="1163"/>
                  </a:lnTo>
                  <a:lnTo>
                    <a:pt x="1372" y="1163"/>
                  </a:lnTo>
                  <a:lnTo>
                    <a:pt x="1376" y="1160"/>
                  </a:lnTo>
                  <a:lnTo>
                    <a:pt x="1376" y="1160"/>
                  </a:lnTo>
                  <a:lnTo>
                    <a:pt x="1376" y="1156"/>
                  </a:lnTo>
                  <a:lnTo>
                    <a:pt x="1379" y="1153"/>
                  </a:lnTo>
                  <a:lnTo>
                    <a:pt x="1383" y="1153"/>
                  </a:lnTo>
                  <a:lnTo>
                    <a:pt x="1383" y="1153"/>
                  </a:lnTo>
                  <a:lnTo>
                    <a:pt x="1383" y="1150"/>
                  </a:lnTo>
                  <a:lnTo>
                    <a:pt x="1386" y="1150"/>
                  </a:lnTo>
                  <a:lnTo>
                    <a:pt x="1386" y="1150"/>
                  </a:lnTo>
                  <a:lnTo>
                    <a:pt x="1386" y="1147"/>
                  </a:lnTo>
                  <a:lnTo>
                    <a:pt x="1386" y="1144"/>
                  </a:lnTo>
                  <a:lnTo>
                    <a:pt x="1386" y="1147"/>
                  </a:lnTo>
                  <a:lnTo>
                    <a:pt x="1386" y="1147"/>
                  </a:lnTo>
                  <a:lnTo>
                    <a:pt x="1386" y="1150"/>
                  </a:lnTo>
                  <a:lnTo>
                    <a:pt x="1390" y="1147"/>
                  </a:lnTo>
                  <a:lnTo>
                    <a:pt x="1393" y="1144"/>
                  </a:lnTo>
                  <a:lnTo>
                    <a:pt x="1393" y="1140"/>
                  </a:lnTo>
                  <a:lnTo>
                    <a:pt x="1393" y="1140"/>
                  </a:lnTo>
                  <a:lnTo>
                    <a:pt x="1393" y="1140"/>
                  </a:lnTo>
                  <a:lnTo>
                    <a:pt x="1390" y="1140"/>
                  </a:lnTo>
                  <a:lnTo>
                    <a:pt x="1390" y="1140"/>
                  </a:lnTo>
                  <a:lnTo>
                    <a:pt x="1390" y="1137"/>
                  </a:lnTo>
                  <a:lnTo>
                    <a:pt x="1390" y="1137"/>
                  </a:lnTo>
                  <a:lnTo>
                    <a:pt x="1390" y="1137"/>
                  </a:lnTo>
                  <a:lnTo>
                    <a:pt x="1393" y="1137"/>
                  </a:lnTo>
                  <a:lnTo>
                    <a:pt x="1396" y="1137"/>
                  </a:lnTo>
                  <a:lnTo>
                    <a:pt x="1396" y="1137"/>
                  </a:lnTo>
                  <a:lnTo>
                    <a:pt x="1400" y="1137"/>
                  </a:lnTo>
                  <a:lnTo>
                    <a:pt x="1400" y="1131"/>
                  </a:lnTo>
                  <a:lnTo>
                    <a:pt x="1396" y="1131"/>
                  </a:lnTo>
                  <a:lnTo>
                    <a:pt x="1396" y="1134"/>
                  </a:lnTo>
                  <a:lnTo>
                    <a:pt x="1396" y="1134"/>
                  </a:lnTo>
                  <a:lnTo>
                    <a:pt x="1393" y="1134"/>
                  </a:lnTo>
                  <a:lnTo>
                    <a:pt x="1393" y="1131"/>
                  </a:lnTo>
                  <a:lnTo>
                    <a:pt x="1393" y="1131"/>
                  </a:lnTo>
                  <a:lnTo>
                    <a:pt x="1393" y="1131"/>
                  </a:lnTo>
                  <a:lnTo>
                    <a:pt x="1390" y="1134"/>
                  </a:lnTo>
                  <a:lnTo>
                    <a:pt x="1386" y="1134"/>
                  </a:lnTo>
                  <a:lnTo>
                    <a:pt x="1386" y="1134"/>
                  </a:lnTo>
                  <a:lnTo>
                    <a:pt x="1383" y="1137"/>
                  </a:lnTo>
                  <a:lnTo>
                    <a:pt x="1379" y="1137"/>
                  </a:lnTo>
                  <a:lnTo>
                    <a:pt x="1379" y="1137"/>
                  </a:lnTo>
                  <a:lnTo>
                    <a:pt x="1376" y="1140"/>
                  </a:lnTo>
                  <a:lnTo>
                    <a:pt x="1372" y="1144"/>
                  </a:lnTo>
                  <a:lnTo>
                    <a:pt x="1372" y="1144"/>
                  </a:lnTo>
                  <a:lnTo>
                    <a:pt x="1369" y="1144"/>
                  </a:lnTo>
                  <a:lnTo>
                    <a:pt x="1369" y="1144"/>
                  </a:lnTo>
                  <a:lnTo>
                    <a:pt x="1372" y="1144"/>
                  </a:lnTo>
                  <a:lnTo>
                    <a:pt x="1372" y="1147"/>
                  </a:lnTo>
                  <a:lnTo>
                    <a:pt x="1372" y="1147"/>
                  </a:lnTo>
                  <a:close/>
                  <a:moveTo>
                    <a:pt x="1245" y="1176"/>
                  </a:moveTo>
                  <a:lnTo>
                    <a:pt x="1248" y="1176"/>
                  </a:lnTo>
                  <a:lnTo>
                    <a:pt x="1255" y="1182"/>
                  </a:lnTo>
                  <a:lnTo>
                    <a:pt x="1262" y="1182"/>
                  </a:lnTo>
                  <a:lnTo>
                    <a:pt x="1266" y="1182"/>
                  </a:lnTo>
                  <a:lnTo>
                    <a:pt x="1269" y="1182"/>
                  </a:lnTo>
                  <a:lnTo>
                    <a:pt x="1269" y="1182"/>
                  </a:lnTo>
                  <a:lnTo>
                    <a:pt x="1276" y="1186"/>
                  </a:lnTo>
                  <a:lnTo>
                    <a:pt x="1279" y="1182"/>
                  </a:lnTo>
                  <a:lnTo>
                    <a:pt x="1279" y="1182"/>
                  </a:lnTo>
                  <a:lnTo>
                    <a:pt x="1276" y="1179"/>
                  </a:lnTo>
                  <a:lnTo>
                    <a:pt x="1276" y="1179"/>
                  </a:lnTo>
                  <a:lnTo>
                    <a:pt x="1273" y="1176"/>
                  </a:lnTo>
                  <a:lnTo>
                    <a:pt x="1273" y="1176"/>
                  </a:lnTo>
                  <a:lnTo>
                    <a:pt x="1269" y="1173"/>
                  </a:lnTo>
                  <a:lnTo>
                    <a:pt x="1266" y="1169"/>
                  </a:lnTo>
                  <a:lnTo>
                    <a:pt x="1262" y="1169"/>
                  </a:lnTo>
                  <a:lnTo>
                    <a:pt x="1259" y="1166"/>
                  </a:lnTo>
                  <a:lnTo>
                    <a:pt x="1255" y="1166"/>
                  </a:lnTo>
                  <a:lnTo>
                    <a:pt x="1248" y="1166"/>
                  </a:lnTo>
                  <a:lnTo>
                    <a:pt x="1242" y="1163"/>
                  </a:lnTo>
                  <a:lnTo>
                    <a:pt x="1238" y="1163"/>
                  </a:lnTo>
                  <a:lnTo>
                    <a:pt x="1231" y="1163"/>
                  </a:lnTo>
                  <a:lnTo>
                    <a:pt x="1235" y="1166"/>
                  </a:lnTo>
                  <a:lnTo>
                    <a:pt x="1238" y="1166"/>
                  </a:lnTo>
                  <a:lnTo>
                    <a:pt x="1245" y="1173"/>
                  </a:lnTo>
                  <a:lnTo>
                    <a:pt x="1245" y="1176"/>
                  </a:lnTo>
                  <a:lnTo>
                    <a:pt x="1245" y="1176"/>
                  </a:lnTo>
                  <a:lnTo>
                    <a:pt x="1245" y="1176"/>
                  </a:lnTo>
                  <a:close/>
                  <a:moveTo>
                    <a:pt x="1248" y="1250"/>
                  </a:moveTo>
                  <a:lnTo>
                    <a:pt x="1245" y="1250"/>
                  </a:lnTo>
                  <a:lnTo>
                    <a:pt x="1242" y="1247"/>
                  </a:lnTo>
                  <a:lnTo>
                    <a:pt x="1235" y="1244"/>
                  </a:lnTo>
                  <a:lnTo>
                    <a:pt x="1231" y="1244"/>
                  </a:lnTo>
                  <a:lnTo>
                    <a:pt x="1231" y="1240"/>
                  </a:lnTo>
                  <a:lnTo>
                    <a:pt x="1228" y="1240"/>
                  </a:lnTo>
                  <a:lnTo>
                    <a:pt x="1228" y="1240"/>
                  </a:lnTo>
                  <a:lnTo>
                    <a:pt x="1228" y="1237"/>
                  </a:lnTo>
                  <a:lnTo>
                    <a:pt x="1224" y="1237"/>
                  </a:lnTo>
                  <a:lnTo>
                    <a:pt x="1224" y="1234"/>
                  </a:lnTo>
                  <a:lnTo>
                    <a:pt x="1221" y="1234"/>
                  </a:lnTo>
                  <a:lnTo>
                    <a:pt x="1221" y="1234"/>
                  </a:lnTo>
                  <a:lnTo>
                    <a:pt x="1218" y="1234"/>
                  </a:lnTo>
                  <a:lnTo>
                    <a:pt x="1221" y="1231"/>
                  </a:lnTo>
                  <a:lnTo>
                    <a:pt x="1228" y="1228"/>
                  </a:lnTo>
                  <a:lnTo>
                    <a:pt x="1228" y="1228"/>
                  </a:lnTo>
                  <a:lnTo>
                    <a:pt x="1224" y="1231"/>
                  </a:lnTo>
                  <a:lnTo>
                    <a:pt x="1224" y="1231"/>
                  </a:lnTo>
                  <a:lnTo>
                    <a:pt x="1228" y="1234"/>
                  </a:lnTo>
                  <a:lnTo>
                    <a:pt x="1228" y="1237"/>
                  </a:lnTo>
                  <a:lnTo>
                    <a:pt x="1231" y="1237"/>
                  </a:lnTo>
                  <a:lnTo>
                    <a:pt x="1231" y="1237"/>
                  </a:lnTo>
                  <a:lnTo>
                    <a:pt x="1235" y="1237"/>
                  </a:lnTo>
                  <a:lnTo>
                    <a:pt x="1238" y="1240"/>
                  </a:lnTo>
                  <a:lnTo>
                    <a:pt x="1242" y="1240"/>
                  </a:lnTo>
                  <a:lnTo>
                    <a:pt x="1242" y="1240"/>
                  </a:lnTo>
                  <a:lnTo>
                    <a:pt x="1248" y="1240"/>
                  </a:lnTo>
                  <a:lnTo>
                    <a:pt x="1248" y="1240"/>
                  </a:lnTo>
                  <a:lnTo>
                    <a:pt x="1252" y="1240"/>
                  </a:lnTo>
                  <a:lnTo>
                    <a:pt x="1259" y="1240"/>
                  </a:lnTo>
                  <a:lnTo>
                    <a:pt x="1255" y="1240"/>
                  </a:lnTo>
                  <a:lnTo>
                    <a:pt x="1252" y="1240"/>
                  </a:lnTo>
                  <a:lnTo>
                    <a:pt x="1252" y="1244"/>
                  </a:lnTo>
                  <a:lnTo>
                    <a:pt x="1252" y="1247"/>
                  </a:lnTo>
                  <a:lnTo>
                    <a:pt x="1252" y="1250"/>
                  </a:lnTo>
                  <a:lnTo>
                    <a:pt x="1248" y="1250"/>
                  </a:lnTo>
                  <a:lnTo>
                    <a:pt x="1248" y="1250"/>
                  </a:lnTo>
                  <a:close/>
                  <a:moveTo>
                    <a:pt x="1276" y="1263"/>
                  </a:moveTo>
                  <a:lnTo>
                    <a:pt x="1276" y="1260"/>
                  </a:lnTo>
                  <a:lnTo>
                    <a:pt x="1269" y="1257"/>
                  </a:lnTo>
                  <a:lnTo>
                    <a:pt x="1269" y="1253"/>
                  </a:lnTo>
                  <a:lnTo>
                    <a:pt x="1266" y="1250"/>
                  </a:lnTo>
                  <a:lnTo>
                    <a:pt x="1269" y="1247"/>
                  </a:lnTo>
                  <a:lnTo>
                    <a:pt x="1273" y="1247"/>
                  </a:lnTo>
                  <a:lnTo>
                    <a:pt x="1279" y="1240"/>
                  </a:lnTo>
                  <a:lnTo>
                    <a:pt x="1279" y="1240"/>
                  </a:lnTo>
                  <a:lnTo>
                    <a:pt x="1283" y="1234"/>
                  </a:lnTo>
                  <a:lnTo>
                    <a:pt x="1286" y="1234"/>
                  </a:lnTo>
                  <a:lnTo>
                    <a:pt x="1286" y="1231"/>
                  </a:lnTo>
                  <a:lnTo>
                    <a:pt x="1290" y="1231"/>
                  </a:lnTo>
                  <a:lnTo>
                    <a:pt x="1290" y="1231"/>
                  </a:lnTo>
                  <a:lnTo>
                    <a:pt x="1290" y="1234"/>
                  </a:lnTo>
                  <a:lnTo>
                    <a:pt x="1293" y="1234"/>
                  </a:lnTo>
                  <a:lnTo>
                    <a:pt x="1293" y="1237"/>
                  </a:lnTo>
                  <a:lnTo>
                    <a:pt x="1290" y="1240"/>
                  </a:lnTo>
                  <a:lnTo>
                    <a:pt x="1286" y="1244"/>
                  </a:lnTo>
                  <a:lnTo>
                    <a:pt x="1290" y="1244"/>
                  </a:lnTo>
                  <a:lnTo>
                    <a:pt x="1290" y="1247"/>
                  </a:lnTo>
                  <a:lnTo>
                    <a:pt x="1290" y="1250"/>
                  </a:lnTo>
                  <a:lnTo>
                    <a:pt x="1290" y="1250"/>
                  </a:lnTo>
                  <a:lnTo>
                    <a:pt x="1293" y="1250"/>
                  </a:lnTo>
                  <a:lnTo>
                    <a:pt x="1293" y="1247"/>
                  </a:lnTo>
                  <a:lnTo>
                    <a:pt x="1297" y="1247"/>
                  </a:lnTo>
                  <a:lnTo>
                    <a:pt x="1300" y="1247"/>
                  </a:lnTo>
                  <a:lnTo>
                    <a:pt x="1300" y="1250"/>
                  </a:lnTo>
                  <a:lnTo>
                    <a:pt x="1300" y="1253"/>
                  </a:lnTo>
                  <a:lnTo>
                    <a:pt x="1297" y="1253"/>
                  </a:lnTo>
                  <a:lnTo>
                    <a:pt x="1297" y="1257"/>
                  </a:lnTo>
                  <a:lnTo>
                    <a:pt x="1290" y="1257"/>
                  </a:lnTo>
                  <a:lnTo>
                    <a:pt x="1283" y="1260"/>
                  </a:lnTo>
                  <a:lnTo>
                    <a:pt x="1279" y="1260"/>
                  </a:lnTo>
                  <a:lnTo>
                    <a:pt x="1279" y="1257"/>
                  </a:lnTo>
                  <a:lnTo>
                    <a:pt x="1279" y="1260"/>
                  </a:lnTo>
                  <a:lnTo>
                    <a:pt x="1276" y="1260"/>
                  </a:lnTo>
                  <a:lnTo>
                    <a:pt x="1276" y="1263"/>
                  </a:lnTo>
                  <a:lnTo>
                    <a:pt x="1276" y="1263"/>
                  </a:lnTo>
                  <a:close/>
                  <a:moveTo>
                    <a:pt x="977" y="1063"/>
                  </a:moveTo>
                  <a:lnTo>
                    <a:pt x="977" y="1066"/>
                  </a:lnTo>
                  <a:lnTo>
                    <a:pt x="977" y="1069"/>
                  </a:lnTo>
                  <a:lnTo>
                    <a:pt x="977" y="1066"/>
                  </a:lnTo>
                  <a:lnTo>
                    <a:pt x="977" y="1063"/>
                  </a:lnTo>
                  <a:lnTo>
                    <a:pt x="977" y="1063"/>
                  </a:lnTo>
                  <a:lnTo>
                    <a:pt x="977" y="1063"/>
                  </a:lnTo>
                  <a:lnTo>
                    <a:pt x="977" y="1063"/>
                  </a:lnTo>
                  <a:close/>
                  <a:moveTo>
                    <a:pt x="977" y="1102"/>
                  </a:moveTo>
                  <a:lnTo>
                    <a:pt x="977" y="1098"/>
                  </a:lnTo>
                  <a:lnTo>
                    <a:pt x="980" y="1098"/>
                  </a:lnTo>
                  <a:lnTo>
                    <a:pt x="980" y="1095"/>
                  </a:lnTo>
                  <a:lnTo>
                    <a:pt x="980" y="1098"/>
                  </a:lnTo>
                  <a:lnTo>
                    <a:pt x="977" y="1102"/>
                  </a:lnTo>
                  <a:lnTo>
                    <a:pt x="977" y="1102"/>
                  </a:lnTo>
                  <a:lnTo>
                    <a:pt x="977" y="1102"/>
                  </a:lnTo>
                  <a:close/>
                  <a:moveTo>
                    <a:pt x="939" y="1076"/>
                  </a:moveTo>
                  <a:lnTo>
                    <a:pt x="942" y="1069"/>
                  </a:lnTo>
                  <a:lnTo>
                    <a:pt x="946" y="1072"/>
                  </a:lnTo>
                  <a:lnTo>
                    <a:pt x="946" y="1069"/>
                  </a:lnTo>
                  <a:lnTo>
                    <a:pt x="949" y="1066"/>
                  </a:lnTo>
                  <a:lnTo>
                    <a:pt x="953" y="1066"/>
                  </a:lnTo>
                  <a:lnTo>
                    <a:pt x="953" y="1069"/>
                  </a:lnTo>
                  <a:lnTo>
                    <a:pt x="956" y="1069"/>
                  </a:lnTo>
                  <a:lnTo>
                    <a:pt x="960" y="1072"/>
                  </a:lnTo>
                  <a:lnTo>
                    <a:pt x="963" y="1076"/>
                  </a:lnTo>
                  <a:lnTo>
                    <a:pt x="963" y="1076"/>
                  </a:lnTo>
                  <a:lnTo>
                    <a:pt x="963" y="1079"/>
                  </a:lnTo>
                  <a:lnTo>
                    <a:pt x="953" y="1079"/>
                  </a:lnTo>
                  <a:lnTo>
                    <a:pt x="949" y="1076"/>
                  </a:lnTo>
                  <a:lnTo>
                    <a:pt x="946" y="1076"/>
                  </a:lnTo>
                  <a:lnTo>
                    <a:pt x="946" y="1079"/>
                  </a:lnTo>
                  <a:lnTo>
                    <a:pt x="946" y="1079"/>
                  </a:lnTo>
                  <a:lnTo>
                    <a:pt x="946" y="1076"/>
                  </a:lnTo>
                  <a:lnTo>
                    <a:pt x="946" y="1076"/>
                  </a:lnTo>
                  <a:lnTo>
                    <a:pt x="942" y="1076"/>
                  </a:lnTo>
                  <a:lnTo>
                    <a:pt x="939" y="1076"/>
                  </a:lnTo>
                  <a:lnTo>
                    <a:pt x="939" y="1076"/>
                  </a:lnTo>
                  <a:close/>
                  <a:moveTo>
                    <a:pt x="148" y="1089"/>
                  </a:moveTo>
                  <a:lnTo>
                    <a:pt x="151" y="1092"/>
                  </a:lnTo>
                  <a:lnTo>
                    <a:pt x="155" y="1095"/>
                  </a:lnTo>
                  <a:lnTo>
                    <a:pt x="155" y="1095"/>
                  </a:lnTo>
                  <a:lnTo>
                    <a:pt x="148" y="1092"/>
                  </a:lnTo>
                  <a:lnTo>
                    <a:pt x="148" y="1089"/>
                  </a:lnTo>
                  <a:lnTo>
                    <a:pt x="148" y="1089"/>
                  </a:lnTo>
                  <a:close/>
                  <a:moveTo>
                    <a:pt x="141" y="1079"/>
                  </a:moveTo>
                  <a:lnTo>
                    <a:pt x="141" y="1076"/>
                  </a:lnTo>
                  <a:lnTo>
                    <a:pt x="141" y="1076"/>
                  </a:lnTo>
                  <a:lnTo>
                    <a:pt x="141" y="1079"/>
                  </a:lnTo>
                  <a:lnTo>
                    <a:pt x="141" y="1079"/>
                  </a:lnTo>
                  <a:close/>
                  <a:moveTo>
                    <a:pt x="120" y="1066"/>
                  </a:moveTo>
                  <a:lnTo>
                    <a:pt x="124" y="1066"/>
                  </a:lnTo>
                  <a:lnTo>
                    <a:pt x="124" y="1063"/>
                  </a:lnTo>
                  <a:lnTo>
                    <a:pt x="120" y="1066"/>
                  </a:lnTo>
                  <a:lnTo>
                    <a:pt x="120" y="1066"/>
                  </a:lnTo>
                  <a:close/>
                  <a:moveTo>
                    <a:pt x="86" y="1053"/>
                  </a:moveTo>
                  <a:lnTo>
                    <a:pt x="89" y="1056"/>
                  </a:lnTo>
                  <a:lnTo>
                    <a:pt x="89" y="1056"/>
                  </a:lnTo>
                  <a:lnTo>
                    <a:pt x="93" y="1063"/>
                  </a:lnTo>
                  <a:lnTo>
                    <a:pt x="103" y="1063"/>
                  </a:lnTo>
                  <a:lnTo>
                    <a:pt x="96" y="1063"/>
                  </a:lnTo>
                  <a:lnTo>
                    <a:pt x="93" y="1063"/>
                  </a:lnTo>
                  <a:lnTo>
                    <a:pt x="89" y="1066"/>
                  </a:lnTo>
                  <a:lnTo>
                    <a:pt x="93" y="1069"/>
                  </a:lnTo>
                  <a:lnTo>
                    <a:pt x="89" y="1072"/>
                  </a:lnTo>
                  <a:lnTo>
                    <a:pt x="93" y="1072"/>
                  </a:lnTo>
                  <a:lnTo>
                    <a:pt x="96" y="1072"/>
                  </a:lnTo>
                  <a:lnTo>
                    <a:pt x="96" y="1076"/>
                  </a:lnTo>
                  <a:lnTo>
                    <a:pt x="99" y="1076"/>
                  </a:lnTo>
                  <a:lnTo>
                    <a:pt x="99" y="1079"/>
                  </a:lnTo>
                  <a:lnTo>
                    <a:pt x="103" y="1082"/>
                  </a:lnTo>
                  <a:lnTo>
                    <a:pt x="110" y="1079"/>
                  </a:lnTo>
                  <a:lnTo>
                    <a:pt x="103" y="1085"/>
                  </a:lnTo>
                  <a:lnTo>
                    <a:pt x="106" y="1089"/>
                  </a:lnTo>
                  <a:lnTo>
                    <a:pt x="110" y="1089"/>
                  </a:lnTo>
                  <a:lnTo>
                    <a:pt x="110" y="1085"/>
                  </a:lnTo>
                  <a:lnTo>
                    <a:pt x="113" y="1082"/>
                  </a:lnTo>
                  <a:lnTo>
                    <a:pt x="113" y="1085"/>
                  </a:lnTo>
                  <a:lnTo>
                    <a:pt x="110" y="1089"/>
                  </a:lnTo>
                  <a:lnTo>
                    <a:pt x="110" y="1092"/>
                  </a:lnTo>
                  <a:lnTo>
                    <a:pt x="113" y="1092"/>
                  </a:lnTo>
                  <a:lnTo>
                    <a:pt x="113" y="1095"/>
                  </a:lnTo>
                  <a:lnTo>
                    <a:pt x="120" y="1095"/>
                  </a:lnTo>
                  <a:lnTo>
                    <a:pt x="120" y="1098"/>
                  </a:lnTo>
                  <a:lnTo>
                    <a:pt x="120" y="1098"/>
                  </a:lnTo>
                  <a:lnTo>
                    <a:pt x="124" y="1102"/>
                  </a:lnTo>
                  <a:lnTo>
                    <a:pt x="120" y="1105"/>
                  </a:lnTo>
                  <a:lnTo>
                    <a:pt x="127" y="1108"/>
                  </a:lnTo>
                  <a:lnTo>
                    <a:pt x="130" y="1105"/>
                  </a:lnTo>
                  <a:lnTo>
                    <a:pt x="130" y="1108"/>
                  </a:lnTo>
                  <a:lnTo>
                    <a:pt x="134" y="1108"/>
                  </a:lnTo>
                  <a:lnTo>
                    <a:pt x="127" y="1111"/>
                  </a:lnTo>
                  <a:lnTo>
                    <a:pt x="137" y="1118"/>
                  </a:lnTo>
                  <a:lnTo>
                    <a:pt x="137" y="1118"/>
                  </a:lnTo>
                  <a:lnTo>
                    <a:pt x="141" y="1121"/>
                  </a:lnTo>
                  <a:lnTo>
                    <a:pt x="151" y="1127"/>
                  </a:lnTo>
                  <a:lnTo>
                    <a:pt x="155" y="1124"/>
                  </a:lnTo>
                  <a:lnTo>
                    <a:pt x="158" y="1127"/>
                  </a:lnTo>
                  <a:lnTo>
                    <a:pt x="155" y="1118"/>
                  </a:lnTo>
                  <a:lnTo>
                    <a:pt x="155" y="1114"/>
                  </a:lnTo>
                  <a:lnTo>
                    <a:pt x="155" y="1111"/>
                  </a:lnTo>
                  <a:lnTo>
                    <a:pt x="155" y="1105"/>
                  </a:lnTo>
                  <a:lnTo>
                    <a:pt x="151" y="1102"/>
                  </a:lnTo>
                  <a:lnTo>
                    <a:pt x="144" y="1095"/>
                  </a:lnTo>
                  <a:lnTo>
                    <a:pt x="141" y="1085"/>
                  </a:lnTo>
                  <a:lnTo>
                    <a:pt x="137" y="1079"/>
                  </a:lnTo>
                  <a:lnTo>
                    <a:pt x="137" y="1076"/>
                  </a:lnTo>
                  <a:lnTo>
                    <a:pt x="134" y="1072"/>
                  </a:lnTo>
                  <a:lnTo>
                    <a:pt x="130" y="1072"/>
                  </a:lnTo>
                  <a:lnTo>
                    <a:pt x="124" y="1069"/>
                  </a:lnTo>
                  <a:lnTo>
                    <a:pt x="120" y="1069"/>
                  </a:lnTo>
                  <a:lnTo>
                    <a:pt x="117" y="1066"/>
                  </a:lnTo>
                  <a:lnTo>
                    <a:pt x="113" y="1066"/>
                  </a:lnTo>
                  <a:lnTo>
                    <a:pt x="110" y="1063"/>
                  </a:lnTo>
                  <a:lnTo>
                    <a:pt x="106" y="1060"/>
                  </a:lnTo>
                  <a:lnTo>
                    <a:pt x="103" y="1056"/>
                  </a:lnTo>
                  <a:lnTo>
                    <a:pt x="99" y="1056"/>
                  </a:lnTo>
                  <a:lnTo>
                    <a:pt x="96" y="1053"/>
                  </a:lnTo>
                  <a:lnTo>
                    <a:pt x="93" y="1053"/>
                  </a:lnTo>
                  <a:lnTo>
                    <a:pt x="93" y="1053"/>
                  </a:lnTo>
                  <a:lnTo>
                    <a:pt x="86" y="1053"/>
                  </a:lnTo>
                  <a:lnTo>
                    <a:pt x="86" y="1053"/>
                  </a:lnTo>
                  <a:close/>
                  <a:moveTo>
                    <a:pt x="124" y="1060"/>
                  </a:moveTo>
                  <a:lnTo>
                    <a:pt x="124" y="1060"/>
                  </a:lnTo>
                  <a:lnTo>
                    <a:pt x="127" y="1060"/>
                  </a:lnTo>
                  <a:lnTo>
                    <a:pt x="127" y="1060"/>
                  </a:lnTo>
                  <a:lnTo>
                    <a:pt x="124" y="1063"/>
                  </a:lnTo>
                  <a:lnTo>
                    <a:pt x="120" y="1063"/>
                  </a:lnTo>
                  <a:lnTo>
                    <a:pt x="124" y="1060"/>
                  </a:lnTo>
                  <a:lnTo>
                    <a:pt x="124" y="1060"/>
                  </a:lnTo>
                  <a:close/>
                  <a:moveTo>
                    <a:pt x="117" y="1056"/>
                  </a:moveTo>
                  <a:lnTo>
                    <a:pt x="120" y="1053"/>
                  </a:lnTo>
                  <a:lnTo>
                    <a:pt x="124" y="1056"/>
                  </a:lnTo>
                  <a:lnTo>
                    <a:pt x="117" y="1056"/>
                  </a:lnTo>
                  <a:lnTo>
                    <a:pt x="117" y="1056"/>
                  </a:lnTo>
                  <a:close/>
                  <a:moveTo>
                    <a:pt x="96" y="985"/>
                  </a:moveTo>
                  <a:lnTo>
                    <a:pt x="96" y="988"/>
                  </a:lnTo>
                  <a:lnTo>
                    <a:pt x="99" y="988"/>
                  </a:lnTo>
                  <a:lnTo>
                    <a:pt x="96" y="985"/>
                  </a:lnTo>
                  <a:lnTo>
                    <a:pt x="96" y="985"/>
                  </a:lnTo>
                  <a:close/>
                  <a:moveTo>
                    <a:pt x="106" y="1018"/>
                  </a:moveTo>
                  <a:lnTo>
                    <a:pt x="106" y="1014"/>
                  </a:lnTo>
                  <a:lnTo>
                    <a:pt x="106" y="1014"/>
                  </a:lnTo>
                  <a:lnTo>
                    <a:pt x="110" y="1018"/>
                  </a:lnTo>
                  <a:lnTo>
                    <a:pt x="106" y="1018"/>
                  </a:lnTo>
                  <a:lnTo>
                    <a:pt x="106" y="1018"/>
                  </a:lnTo>
                  <a:lnTo>
                    <a:pt x="106" y="1018"/>
                  </a:lnTo>
                  <a:close/>
                  <a:moveTo>
                    <a:pt x="106" y="1027"/>
                  </a:moveTo>
                  <a:lnTo>
                    <a:pt x="103" y="1030"/>
                  </a:lnTo>
                  <a:lnTo>
                    <a:pt x="103" y="1034"/>
                  </a:lnTo>
                  <a:lnTo>
                    <a:pt x="106" y="1037"/>
                  </a:lnTo>
                  <a:lnTo>
                    <a:pt x="106" y="1030"/>
                  </a:lnTo>
                  <a:lnTo>
                    <a:pt x="106" y="1027"/>
                  </a:lnTo>
                  <a:lnTo>
                    <a:pt x="106" y="1027"/>
                  </a:lnTo>
                  <a:close/>
                  <a:moveTo>
                    <a:pt x="110" y="1024"/>
                  </a:moveTo>
                  <a:lnTo>
                    <a:pt x="110" y="1021"/>
                  </a:lnTo>
                  <a:lnTo>
                    <a:pt x="110" y="1021"/>
                  </a:lnTo>
                  <a:lnTo>
                    <a:pt x="106" y="1021"/>
                  </a:lnTo>
                  <a:lnTo>
                    <a:pt x="103" y="1024"/>
                  </a:lnTo>
                  <a:lnTo>
                    <a:pt x="106" y="1024"/>
                  </a:lnTo>
                  <a:lnTo>
                    <a:pt x="106" y="1024"/>
                  </a:lnTo>
                  <a:lnTo>
                    <a:pt x="110" y="1024"/>
                  </a:lnTo>
                  <a:lnTo>
                    <a:pt x="110" y="1024"/>
                  </a:lnTo>
                  <a:close/>
                  <a:moveTo>
                    <a:pt x="113" y="1021"/>
                  </a:moveTo>
                  <a:lnTo>
                    <a:pt x="117" y="1018"/>
                  </a:lnTo>
                  <a:lnTo>
                    <a:pt x="120" y="1018"/>
                  </a:lnTo>
                  <a:lnTo>
                    <a:pt x="124" y="1014"/>
                  </a:lnTo>
                  <a:lnTo>
                    <a:pt x="127" y="1011"/>
                  </a:lnTo>
                  <a:lnTo>
                    <a:pt x="127" y="1014"/>
                  </a:lnTo>
                  <a:lnTo>
                    <a:pt x="120" y="1018"/>
                  </a:lnTo>
                  <a:lnTo>
                    <a:pt x="120" y="1018"/>
                  </a:lnTo>
                  <a:lnTo>
                    <a:pt x="113" y="1021"/>
                  </a:lnTo>
                  <a:lnTo>
                    <a:pt x="113" y="1021"/>
                  </a:lnTo>
                  <a:lnTo>
                    <a:pt x="113" y="1021"/>
                  </a:lnTo>
                  <a:close/>
                  <a:moveTo>
                    <a:pt x="110" y="1005"/>
                  </a:moveTo>
                  <a:lnTo>
                    <a:pt x="110" y="1001"/>
                  </a:lnTo>
                  <a:lnTo>
                    <a:pt x="113" y="998"/>
                  </a:lnTo>
                  <a:lnTo>
                    <a:pt x="113" y="1001"/>
                  </a:lnTo>
                  <a:lnTo>
                    <a:pt x="110" y="1001"/>
                  </a:lnTo>
                  <a:lnTo>
                    <a:pt x="110" y="1005"/>
                  </a:lnTo>
                  <a:lnTo>
                    <a:pt x="110" y="1005"/>
                  </a:lnTo>
                  <a:lnTo>
                    <a:pt x="110" y="1005"/>
                  </a:lnTo>
                  <a:close/>
                  <a:moveTo>
                    <a:pt x="103" y="1005"/>
                  </a:moveTo>
                  <a:lnTo>
                    <a:pt x="106" y="1005"/>
                  </a:lnTo>
                  <a:lnTo>
                    <a:pt x="106" y="1005"/>
                  </a:lnTo>
                  <a:lnTo>
                    <a:pt x="106" y="1001"/>
                  </a:lnTo>
                  <a:lnTo>
                    <a:pt x="103" y="1005"/>
                  </a:lnTo>
                  <a:lnTo>
                    <a:pt x="103" y="1005"/>
                  </a:lnTo>
                  <a:close/>
                  <a:moveTo>
                    <a:pt x="96" y="992"/>
                  </a:moveTo>
                  <a:lnTo>
                    <a:pt x="96" y="998"/>
                  </a:lnTo>
                  <a:lnTo>
                    <a:pt x="96" y="1001"/>
                  </a:lnTo>
                  <a:lnTo>
                    <a:pt x="96" y="1005"/>
                  </a:lnTo>
                  <a:lnTo>
                    <a:pt x="99" y="1001"/>
                  </a:lnTo>
                  <a:lnTo>
                    <a:pt x="99" y="995"/>
                  </a:lnTo>
                  <a:lnTo>
                    <a:pt x="96" y="992"/>
                  </a:lnTo>
                  <a:lnTo>
                    <a:pt x="96" y="992"/>
                  </a:lnTo>
                  <a:close/>
                  <a:moveTo>
                    <a:pt x="99" y="992"/>
                  </a:moveTo>
                  <a:lnTo>
                    <a:pt x="103" y="992"/>
                  </a:lnTo>
                  <a:lnTo>
                    <a:pt x="99" y="992"/>
                  </a:lnTo>
                  <a:lnTo>
                    <a:pt x="99" y="995"/>
                  </a:lnTo>
                  <a:lnTo>
                    <a:pt x="103" y="995"/>
                  </a:lnTo>
                  <a:lnTo>
                    <a:pt x="106" y="992"/>
                  </a:lnTo>
                  <a:lnTo>
                    <a:pt x="106" y="998"/>
                  </a:lnTo>
                  <a:lnTo>
                    <a:pt x="106" y="998"/>
                  </a:lnTo>
                  <a:lnTo>
                    <a:pt x="110" y="995"/>
                  </a:lnTo>
                  <a:lnTo>
                    <a:pt x="110" y="988"/>
                  </a:lnTo>
                  <a:lnTo>
                    <a:pt x="106" y="985"/>
                  </a:lnTo>
                  <a:lnTo>
                    <a:pt x="103" y="988"/>
                  </a:lnTo>
                  <a:lnTo>
                    <a:pt x="99" y="992"/>
                  </a:lnTo>
                  <a:lnTo>
                    <a:pt x="99" y="992"/>
                  </a:lnTo>
                  <a:close/>
                  <a:moveTo>
                    <a:pt x="99" y="982"/>
                  </a:moveTo>
                  <a:lnTo>
                    <a:pt x="103" y="985"/>
                  </a:lnTo>
                  <a:lnTo>
                    <a:pt x="103" y="985"/>
                  </a:lnTo>
                  <a:lnTo>
                    <a:pt x="99" y="982"/>
                  </a:lnTo>
                  <a:lnTo>
                    <a:pt x="99" y="982"/>
                  </a:lnTo>
                  <a:lnTo>
                    <a:pt x="99" y="982"/>
                  </a:lnTo>
                  <a:close/>
                  <a:moveTo>
                    <a:pt x="106" y="979"/>
                  </a:moveTo>
                  <a:lnTo>
                    <a:pt x="106" y="976"/>
                  </a:lnTo>
                  <a:lnTo>
                    <a:pt x="110" y="972"/>
                  </a:lnTo>
                  <a:lnTo>
                    <a:pt x="113" y="972"/>
                  </a:lnTo>
                  <a:lnTo>
                    <a:pt x="113" y="976"/>
                  </a:lnTo>
                  <a:lnTo>
                    <a:pt x="110" y="976"/>
                  </a:lnTo>
                  <a:lnTo>
                    <a:pt x="106" y="979"/>
                  </a:lnTo>
                  <a:lnTo>
                    <a:pt x="106" y="979"/>
                  </a:lnTo>
                  <a:close/>
                  <a:moveTo>
                    <a:pt x="82" y="969"/>
                  </a:moveTo>
                  <a:lnTo>
                    <a:pt x="89" y="976"/>
                  </a:lnTo>
                  <a:lnTo>
                    <a:pt x="93" y="982"/>
                  </a:lnTo>
                  <a:lnTo>
                    <a:pt x="93" y="985"/>
                  </a:lnTo>
                  <a:lnTo>
                    <a:pt x="89" y="982"/>
                  </a:lnTo>
                  <a:lnTo>
                    <a:pt x="89" y="979"/>
                  </a:lnTo>
                  <a:lnTo>
                    <a:pt x="82" y="972"/>
                  </a:lnTo>
                  <a:lnTo>
                    <a:pt x="82" y="969"/>
                  </a:lnTo>
                  <a:lnTo>
                    <a:pt x="82" y="969"/>
                  </a:lnTo>
                  <a:lnTo>
                    <a:pt x="82" y="969"/>
                  </a:lnTo>
                  <a:lnTo>
                    <a:pt x="82" y="969"/>
                  </a:lnTo>
                  <a:close/>
                  <a:moveTo>
                    <a:pt x="89" y="966"/>
                  </a:moveTo>
                  <a:lnTo>
                    <a:pt x="89" y="969"/>
                  </a:lnTo>
                  <a:lnTo>
                    <a:pt x="93" y="972"/>
                  </a:lnTo>
                  <a:lnTo>
                    <a:pt x="93" y="979"/>
                  </a:lnTo>
                  <a:lnTo>
                    <a:pt x="96" y="979"/>
                  </a:lnTo>
                  <a:lnTo>
                    <a:pt x="99" y="976"/>
                  </a:lnTo>
                  <a:lnTo>
                    <a:pt x="96" y="969"/>
                  </a:lnTo>
                  <a:lnTo>
                    <a:pt x="93" y="966"/>
                  </a:lnTo>
                  <a:lnTo>
                    <a:pt x="93" y="963"/>
                  </a:lnTo>
                  <a:lnTo>
                    <a:pt x="89" y="966"/>
                  </a:lnTo>
                  <a:lnTo>
                    <a:pt x="89" y="966"/>
                  </a:lnTo>
                  <a:close/>
                  <a:moveTo>
                    <a:pt x="82" y="959"/>
                  </a:moveTo>
                  <a:lnTo>
                    <a:pt x="89" y="959"/>
                  </a:lnTo>
                  <a:lnTo>
                    <a:pt x="89" y="963"/>
                  </a:lnTo>
                  <a:lnTo>
                    <a:pt x="93" y="963"/>
                  </a:lnTo>
                  <a:lnTo>
                    <a:pt x="93" y="959"/>
                  </a:lnTo>
                  <a:lnTo>
                    <a:pt x="89" y="956"/>
                  </a:lnTo>
                  <a:lnTo>
                    <a:pt x="86" y="959"/>
                  </a:lnTo>
                  <a:lnTo>
                    <a:pt x="82" y="959"/>
                  </a:lnTo>
                  <a:lnTo>
                    <a:pt x="82" y="959"/>
                  </a:lnTo>
                  <a:close/>
                  <a:moveTo>
                    <a:pt x="41" y="963"/>
                  </a:moveTo>
                  <a:lnTo>
                    <a:pt x="41" y="956"/>
                  </a:lnTo>
                  <a:lnTo>
                    <a:pt x="48" y="950"/>
                  </a:lnTo>
                  <a:lnTo>
                    <a:pt x="55" y="950"/>
                  </a:lnTo>
                  <a:lnTo>
                    <a:pt x="51" y="953"/>
                  </a:lnTo>
                  <a:lnTo>
                    <a:pt x="55" y="953"/>
                  </a:lnTo>
                  <a:lnTo>
                    <a:pt x="58" y="950"/>
                  </a:lnTo>
                  <a:lnTo>
                    <a:pt x="62" y="953"/>
                  </a:lnTo>
                  <a:lnTo>
                    <a:pt x="62" y="953"/>
                  </a:lnTo>
                  <a:lnTo>
                    <a:pt x="58" y="959"/>
                  </a:lnTo>
                  <a:lnTo>
                    <a:pt x="55" y="959"/>
                  </a:lnTo>
                  <a:lnTo>
                    <a:pt x="48" y="963"/>
                  </a:lnTo>
                  <a:lnTo>
                    <a:pt x="51" y="966"/>
                  </a:lnTo>
                  <a:lnTo>
                    <a:pt x="51" y="966"/>
                  </a:lnTo>
                  <a:lnTo>
                    <a:pt x="55" y="966"/>
                  </a:lnTo>
                  <a:lnTo>
                    <a:pt x="58" y="959"/>
                  </a:lnTo>
                  <a:lnTo>
                    <a:pt x="65" y="956"/>
                  </a:lnTo>
                  <a:lnTo>
                    <a:pt x="69" y="953"/>
                  </a:lnTo>
                  <a:lnTo>
                    <a:pt x="72" y="953"/>
                  </a:lnTo>
                  <a:lnTo>
                    <a:pt x="65" y="959"/>
                  </a:lnTo>
                  <a:lnTo>
                    <a:pt x="62" y="966"/>
                  </a:lnTo>
                  <a:lnTo>
                    <a:pt x="58" y="969"/>
                  </a:lnTo>
                  <a:lnTo>
                    <a:pt x="58" y="976"/>
                  </a:lnTo>
                  <a:lnTo>
                    <a:pt x="55" y="979"/>
                  </a:lnTo>
                  <a:lnTo>
                    <a:pt x="51" y="979"/>
                  </a:lnTo>
                  <a:lnTo>
                    <a:pt x="48" y="979"/>
                  </a:lnTo>
                  <a:lnTo>
                    <a:pt x="51" y="979"/>
                  </a:lnTo>
                  <a:lnTo>
                    <a:pt x="55" y="979"/>
                  </a:lnTo>
                  <a:lnTo>
                    <a:pt x="58" y="979"/>
                  </a:lnTo>
                  <a:lnTo>
                    <a:pt x="58" y="982"/>
                  </a:lnTo>
                  <a:lnTo>
                    <a:pt x="55" y="982"/>
                  </a:lnTo>
                  <a:lnTo>
                    <a:pt x="51" y="988"/>
                  </a:lnTo>
                  <a:lnTo>
                    <a:pt x="51" y="992"/>
                  </a:lnTo>
                  <a:lnTo>
                    <a:pt x="51" y="995"/>
                  </a:lnTo>
                  <a:lnTo>
                    <a:pt x="55" y="1001"/>
                  </a:lnTo>
                  <a:lnTo>
                    <a:pt x="55" y="1005"/>
                  </a:lnTo>
                  <a:lnTo>
                    <a:pt x="58" y="1005"/>
                  </a:lnTo>
                  <a:lnTo>
                    <a:pt x="58" y="1008"/>
                  </a:lnTo>
                  <a:lnTo>
                    <a:pt x="58" y="1011"/>
                  </a:lnTo>
                  <a:lnTo>
                    <a:pt x="51" y="1008"/>
                  </a:lnTo>
                  <a:lnTo>
                    <a:pt x="48" y="998"/>
                  </a:lnTo>
                  <a:lnTo>
                    <a:pt x="44" y="992"/>
                  </a:lnTo>
                  <a:lnTo>
                    <a:pt x="48" y="992"/>
                  </a:lnTo>
                  <a:lnTo>
                    <a:pt x="41" y="992"/>
                  </a:lnTo>
                  <a:lnTo>
                    <a:pt x="41" y="988"/>
                  </a:lnTo>
                  <a:lnTo>
                    <a:pt x="44" y="985"/>
                  </a:lnTo>
                  <a:lnTo>
                    <a:pt x="48" y="985"/>
                  </a:lnTo>
                  <a:lnTo>
                    <a:pt x="44" y="982"/>
                  </a:lnTo>
                  <a:lnTo>
                    <a:pt x="41" y="982"/>
                  </a:lnTo>
                  <a:lnTo>
                    <a:pt x="44" y="979"/>
                  </a:lnTo>
                  <a:lnTo>
                    <a:pt x="41" y="976"/>
                  </a:lnTo>
                  <a:lnTo>
                    <a:pt x="41" y="972"/>
                  </a:lnTo>
                  <a:lnTo>
                    <a:pt x="44" y="972"/>
                  </a:lnTo>
                  <a:lnTo>
                    <a:pt x="48" y="976"/>
                  </a:lnTo>
                  <a:lnTo>
                    <a:pt x="44" y="972"/>
                  </a:lnTo>
                  <a:lnTo>
                    <a:pt x="44" y="969"/>
                  </a:lnTo>
                  <a:lnTo>
                    <a:pt x="41" y="969"/>
                  </a:lnTo>
                  <a:lnTo>
                    <a:pt x="41" y="966"/>
                  </a:lnTo>
                  <a:lnTo>
                    <a:pt x="41" y="963"/>
                  </a:lnTo>
                  <a:lnTo>
                    <a:pt x="41" y="963"/>
                  </a:lnTo>
                  <a:close/>
                  <a:moveTo>
                    <a:pt x="89" y="947"/>
                  </a:moveTo>
                  <a:lnTo>
                    <a:pt x="89" y="943"/>
                  </a:lnTo>
                  <a:lnTo>
                    <a:pt x="93" y="940"/>
                  </a:lnTo>
                  <a:lnTo>
                    <a:pt x="93" y="943"/>
                  </a:lnTo>
                  <a:lnTo>
                    <a:pt x="89" y="947"/>
                  </a:lnTo>
                  <a:lnTo>
                    <a:pt x="89" y="947"/>
                  </a:lnTo>
                  <a:close/>
                  <a:moveTo>
                    <a:pt x="485" y="446"/>
                  </a:moveTo>
                  <a:lnTo>
                    <a:pt x="485" y="446"/>
                  </a:lnTo>
                  <a:lnTo>
                    <a:pt x="488" y="446"/>
                  </a:lnTo>
                  <a:lnTo>
                    <a:pt x="488" y="443"/>
                  </a:lnTo>
                  <a:lnTo>
                    <a:pt x="488" y="443"/>
                  </a:lnTo>
                  <a:lnTo>
                    <a:pt x="485" y="443"/>
                  </a:lnTo>
                  <a:lnTo>
                    <a:pt x="485" y="446"/>
                  </a:lnTo>
                  <a:lnTo>
                    <a:pt x="485" y="446"/>
                  </a:lnTo>
                  <a:close/>
                  <a:moveTo>
                    <a:pt x="447" y="413"/>
                  </a:moveTo>
                  <a:lnTo>
                    <a:pt x="447" y="413"/>
                  </a:lnTo>
                  <a:lnTo>
                    <a:pt x="454" y="413"/>
                  </a:lnTo>
                  <a:lnTo>
                    <a:pt x="450" y="407"/>
                  </a:lnTo>
                  <a:lnTo>
                    <a:pt x="447" y="410"/>
                  </a:lnTo>
                  <a:lnTo>
                    <a:pt x="447" y="413"/>
                  </a:lnTo>
                  <a:lnTo>
                    <a:pt x="447" y="413"/>
                  </a:lnTo>
                  <a:close/>
                  <a:moveTo>
                    <a:pt x="309" y="423"/>
                  </a:moveTo>
                  <a:lnTo>
                    <a:pt x="313" y="423"/>
                  </a:lnTo>
                  <a:lnTo>
                    <a:pt x="313" y="420"/>
                  </a:lnTo>
                  <a:lnTo>
                    <a:pt x="313" y="420"/>
                  </a:lnTo>
                  <a:lnTo>
                    <a:pt x="313" y="420"/>
                  </a:lnTo>
                  <a:lnTo>
                    <a:pt x="309" y="423"/>
                  </a:lnTo>
                  <a:lnTo>
                    <a:pt x="309" y="423"/>
                  </a:lnTo>
                  <a:close/>
                  <a:moveTo>
                    <a:pt x="309" y="430"/>
                  </a:moveTo>
                  <a:lnTo>
                    <a:pt x="309" y="426"/>
                  </a:lnTo>
                  <a:lnTo>
                    <a:pt x="309" y="426"/>
                  </a:lnTo>
                  <a:lnTo>
                    <a:pt x="313" y="426"/>
                  </a:lnTo>
                  <a:lnTo>
                    <a:pt x="309" y="430"/>
                  </a:lnTo>
                  <a:lnTo>
                    <a:pt x="309" y="430"/>
                  </a:lnTo>
                  <a:close/>
                  <a:moveTo>
                    <a:pt x="302" y="439"/>
                  </a:moveTo>
                  <a:lnTo>
                    <a:pt x="302" y="443"/>
                  </a:lnTo>
                  <a:lnTo>
                    <a:pt x="299" y="446"/>
                  </a:lnTo>
                  <a:lnTo>
                    <a:pt x="302" y="449"/>
                  </a:lnTo>
                  <a:lnTo>
                    <a:pt x="306" y="449"/>
                  </a:lnTo>
                  <a:lnTo>
                    <a:pt x="306" y="446"/>
                  </a:lnTo>
                  <a:lnTo>
                    <a:pt x="309" y="446"/>
                  </a:lnTo>
                  <a:lnTo>
                    <a:pt x="323" y="439"/>
                  </a:lnTo>
                  <a:lnTo>
                    <a:pt x="330" y="436"/>
                  </a:lnTo>
                  <a:lnTo>
                    <a:pt x="333" y="433"/>
                  </a:lnTo>
                  <a:lnTo>
                    <a:pt x="330" y="433"/>
                  </a:lnTo>
                  <a:lnTo>
                    <a:pt x="327" y="430"/>
                  </a:lnTo>
                  <a:lnTo>
                    <a:pt x="327" y="426"/>
                  </a:lnTo>
                  <a:lnTo>
                    <a:pt x="323" y="426"/>
                  </a:lnTo>
                  <a:lnTo>
                    <a:pt x="323" y="430"/>
                  </a:lnTo>
                  <a:lnTo>
                    <a:pt x="316" y="430"/>
                  </a:lnTo>
                  <a:lnTo>
                    <a:pt x="320" y="433"/>
                  </a:lnTo>
                  <a:lnTo>
                    <a:pt x="316" y="433"/>
                  </a:lnTo>
                  <a:lnTo>
                    <a:pt x="313" y="433"/>
                  </a:lnTo>
                  <a:lnTo>
                    <a:pt x="313" y="436"/>
                  </a:lnTo>
                  <a:lnTo>
                    <a:pt x="309" y="433"/>
                  </a:lnTo>
                  <a:lnTo>
                    <a:pt x="313" y="433"/>
                  </a:lnTo>
                  <a:lnTo>
                    <a:pt x="309" y="430"/>
                  </a:lnTo>
                  <a:lnTo>
                    <a:pt x="306" y="433"/>
                  </a:lnTo>
                  <a:lnTo>
                    <a:pt x="306" y="433"/>
                  </a:lnTo>
                  <a:lnTo>
                    <a:pt x="306" y="436"/>
                  </a:lnTo>
                  <a:lnTo>
                    <a:pt x="302" y="439"/>
                  </a:lnTo>
                  <a:lnTo>
                    <a:pt x="302" y="439"/>
                  </a:lnTo>
                  <a:close/>
                  <a:moveTo>
                    <a:pt x="289" y="449"/>
                  </a:moveTo>
                  <a:lnTo>
                    <a:pt x="289" y="446"/>
                  </a:lnTo>
                  <a:lnTo>
                    <a:pt x="289" y="439"/>
                  </a:lnTo>
                  <a:lnTo>
                    <a:pt x="285" y="443"/>
                  </a:lnTo>
                  <a:lnTo>
                    <a:pt x="285" y="446"/>
                  </a:lnTo>
                  <a:lnTo>
                    <a:pt x="282" y="446"/>
                  </a:lnTo>
                  <a:lnTo>
                    <a:pt x="285" y="446"/>
                  </a:lnTo>
                  <a:lnTo>
                    <a:pt x="285" y="446"/>
                  </a:lnTo>
                  <a:lnTo>
                    <a:pt x="289" y="449"/>
                  </a:lnTo>
                  <a:lnTo>
                    <a:pt x="289" y="449"/>
                  </a:lnTo>
                  <a:close/>
                  <a:moveTo>
                    <a:pt x="289" y="452"/>
                  </a:moveTo>
                  <a:lnTo>
                    <a:pt x="292" y="449"/>
                  </a:lnTo>
                  <a:lnTo>
                    <a:pt x="292" y="446"/>
                  </a:lnTo>
                  <a:lnTo>
                    <a:pt x="292" y="443"/>
                  </a:lnTo>
                  <a:lnTo>
                    <a:pt x="292" y="436"/>
                  </a:lnTo>
                  <a:lnTo>
                    <a:pt x="292" y="436"/>
                  </a:lnTo>
                  <a:lnTo>
                    <a:pt x="296" y="436"/>
                  </a:lnTo>
                  <a:lnTo>
                    <a:pt x="296" y="436"/>
                  </a:lnTo>
                  <a:lnTo>
                    <a:pt x="299" y="433"/>
                  </a:lnTo>
                  <a:lnTo>
                    <a:pt x="299" y="436"/>
                  </a:lnTo>
                  <a:lnTo>
                    <a:pt x="299" y="446"/>
                  </a:lnTo>
                  <a:lnTo>
                    <a:pt x="299" y="449"/>
                  </a:lnTo>
                  <a:lnTo>
                    <a:pt x="299" y="449"/>
                  </a:lnTo>
                  <a:lnTo>
                    <a:pt x="292" y="452"/>
                  </a:lnTo>
                  <a:lnTo>
                    <a:pt x="289" y="452"/>
                  </a:lnTo>
                  <a:lnTo>
                    <a:pt x="289" y="452"/>
                  </a:lnTo>
                  <a:close/>
                  <a:moveTo>
                    <a:pt x="296" y="468"/>
                  </a:moveTo>
                  <a:lnTo>
                    <a:pt x="296" y="465"/>
                  </a:lnTo>
                  <a:lnTo>
                    <a:pt x="296" y="459"/>
                  </a:lnTo>
                  <a:lnTo>
                    <a:pt x="296" y="455"/>
                  </a:lnTo>
                  <a:lnTo>
                    <a:pt x="292" y="455"/>
                  </a:lnTo>
                  <a:lnTo>
                    <a:pt x="285" y="449"/>
                  </a:lnTo>
                  <a:lnTo>
                    <a:pt x="282" y="449"/>
                  </a:lnTo>
                  <a:lnTo>
                    <a:pt x="282" y="452"/>
                  </a:lnTo>
                  <a:lnTo>
                    <a:pt x="292" y="459"/>
                  </a:lnTo>
                  <a:lnTo>
                    <a:pt x="285" y="455"/>
                  </a:lnTo>
                  <a:lnTo>
                    <a:pt x="285" y="459"/>
                  </a:lnTo>
                  <a:lnTo>
                    <a:pt x="289" y="462"/>
                  </a:lnTo>
                  <a:lnTo>
                    <a:pt x="296" y="468"/>
                  </a:lnTo>
                  <a:lnTo>
                    <a:pt x="296" y="468"/>
                  </a:lnTo>
                  <a:close/>
                  <a:moveTo>
                    <a:pt x="251" y="407"/>
                  </a:moveTo>
                  <a:lnTo>
                    <a:pt x="254" y="410"/>
                  </a:lnTo>
                  <a:lnTo>
                    <a:pt x="258" y="410"/>
                  </a:lnTo>
                  <a:lnTo>
                    <a:pt x="261" y="413"/>
                  </a:lnTo>
                  <a:lnTo>
                    <a:pt x="261" y="410"/>
                  </a:lnTo>
                  <a:lnTo>
                    <a:pt x="258" y="407"/>
                  </a:lnTo>
                  <a:lnTo>
                    <a:pt x="254" y="407"/>
                  </a:lnTo>
                  <a:lnTo>
                    <a:pt x="251" y="407"/>
                  </a:lnTo>
                  <a:lnTo>
                    <a:pt x="251" y="407"/>
                  </a:lnTo>
                  <a:close/>
                  <a:moveTo>
                    <a:pt x="172" y="1111"/>
                  </a:moveTo>
                  <a:lnTo>
                    <a:pt x="172" y="1111"/>
                  </a:lnTo>
                  <a:lnTo>
                    <a:pt x="168" y="1108"/>
                  </a:lnTo>
                  <a:lnTo>
                    <a:pt x="168" y="1105"/>
                  </a:lnTo>
                  <a:lnTo>
                    <a:pt x="172" y="1098"/>
                  </a:lnTo>
                  <a:lnTo>
                    <a:pt x="172" y="1092"/>
                  </a:lnTo>
                  <a:lnTo>
                    <a:pt x="168" y="1095"/>
                  </a:lnTo>
                  <a:lnTo>
                    <a:pt x="165" y="1095"/>
                  </a:lnTo>
                  <a:lnTo>
                    <a:pt x="161" y="1098"/>
                  </a:lnTo>
                  <a:lnTo>
                    <a:pt x="158" y="1095"/>
                  </a:lnTo>
                  <a:lnTo>
                    <a:pt x="158" y="1092"/>
                  </a:lnTo>
                  <a:lnTo>
                    <a:pt x="158" y="1092"/>
                  </a:lnTo>
                  <a:lnTo>
                    <a:pt x="161" y="1095"/>
                  </a:lnTo>
                  <a:lnTo>
                    <a:pt x="161" y="1095"/>
                  </a:lnTo>
                  <a:lnTo>
                    <a:pt x="161" y="1092"/>
                  </a:lnTo>
                  <a:lnTo>
                    <a:pt x="161" y="1089"/>
                  </a:lnTo>
                  <a:lnTo>
                    <a:pt x="158" y="1085"/>
                  </a:lnTo>
                  <a:lnTo>
                    <a:pt x="158" y="1085"/>
                  </a:lnTo>
                  <a:lnTo>
                    <a:pt x="155" y="1089"/>
                  </a:lnTo>
                  <a:lnTo>
                    <a:pt x="151" y="1085"/>
                  </a:lnTo>
                  <a:lnTo>
                    <a:pt x="148" y="1082"/>
                  </a:lnTo>
                  <a:lnTo>
                    <a:pt x="148" y="1082"/>
                  </a:lnTo>
                  <a:lnTo>
                    <a:pt x="151" y="1079"/>
                  </a:lnTo>
                  <a:lnTo>
                    <a:pt x="155" y="1072"/>
                  </a:lnTo>
                  <a:lnTo>
                    <a:pt x="158" y="1072"/>
                  </a:lnTo>
                  <a:lnTo>
                    <a:pt x="155" y="1072"/>
                  </a:lnTo>
                  <a:lnTo>
                    <a:pt x="151" y="1072"/>
                  </a:lnTo>
                  <a:lnTo>
                    <a:pt x="148" y="1072"/>
                  </a:lnTo>
                  <a:lnTo>
                    <a:pt x="148" y="1069"/>
                  </a:lnTo>
                  <a:lnTo>
                    <a:pt x="151" y="1069"/>
                  </a:lnTo>
                  <a:lnTo>
                    <a:pt x="155" y="1063"/>
                  </a:lnTo>
                  <a:lnTo>
                    <a:pt x="155" y="1060"/>
                  </a:lnTo>
                  <a:lnTo>
                    <a:pt x="155" y="1056"/>
                  </a:lnTo>
                  <a:lnTo>
                    <a:pt x="155" y="1056"/>
                  </a:lnTo>
                  <a:lnTo>
                    <a:pt x="151" y="1056"/>
                  </a:lnTo>
                  <a:lnTo>
                    <a:pt x="151" y="1060"/>
                  </a:lnTo>
                  <a:lnTo>
                    <a:pt x="151" y="1066"/>
                  </a:lnTo>
                  <a:lnTo>
                    <a:pt x="148" y="1069"/>
                  </a:lnTo>
                  <a:lnTo>
                    <a:pt x="144" y="1069"/>
                  </a:lnTo>
                  <a:lnTo>
                    <a:pt x="141" y="1069"/>
                  </a:lnTo>
                  <a:lnTo>
                    <a:pt x="141" y="1069"/>
                  </a:lnTo>
                  <a:lnTo>
                    <a:pt x="141" y="1066"/>
                  </a:lnTo>
                  <a:lnTo>
                    <a:pt x="141" y="1066"/>
                  </a:lnTo>
                  <a:lnTo>
                    <a:pt x="141" y="1063"/>
                  </a:lnTo>
                  <a:lnTo>
                    <a:pt x="137" y="1066"/>
                  </a:lnTo>
                  <a:lnTo>
                    <a:pt x="137" y="1066"/>
                  </a:lnTo>
                  <a:lnTo>
                    <a:pt x="134" y="1066"/>
                  </a:lnTo>
                  <a:lnTo>
                    <a:pt x="134" y="1066"/>
                  </a:lnTo>
                  <a:lnTo>
                    <a:pt x="130" y="1066"/>
                  </a:lnTo>
                  <a:lnTo>
                    <a:pt x="130" y="1066"/>
                  </a:lnTo>
                  <a:lnTo>
                    <a:pt x="127" y="1066"/>
                  </a:lnTo>
                  <a:lnTo>
                    <a:pt x="127" y="1066"/>
                  </a:lnTo>
                  <a:lnTo>
                    <a:pt x="130" y="1063"/>
                  </a:lnTo>
                  <a:lnTo>
                    <a:pt x="134" y="1063"/>
                  </a:lnTo>
                  <a:lnTo>
                    <a:pt x="137" y="1060"/>
                  </a:lnTo>
                  <a:lnTo>
                    <a:pt x="141" y="1056"/>
                  </a:lnTo>
                  <a:lnTo>
                    <a:pt x="144" y="1056"/>
                  </a:lnTo>
                  <a:lnTo>
                    <a:pt x="144" y="1050"/>
                  </a:lnTo>
                  <a:lnTo>
                    <a:pt x="144" y="1053"/>
                  </a:lnTo>
                  <a:lnTo>
                    <a:pt x="141" y="1056"/>
                  </a:lnTo>
                  <a:lnTo>
                    <a:pt x="137" y="1060"/>
                  </a:lnTo>
                  <a:lnTo>
                    <a:pt x="137" y="1060"/>
                  </a:lnTo>
                  <a:lnTo>
                    <a:pt x="130" y="1060"/>
                  </a:lnTo>
                  <a:lnTo>
                    <a:pt x="130" y="1056"/>
                  </a:lnTo>
                  <a:lnTo>
                    <a:pt x="127" y="1056"/>
                  </a:lnTo>
                  <a:lnTo>
                    <a:pt x="127" y="1056"/>
                  </a:lnTo>
                  <a:lnTo>
                    <a:pt x="127" y="1053"/>
                  </a:lnTo>
                  <a:lnTo>
                    <a:pt x="127" y="1053"/>
                  </a:lnTo>
                  <a:lnTo>
                    <a:pt x="124" y="1053"/>
                  </a:lnTo>
                  <a:lnTo>
                    <a:pt x="120" y="1053"/>
                  </a:lnTo>
                  <a:lnTo>
                    <a:pt x="117" y="1053"/>
                  </a:lnTo>
                  <a:lnTo>
                    <a:pt x="117" y="1056"/>
                  </a:lnTo>
                  <a:lnTo>
                    <a:pt x="110" y="1053"/>
                  </a:lnTo>
                  <a:lnTo>
                    <a:pt x="110" y="1050"/>
                  </a:lnTo>
                  <a:lnTo>
                    <a:pt x="110" y="1050"/>
                  </a:lnTo>
                  <a:lnTo>
                    <a:pt x="113" y="1050"/>
                  </a:lnTo>
                  <a:lnTo>
                    <a:pt x="117" y="1050"/>
                  </a:lnTo>
                  <a:lnTo>
                    <a:pt x="124" y="1050"/>
                  </a:lnTo>
                  <a:lnTo>
                    <a:pt x="124" y="1050"/>
                  </a:lnTo>
                  <a:lnTo>
                    <a:pt x="120" y="1050"/>
                  </a:lnTo>
                  <a:lnTo>
                    <a:pt x="117" y="1050"/>
                  </a:lnTo>
                  <a:lnTo>
                    <a:pt x="113" y="1047"/>
                  </a:lnTo>
                  <a:lnTo>
                    <a:pt x="113" y="1047"/>
                  </a:lnTo>
                  <a:lnTo>
                    <a:pt x="117" y="1047"/>
                  </a:lnTo>
                  <a:lnTo>
                    <a:pt x="124" y="1047"/>
                  </a:lnTo>
                  <a:lnTo>
                    <a:pt x="124" y="1047"/>
                  </a:lnTo>
                  <a:lnTo>
                    <a:pt x="117" y="1047"/>
                  </a:lnTo>
                  <a:lnTo>
                    <a:pt x="117" y="1043"/>
                  </a:lnTo>
                  <a:lnTo>
                    <a:pt x="110" y="1047"/>
                  </a:lnTo>
                  <a:lnTo>
                    <a:pt x="110" y="1047"/>
                  </a:lnTo>
                  <a:lnTo>
                    <a:pt x="106" y="1043"/>
                  </a:lnTo>
                  <a:lnTo>
                    <a:pt x="106" y="1040"/>
                  </a:lnTo>
                  <a:lnTo>
                    <a:pt x="110" y="1040"/>
                  </a:lnTo>
                  <a:lnTo>
                    <a:pt x="113" y="1043"/>
                  </a:lnTo>
                  <a:lnTo>
                    <a:pt x="117" y="1043"/>
                  </a:lnTo>
                  <a:lnTo>
                    <a:pt x="120" y="1040"/>
                  </a:lnTo>
                  <a:lnTo>
                    <a:pt x="117" y="1040"/>
                  </a:lnTo>
                  <a:lnTo>
                    <a:pt x="113" y="1040"/>
                  </a:lnTo>
                  <a:lnTo>
                    <a:pt x="106" y="1040"/>
                  </a:lnTo>
                  <a:lnTo>
                    <a:pt x="110" y="1037"/>
                  </a:lnTo>
                  <a:lnTo>
                    <a:pt x="113" y="1037"/>
                  </a:lnTo>
                  <a:lnTo>
                    <a:pt x="117" y="1037"/>
                  </a:lnTo>
                  <a:lnTo>
                    <a:pt x="117" y="1037"/>
                  </a:lnTo>
                  <a:lnTo>
                    <a:pt x="117" y="1034"/>
                  </a:lnTo>
                  <a:lnTo>
                    <a:pt x="117" y="1034"/>
                  </a:lnTo>
                  <a:lnTo>
                    <a:pt x="120" y="1030"/>
                  </a:lnTo>
                  <a:lnTo>
                    <a:pt x="124" y="1030"/>
                  </a:lnTo>
                  <a:lnTo>
                    <a:pt x="127" y="1034"/>
                  </a:lnTo>
                  <a:lnTo>
                    <a:pt x="130" y="1030"/>
                  </a:lnTo>
                  <a:lnTo>
                    <a:pt x="124" y="1030"/>
                  </a:lnTo>
                  <a:lnTo>
                    <a:pt x="120" y="1030"/>
                  </a:lnTo>
                  <a:lnTo>
                    <a:pt x="120" y="1027"/>
                  </a:lnTo>
                  <a:lnTo>
                    <a:pt x="117" y="1030"/>
                  </a:lnTo>
                  <a:lnTo>
                    <a:pt x="113" y="1034"/>
                  </a:lnTo>
                  <a:lnTo>
                    <a:pt x="113" y="1034"/>
                  </a:lnTo>
                  <a:lnTo>
                    <a:pt x="110" y="1034"/>
                  </a:lnTo>
                  <a:lnTo>
                    <a:pt x="110" y="1030"/>
                  </a:lnTo>
                  <a:lnTo>
                    <a:pt x="110" y="1027"/>
                  </a:lnTo>
                  <a:lnTo>
                    <a:pt x="110" y="1027"/>
                  </a:lnTo>
                  <a:lnTo>
                    <a:pt x="117" y="1024"/>
                  </a:lnTo>
                  <a:lnTo>
                    <a:pt x="117" y="1021"/>
                  </a:lnTo>
                  <a:lnTo>
                    <a:pt x="127" y="1018"/>
                  </a:lnTo>
                  <a:lnTo>
                    <a:pt x="130" y="1014"/>
                  </a:lnTo>
                  <a:lnTo>
                    <a:pt x="130" y="1018"/>
                  </a:lnTo>
                  <a:lnTo>
                    <a:pt x="130" y="1021"/>
                  </a:lnTo>
                  <a:lnTo>
                    <a:pt x="134" y="1024"/>
                  </a:lnTo>
                  <a:lnTo>
                    <a:pt x="134" y="1024"/>
                  </a:lnTo>
                  <a:lnTo>
                    <a:pt x="134" y="1018"/>
                  </a:lnTo>
                  <a:lnTo>
                    <a:pt x="134" y="1014"/>
                  </a:lnTo>
                  <a:lnTo>
                    <a:pt x="137" y="1014"/>
                  </a:lnTo>
                  <a:lnTo>
                    <a:pt x="141" y="1014"/>
                  </a:lnTo>
                  <a:lnTo>
                    <a:pt x="137" y="1011"/>
                  </a:lnTo>
                  <a:lnTo>
                    <a:pt x="134" y="1011"/>
                  </a:lnTo>
                  <a:lnTo>
                    <a:pt x="130" y="1014"/>
                  </a:lnTo>
                  <a:lnTo>
                    <a:pt x="130" y="1011"/>
                  </a:lnTo>
                  <a:lnTo>
                    <a:pt x="130" y="1008"/>
                  </a:lnTo>
                  <a:lnTo>
                    <a:pt x="134" y="1008"/>
                  </a:lnTo>
                  <a:lnTo>
                    <a:pt x="137" y="1005"/>
                  </a:lnTo>
                  <a:lnTo>
                    <a:pt x="141" y="1001"/>
                  </a:lnTo>
                  <a:lnTo>
                    <a:pt x="141" y="998"/>
                  </a:lnTo>
                  <a:lnTo>
                    <a:pt x="137" y="998"/>
                  </a:lnTo>
                  <a:lnTo>
                    <a:pt x="137" y="1001"/>
                  </a:lnTo>
                  <a:lnTo>
                    <a:pt x="134" y="1005"/>
                  </a:lnTo>
                  <a:lnTo>
                    <a:pt x="130" y="1005"/>
                  </a:lnTo>
                  <a:lnTo>
                    <a:pt x="127" y="1008"/>
                  </a:lnTo>
                  <a:lnTo>
                    <a:pt x="120" y="1011"/>
                  </a:lnTo>
                  <a:lnTo>
                    <a:pt x="117" y="1014"/>
                  </a:lnTo>
                  <a:lnTo>
                    <a:pt x="113" y="1011"/>
                  </a:lnTo>
                  <a:lnTo>
                    <a:pt x="113" y="1011"/>
                  </a:lnTo>
                  <a:lnTo>
                    <a:pt x="117" y="1008"/>
                  </a:lnTo>
                  <a:lnTo>
                    <a:pt x="113" y="1008"/>
                  </a:lnTo>
                  <a:lnTo>
                    <a:pt x="110" y="1011"/>
                  </a:lnTo>
                  <a:lnTo>
                    <a:pt x="106" y="1008"/>
                  </a:lnTo>
                  <a:lnTo>
                    <a:pt x="106" y="1008"/>
                  </a:lnTo>
                  <a:lnTo>
                    <a:pt x="113" y="1005"/>
                  </a:lnTo>
                  <a:lnTo>
                    <a:pt x="117" y="1001"/>
                  </a:lnTo>
                  <a:lnTo>
                    <a:pt x="120" y="1005"/>
                  </a:lnTo>
                  <a:lnTo>
                    <a:pt x="120" y="1001"/>
                  </a:lnTo>
                  <a:lnTo>
                    <a:pt x="120" y="1001"/>
                  </a:lnTo>
                  <a:lnTo>
                    <a:pt x="117" y="998"/>
                  </a:lnTo>
                  <a:lnTo>
                    <a:pt x="120" y="998"/>
                  </a:lnTo>
                  <a:lnTo>
                    <a:pt x="120" y="995"/>
                  </a:lnTo>
                  <a:lnTo>
                    <a:pt x="120" y="995"/>
                  </a:lnTo>
                  <a:lnTo>
                    <a:pt x="117" y="995"/>
                  </a:lnTo>
                  <a:lnTo>
                    <a:pt x="113" y="995"/>
                  </a:lnTo>
                  <a:lnTo>
                    <a:pt x="113" y="995"/>
                  </a:lnTo>
                  <a:lnTo>
                    <a:pt x="113" y="988"/>
                  </a:lnTo>
                  <a:lnTo>
                    <a:pt x="110" y="985"/>
                  </a:lnTo>
                  <a:lnTo>
                    <a:pt x="110" y="982"/>
                  </a:lnTo>
                  <a:lnTo>
                    <a:pt x="113" y="979"/>
                  </a:lnTo>
                  <a:lnTo>
                    <a:pt x="117" y="979"/>
                  </a:lnTo>
                  <a:lnTo>
                    <a:pt x="120" y="982"/>
                  </a:lnTo>
                  <a:lnTo>
                    <a:pt x="124" y="982"/>
                  </a:lnTo>
                  <a:lnTo>
                    <a:pt x="130" y="982"/>
                  </a:lnTo>
                  <a:lnTo>
                    <a:pt x="127" y="982"/>
                  </a:lnTo>
                  <a:lnTo>
                    <a:pt x="124" y="982"/>
                  </a:lnTo>
                  <a:lnTo>
                    <a:pt x="120" y="982"/>
                  </a:lnTo>
                  <a:lnTo>
                    <a:pt x="120" y="979"/>
                  </a:lnTo>
                  <a:lnTo>
                    <a:pt x="117" y="976"/>
                  </a:lnTo>
                  <a:lnTo>
                    <a:pt x="117" y="976"/>
                  </a:lnTo>
                  <a:lnTo>
                    <a:pt x="117" y="972"/>
                  </a:lnTo>
                  <a:lnTo>
                    <a:pt x="120" y="969"/>
                  </a:lnTo>
                  <a:lnTo>
                    <a:pt x="120" y="969"/>
                  </a:lnTo>
                  <a:lnTo>
                    <a:pt x="120" y="963"/>
                  </a:lnTo>
                  <a:lnTo>
                    <a:pt x="120" y="966"/>
                  </a:lnTo>
                  <a:lnTo>
                    <a:pt x="117" y="969"/>
                  </a:lnTo>
                  <a:lnTo>
                    <a:pt x="113" y="969"/>
                  </a:lnTo>
                  <a:lnTo>
                    <a:pt x="106" y="972"/>
                  </a:lnTo>
                  <a:lnTo>
                    <a:pt x="103" y="976"/>
                  </a:lnTo>
                  <a:lnTo>
                    <a:pt x="103" y="976"/>
                  </a:lnTo>
                  <a:lnTo>
                    <a:pt x="99" y="976"/>
                  </a:lnTo>
                  <a:lnTo>
                    <a:pt x="99" y="972"/>
                  </a:lnTo>
                  <a:lnTo>
                    <a:pt x="96" y="966"/>
                  </a:lnTo>
                  <a:lnTo>
                    <a:pt x="96" y="959"/>
                  </a:lnTo>
                  <a:lnTo>
                    <a:pt x="99" y="953"/>
                  </a:lnTo>
                  <a:lnTo>
                    <a:pt x="99" y="950"/>
                  </a:lnTo>
                  <a:lnTo>
                    <a:pt x="96" y="950"/>
                  </a:lnTo>
                  <a:lnTo>
                    <a:pt x="96" y="947"/>
                  </a:lnTo>
                  <a:lnTo>
                    <a:pt x="96" y="943"/>
                  </a:lnTo>
                  <a:lnTo>
                    <a:pt x="99" y="947"/>
                  </a:lnTo>
                  <a:lnTo>
                    <a:pt x="103" y="947"/>
                  </a:lnTo>
                  <a:lnTo>
                    <a:pt x="99" y="943"/>
                  </a:lnTo>
                  <a:lnTo>
                    <a:pt x="103" y="940"/>
                  </a:lnTo>
                  <a:lnTo>
                    <a:pt x="106" y="937"/>
                  </a:lnTo>
                  <a:lnTo>
                    <a:pt x="110" y="937"/>
                  </a:lnTo>
                  <a:lnTo>
                    <a:pt x="113" y="937"/>
                  </a:lnTo>
                  <a:lnTo>
                    <a:pt x="117" y="934"/>
                  </a:lnTo>
                  <a:lnTo>
                    <a:pt x="113" y="934"/>
                  </a:lnTo>
                  <a:lnTo>
                    <a:pt x="113" y="934"/>
                  </a:lnTo>
                  <a:lnTo>
                    <a:pt x="117" y="927"/>
                  </a:lnTo>
                  <a:lnTo>
                    <a:pt x="120" y="924"/>
                  </a:lnTo>
                  <a:lnTo>
                    <a:pt x="127" y="924"/>
                  </a:lnTo>
                  <a:lnTo>
                    <a:pt x="127" y="921"/>
                  </a:lnTo>
                  <a:lnTo>
                    <a:pt x="124" y="921"/>
                  </a:lnTo>
                  <a:lnTo>
                    <a:pt x="124" y="917"/>
                  </a:lnTo>
                  <a:lnTo>
                    <a:pt x="117" y="921"/>
                  </a:lnTo>
                  <a:lnTo>
                    <a:pt x="117" y="927"/>
                  </a:lnTo>
                  <a:lnTo>
                    <a:pt x="110" y="930"/>
                  </a:lnTo>
                  <a:lnTo>
                    <a:pt x="110" y="930"/>
                  </a:lnTo>
                  <a:lnTo>
                    <a:pt x="110" y="930"/>
                  </a:lnTo>
                  <a:lnTo>
                    <a:pt x="113" y="924"/>
                  </a:lnTo>
                  <a:lnTo>
                    <a:pt x="113" y="921"/>
                  </a:lnTo>
                  <a:lnTo>
                    <a:pt x="120" y="911"/>
                  </a:lnTo>
                  <a:lnTo>
                    <a:pt x="120" y="908"/>
                  </a:lnTo>
                  <a:lnTo>
                    <a:pt x="120" y="908"/>
                  </a:lnTo>
                  <a:lnTo>
                    <a:pt x="120" y="908"/>
                  </a:lnTo>
                  <a:lnTo>
                    <a:pt x="120" y="905"/>
                  </a:lnTo>
                  <a:lnTo>
                    <a:pt x="124" y="905"/>
                  </a:lnTo>
                  <a:lnTo>
                    <a:pt x="124" y="901"/>
                  </a:lnTo>
                  <a:lnTo>
                    <a:pt x="124" y="901"/>
                  </a:lnTo>
                  <a:lnTo>
                    <a:pt x="124" y="898"/>
                  </a:lnTo>
                  <a:lnTo>
                    <a:pt x="120" y="898"/>
                  </a:lnTo>
                  <a:lnTo>
                    <a:pt x="120" y="895"/>
                  </a:lnTo>
                  <a:lnTo>
                    <a:pt x="117" y="892"/>
                  </a:lnTo>
                  <a:lnTo>
                    <a:pt x="113" y="888"/>
                  </a:lnTo>
                  <a:lnTo>
                    <a:pt x="110" y="888"/>
                  </a:lnTo>
                  <a:lnTo>
                    <a:pt x="110" y="885"/>
                  </a:lnTo>
                  <a:lnTo>
                    <a:pt x="106" y="882"/>
                  </a:lnTo>
                  <a:lnTo>
                    <a:pt x="103" y="882"/>
                  </a:lnTo>
                  <a:lnTo>
                    <a:pt x="99" y="879"/>
                  </a:lnTo>
                  <a:lnTo>
                    <a:pt x="99" y="879"/>
                  </a:lnTo>
                  <a:lnTo>
                    <a:pt x="103" y="879"/>
                  </a:lnTo>
                  <a:lnTo>
                    <a:pt x="103" y="875"/>
                  </a:lnTo>
                  <a:lnTo>
                    <a:pt x="99" y="872"/>
                  </a:lnTo>
                  <a:lnTo>
                    <a:pt x="99" y="872"/>
                  </a:lnTo>
                  <a:lnTo>
                    <a:pt x="99" y="869"/>
                  </a:lnTo>
                  <a:lnTo>
                    <a:pt x="103" y="869"/>
                  </a:lnTo>
                  <a:lnTo>
                    <a:pt x="103" y="869"/>
                  </a:lnTo>
                  <a:lnTo>
                    <a:pt x="99" y="866"/>
                  </a:lnTo>
                  <a:lnTo>
                    <a:pt x="96" y="866"/>
                  </a:lnTo>
                  <a:lnTo>
                    <a:pt x="96" y="866"/>
                  </a:lnTo>
                  <a:lnTo>
                    <a:pt x="99" y="863"/>
                  </a:lnTo>
                  <a:lnTo>
                    <a:pt x="99" y="853"/>
                  </a:lnTo>
                  <a:lnTo>
                    <a:pt x="99" y="840"/>
                  </a:lnTo>
                  <a:lnTo>
                    <a:pt x="103" y="830"/>
                  </a:lnTo>
                  <a:lnTo>
                    <a:pt x="99" y="827"/>
                  </a:lnTo>
                  <a:lnTo>
                    <a:pt x="99" y="824"/>
                  </a:lnTo>
                  <a:lnTo>
                    <a:pt x="103" y="821"/>
                  </a:lnTo>
                  <a:lnTo>
                    <a:pt x="103" y="817"/>
                  </a:lnTo>
                  <a:lnTo>
                    <a:pt x="99" y="817"/>
                  </a:lnTo>
                  <a:lnTo>
                    <a:pt x="99" y="811"/>
                  </a:lnTo>
                  <a:lnTo>
                    <a:pt x="96" y="804"/>
                  </a:lnTo>
                  <a:lnTo>
                    <a:pt x="93" y="801"/>
                  </a:lnTo>
                  <a:lnTo>
                    <a:pt x="93" y="798"/>
                  </a:lnTo>
                  <a:lnTo>
                    <a:pt x="89" y="788"/>
                  </a:lnTo>
                  <a:lnTo>
                    <a:pt x="89" y="785"/>
                  </a:lnTo>
                  <a:lnTo>
                    <a:pt x="93" y="782"/>
                  </a:lnTo>
                  <a:lnTo>
                    <a:pt x="93" y="779"/>
                  </a:lnTo>
                  <a:lnTo>
                    <a:pt x="93" y="775"/>
                  </a:lnTo>
                  <a:lnTo>
                    <a:pt x="89" y="772"/>
                  </a:lnTo>
                  <a:lnTo>
                    <a:pt x="82" y="772"/>
                  </a:lnTo>
                  <a:lnTo>
                    <a:pt x="75" y="775"/>
                  </a:lnTo>
                  <a:lnTo>
                    <a:pt x="75" y="775"/>
                  </a:lnTo>
                  <a:lnTo>
                    <a:pt x="69" y="779"/>
                  </a:lnTo>
                  <a:lnTo>
                    <a:pt x="62" y="782"/>
                  </a:lnTo>
                  <a:lnTo>
                    <a:pt x="58" y="788"/>
                  </a:lnTo>
                  <a:lnTo>
                    <a:pt x="55" y="788"/>
                  </a:lnTo>
                  <a:lnTo>
                    <a:pt x="48" y="791"/>
                  </a:lnTo>
                  <a:lnTo>
                    <a:pt x="41" y="791"/>
                  </a:lnTo>
                  <a:lnTo>
                    <a:pt x="38" y="791"/>
                  </a:lnTo>
                  <a:lnTo>
                    <a:pt x="38" y="788"/>
                  </a:lnTo>
                  <a:lnTo>
                    <a:pt x="41" y="785"/>
                  </a:lnTo>
                  <a:lnTo>
                    <a:pt x="41" y="782"/>
                  </a:lnTo>
                  <a:lnTo>
                    <a:pt x="34" y="762"/>
                  </a:lnTo>
                  <a:lnTo>
                    <a:pt x="31" y="753"/>
                  </a:lnTo>
                  <a:lnTo>
                    <a:pt x="31" y="749"/>
                  </a:lnTo>
                  <a:lnTo>
                    <a:pt x="34" y="743"/>
                  </a:lnTo>
                  <a:lnTo>
                    <a:pt x="24" y="740"/>
                  </a:lnTo>
                  <a:lnTo>
                    <a:pt x="17" y="743"/>
                  </a:lnTo>
                  <a:lnTo>
                    <a:pt x="13" y="743"/>
                  </a:lnTo>
                  <a:lnTo>
                    <a:pt x="0" y="743"/>
                  </a:lnTo>
                  <a:lnTo>
                    <a:pt x="223" y="394"/>
                  </a:lnTo>
                  <a:lnTo>
                    <a:pt x="223" y="397"/>
                  </a:lnTo>
                  <a:lnTo>
                    <a:pt x="227" y="397"/>
                  </a:lnTo>
                  <a:lnTo>
                    <a:pt x="237" y="404"/>
                  </a:lnTo>
                  <a:lnTo>
                    <a:pt x="241" y="404"/>
                  </a:lnTo>
                  <a:lnTo>
                    <a:pt x="244" y="407"/>
                  </a:lnTo>
                  <a:lnTo>
                    <a:pt x="247" y="410"/>
                  </a:lnTo>
                  <a:lnTo>
                    <a:pt x="247" y="410"/>
                  </a:lnTo>
                  <a:lnTo>
                    <a:pt x="251" y="410"/>
                  </a:lnTo>
                  <a:lnTo>
                    <a:pt x="251" y="413"/>
                  </a:lnTo>
                  <a:lnTo>
                    <a:pt x="254" y="417"/>
                  </a:lnTo>
                  <a:lnTo>
                    <a:pt x="254" y="420"/>
                  </a:lnTo>
                  <a:lnTo>
                    <a:pt x="254" y="420"/>
                  </a:lnTo>
                  <a:lnTo>
                    <a:pt x="254" y="423"/>
                  </a:lnTo>
                  <a:lnTo>
                    <a:pt x="254" y="430"/>
                  </a:lnTo>
                  <a:lnTo>
                    <a:pt x="258" y="430"/>
                  </a:lnTo>
                  <a:lnTo>
                    <a:pt x="258" y="426"/>
                  </a:lnTo>
                  <a:lnTo>
                    <a:pt x="258" y="426"/>
                  </a:lnTo>
                  <a:lnTo>
                    <a:pt x="258" y="433"/>
                  </a:lnTo>
                  <a:lnTo>
                    <a:pt x="261" y="439"/>
                  </a:lnTo>
                  <a:lnTo>
                    <a:pt x="268" y="443"/>
                  </a:lnTo>
                  <a:lnTo>
                    <a:pt x="271" y="446"/>
                  </a:lnTo>
                  <a:lnTo>
                    <a:pt x="271" y="446"/>
                  </a:lnTo>
                  <a:lnTo>
                    <a:pt x="275" y="446"/>
                  </a:lnTo>
                  <a:lnTo>
                    <a:pt x="275" y="449"/>
                  </a:lnTo>
                  <a:lnTo>
                    <a:pt x="278" y="449"/>
                  </a:lnTo>
                  <a:lnTo>
                    <a:pt x="278" y="449"/>
                  </a:lnTo>
                  <a:lnTo>
                    <a:pt x="282" y="455"/>
                  </a:lnTo>
                  <a:lnTo>
                    <a:pt x="282" y="459"/>
                  </a:lnTo>
                  <a:lnTo>
                    <a:pt x="285" y="459"/>
                  </a:lnTo>
                  <a:lnTo>
                    <a:pt x="285" y="462"/>
                  </a:lnTo>
                  <a:lnTo>
                    <a:pt x="289" y="462"/>
                  </a:lnTo>
                  <a:lnTo>
                    <a:pt x="296" y="468"/>
                  </a:lnTo>
                  <a:lnTo>
                    <a:pt x="296" y="468"/>
                  </a:lnTo>
                  <a:lnTo>
                    <a:pt x="296" y="472"/>
                  </a:lnTo>
                  <a:lnTo>
                    <a:pt x="296" y="472"/>
                  </a:lnTo>
                  <a:lnTo>
                    <a:pt x="292" y="478"/>
                  </a:lnTo>
                  <a:lnTo>
                    <a:pt x="289" y="478"/>
                  </a:lnTo>
                  <a:lnTo>
                    <a:pt x="296" y="475"/>
                  </a:lnTo>
                  <a:lnTo>
                    <a:pt x="299" y="472"/>
                  </a:lnTo>
                  <a:lnTo>
                    <a:pt x="302" y="472"/>
                  </a:lnTo>
                  <a:lnTo>
                    <a:pt x="302" y="468"/>
                  </a:lnTo>
                  <a:lnTo>
                    <a:pt x="302" y="459"/>
                  </a:lnTo>
                  <a:lnTo>
                    <a:pt x="302" y="455"/>
                  </a:lnTo>
                  <a:lnTo>
                    <a:pt x="306" y="452"/>
                  </a:lnTo>
                  <a:lnTo>
                    <a:pt x="313" y="449"/>
                  </a:lnTo>
                  <a:lnTo>
                    <a:pt x="316" y="446"/>
                  </a:lnTo>
                  <a:lnTo>
                    <a:pt x="320" y="446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7" y="443"/>
                  </a:lnTo>
                  <a:lnTo>
                    <a:pt x="330" y="439"/>
                  </a:lnTo>
                  <a:lnTo>
                    <a:pt x="333" y="439"/>
                  </a:lnTo>
                  <a:lnTo>
                    <a:pt x="337" y="439"/>
                  </a:lnTo>
                  <a:lnTo>
                    <a:pt x="340" y="439"/>
                  </a:lnTo>
                  <a:lnTo>
                    <a:pt x="340" y="443"/>
                  </a:lnTo>
                  <a:lnTo>
                    <a:pt x="347" y="436"/>
                  </a:lnTo>
                  <a:lnTo>
                    <a:pt x="347" y="433"/>
                  </a:lnTo>
                  <a:lnTo>
                    <a:pt x="351" y="433"/>
                  </a:lnTo>
                  <a:lnTo>
                    <a:pt x="354" y="433"/>
                  </a:lnTo>
                  <a:lnTo>
                    <a:pt x="354" y="433"/>
                  </a:lnTo>
                  <a:lnTo>
                    <a:pt x="354" y="433"/>
                  </a:lnTo>
                  <a:lnTo>
                    <a:pt x="357" y="433"/>
                  </a:lnTo>
                  <a:lnTo>
                    <a:pt x="361" y="433"/>
                  </a:lnTo>
                  <a:lnTo>
                    <a:pt x="371" y="433"/>
                  </a:lnTo>
                  <a:lnTo>
                    <a:pt x="382" y="430"/>
                  </a:lnTo>
                  <a:lnTo>
                    <a:pt x="382" y="426"/>
                  </a:lnTo>
                  <a:lnTo>
                    <a:pt x="385" y="426"/>
                  </a:lnTo>
                  <a:lnTo>
                    <a:pt x="388" y="430"/>
                  </a:lnTo>
                  <a:lnTo>
                    <a:pt x="388" y="430"/>
                  </a:lnTo>
                  <a:lnTo>
                    <a:pt x="392" y="426"/>
                  </a:lnTo>
                  <a:lnTo>
                    <a:pt x="399" y="423"/>
                  </a:lnTo>
                  <a:lnTo>
                    <a:pt x="402" y="423"/>
                  </a:lnTo>
                  <a:lnTo>
                    <a:pt x="402" y="426"/>
                  </a:lnTo>
                  <a:lnTo>
                    <a:pt x="406" y="426"/>
                  </a:lnTo>
                  <a:lnTo>
                    <a:pt x="406" y="426"/>
                  </a:lnTo>
                  <a:lnTo>
                    <a:pt x="409" y="426"/>
                  </a:lnTo>
                  <a:lnTo>
                    <a:pt x="409" y="423"/>
                  </a:lnTo>
                  <a:lnTo>
                    <a:pt x="409" y="423"/>
                  </a:lnTo>
                  <a:lnTo>
                    <a:pt x="413" y="423"/>
                  </a:lnTo>
                  <a:lnTo>
                    <a:pt x="413" y="426"/>
                  </a:lnTo>
                  <a:lnTo>
                    <a:pt x="416" y="430"/>
                  </a:lnTo>
                  <a:lnTo>
                    <a:pt x="413" y="430"/>
                  </a:lnTo>
                  <a:lnTo>
                    <a:pt x="413" y="430"/>
                  </a:lnTo>
                  <a:lnTo>
                    <a:pt x="409" y="433"/>
                  </a:lnTo>
                  <a:lnTo>
                    <a:pt x="402" y="436"/>
                  </a:lnTo>
                  <a:lnTo>
                    <a:pt x="395" y="436"/>
                  </a:lnTo>
                  <a:lnTo>
                    <a:pt x="392" y="439"/>
                  </a:lnTo>
                  <a:lnTo>
                    <a:pt x="388" y="439"/>
                  </a:lnTo>
                  <a:lnTo>
                    <a:pt x="385" y="439"/>
                  </a:lnTo>
                  <a:lnTo>
                    <a:pt x="382" y="443"/>
                  </a:lnTo>
                  <a:lnTo>
                    <a:pt x="378" y="443"/>
                  </a:lnTo>
                  <a:lnTo>
                    <a:pt x="378" y="439"/>
                  </a:lnTo>
                  <a:lnTo>
                    <a:pt x="371" y="443"/>
                  </a:lnTo>
                  <a:lnTo>
                    <a:pt x="364" y="443"/>
                  </a:lnTo>
                  <a:lnTo>
                    <a:pt x="364" y="443"/>
                  </a:lnTo>
                  <a:lnTo>
                    <a:pt x="357" y="443"/>
                  </a:lnTo>
                  <a:lnTo>
                    <a:pt x="354" y="443"/>
                  </a:lnTo>
                  <a:lnTo>
                    <a:pt x="351" y="449"/>
                  </a:lnTo>
                  <a:lnTo>
                    <a:pt x="344" y="452"/>
                  </a:lnTo>
                  <a:lnTo>
                    <a:pt x="340" y="449"/>
                  </a:lnTo>
                  <a:lnTo>
                    <a:pt x="337" y="452"/>
                  </a:lnTo>
                  <a:lnTo>
                    <a:pt x="337" y="455"/>
                  </a:lnTo>
                  <a:lnTo>
                    <a:pt x="333" y="455"/>
                  </a:lnTo>
                  <a:lnTo>
                    <a:pt x="330" y="455"/>
                  </a:lnTo>
                  <a:lnTo>
                    <a:pt x="327" y="455"/>
                  </a:lnTo>
                  <a:lnTo>
                    <a:pt x="327" y="459"/>
                  </a:lnTo>
                  <a:lnTo>
                    <a:pt x="323" y="462"/>
                  </a:lnTo>
                  <a:lnTo>
                    <a:pt x="320" y="462"/>
                  </a:lnTo>
                  <a:lnTo>
                    <a:pt x="323" y="468"/>
                  </a:lnTo>
                  <a:lnTo>
                    <a:pt x="327" y="468"/>
                  </a:lnTo>
                  <a:lnTo>
                    <a:pt x="323" y="465"/>
                  </a:lnTo>
                  <a:lnTo>
                    <a:pt x="323" y="462"/>
                  </a:lnTo>
                  <a:lnTo>
                    <a:pt x="327" y="465"/>
                  </a:lnTo>
                  <a:lnTo>
                    <a:pt x="330" y="462"/>
                  </a:lnTo>
                  <a:lnTo>
                    <a:pt x="333" y="465"/>
                  </a:lnTo>
                  <a:lnTo>
                    <a:pt x="333" y="462"/>
                  </a:lnTo>
                  <a:lnTo>
                    <a:pt x="337" y="455"/>
                  </a:lnTo>
                  <a:lnTo>
                    <a:pt x="344" y="455"/>
                  </a:lnTo>
                  <a:lnTo>
                    <a:pt x="347" y="455"/>
                  </a:lnTo>
                  <a:lnTo>
                    <a:pt x="357" y="449"/>
                  </a:lnTo>
                  <a:lnTo>
                    <a:pt x="357" y="449"/>
                  </a:lnTo>
                  <a:lnTo>
                    <a:pt x="361" y="446"/>
                  </a:lnTo>
                  <a:lnTo>
                    <a:pt x="364" y="449"/>
                  </a:lnTo>
                  <a:lnTo>
                    <a:pt x="364" y="449"/>
                  </a:lnTo>
                  <a:lnTo>
                    <a:pt x="368" y="446"/>
                  </a:lnTo>
                  <a:lnTo>
                    <a:pt x="368" y="449"/>
                  </a:lnTo>
                  <a:lnTo>
                    <a:pt x="375" y="446"/>
                  </a:lnTo>
                  <a:lnTo>
                    <a:pt x="378" y="446"/>
                  </a:lnTo>
                  <a:lnTo>
                    <a:pt x="371" y="452"/>
                  </a:lnTo>
                  <a:lnTo>
                    <a:pt x="371" y="455"/>
                  </a:lnTo>
                  <a:lnTo>
                    <a:pt x="378" y="449"/>
                  </a:lnTo>
                  <a:lnTo>
                    <a:pt x="382" y="449"/>
                  </a:lnTo>
                  <a:lnTo>
                    <a:pt x="395" y="443"/>
                  </a:lnTo>
                  <a:lnTo>
                    <a:pt x="399" y="443"/>
                  </a:lnTo>
                  <a:lnTo>
                    <a:pt x="406" y="439"/>
                  </a:lnTo>
                  <a:lnTo>
                    <a:pt x="413" y="439"/>
                  </a:lnTo>
                  <a:lnTo>
                    <a:pt x="416" y="436"/>
                  </a:lnTo>
                  <a:lnTo>
                    <a:pt x="419" y="436"/>
                  </a:lnTo>
                  <a:lnTo>
                    <a:pt x="416" y="439"/>
                  </a:lnTo>
                  <a:lnTo>
                    <a:pt x="413" y="443"/>
                  </a:lnTo>
                  <a:lnTo>
                    <a:pt x="413" y="443"/>
                  </a:lnTo>
                  <a:lnTo>
                    <a:pt x="416" y="446"/>
                  </a:lnTo>
                  <a:lnTo>
                    <a:pt x="419" y="443"/>
                  </a:lnTo>
                  <a:lnTo>
                    <a:pt x="430" y="439"/>
                  </a:lnTo>
                  <a:lnTo>
                    <a:pt x="430" y="439"/>
                  </a:lnTo>
                  <a:lnTo>
                    <a:pt x="430" y="436"/>
                  </a:lnTo>
                  <a:lnTo>
                    <a:pt x="433" y="433"/>
                  </a:lnTo>
                  <a:lnTo>
                    <a:pt x="437" y="436"/>
                  </a:lnTo>
                  <a:lnTo>
                    <a:pt x="437" y="433"/>
                  </a:lnTo>
                  <a:lnTo>
                    <a:pt x="437" y="430"/>
                  </a:lnTo>
                  <a:lnTo>
                    <a:pt x="440" y="433"/>
                  </a:lnTo>
                  <a:lnTo>
                    <a:pt x="443" y="433"/>
                  </a:lnTo>
                  <a:lnTo>
                    <a:pt x="443" y="430"/>
                  </a:lnTo>
                  <a:lnTo>
                    <a:pt x="443" y="423"/>
                  </a:lnTo>
                  <a:lnTo>
                    <a:pt x="443" y="423"/>
                  </a:lnTo>
                  <a:lnTo>
                    <a:pt x="443" y="420"/>
                  </a:lnTo>
                  <a:lnTo>
                    <a:pt x="447" y="417"/>
                  </a:lnTo>
                  <a:lnTo>
                    <a:pt x="450" y="413"/>
                  </a:lnTo>
                  <a:lnTo>
                    <a:pt x="450" y="420"/>
                  </a:lnTo>
                  <a:lnTo>
                    <a:pt x="454" y="430"/>
                  </a:lnTo>
                  <a:lnTo>
                    <a:pt x="450" y="436"/>
                  </a:lnTo>
                  <a:lnTo>
                    <a:pt x="450" y="446"/>
                  </a:lnTo>
                  <a:lnTo>
                    <a:pt x="447" y="452"/>
                  </a:lnTo>
                  <a:lnTo>
                    <a:pt x="447" y="465"/>
                  </a:lnTo>
                  <a:lnTo>
                    <a:pt x="450" y="468"/>
                  </a:lnTo>
                  <a:lnTo>
                    <a:pt x="454" y="472"/>
                  </a:lnTo>
                  <a:lnTo>
                    <a:pt x="457" y="475"/>
                  </a:lnTo>
                  <a:lnTo>
                    <a:pt x="461" y="472"/>
                  </a:lnTo>
                  <a:lnTo>
                    <a:pt x="461" y="472"/>
                  </a:lnTo>
                  <a:lnTo>
                    <a:pt x="457" y="472"/>
                  </a:lnTo>
                  <a:lnTo>
                    <a:pt x="454" y="468"/>
                  </a:lnTo>
                  <a:lnTo>
                    <a:pt x="457" y="465"/>
                  </a:lnTo>
                  <a:lnTo>
                    <a:pt x="464" y="468"/>
                  </a:lnTo>
                  <a:lnTo>
                    <a:pt x="464" y="465"/>
                  </a:lnTo>
                  <a:lnTo>
                    <a:pt x="461" y="462"/>
                  </a:lnTo>
                  <a:lnTo>
                    <a:pt x="464" y="462"/>
                  </a:lnTo>
                  <a:lnTo>
                    <a:pt x="471" y="462"/>
                  </a:lnTo>
                  <a:lnTo>
                    <a:pt x="471" y="462"/>
                  </a:lnTo>
                  <a:lnTo>
                    <a:pt x="474" y="462"/>
                  </a:lnTo>
                  <a:lnTo>
                    <a:pt x="471" y="455"/>
                  </a:lnTo>
                  <a:lnTo>
                    <a:pt x="474" y="455"/>
                  </a:lnTo>
                  <a:lnTo>
                    <a:pt x="481" y="452"/>
                  </a:lnTo>
                  <a:lnTo>
                    <a:pt x="481" y="449"/>
                  </a:lnTo>
                  <a:lnTo>
                    <a:pt x="485" y="449"/>
                  </a:lnTo>
                  <a:lnTo>
                    <a:pt x="485" y="452"/>
                  </a:lnTo>
                  <a:lnTo>
                    <a:pt x="485" y="455"/>
                  </a:lnTo>
                  <a:lnTo>
                    <a:pt x="481" y="455"/>
                  </a:lnTo>
                  <a:lnTo>
                    <a:pt x="481" y="459"/>
                  </a:lnTo>
                  <a:lnTo>
                    <a:pt x="478" y="462"/>
                  </a:lnTo>
                  <a:lnTo>
                    <a:pt x="478" y="462"/>
                  </a:lnTo>
                  <a:lnTo>
                    <a:pt x="481" y="465"/>
                  </a:lnTo>
                  <a:lnTo>
                    <a:pt x="485" y="465"/>
                  </a:lnTo>
                  <a:lnTo>
                    <a:pt x="485" y="465"/>
                  </a:lnTo>
                  <a:lnTo>
                    <a:pt x="485" y="468"/>
                  </a:lnTo>
                  <a:lnTo>
                    <a:pt x="481" y="468"/>
                  </a:lnTo>
                  <a:lnTo>
                    <a:pt x="478" y="472"/>
                  </a:lnTo>
                  <a:lnTo>
                    <a:pt x="474" y="472"/>
                  </a:lnTo>
                  <a:lnTo>
                    <a:pt x="474" y="472"/>
                  </a:lnTo>
                  <a:lnTo>
                    <a:pt x="471" y="475"/>
                  </a:lnTo>
                  <a:lnTo>
                    <a:pt x="471" y="478"/>
                  </a:lnTo>
                  <a:lnTo>
                    <a:pt x="478" y="478"/>
                  </a:lnTo>
                  <a:lnTo>
                    <a:pt x="481" y="481"/>
                  </a:lnTo>
                  <a:lnTo>
                    <a:pt x="485" y="481"/>
                  </a:lnTo>
                  <a:lnTo>
                    <a:pt x="488" y="478"/>
                  </a:lnTo>
                  <a:lnTo>
                    <a:pt x="492" y="478"/>
                  </a:lnTo>
                  <a:lnTo>
                    <a:pt x="495" y="472"/>
                  </a:lnTo>
                  <a:lnTo>
                    <a:pt x="502" y="468"/>
                  </a:lnTo>
                  <a:lnTo>
                    <a:pt x="505" y="465"/>
                  </a:lnTo>
                  <a:lnTo>
                    <a:pt x="509" y="468"/>
                  </a:lnTo>
                  <a:lnTo>
                    <a:pt x="512" y="468"/>
                  </a:lnTo>
                  <a:lnTo>
                    <a:pt x="516" y="472"/>
                  </a:lnTo>
                  <a:lnTo>
                    <a:pt x="519" y="472"/>
                  </a:lnTo>
                  <a:lnTo>
                    <a:pt x="523" y="475"/>
                  </a:lnTo>
                  <a:lnTo>
                    <a:pt x="526" y="475"/>
                  </a:lnTo>
                  <a:lnTo>
                    <a:pt x="526" y="478"/>
                  </a:lnTo>
                  <a:lnTo>
                    <a:pt x="529" y="485"/>
                  </a:lnTo>
                  <a:lnTo>
                    <a:pt x="529" y="488"/>
                  </a:lnTo>
                  <a:lnTo>
                    <a:pt x="533" y="494"/>
                  </a:lnTo>
                  <a:lnTo>
                    <a:pt x="550" y="504"/>
                  </a:lnTo>
                  <a:lnTo>
                    <a:pt x="550" y="507"/>
                  </a:lnTo>
                  <a:lnTo>
                    <a:pt x="557" y="507"/>
                  </a:lnTo>
                  <a:lnTo>
                    <a:pt x="560" y="514"/>
                  </a:lnTo>
                  <a:lnTo>
                    <a:pt x="564" y="514"/>
                  </a:lnTo>
                  <a:lnTo>
                    <a:pt x="567" y="517"/>
                  </a:lnTo>
                  <a:lnTo>
                    <a:pt x="567" y="517"/>
                  </a:lnTo>
                  <a:lnTo>
                    <a:pt x="571" y="520"/>
                  </a:lnTo>
                  <a:lnTo>
                    <a:pt x="574" y="517"/>
                  </a:lnTo>
                  <a:lnTo>
                    <a:pt x="574" y="520"/>
                  </a:lnTo>
                  <a:lnTo>
                    <a:pt x="581" y="523"/>
                  </a:lnTo>
                  <a:lnTo>
                    <a:pt x="585" y="523"/>
                  </a:lnTo>
                  <a:lnTo>
                    <a:pt x="585" y="527"/>
                  </a:lnTo>
                  <a:lnTo>
                    <a:pt x="585" y="530"/>
                  </a:lnTo>
                  <a:lnTo>
                    <a:pt x="588" y="527"/>
                  </a:lnTo>
                  <a:lnTo>
                    <a:pt x="585" y="523"/>
                  </a:lnTo>
                  <a:lnTo>
                    <a:pt x="588" y="523"/>
                  </a:lnTo>
                  <a:lnTo>
                    <a:pt x="581" y="520"/>
                  </a:lnTo>
                  <a:lnTo>
                    <a:pt x="581" y="517"/>
                  </a:lnTo>
                  <a:lnTo>
                    <a:pt x="588" y="520"/>
                  </a:lnTo>
                  <a:lnTo>
                    <a:pt x="588" y="523"/>
                  </a:lnTo>
                  <a:lnTo>
                    <a:pt x="591" y="523"/>
                  </a:lnTo>
                  <a:lnTo>
                    <a:pt x="591" y="520"/>
                  </a:lnTo>
                  <a:lnTo>
                    <a:pt x="595" y="520"/>
                  </a:lnTo>
                  <a:lnTo>
                    <a:pt x="598" y="523"/>
                  </a:lnTo>
                  <a:lnTo>
                    <a:pt x="598" y="527"/>
                  </a:lnTo>
                  <a:lnTo>
                    <a:pt x="602" y="527"/>
                  </a:lnTo>
                  <a:lnTo>
                    <a:pt x="605" y="533"/>
                  </a:lnTo>
                  <a:lnTo>
                    <a:pt x="605" y="536"/>
                  </a:lnTo>
                  <a:lnTo>
                    <a:pt x="609" y="539"/>
                  </a:lnTo>
                  <a:lnTo>
                    <a:pt x="609" y="543"/>
                  </a:lnTo>
                  <a:lnTo>
                    <a:pt x="609" y="546"/>
                  </a:lnTo>
                  <a:lnTo>
                    <a:pt x="605" y="549"/>
                  </a:lnTo>
                  <a:lnTo>
                    <a:pt x="602" y="552"/>
                  </a:lnTo>
                  <a:lnTo>
                    <a:pt x="595" y="549"/>
                  </a:lnTo>
                  <a:lnTo>
                    <a:pt x="591" y="549"/>
                  </a:lnTo>
                  <a:lnTo>
                    <a:pt x="591" y="552"/>
                  </a:lnTo>
                  <a:lnTo>
                    <a:pt x="588" y="552"/>
                  </a:lnTo>
                  <a:lnTo>
                    <a:pt x="585" y="549"/>
                  </a:lnTo>
                  <a:lnTo>
                    <a:pt x="581" y="549"/>
                  </a:lnTo>
                  <a:lnTo>
                    <a:pt x="581" y="552"/>
                  </a:lnTo>
                  <a:lnTo>
                    <a:pt x="578" y="556"/>
                  </a:lnTo>
                  <a:lnTo>
                    <a:pt x="578" y="559"/>
                  </a:lnTo>
                  <a:lnTo>
                    <a:pt x="574" y="559"/>
                  </a:lnTo>
                  <a:lnTo>
                    <a:pt x="571" y="559"/>
                  </a:lnTo>
                  <a:lnTo>
                    <a:pt x="571" y="562"/>
                  </a:lnTo>
                  <a:lnTo>
                    <a:pt x="574" y="562"/>
                  </a:lnTo>
                  <a:lnTo>
                    <a:pt x="578" y="565"/>
                  </a:lnTo>
                  <a:lnTo>
                    <a:pt x="581" y="569"/>
                  </a:lnTo>
                  <a:lnTo>
                    <a:pt x="581" y="565"/>
                  </a:lnTo>
                  <a:lnTo>
                    <a:pt x="588" y="569"/>
                  </a:lnTo>
                  <a:lnTo>
                    <a:pt x="588" y="572"/>
                  </a:lnTo>
                  <a:lnTo>
                    <a:pt x="591" y="572"/>
                  </a:lnTo>
                  <a:lnTo>
                    <a:pt x="598" y="575"/>
                  </a:lnTo>
                  <a:lnTo>
                    <a:pt x="605" y="575"/>
                  </a:lnTo>
                  <a:lnTo>
                    <a:pt x="612" y="578"/>
                  </a:lnTo>
                  <a:lnTo>
                    <a:pt x="619" y="578"/>
                  </a:lnTo>
                  <a:lnTo>
                    <a:pt x="619" y="578"/>
                  </a:lnTo>
                  <a:lnTo>
                    <a:pt x="619" y="578"/>
                  </a:lnTo>
                  <a:lnTo>
                    <a:pt x="622" y="578"/>
                  </a:lnTo>
                  <a:lnTo>
                    <a:pt x="622" y="581"/>
                  </a:lnTo>
                  <a:lnTo>
                    <a:pt x="629" y="578"/>
                  </a:lnTo>
                  <a:lnTo>
                    <a:pt x="629" y="578"/>
                  </a:lnTo>
                  <a:lnTo>
                    <a:pt x="633" y="578"/>
                  </a:lnTo>
                  <a:lnTo>
                    <a:pt x="636" y="578"/>
                  </a:lnTo>
                  <a:lnTo>
                    <a:pt x="636" y="578"/>
                  </a:lnTo>
                  <a:lnTo>
                    <a:pt x="636" y="578"/>
                  </a:lnTo>
                  <a:lnTo>
                    <a:pt x="640" y="578"/>
                  </a:lnTo>
                  <a:lnTo>
                    <a:pt x="643" y="575"/>
                  </a:lnTo>
                  <a:lnTo>
                    <a:pt x="657" y="572"/>
                  </a:lnTo>
                  <a:lnTo>
                    <a:pt x="660" y="572"/>
                  </a:lnTo>
                  <a:lnTo>
                    <a:pt x="657" y="575"/>
                  </a:lnTo>
                  <a:lnTo>
                    <a:pt x="657" y="578"/>
                  </a:lnTo>
                  <a:lnTo>
                    <a:pt x="657" y="578"/>
                  </a:lnTo>
                  <a:lnTo>
                    <a:pt x="660" y="578"/>
                  </a:lnTo>
                  <a:lnTo>
                    <a:pt x="660" y="581"/>
                  </a:lnTo>
                  <a:lnTo>
                    <a:pt x="660" y="585"/>
                  </a:lnTo>
                  <a:lnTo>
                    <a:pt x="660" y="585"/>
                  </a:lnTo>
                  <a:lnTo>
                    <a:pt x="660" y="588"/>
                  </a:lnTo>
                  <a:lnTo>
                    <a:pt x="664" y="585"/>
                  </a:lnTo>
                  <a:lnTo>
                    <a:pt x="667" y="588"/>
                  </a:lnTo>
                  <a:lnTo>
                    <a:pt x="664" y="591"/>
                  </a:lnTo>
                  <a:lnTo>
                    <a:pt x="664" y="594"/>
                  </a:lnTo>
                  <a:lnTo>
                    <a:pt x="664" y="598"/>
                  </a:lnTo>
                  <a:lnTo>
                    <a:pt x="664" y="598"/>
                  </a:lnTo>
                  <a:lnTo>
                    <a:pt x="667" y="598"/>
                  </a:lnTo>
                  <a:lnTo>
                    <a:pt x="667" y="591"/>
                  </a:lnTo>
                  <a:lnTo>
                    <a:pt x="671" y="591"/>
                  </a:lnTo>
                  <a:lnTo>
                    <a:pt x="671" y="591"/>
                  </a:lnTo>
                  <a:lnTo>
                    <a:pt x="671" y="594"/>
                  </a:lnTo>
                  <a:lnTo>
                    <a:pt x="667" y="601"/>
                  </a:lnTo>
                  <a:lnTo>
                    <a:pt x="664" y="604"/>
                  </a:lnTo>
                  <a:lnTo>
                    <a:pt x="664" y="611"/>
                  </a:lnTo>
                  <a:lnTo>
                    <a:pt x="667" y="614"/>
                  </a:lnTo>
                  <a:lnTo>
                    <a:pt x="667" y="620"/>
                  </a:lnTo>
                  <a:lnTo>
                    <a:pt x="667" y="623"/>
                  </a:lnTo>
                  <a:lnTo>
                    <a:pt x="671" y="627"/>
                  </a:lnTo>
                  <a:lnTo>
                    <a:pt x="671" y="627"/>
                  </a:lnTo>
                  <a:lnTo>
                    <a:pt x="667" y="630"/>
                  </a:lnTo>
                  <a:lnTo>
                    <a:pt x="671" y="633"/>
                  </a:lnTo>
                  <a:lnTo>
                    <a:pt x="671" y="636"/>
                  </a:lnTo>
                  <a:lnTo>
                    <a:pt x="674" y="646"/>
                  </a:lnTo>
                  <a:lnTo>
                    <a:pt x="674" y="636"/>
                  </a:lnTo>
                  <a:lnTo>
                    <a:pt x="671" y="630"/>
                  </a:lnTo>
                  <a:lnTo>
                    <a:pt x="671" y="620"/>
                  </a:lnTo>
                  <a:lnTo>
                    <a:pt x="677" y="614"/>
                  </a:lnTo>
                  <a:lnTo>
                    <a:pt x="677" y="614"/>
                  </a:lnTo>
                  <a:lnTo>
                    <a:pt x="677" y="617"/>
                  </a:lnTo>
                  <a:lnTo>
                    <a:pt x="677" y="617"/>
                  </a:lnTo>
                  <a:lnTo>
                    <a:pt x="677" y="620"/>
                  </a:lnTo>
                  <a:lnTo>
                    <a:pt x="677" y="620"/>
                  </a:lnTo>
                  <a:lnTo>
                    <a:pt x="681" y="620"/>
                  </a:lnTo>
                  <a:lnTo>
                    <a:pt x="681" y="620"/>
                  </a:lnTo>
                  <a:lnTo>
                    <a:pt x="684" y="620"/>
                  </a:lnTo>
                  <a:lnTo>
                    <a:pt x="684" y="617"/>
                  </a:lnTo>
                  <a:lnTo>
                    <a:pt x="681" y="614"/>
                  </a:lnTo>
                  <a:lnTo>
                    <a:pt x="681" y="611"/>
                  </a:lnTo>
                  <a:lnTo>
                    <a:pt x="684" y="611"/>
                  </a:lnTo>
                  <a:lnTo>
                    <a:pt x="684" y="611"/>
                  </a:lnTo>
                  <a:lnTo>
                    <a:pt x="681" y="607"/>
                  </a:lnTo>
                  <a:lnTo>
                    <a:pt x="684" y="604"/>
                  </a:lnTo>
                  <a:lnTo>
                    <a:pt x="684" y="598"/>
                  </a:lnTo>
                  <a:lnTo>
                    <a:pt x="688" y="591"/>
                  </a:lnTo>
                  <a:lnTo>
                    <a:pt x="688" y="588"/>
                  </a:lnTo>
                  <a:lnTo>
                    <a:pt x="688" y="585"/>
                  </a:lnTo>
                  <a:lnTo>
                    <a:pt x="691" y="585"/>
                  </a:lnTo>
                  <a:lnTo>
                    <a:pt x="695" y="581"/>
                  </a:lnTo>
                  <a:lnTo>
                    <a:pt x="695" y="581"/>
                  </a:lnTo>
                  <a:lnTo>
                    <a:pt x="698" y="578"/>
                  </a:lnTo>
                  <a:lnTo>
                    <a:pt x="698" y="578"/>
                  </a:lnTo>
                  <a:lnTo>
                    <a:pt x="701" y="581"/>
                  </a:lnTo>
                  <a:lnTo>
                    <a:pt x="705" y="581"/>
                  </a:lnTo>
                  <a:lnTo>
                    <a:pt x="705" y="578"/>
                  </a:lnTo>
                  <a:lnTo>
                    <a:pt x="708" y="578"/>
                  </a:lnTo>
                  <a:lnTo>
                    <a:pt x="708" y="578"/>
                  </a:lnTo>
                  <a:lnTo>
                    <a:pt x="712" y="578"/>
                  </a:lnTo>
                  <a:lnTo>
                    <a:pt x="715" y="578"/>
                  </a:lnTo>
                  <a:lnTo>
                    <a:pt x="715" y="575"/>
                  </a:lnTo>
                  <a:lnTo>
                    <a:pt x="719" y="575"/>
                  </a:lnTo>
                  <a:lnTo>
                    <a:pt x="719" y="578"/>
                  </a:lnTo>
                  <a:lnTo>
                    <a:pt x="722" y="578"/>
                  </a:lnTo>
                  <a:lnTo>
                    <a:pt x="722" y="581"/>
                  </a:lnTo>
                  <a:lnTo>
                    <a:pt x="722" y="578"/>
                  </a:lnTo>
                  <a:lnTo>
                    <a:pt x="722" y="575"/>
                  </a:lnTo>
                  <a:lnTo>
                    <a:pt x="726" y="569"/>
                  </a:lnTo>
                  <a:lnTo>
                    <a:pt x="726" y="569"/>
                  </a:lnTo>
                  <a:lnTo>
                    <a:pt x="729" y="572"/>
                  </a:lnTo>
                  <a:lnTo>
                    <a:pt x="732" y="569"/>
                  </a:lnTo>
                  <a:lnTo>
                    <a:pt x="732" y="569"/>
                  </a:lnTo>
                  <a:lnTo>
                    <a:pt x="736" y="572"/>
                  </a:lnTo>
                  <a:lnTo>
                    <a:pt x="739" y="565"/>
                  </a:lnTo>
                  <a:lnTo>
                    <a:pt x="739" y="565"/>
                  </a:lnTo>
                  <a:lnTo>
                    <a:pt x="743" y="562"/>
                  </a:lnTo>
                  <a:lnTo>
                    <a:pt x="739" y="562"/>
                  </a:lnTo>
                  <a:lnTo>
                    <a:pt x="739" y="562"/>
                  </a:lnTo>
                  <a:lnTo>
                    <a:pt x="736" y="562"/>
                  </a:lnTo>
                  <a:lnTo>
                    <a:pt x="726" y="562"/>
                  </a:lnTo>
                  <a:lnTo>
                    <a:pt x="726" y="562"/>
                  </a:lnTo>
                  <a:lnTo>
                    <a:pt x="722" y="565"/>
                  </a:lnTo>
                  <a:lnTo>
                    <a:pt x="722" y="565"/>
                  </a:lnTo>
                  <a:lnTo>
                    <a:pt x="722" y="569"/>
                  </a:lnTo>
                  <a:lnTo>
                    <a:pt x="719" y="569"/>
                  </a:lnTo>
                  <a:lnTo>
                    <a:pt x="715" y="565"/>
                  </a:lnTo>
                  <a:lnTo>
                    <a:pt x="715" y="562"/>
                  </a:lnTo>
                  <a:lnTo>
                    <a:pt x="715" y="565"/>
                  </a:lnTo>
                  <a:lnTo>
                    <a:pt x="715" y="569"/>
                  </a:lnTo>
                  <a:lnTo>
                    <a:pt x="712" y="569"/>
                  </a:lnTo>
                  <a:lnTo>
                    <a:pt x="708" y="565"/>
                  </a:lnTo>
                  <a:lnTo>
                    <a:pt x="705" y="565"/>
                  </a:lnTo>
                  <a:lnTo>
                    <a:pt x="705" y="565"/>
                  </a:lnTo>
                  <a:lnTo>
                    <a:pt x="701" y="565"/>
                  </a:lnTo>
                  <a:lnTo>
                    <a:pt x="701" y="569"/>
                  </a:lnTo>
                  <a:lnTo>
                    <a:pt x="705" y="569"/>
                  </a:lnTo>
                  <a:lnTo>
                    <a:pt x="705" y="572"/>
                  </a:lnTo>
                  <a:lnTo>
                    <a:pt x="698" y="572"/>
                  </a:lnTo>
                  <a:lnTo>
                    <a:pt x="698" y="572"/>
                  </a:lnTo>
                  <a:lnTo>
                    <a:pt x="695" y="572"/>
                  </a:lnTo>
                  <a:lnTo>
                    <a:pt x="691" y="569"/>
                  </a:lnTo>
                  <a:lnTo>
                    <a:pt x="695" y="569"/>
                  </a:lnTo>
                  <a:lnTo>
                    <a:pt x="695" y="565"/>
                  </a:lnTo>
                  <a:lnTo>
                    <a:pt x="695" y="565"/>
                  </a:lnTo>
                  <a:lnTo>
                    <a:pt x="691" y="565"/>
                  </a:lnTo>
                  <a:lnTo>
                    <a:pt x="691" y="565"/>
                  </a:lnTo>
                  <a:lnTo>
                    <a:pt x="691" y="562"/>
                  </a:lnTo>
                  <a:lnTo>
                    <a:pt x="695" y="559"/>
                  </a:lnTo>
                  <a:lnTo>
                    <a:pt x="698" y="552"/>
                  </a:lnTo>
                  <a:lnTo>
                    <a:pt x="701" y="552"/>
                  </a:lnTo>
                  <a:lnTo>
                    <a:pt x="708" y="556"/>
                  </a:lnTo>
                  <a:lnTo>
                    <a:pt x="722" y="556"/>
                  </a:lnTo>
                  <a:lnTo>
                    <a:pt x="732" y="552"/>
                  </a:lnTo>
                  <a:lnTo>
                    <a:pt x="732" y="552"/>
                  </a:lnTo>
                  <a:lnTo>
                    <a:pt x="739" y="549"/>
                  </a:lnTo>
                  <a:lnTo>
                    <a:pt x="739" y="552"/>
                  </a:lnTo>
                  <a:lnTo>
                    <a:pt x="743" y="556"/>
                  </a:lnTo>
                  <a:lnTo>
                    <a:pt x="746" y="556"/>
                  </a:lnTo>
                  <a:lnTo>
                    <a:pt x="746" y="559"/>
                  </a:lnTo>
                  <a:lnTo>
                    <a:pt x="746" y="565"/>
                  </a:lnTo>
                  <a:lnTo>
                    <a:pt x="743" y="565"/>
                  </a:lnTo>
                  <a:lnTo>
                    <a:pt x="746" y="569"/>
                  </a:lnTo>
                  <a:lnTo>
                    <a:pt x="746" y="569"/>
                  </a:lnTo>
                  <a:lnTo>
                    <a:pt x="743" y="572"/>
                  </a:lnTo>
                  <a:lnTo>
                    <a:pt x="743" y="572"/>
                  </a:lnTo>
                  <a:lnTo>
                    <a:pt x="743" y="572"/>
                  </a:lnTo>
                  <a:lnTo>
                    <a:pt x="746" y="578"/>
                  </a:lnTo>
                  <a:lnTo>
                    <a:pt x="746" y="578"/>
                  </a:lnTo>
                  <a:lnTo>
                    <a:pt x="750" y="578"/>
                  </a:lnTo>
                  <a:lnTo>
                    <a:pt x="750" y="581"/>
                  </a:lnTo>
                  <a:lnTo>
                    <a:pt x="746" y="585"/>
                  </a:lnTo>
                  <a:lnTo>
                    <a:pt x="746" y="585"/>
                  </a:lnTo>
                  <a:lnTo>
                    <a:pt x="746" y="588"/>
                  </a:lnTo>
                  <a:lnTo>
                    <a:pt x="750" y="588"/>
                  </a:lnTo>
                  <a:lnTo>
                    <a:pt x="753" y="588"/>
                  </a:lnTo>
                  <a:lnTo>
                    <a:pt x="753" y="591"/>
                  </a:lnTo>
                  <a:lnTo>
                    <a:pt x="757" y="591"/>
                  </a:lnTo>
                  <a:lnTo>
                    <a:pt x="757" y="591"/>
                  </a:lnTo>
                  <a:lnTo>
                    <a:pt x="760" y="591"/>
                  </a:lnTo>
                  <a:lnTo>
                    <a:pt x="763" y="591"/>
                  </a:lnTo>
                  <a:lnTo>
                    <a:pt x="767" y="591"/>
                  </a:lnTo>
                  <a:lnTo>
                    <a:pt x="767" y="594"/>
                  </a:lnTo>
                  <a:lnTo>
                    <a:pt x="767" y="594"/>
                  </a:lnTo>
                  <a:lnTo>
                    <a:pt x="770" y="594"/>
                  </a:lnTo>
                  <a:lnTo>
                    <a:pt x="770" y="598"/>
                  </a:lnTo>
                  <a:lnTo>
                    <a:pt x="770" y="598"/>
                  </a:lnTo>
                  <a:lnTo>
                    <a:pt x="770" y="601"/>
                  </a:lnTo>
                  <a:lnTo>
                    <a:pt x="770" y="601"/>
                  </a:lnTo>
                  <a:lnTo>
                    <a:pt x="774" y="601"/>
                  </a:lnTo>
                  <a:lnTo>
                    <a:pt x="777" y="607"/>
                  </a:lnTo>
                  <a:lnTo>
                    <a:pt x="777" y="611"/>
                  </a:lnTo>
                  <a:lnTo>
                    <a:pt x="781" y="607"/>
                  </a:lnTo>
                  <a:lnTo>
                    <a:pt x="784" y="607"/>
                  </a:lnTo>
                  <a:lnTo>
                    <a:pt x="784" y="611"/>
                  </a:lnTo>
                  <a:lnTo>
                    <a:pt x="784" y="611"/>
                  </a:lnTo>
                  <a:lnTo>
                    <a:pt x="788" y="614"/>
                  </a:lnTo>
                  <a:lnTo>
                    <a:pt x="794" y="611"/>
                  </a:lnTo>
                  <a:lnTo>
                    <a:pt x="798" y="611"/>
                  </a:lnTo>
                  <a:lnTo>
                    <a:pt x="801" y="611"/>
                  </a:lnTo>
                  <a:lnTo>
                    <a:pt x="808" y="607"/>
                  </a:lnTo>
                  <a:lnTo>
                    <a:pt x="808" y="607"/>
                  </a:lnTo>
                  <a:lnTo>
                    <a:pt x="808" y="607"/>
                  </a:lnTo>
                  <a:lnTo>
                    <a:pt x="815" y="607"/>
                  </a:lnTo>
                  <a:lnTo>
                    <a:pt x="822" y="614"/>
                  </a:lnTo>
                  <a:lnTo>
                    <a:pt x="825" y="614"/>
                  </a:lnTo>
                  <a:lnTo>
                    <a:pt x="829" y="617"/>
                  </a:lnTo>
                  <a:lnTo>
                    <a:pt x="829" y="614"/>
                  </a:lnTo>
                  <a:lnTo>
                    <a:pt x="836" y="614"/>
                  </a:lnTo>
                  <a:lnTo>
                    <a:pt x="839" y="617"/>
                  </a:lnTo>
                  <a:lnTo>
                    <a:pt x="843" y="614"/>
                  </a:lnTo>
                  <a:lnTo>
                    <a:pt x="843" y="611"/>
                  </a:lnTo>
                  <a:lnTo>
                    <a:pt x="839" y="607"/>
                  </a:lnTo>
                  <a:lnTo>
                    <a:pt x="836" y="604"/>
                  </a:lnTo>
                  <a:lnTo>
                    <a:pt x="839" y="604"/>
                  </a:lnTo>
                  <a:lnTo>
                    <a:pt x="839" y="604"/>
                  </a:lnTo>
                  <a:lnTo>
                    <a:pt x="843" y="607"/>
                  </a:lnTo>
                  <a:lnTo>
                    <a:pt x="843" y="614"/>
                  </a:lnTo>
                  <a:lnTo>
                    <a:pt x="849" y="617"/>
                  </a:lnTo>
                  <a:lnTo>
                    <a:pt x="853" y="620"/>
                  </a:lnTo>
                  <a:lnTo>
                    <a:pt x="853" y="623"/>
                  </a:lnTo>
                  <a:lnTo>
                    <a:pt x="853" y="617"/>
                  </a:lnTo>
                  <a:lnTo>
                    <a:pt x="853" y="614"/>
                  </a:lnTo>
                  <a:lnTo>
                    <a:pt x="846" y="614"/>
                  </a:lnTo>
                  <a:lnTo>
                    <a:pt x="846" y="607"/>
                  </a:lnTo>
                  <a:lnTo>
                    <a:pt x="843" y="601"/>
                  </a:lnTo>
                  <a:lnTo>
                    <a:pt x="843" y="598"/>
                  </a:lnTo>
                  <a:lnTo>
                    <a:pt x="846" y="601"/>
                  </a:lnTo>
                  <a:lnTo>
                    <a:pt x="846" y="601"/>
                  </a:lnTo>
                  <a:lnTo>
                    <a:pt x="846" y="604"/>
                  </a:lnTo>
                  <a:lnTo>
                    <a:pt x="849" y="601"/>
                  </a:lnTo>
                  <a:lnTo>
                    <a:pt x="849" y="601"/>
                  </a:lnTo>
                  <a:lnTo>
                    <a:pt x="846" y="598"/>
                  </a:lnTo>
                  <a:lnTo>
                    <a:pt x="849" y="594"/>
                  </a:lnTo>
                  <a:lnTo>
                    <a:pt x="846" y="594"/>
                  </a:lnTo>
                  <a:lnTo>
                    <a:pt x="849" y="591"/>
                  </a:lnTo>
                  <a:lnTo>
                    <a:pt x="849" y="591"/>
                  </a:lnTo>
                  <a:lnTo>
                    <a:pt x="853" y="594"/>
                  </a:lnTo>
                  <a:lnTo>
                    <a:pt x="853" y="594"/>
                  </a:lnTo>
                  <a:lnTo>
                    <a:pt x="856" y="598"/>
                  </a:lnTo>
                  <a:lnTo>
                    <a:pt x="856" y="594"/>
                  </a:lnTo>
                  <a:lnTo>
                    <a:pt x="860" y="594"/>
                  </a:lnTo>
                  <a:lnTo>
                    <a:pt x="860" y="591"/>
                  </a:lnTo>
                  <a:lnTo>
                    <a:pt x="863" y="591"/>
                  </a:lnTo>
                  <a:lnTo>
                    <a:pt x="867" y="594"/>
                  </a:lnTo>
                  <a:lnTo>
                    <a:pt x="863" y="594"/>
                  </a:lnTo>
                  <a:lnTo>
                    <a:pt x="863" y="598"/>
                  </a:lnTo>
                  <a:lnTo>
                    <a:pt x="867" y="594"/>
                  </a:lnTo>
                  <a:lnTo>
                    <a:pt x="867" y="594"/>
                  </a:lnTo>
                  <a:lnTo>
                    <a:pt x="870" y="598"/>
                  </a:lnTo>
                  <a:lnTo>
                    <a:pt x="870" y="601"/>
                  </a:lnTo>
                  <a:lnTo>
                    <a:pt x="870" y="601"/>
                  </a:lnTo>
                  <a:lnTo>
                    <a:pt x="870" y="604"/>
                  </a:lnTo>
                  <a:lnTo>
                    <a:pt x="874" y="604"/>
                  </a:lnTo>
                  <a:lnTo>
                    <a:pt x="877" y="604"/>
                  </a:lnTo>
                  <a:lnTo>
                    <a:pt x="877" y="607"/>
                  </a:lnTo>
                  <a:lnTo>
                    <a:pt x="870" y="607"/>
                  </a:lnTo>
                  <a:lnTo>
                    <a:pt x="870" y="611"/>
                  </a:lnTo>
                  <a:lnTo>
                    <a:pt x="874" y="611"/>
                  </a:lnTo>
                  <a:lnTo>
                    <a:pt x="877" y="607"/>
                  </a:lnTo>
                  <a:lnTo>
                    <a:pt x="880" y="604"/>
                  </a:lnTo>
                  <a:lnTo>
                    <a:pt x="884" y="604"/>
                  </a:lnTo>
                  <a:lnTo>
                    <a:pt x="887" y="604"/>
                  </a:lnTo>
                  <a:lnTo>
                    <a:pt x="887" y="607"/>
                  </a:lnTo>
                  <a:lnTo>
                    <a:pt x="887" y="607"/>
                  </a:lnTo>
                  <a:lnTo>
                    <a:pt x="884" y="607"/>
                  </a:lnTo>
                  <a:lnTo>
                    <a:pt x="884" y="614"/>
                  </a:lnTo>
                  <a:lnTo>
                    <a:pt x="877" y="614"/>
                  </a:lnTo>
                  <a:lnTo>
                    <a:pt x="877" y="617"/>
                  </a:lnTo>
                  <a:lnTo>
                    <a:pt x="870" y="620"/>
                  </a:lnTo>
                  <a:lnTo>
                    <a:pt x="870" y="623"/>
                  </a:lnTo>
                  <a:lnTo>
                    <a:pt x="870" y="627"/>
                  </a:lnTo>
                  <a:lnTo>
                    <a:pt x="870" y="623"/>
                  </a:lnTo>
                  <a:lnTo>
                    <a:pt x="867" y="627"/>
                  </a:lnTo>
                  <a:lnTo>
                    <a:pt x="863" y="630"/>
                  </a:lnTo>
                  <a:lnTo>
                    <a:pt x="867" y="633"/>
                  </a:lnTo>
                  <a:lnTo>
                    <a:pt x="867" y="633"/>
                  </a:lnTo>
                  <a:lnTo>
                    <a:pt x="870" y="633"/>
                  </a:lnTo>
                  <a:lnTo>
                    <a:pt x="870" y="633"/>
                  </a:lnTo>
                  <a:lnTo>
                    <a:pt x="867" y="636"/>
                  </a:lnTo>
                  <a:lnTo>
                    <a:pt x="867" y="640"/>
                  </a:lnTo>
                  <a:lnTo>
                    <a:pt x="870" y="636"/>
                  </a:lnTo>
                  <a:lnTo>
                    <a:pt x="874" y="636"/>
                  </a:lnTo>
                  <a:lnTo>
                    <a:pt x="877" y="636"/>
                  </a:lnTo>
                  <a:lnTo>
                    <a:pt x="874" y="640"/>
                  </a:lnTo>
                  <a:lnTo>
                    <a:pt x="870" y="640"/>
                  </a:lnTo>
                  <a:lnTo>
                    <a:pt x="874" y="643"/>
                  </a:lnTo>
                  <a:lnTo>
                    <a:pt x="877" y="640"/>
                  </a:lnTo>
                  <a:lnTo>
                    <a:pt x="877" y="643"/>
                  </a:lnTo>
                  <a:lnTo>
                    <a:pt x="874" y="646"/>
                  </a:lnTo>
                  <a:lnTo>
                    <a:pt x="874" y="649"/>
                  </a:lnTo>
                  <a:lnTo>
                    <a:pt x="867" y="646"/>
                  </a:lnTo>
                  <a:lnTo>
                    <a:pt x="867" y="646"/>
                  </a:lnTo>
                  <a:lnTo>
                    <a:pt x="863" y="646"/>
                  </a:lnTo>
                  <a:lnTo>
                    <a:pt x="860" y="643"/>
                  </a:lnTo>
                  <a:lnTo>
                    <a:pt x="860" y="643"/>
                  </a:lnTo>
                  <a:lnTo>
                    <a:pt x="856" y="646"/>
                  </a:lnTo>
                  <a:lnTo>
                    <a:pt x="860" y="649"/>
                  </a:lnTo>
                  <a:lnTo>
                    <a:pt x="860" y="653"/>
                  </a:lnTo>
                  <a:lnTo>
                    <a:pt x="860" y="662"/>
                  </a:lnTo>
                  <a:lnTo>
                    <a:pt x="863" y="656"/>
                  </a:lnTo>
                  <a:lnTo>
                    <a:pt x="863" y="649"/>
                  </a:lnTo>
                  <a:lnTo>
                    <a:pt x="863" y="649"/>
                  </a:lnTo>
                  <a:lnTo>
                    <a:pt x="867" y="649"/>
                  </a:lnTo>
                  <a:lnTo>
                    <a:pt x="870" y="649"/>
                  </a:lnTo>
                  <a:lnTo>
                    <a:pt x="874" y="653"/>
                  </a:lnTo>
                  <a:lnTo>
                    <a:pt x="877" y="649"/>
                  </a:lnTo>
                  <a:lnTo>
                    <a:pt x="877" y="646"/>
                  </a:lnTo>
                  <a:lnTo>
                    <a:pt x="884" y="646"/>
                  </a:lnTo>
                  <a:lnTo>
                    <a:pt x="887" y="643"/>
                  </a:lnTo>
                  <a:lnTo>
                    <a:pt x="891" y="643"/>
                  </a:lnTo>
                  <a:lnTo>
                    <a:pt x="891" y="640"/>
                  </a:lnTo>
                  <a:lnTo>
                    <a:pt x="887" y="640"/>
                  </a:lnTo>
                  <a:lnTo>
                    <a:pt x="884" y="640"/>
                  </a:lnTo>
                  <a:lnTo>
                    <a:pt x="884" y="643"/>
                  </a:lnTo>
                  <a:lnTo>
                    <a:pt x="880" y="643"/>
                  </a:lnTo>
                  <a:lnTo>
                    <a:pt x="880" y="643"/>
                  </a:lnTo>
                  <a:lnTo>
                    <a:pt x="880" y="640"/>
                  </a:lnTo>
                  <a:lnTo>
                    <a:pt x="884" y="640"/>
                  </a:lnTo>
                  <a:lnTo>
                    <a:pt x="884" y="636"/>
                  </a:lnTo>
                  <a:lnTo>
                    <a:pt x="884" y="633"/>
                  </a:lnTo>
                  <a:lnTo>
                    <a:pt x="884" y="630"/>
                  </a:lnTo>
                  <a:lnTo>
                    <a:pt x="884" y="627"/>
                  </a:lnTo>
                  <a:lnTo>
                    <a:pt x="884" y="623"/>
                  </a:lnTo>
                  <a:lnTo>
                    <a:pt x="884" y="623"/>
                  </a:lnTo>
                  <a:lnTo>
                    <a:pt x="887" y="620"/>
                  </a:lnTo>
                  <a:lnTo>
                    <a:pt x="887" y="614"/>
                  </a:lnTo>
                  <a:lnTo>
                    <a:pt x="891" y="614"/>
                  </a:lnTo>
                  <a:lnTo>
                    <a:pt x="894" y="614"/>
                  </a:lnTo>
                  <a:lnTo>
                    <a:pt x="891" y="614"/>
                  </a:lnTo>
                  <a:lnTo>
                    <a:pt x="894" y="614"/>
                  </a:lnTo>
                  <a:lnTo>
                    <a:pt x="898" y="611"/>
                  </a:lnTo>
                  <a:lnTo>
                    <a:pt x="898" y="614"/>
                  </a:lnTo>
                  <a:lnTo>
                    <a:pt x="898" y="614"/>
                  </a:lnTo>
                  <a:lnTo>
                    <a:pt x="901" y="617"/>
                  </a:lnTo>
                  <a:lnTo>
                    <a:pt x="904" y="614"/>
                  </a:lnTo>
                  <a:lnTo>
                    <a:pt x="904" y="611"/>
                  </a:lnTo>
                  <a:lnTo>
                    <a:pt x="915" y="611"/>
                  </a:lnTo>
                  <a:lnTo>
                    <a:pt x="918" y="607"/>
                  </a:lnTo>
                  <a:lnTo>
                    <a:pt x="915" y="604"/>
                  </a:lnTo>
                  <a:lnTo>
                    <a:pt x="918" y="604"/>
                  </a:lnTo>
                  <a:lnTo>
                    <a:pt x="922" y="601"/>
                  </a:lnTo>
                  <a:lnTo>
                    <a:pt x="929" y="601"/>
                  </a:lnTo>
                  <a:lnTo>
                    <a:pt x="932" y="598"/>
                  </a:lnTo>
                  <a:lnTo>
                    <a:pt x="929" y="594"/>
                  </a:lnTo>
                  <a:lnTo>
                    <a:pt x="932" y="591"/>
                  </a:lnTo>
                  <a:lnTo>
                    <a:pt x="935" y="588"/>
                  </a:lnTo>
                  <a:lnTo>
                    <a:pt x="935" y="585"/>
                  </a:lnTo>
                  <a:lnTo>
                    <a:pt x="932" y="581"/>
                  </a:lnTo>
                  <a:lnTo>
                    <a:pt x="932" y="585"/>
                  </a:lnTo>
                  <a:lnTo>
                    <a:pt x="929" y="585"/>
                  </a:lnTo>
                  <a:lnTo>
                    <a:pt x="929" y="585"/>
                  </a:lnTo>
                  <a:lnTo>
                    <a:pt x="925" y="588"/>
                  </a:lnTo>
                  <a:lnTo>
                    <a:pt x="922" y="588"/>
                  </a:lnTo>
                  <a:lnTo>
                    <a:pt x="922" y="588"/>
                  </a:lnTo>
                  <a:lnTo>
                    <a:pt x="918" y="588"/>
                  </a:lnTo>
                  <a:lnTo>
                    <a:pt x="918" y="588"/>
                  </a:lnTo>
                  <a:lnTo>
                    <a:pt x="922" y="581"/>
                  </a:lnTo>
                  <a:lnTo>
                    <a:pt x="922" y="581"/>
                  </a:lnTo>
                  <a:lnTo>
                    <a:pt x="925" y="581"/>
                  </a:lnTo>
                  <a:lnTo>
                    <a:pt x="929" y="578"/>
                  </a:lnTo>
                  <a:lnTo>
                    <a:pt x="932" y="575"/>
                  </a:lnTo>
                  <a:lnTo>
                    <a:pt x="929" y="575"/>
                  </a:lnTo>
                  <a:lnTo>
                    <a:pt x="932" y="572"/>
                  </a:lnTo>
                  <a:lnTo>
                    <a:pt x="935" y="572"/>
                  </a:lnTo>
                  <a:lnTo>
                    <a:pt x="939" y="572"/>
                  </a:lnTo>
                  <a:lnTo>
                    <a:pt x="935" y="572"/>
                  </a:lnTo>
                  <a:lnTo>
                    <a:pt x="935" y="575"/>
                  </a:lnTo>
                  <a:lnTo>
                    <a:pt x="939" y="578"/>
                  </a:lnTo>
                  <a:lnTo>
                    <a:pt x="942" y="575"/>
                  </a:lnTo>
                  <a:lnTo>
                    <a:pt x="946" y="569"/>
                  </a:lnTo>
                  <a:lnTo>
                    <a:pt x="946" y="565"/>
                  </a:lnTo>
                  <a:lnTo>
                    <a:pt x="942" y="565"/>
                  </a:lnTo>
                  <a:lnTo>
                    <a:pt x="939" y="565"/>
                  </a:lnTo>
                  <a:lnTo>
                    <a:pt x="935" y="565"/>
                  </a:lnTo>
                  <a:lnTo>
                    <a:pt x="929" y="562"/>
                  </a:lnTo>
                  <a:lnTo>
                    <a:pt x="929" y="559"/>
                  </a:lnTo>
                  <a:lnTo>
                    <a:pt x="929" y="556"/>
                  </a:lnTo>
                  <a:lnTo>
                    <a:pt x="925" y="559"/>
                  </a:lnTo>
                  <a:lnTo>
                    <a:pt x="925" y="559"/>
                  </a:lnTo>
                  <a:lnTo>
                    <a:pt x="922" y="556"/>
                  </a:lnTo>
                  <a:lnTo>
                    <a:pt x="918" y="552"/>
                  </a:lnTo>
                  <a:lnTo>
                    <a:pt x="918" y="549"/>
                  </a:lnTo>
                  <a:lnTo>
                    <a:pt x="915" y="549"/>
                  </a:lnTo>
                  <a:lnTo>
                    <a:pt x="911" y="549"/>
                  </a:lnTo>
                  <a:lnTo>
                    <a:pt x="911" y="546"/>
                  </a:lnTo>
                  <a:lnTo>
                    <a:pt x="911" y="546"/>
                  </a:lnTo>
                  <a:lnTo>
                    <a:pt x="911" y="543"/>
                  </a:lnTo>
                  <a:lnTo>
                    <a:pt x="911" y="539"/>
                  </a:lnTo>
                  <a:lnTo>
                    <a:pt x="911" y="536"/>
                  </a:lnTo>
                  <a:lnTo>
                    <a:pt x="911" y="530"/>
                  </a:lnTo>
                  <a:lnTo>
                    <a:pt x="915" y="527"/>
                  </a:lnTo>
                  <a:lnTo>
                    <a:pt x="922" y="523"/>
                  </a:lnTo>
                  <a:lnTo>
                    <a:pt x="925" y="520"/>
                  </a:lnTo>
                  <a:lnTo>
                    <a:pt x="929" y="520"/>
                  </a:lnTo>
                  <a:lnTo>
                    <a:pt x="929" y="520"/>
                  </a:lnTo>
                  <a:lnTo>
                    <a:pt x="932" y="517"/>
                  </a:lnTo>
                  <a:lnTo>
                    <a:pt x="932" y="517"/>
                  </a:lnTo>
                  <a:lnTo>
                    <a:pt x="929" y="517"/>
                  </a:lnTo>
                  <a:lnTo>
                    <a:pt x="925" y="517"/>
                  </a:lnTo>
                  <a:lnTo>
                    <a:pt x="925" y="517"/>
                  </a:lnTo>
                  <a:lnTo>
                    <a:pt x="925" y="514"/>
                  </a:lnTo>
                  <a:lnTo>
                    <a:pt x="922" y="510"/>
                  </a:lnTo>
                  <a:lnTo>
                    <a:pt x="925" y="507"/>
                  </a:lnTo>
                  <a:lnTo>
                    <a:pt x="929" y="504"/>
                  </a:lnTo>
                  <a:lnTo>
                    <a:pt x="932" y="497"/>
                  </a:lnTo>
                  <a:lnTo>
                    <a:pt x="935" y="497"/>
                  </a:lnTo>
                  <a:lnTo>
                    <a:pt x="935" y="491"/>
                  </a:lnTo>
                  <a:lnTo>
                    <a:pt x="939" y="491"/>
                  </a:lnTo>
                  <a:lnTo>
                    <a:pt x="942" y="488"/>
                  </a:lnTo>
                  <a:lnTo>
                    <a:pt x="946" y="488"/>
                  </a:lnTo>
                  <a:lnTo>
                    <a:pt x="949" y="488"/>
                  </a:lnTo>
                  <a:lnTo>
                    <a:pt x="949" y="491"/>
                  </a:lnTo>
                  <a:lnTo>
                    <a:pt x="949" y="494"/>
                  </a:lnTo>
                  <a:lnTo>
                    <a:pt x="949" y="497"/>
                  </a:lnTo>
                  <a:lnTo>
                    <a:pt x="953" y="494"/>
                  </a:lnTo>
                  <a:lnTo>
                    <a:pt x="953" y="491"/>
                  </a:lnTo>
                  <a:lnTo>
                    <a:pt x="960" y="488"/>
                  </a:lnTo>
                  <a:lnTo>
                    <a:pt x="960" y="485"/>
                  </a:lnTo>
                  <a:lnTo>
                    <a:pt x="956" y="485"/>
                  </a:lnTo>
                  <a:lnTo>
                    <a:pt x="953" y="485"/>
                  </a:lnTo>
                  <a:lnTo>
                    <a:pt x="949" y="481"/>
                  </a:lnTo>
                  <a:lnTo>
                    <a:pt x="953" y="478"/>
                  </a:lnTo>
                  <a:lnTo>
                    <a:pt x="956" y="478"/>
                  </a:lnTo>
                  <a:lnTo>
                    <a:pt x="960" y="475"/>
                  </a:lnTo>
                  <a:lnTo>
                    <a:pt x="963" y="475"/>
                  </a:lnTo>
                  <a:lnTo>
                    <a:pt x="963" y="472"/>
                  </a:lnTo>
                  <a:lnTo>
                    <a:pt x="966" y="468"/>
                  </a:lnTo>
                  <a:lnTo>
                    <a:pt x="970" y="472"/>
                  </a:lnTo>
                  <a:lnTo>
                    <a:pt x="977" y="472"/>
                  </a:lnTo>
                  <a:lnTo>
                    <a:pt x="977" y="475"/>
                  </a:lnTo>
                  <a:lnTo>
                    <a:pt x="977" y="475"/>
                  </a:lnTo>
                  <a:lnTo>
                    <a:pt x="980" y="478"/>
                  </a:lnTo>
                  <a:lnTo>
                    <a:pt x="984" y="481"/>
                  </a:lnTo>
                  <a:lnTo>
                    <a:pt x="987" y="481"/>
                  </a:lnTo>
                  <a:lnTo>
                    <a:pt x="984" y="485"/>
                  </a:lnTo>
                  <a:lnTo>
                    <a:pt x="984" y="485"/>
                  </a:lnTo>
                  <a:lnTo>
                    <a:pt x="984" y="488"/>
                  </a:lnTo>
                  <a:lnTo>
                    <a:pt x="984" y="491"/>
                  </a:lnTo>
                  <a:lnTo>
                    <a:pt x="987" y="494"/>
                  </a:lnTo>
                  <a:lnTo>
                    <a:pt x="987" y="497"/>
                  </a:lnTo>
                  <a:lnTo>
                    <a:pt x="987" y="501"/>
                  </a:lnTo>
                  <a:lnTo>
                    <a:pt x="987" y="504"/>
                  </a:lnTo>
                  <a:lnTo>
                    <a:pt x="987" y="504"/>
                  </a:lnTo>
                  <a:lnTo>
                    <a:pt x="987" y="507"/>
                  </a:lnTo>
                  <a:lnTo>
                    <a:pt x="987" y="510"/>
                  </a:lnTo>
                  <a:lnTo>
                    <a:pt x="984" y="514"/>
                  </a:lnTo>
                  <a:lnTo>
                    <a:pt x="984" y="517"/>
                  </a:lnTo>
                  <a:lnTo>
                    <a:pt x="980" y="520"/>
                  </a:lnTo>
                  <a:lnTo>
                    <a:pt x="984" y="523"/>
                  </a:lnTo>
                  <a:lnTo>
                    <a:pt x="980" y="527"/>
                  </a:lnTo>
                  <a:lnTo>
                    <a:pt x="984" y="530"/>
                  </a:lnTo>
                  <a:lnTo>
                    <a:pt x="984" y="533"/>
                  </a:lnTo>
                  <a:lnTo>
                    <a:pt x="984" y="533"/>
                  </a:lnTo>
                  <a:lnTo>
                    <a:pt x="984" y="536"/>
                  </a:lnTo>
                  <a:lnTo>
                    <a:pt x="984" y="539"/>
                  </a:lnTo>
                  <a:lnTo>
                    <a:pt x="984" y="543"/>
                  </a:lnTo>
                  <a:lnTo>
                    <a:pt x="987" y="543"/>
                  </a:lnTo>
                  <a:lnTo>
                    <a:pt x="987" y="546"/>
                  </a:lnTo>
                  <a:lnTo>
                    <a:pt x="987" y="546"/>
                  </a:lnTo>
                  <a:lnTo>
                    <a:pt x="987" y="549"/>
                  </a:lnTo>
                  <a:lnTo>
                    <a:pt x="984" y="549"/>
                  </a:lnTo>
                  <a:lnTo>
                    <a:pt x="980" y="549"/>
                  </a:lnTo>
                  <a:lnTo>
                    <a:pt x="977" y="546"/>
                  </a:lnTo>
                  <a:lnTo>
                    <a:pt x="980" y="543"/>
                  </a:lnTo>
                  <a:lnTo>
                    <a:pt x="973" y="543"/>
                  </a:lnTo>
                  <a:lnTo>
                    <a:pt x="973" y="549"/>
                  </a:lnTo>
                  <a:lnTo>
                    <a:pt x="970" y="549"/>
                  </a:lnTo>
                  <a:lnTo>
                    <a:pt x="970" y="549"/>
                  </a:lnTo>
                  <a:lnTo>
                    <a:pt x="973" y="549"/>
                  </a:lnTo>
                  <a:lnTo>
                    <a:pt x="977" y="552"/>
                  </a:lnTo>
                  <a:lnTo>
                    <a:pt x="977" y="552"/>
                  </a:lnTo>
                  <a:lnTo>
                    <a:pt x="966" y="559"/>
                  </a:lnTo>
                  <a:lnTo>
                    <a:pt x="963" y="559"/>
                  </a:lnTo>
                  <a:lnTo>
                    <a:pt x="963" y="562"/>
                  </a:lnTo>
                  <a:lnTo>
                    <a:pt x="960" y="562"/>
                  </a:lnTo>
                  <a:lnTo>
                    <a:pt x="960" y="565"/>
                  </a:lnTo>
                  <a:lnTo>
                    <a:pt x="963" y="569"/>
                  </a:lnTo>
                  <a:lnTo>
                    <a:pt x="966" y="565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70" y="572"/>
                  </a:lnTo>
                  <a:lnTo>
                    <a:pt x="977" y="572"/>
                  </a:lnTo>
                  <a:lnTo>
                    <a:pt x="977" y="569"/>
                  </a:lnTo>
                  <a:lnTo>
                    <a:pt x="980" y="569"/>
                  </a:lnTo>
                  <a:lnTo>
                    <a:pt x="980" y="569"/>
                  </a:lnTo>
                  <a:lnTo>
                    <a:pt x="980" y="572"/>
                  </a:lnTo>
                  <a:lnTo>
                    <a:pt x="980" y="572"/>
                  </a:lnTo>
                  <a:lnTo>
                    <a:pt x="984" y="572"/>
                  </a:lnTo>
                  <a:lnTo>
                    <a:pt x="984" y="575"/>
                  </a:lnTo>
                  <a:lnTo>
                    <a:pt x="987" y="572"/>
                  </a:lnTo>
                  <a:lnTo>
                    <a:pt x="990" y="575"/>
                  </a:lnTo>
                  <a:lnTo>
                    <a:pt x="987" y="578"/>
                  </a:lnTo>
                  <a:lnTo>
                    <a:pt x="984" y="578"/>
                  </a:lnTo>
                  <a:lnTo>
                    <a:pt x="980" y="581"/>
                  </a:lnTo>
                  <a:lnTo>
                    <a:pt x="980" y="581"/>
                  </a:lnTo>
                  <a:lnTo>
                    <a:pt x="980" y="578"/>
                  </a:lnTo>
                  <a:lnTo>
                    <a:pt x="977" y="578"/>
                  </a:lnTo>
                  <a:lnTo>
                    <a:pt x="977" y="578"/>
                  </a:lnTo>
                  <a:lnTo>
                    <a:pt x="977" y="578"/>
                  </a:lnTo>
                  <a:lnTo>
                    <a:pt x="977" y="581"/>
                  </a:lnTo>
                  <a:lnTo>
                    <a:pt x="977" y="585"/>
                  </a:lnTo>
                  <a:lnTo>
                    <a:pt x="980" y="588"/>
                  </a:lnTo>
                  <a:lnTo>
                    <a:pt x="980" y="594"/>
                  </a:lnTo>
                  <a:lnTo>
                    <a:pt x="980" y="594"/>
                  </a:lnTo>
                  <a:lnTo>
                    <a:pt x="980" y="598"/>
                  </a:lnTo>
                  <a:lnTo>
                    <a:pt x="977" y="598"/>
                  </a:lnTo>
                  <a:lnTo>
                    <a:pt x="977" y="601"/>
                  </a:lnTo>
                  <a:lnTo>
                    <a:pt x="977" y="604"/>
                  </a:lnTo>
                  <a:lnTo>
                    <a:pt x="973" y="607"/>
                  </a:lnTo>
                  <a:lnTo>
                    <a:pt x="973" y="611"/>
                  </a:lnTo>
                  <a:lnTo>
                    <a:pt x="973" y="614"/>
                  </a:lnTo>
                  <a:lnTo>
                    <a:pt x="973" y="614"/>
                  </a:lnTo>
                  <a:lnTo>
                    <a:pt x="973" y="617"/>
                  </a:lnTo>
                  <a:lnTo>
                    <a:pt x="977" y="617"/>
                  </a:lnTo>
                  <a:lnTo>
                    <a:pt x="977" y="614"/>
                  </a:lnTo>
                  <a:lnTo>
                    <a:pt x="980" y="611"/>
                  </a:lnTo>
                  <a:lnTo>
                    <a:pt x="984" y="611"/>
                  </a:lnTo>
                  <a:lnTo>
                    <a:pt x="987" y="607"/>
                  </a:lnTo>
                  <a:lnTo>
                    <a:pt x="984" y="607"/>
                  </a:lnTo>
                  <a:lnTo>
                    <a:pt x="987" y="604"/>
                  </a:lnTo>
                  <a:lnTo>
                    <a:pt x="990" y="607"/>
                  </a:lnTo>
                  <a:lnTo>
                    <a:pt x="990" y="604"/>
                  </a:lnTo>
                  <a:lnTo>
                    <a:pt x="990" y="601"/>
                  </a:lnTo>
                  <a:lnTo>
                    <a:pt x="990" y="598"/>
                  </a:lnTo>
                  <a:lnTo>
                    <a:pt x="997" y="594"/>
                  </a:lnTo>
                  <a:lnTo>
                    <a:pt x="1001" y="588"/>
                  </a:lnTo>
                  <a:lnTo>
                    <a:pt x="1004" y="585"/>
                  </a:lnTo>
                  <a:lnTo>
                    <a:pt x="1004" y="585"/>
                  </a:lnTo>
                  <a:lnTo>
                    <a:pt x="1004" y="585"/>
                  </a:lnTo>
                  <a:lnTo>
                    <a:pt x="1008" y="588"/>
                  </a:lnTo>
                  <a:lnTo>
                    <a:pt x="1011" y="594"/>
                  </a:lnTo>
                  <a:lnTo>
                    <a:pt x="1011" y="598"/>
                  </a:lnTo>
                  <a:lnTo>
                    <a:pt x="1015" y="601"/>
                  </a:lnTo>
                  <a:lnTo>
                    <a:pt x="1015" y="604"/>
                  </a:lnTo>
                  <a:lnTo>
                    <a:pt x="1011" y="607"/>
                  </a:lnTo>
                  <a:lnTo>
                    <a:pt x="1015" y="614"/>
                  </a:lnTo>
                  <a:lnTo>
                    <a:pt x="1011" y="617"/>
                  </a:lnTo>
                  <a:lnTo>
                    <a:pt x="1008" y="620"/>
                  </a:lnTo>
                  <a:lnTo>
                    <a:pt x="1008" y="617"/>
                  </a:lnTo>
                  <a:lnTo>
                    <a:pt x="1004" y="620"/>
                  </a:lnTo>
                  <a:lnTo>
                    <a:pt x="1001" y="623"/>
                  </a:lnTo>
                  <a:lnTo>
                    <a:pt x="1004" y="627"/>
                  </a:lnTo>
                  <a:lnTo>
                    <a:pt x="1001" y="627"/>
                  </a:lnTo>
                  <a:lnTo>
                    <a:pt x="997" y="633"/>
                  </a:lnTo>
                  <a:lnTo>
                    <a:pt x="1001" y="633"/>
                  </a:lnTo>
                  <a:lnTo>
                    <a:pt x="1001" y="640"/>
                  </a:lnTo>
                  <a:lnTo>
                    <a:pt x="1004" y="653"/>
                  </a:lnTo>
                  <a:lnTo>
                    <a:pt x="1008" y="656"/>
                  </a:lnTo>
                  <a:lnTo>
                    <a:pt x="1004" y="659"/>
                  </a:lnTo>
                  <a:lnTo>
                    <a:pt x="1008" y="662"/>
                  </a:lnTo>
                  <a:lnTo>
                    <a:pt x="1011" y="662"/>
                  </a:lnTo>
                  <a:lnTo>
                    <a:pt x="1011" y="659"/>
                  </a:lnTo>
                  <a:lnTo>
                    <a:pt x="1008" y="656"/>
                  </a:lnTo>
                  <a:lnTo>
                    <a:pt x="1011" y="653"/>
                  </a:lnTo>
                  <a:lnTo>
                    <a:pt x="1015" y="653"/>
                  </a:lnTo>
                  <a:lnTo>
                    <a:pt x="1015" y="659"/>
                  </a:lnTo>
                  <a:lnTo>
                    <a:pt x="1018" y="659"/>
                  </a:lnTo>
                  <a:lnTo>
                    <a:pt x="1018" y="653"/>
                  </a:lnTo>
                  <a:lnTo>
                    <a:pt x="1021" y="653"/>
                  </a:lnTo>
                  <a:lnTo>
                    <a:pt x="1021" y="646"/>
                  </a:lnTo>
                  <a:lnTo>
                    <a:pt x="1025" y="646"/>
                  </a:lnTo>
                  <a:lnTo>
                    <a:pt x="1028" y="640"/>
                  </a:lnTo>
                  <a:lnTo>
                    <a:pt x="1032" y="640"/>
                  </a:lnTo>
                  <a:lnTo>
                    <a:pt x="1032" y="636"/>
                  </a:lnTo>
                  <a:lnTo>
                    <a:pt x="1039" y="633"/>
                  </a:lnTo>
                  <a:lnTo>
                    <a:pt x="1042" y="627"/>
                  </a:lnTo>
                  <a:lnTo>
                    <a:pt x="1046" y="620"/>
                  </a:lnTo>
                  <a:lnTo>
                    <a:pt x="1049" y="614"/>
                  </a:lnTo>
                  <a:lnTo>
                    <a:pt x="1052" y="611"/>
                  </a:lnTo>
                  <a:lnTo>
                    <a:pt x="1056" y="614"/>
                  </a:lnTo>
                  <a:lnTo>
                    <a:pt x="1059" y="614"/>
                  </a:lnTo>
                  <a:lnTo>
                    <a:pt x="1063" y="614"/>
                  </a:lnTo>
                  <a:lnTo>
                    <a:pt x="1066" y="614"/>
                  </a:lnTo>
                  <a:lnTo>
                    <a:pt x="1066" y="611"/>
                  </a:lnTo>
                  <a:lnTo>
                    <a:pt x="1063" y="611"/>
                  </a:lnTo>
                  <a:lnTo>
                    <a:pt x="1059" y="611"/>
                  </a:lnTo>
                  <a:lnTo>
                    <a:pt x="1063" y="607"/>
                  </a:lnTo>
                  <a:lnTo>
                    <a:pt x="1066" y="607"/>
                  </a:lnTo>
                  <a:lnTo>
                    <a:pt x="1066" y="607"/>
                  </a:lnTo>
                  <a:lnTo>
                    <a:pt x="1070" y="607"/>
                  </a:lnTo>
                  <a:lnTo>
                    <a:pt x="1073" y="607"/>
                  </a:lnTo>
                  <a:lnTo>
                    <a:pt x="1073" y="607"/>
                  </a:lnTo>
                  <a:lnTo>
                    <a:pt x="1073" y="604"/>
                  </a:lnTo>
                  <a:lnTo>
                    <a:pt x="1070" y="604"/>
                  </a:lnTo>
                  <a:lnTo>
                    <a:pt x="1070" y="601"/>
                  </a:lnTo>
                  <a:lnTo>
                    <a:pt x="1066" y="601"/>
                  </a:lnTo>
                  <a:lnTo>
                    <a:pt x="1066" y="594"/>
                  </a:lnTo>
                  <a:lnTo>
                    <a:pt x="1070" y="594"/>
                  </a:lnTo>
                  <a:lnTo>
                    <a:pt x="1070" y="591"/>
                  </a:lnTo>
                  <a:lnTo>
                    <a:pt x="1073" y="591"/>
                  </a:lnTo>
                  <a:lnTo>
                    <a:pt x="1070" y="588"/>
                  </a:lnTo>
                  <a:lnTo>
                    <a:pt x="1070" y="585"/>
                  </a:lnTo>
                  <a:lnTo>
                    <a:pt x="1073" y="581"/>
                  </a:lnTo>
                  <a:lnTo>
                    <a:pt x="1073" y="581"/>
                  </a:lnTo>
                  <a:lnTo>
                    <a:pt x="1070" y="581"/>
                  </a:lnTo>
                  <a:lnTo>
                    <a:pt x="1076" y="581"/>
                  </a:lnTo>
                  <a:lnTo>
                    <a:pt x="1076" y="578"/>
                  </a:lnTo>
                  <a:lnTo>
                    <a:pt x="1073" y="575"/>
                  </a:lnTo>
                  <a:lnTo>
                    <a:pt x="1073" y="575"/>
                  </a:lnTo>
                  <a:lnTo>
                    <a:pt x="1076" y="575"/>
                  </a:lnTo>
                  <a:lnTo>
                    <a:pt x="1076" y="578"/>
                  </a:lnTo>
                  <a:lnTo>
                    <a:pt x="1080" y="578"/>
                  </a:lnTo>
                  <a:lnTo>
                    <a:pt x="1083" y="575"/>
                  </a:lnTo>
                  <a:lnTo>
                    <a:pt x="1090" y="578"/>
                  </a:lnTo>
                  <a:lnTo>
                    <a:pt x="1094" y="581"/>
                  </a:lnTo>
                  <a:lnTo>
                    <a:pt x="1094" y="581"/>
                  </a:lnTo>
                  <a:lnTo>
                    <a:pt x="1097" y="585"/>
                  </a:lnTo>
                  <a:lnTo>
                    <a:pt x="1104" y="588"/>
                  </a:lnTo>
                  <a:lnTo>
                    <a:pt x="1107" y="585"/>
                  </a:lnTo>
                  <a:lnTo>
                    <a:pt x="1111" y="588"/>
                  </a:lnTo>
                  <a:lnTo>
                    <a:pt x="1114" y="588"/>
                  </a:lnTo>
                  <a:lnTo>
                    <a:pt x="1114" y="591"/>
                  </a:lnTo>
                  <a:lnTo>
                    <a:pt x="1114" y="591"/>
                  </a:lnTo>
                  <a:lnTo>
                    <a:pt x="1118" y="594"/>
                  </a:lnTo>
                  <a:lnTo>
                    <a:pt x="1114" y="594"/>
                  </a:lnTo>
                  <a:lnTo>
                    <a:pt x="1111" y="594"/>
                  </a:lnTo>
                  <a:lnTo>
                    <a:pt x="1107" y="591"/>
                  </a:lnTo>
                  <a:lnTo>
                    <a:pt x="1107" y="594"/>
                  </a:lnTo>
                  <a:lnTo>
                    <a:pt x="1118" y="598"/>
                  </a:lnTo>
                  <a:lnTo>
                    <a:pt x="1118" y="601"/>
                  </a:lnTo>
                  <a:lnTo>
                    <a:pt x="1114" y="604"/>
                  </a:lnTo>
                  <a:lnTo>
                    <a:pt x="1118" y="604"/>
                  </a:lnTo>
                  <a:lnTo>
                    <a:pt x="1118" y="604"/>
                  </a:lnTo>
                  <a:lnTo>
                    <a:pt x="1125" y="604"/>
                  </a:lnTo>
                  <a:lnTo>
                    <a:pt x="1125" y="607"/>
                  </a:lnTo>
                  <a:lnTo>
                    <a:pt x="1128" y="607"/>
                  </a:lnTo>
                  <a:lnTo>
                    <a:pt x="1128" y="607"/>
                  </a:lnTo>
                  <a:lnTo>
                    <a:pt x="1128" y="611"/>
                  </a:lnTo>
                  <a:lnTo>
                    <a:pt x="1121" y="617"/>
                  </a:lnTo>
                  <a:lnTo>
                    <a:pt x="1118" y="617"/>
                  </a:lnTo>
                  <a:lnTo>
                    <a:pt x="1114" y="617"/>
                  </a:lnTo>
                  <a:lnTo>
                    <a:pt x="1121" y="617"/>
                  </a:lnTo>
                  <a:lnTo>
                    <a:pt x="1121" y="617"/>
                  </a:lnTo>
                  <a:lnTo>
                    <a:pt x="1121" y="620"/>
                  </a:lnTo>
                  <a:lnTo>
                    <a:pt x="1125" y="620"/>
                  </a:lnTo>
                  <a:lnTo>
                    <a:pt x="1125" y="620"/>
                  </a:lnTo>
                  <a:lnTo>
                    <a:pt x="1121" y="623"/>
                  </a:lnTo>
                  <a:lnTo>
                    <a:pt x="1125" y="627"/>
                  </a:lnTo>
                  <a:lnTo>
                    <a:pt x="1118" y="630"/>
                  </a:lnTo>
                  <a:lnTo>
                    <a:pt x="1114" y="630"/>
                  </a:lnTo>
                  <a:lnTo>
                    <a:pt x="1111" y="630"/>
                  </a:lnTo>
                  <a:lnTo>
                    <a:pt x="1107" y="633"/>
                  </a:lnTo>
                  <a:lnTo>
                    <a:pt x="1107" y="630"/>
                  </a:lnTo>
                  <a:lnTo>
                    <a:pt x="1104" y="627"/>
                  </a:lnTo>
                  <a:lnTo>
                    <a:pt x="1101" y="627"/>
                  </a:lnTo>
                  <a:lnTo>
                    <a:pt x="1097" y="627"/>
                  </a:lnTo>
                  <a:lnTo>
                    <a:pt x="1097" y="627"/>
                  </a:lnTo>
                  <a:lnTo>
                    <a:pt x="1097" y="630"/>
                  </a:lnTo>
                  <a:lnTo>
                    <a:pt x="1094" y="630"/>
                  </a:lnTo>
                  <a:lnTo>
                    <a:pt x="1097" y="630"/>
                  </a:lnTo>
                  <a:lnTo>
                    <a:pt x="1101" y="633"/>
                  </a:lnTo>
                  <a:lnTo>
                    <a:pt x="1097" y="633"/>
                  </a:lnTo>
                  <a:lnTo>
                    <a:pt x="1097" y="636"/>
                  </a:lnTo>
                  <a:lnTo>
                    <a:pt x="1101" y="636"/>
                  </a:lnTo>
                  <a:lnTo>
                    <a:pt x="1097" y="640"/>
                  </a:lnTo>
                  <a:lnTo>
                    <a:pt x="1097" y="643"/>
                  </a:lnTo>
                  <a:lnTo>
                    <a:pt x="1101" y="643"/>
                  </a:lnTo>
                  <a:lnTo>
                    <a:pt x="1101" y="640"/>
                  </a:lnTo>
                  <a:lnTo>
                    <a:pt x="1104" y="640"/>
                  </a:lnTo>
                  <a:lnTo>
                    <a:pt x="1101" y="643"/>
                  </a:lnTo>
                  <a:lnTo>
                    <a:pt x="1097" y="643"/>
                  </a:lnTo>
                  <a:lnTo>
                    <a:pt x="1094" y="646"/>
                  </a:lnTo>
                  <a:lnTo>
                    <a:pt x="1097" y="649"/>
                  </a:lnTo>
                  <a:lnTo>
                    <a:pt x="1101" y="653"/>
                  </a:lnTo>
                  <a:lnTo>
                    <a:pt x="1101" y="656"/>
                  </a:lnTo>
                  <a:lnTo>
                    <a:pt x="1104" y="662"/>
                  </a:lnTo>
                  <a:lnTo>
                    <a:pt x="1104" y="665"/>
                  </a:lnTo>
                  <a:lnTo>
                    <a:pt x="1101" y="669"/>
                  </a:lnTo>
                  <a:lnTo>
                    <a:pt x="1101" y="669"/>
                  </a:lnTo>
                  <a:lnTo>
                    <a:pt x="1097" y="672"/>
                  </a:lnTo>
                  <a:lnTo>
                    <a:pt x="1097" y="675"/>
                  </a:lnTo>
                  <a:lnTo>
                    <a:pt x="1097" y="678"/>
                  </a:lnTo>
                  <a:lnTo>
                    <a:pt x="1094" y="678"/>
                  </a:lnTo>
                  <a:lnTo>
                    <a:pt x="1087" y="678"/>
                  </a:lnTo>
                  <a:lnTo>
                    <a:pt x="1083" y="678"/>
                  </a:lnTo>
                  <a:lnTo>
                    <a:pt x="1083" y="682"/>
                  </a:lnTo>
                  <a:lnTo>
                    <a:pt x="1080" y="685"/>
                  </a:lnTo>
                  <a:lnTo>
                    <a:pt x="1076" y="688"/>
                  </a:lnTo>
                  <a:lnTo>
                    <a:pt x="1073" y="688"/>
                  </a:lnTo>
                  <a:lnTo>
                    <a:pt x="1070" y="691"/>
                  </a:lnTo>
                  <a:lnTo>
                    <a:pt x="1066" y="691"/>
                  </a:lnTo>
                  <a:lnTo>
                    <a:pt x="1063" y="691"/>
                  </a:lnTo>
                  <a:lnTo>
                    <a:pt x="1063" y="695"/>
                  </a:lnTo>
                  <a:lnTo>
                    <a:pt x="1052" y="698"/>
                  </a:lnTo>
                  <a:lnTo>
                    <a:pt x="1049" y="695"/>
                  </a:lnTo>
                  <a:lnTo>
                    <a:pt x="1052" y="695"/>
                  </a:lnTo>
                  <a:lnTo>
                    <a:pt x="1049" y="688"/>
                  </a:lnTo>
                  <a:lnTo>
                    <a:pt x="1049" y="688"/>
                  </a:lnTo>
                  <a:lnTo>
                    <a:pt x="1049" y="685"/>
                  </a:lnTo>
                  <a:lnTo>
                    <a:pt x="1049" y="685"/>
                  </a:lnTo>
                  <a:lnTo>
                    <a:pt x="1049" y="682"/>
                  </a:lnTo>
                  <a:lnTo>
                    <a:pt x="1052" y="678"/>
                  </a:lnTo>
                  <a:lnTo>
                    <a:pt x="1049" y="682"/>
                  </a:lnTo>
                  <a:lnTo>
                    <a:pt x="1049" y="682"/>
                  </a:lnTo>
                  <a:lnTo>
                    <a:pt x="1049" y="675"/>
                  </a:lnTo>
                  <a:lnTo>
                    <a:pt x="1046" y="675"/>
                  </a:lnTo>
                  <a:lnTo>
                    <a:pt x="1042" y="672"/>
                  </a:lnTo>
                  <a:lnTo>
                    <a:pt x="1039" y="672"/>
                  </a:lnTo>
                  <a:lnTo>
                    <a:pt x="1039" y="672"/>
                  </a:lnTo>
                  <a:lnTo>
                    <a:pt x="1035" y="672"/>
                  </a:lnTo>
                  <a:lnTo>
                    <a:pt x="1032" y="675"/>
                  </a:lnTo>
                  <a:lnTo>
                    <a:pt x="1032" y="675"/>
                  </a:lnTo>
                  <a:lnTo>
                    <a:pt x="1039" y="672"/>
                  </a:lnTo>
                  <a:lnTo>
                    <a:pt x="1039" y="675"/>
                  </a:lnTo>
                  <a:lnTo>
                    <a:pt x="1039" y="678"/>
                  </a:lnTo>
                  <a:lnTo>
                    <a:pt x="1042" y="678"/>
                  </a:lnTo>
                  <a:lnTo>
                    <a:pt x="1046" y="685"/>
                  </a:lnTo>
                  <a:lnTo>
                    <a:pt x="1046" y="688"/>
                  </a:lnTo>
                  <a:lnTo>
                    <a:pt x="1046" y="688"/>
                  </a:lnTo>
                  <a:lnTo>
                    <a:pt x="1049" y="695"/>
                  </a:lnTo>
                  <a:lnTo>
                    <a:pt x="1046" y="695"/>
                  </a:lnTo>
                  <a:lnTo>
                    <a:pt x="1046" y="698"/>
                  </a:lnTo>
                  <a:lnTo>
                    <a:pt x="1046" y="698"/>
                  </a:lnTo>
                  <a:lnTo>
                    <a:pt x="1046" y="701"/>
                  </a:lnTo>
                  <a:lnTo>
                    <a:pt x="1039" y="695"/>
                  </a:lnTo>
                  <a:lnTo>
                    <a:pt x="1039" y="691"/>
                  </a:lnTo>
                  <a:lnTo>
                    <a:pt x="1035" y="691"/>
                  </a:lnTo>
                  <a:lnTo>
                    <a:pt x="1035" y="688"/>
                  </a:lnTo>
                  <a:lnTo>
                    <a:pt x="1032" y="691"/>
                  </a:lnTo>
                  <a:lnTo>
                    <a:pt x="1035" y="695"/>
                  </a:lnTo>
                  <a:lnTo>
                    <a:pt x="1035" y="698"/>
                  </a:lnTo>
                  <a:lnTo>
                    <a:pt x="1032" y="695"/>
                  </a:lnTo>
                  <a:lnTo>
                    <a:pt x="1028" y="695"/>
                  </a:lnTo>
                  <a:lnTo>
                    <a:pt x="1028" y="691"/>
                  </a:lnTo>
                  <a:lnTo>
                    <a:pt x="1025" y="695"/>
                  </a:lnTo>
                  <a:lnTo>
                    <a:pt x="1025" y="691"/>
                  </a:lnTo>
                  <a:lnTo>
                    <a:pt x="1025" y="688"/>
                  </a:lnTo>
                  <a:lnTo>
                    <a:pt x="1028" y="685"/>
                  </a:lnTo>
                  <a:lnTo>
                    <a:pt x="1025" y="685"/>
                  </a:lnTo>
                  <a:lnTo>
                    <a:pt x="1025" y="685"/>
                  </a:lnTo>
                  <a:lnTo>
                    <a:pt x="1018" y="685"/>
                  </a:lnTo>
                  <a:lnTo>
                    <a:pt x="1015" y="685"/>
                  </a:lnTo>
                  <a:lnTo>
                    <a:pt x="1011" y="685"/>
                  </a:lnTo>
                  <a:lnTo>
                    <a:pt x="1008" y="685"/>
                  </a:lnTo>
                  <a:lnTo>
                    <a:pt x="1004" y="682"/>
                  </a:lnTo>
                  <a:lnTo>
                    <a:pt x="1004" y="685"/>
                  </a:lnTo>
                  <a:lnTo>
                    <a:pt x="1004" y="685"/>
                  </a:lnTo>
                  <a:lnTo>
                    <a:pt x="1004" y="688"/>
                  </a:lnTo>
                  <a:lnTo>
                    <a:pt x="1004" y="691"/>
                  </a:lnTo>
                  <a:lnTo>
                    <a:pt x="1004" y="691"/>
                  </a:lnTo>
                  <a:lnTo>
                    <a:pt x="1011" y="695"/>
                  </a:lnTo>
                  <a:lnTo>
                    <a:pt x="1011" y="698"/>
                  </a:lnTo>
                  <a:lnTo>
                    <a:pt x="1008" y="701"/>
                  </a:lnTo>
                  <a:lnTo>
                    <a:pt x="1008" y="701"/>
                  </a:lnTo>
                  <a:lnTo>
                    <a:pt x="997" y="707"/>
                  </a:lnTo>
                  <a:lnTo>
                    <a:pt x="994" y="711"/>
                  </a:lnTo>
                  <a:lnTo>
                    <a:pt x="990" y="717"/>
                  </a:lnTo>
                  <a:lnTo>
                    <a:pt x="987" y="714"/>
                  </a:lnTo>
                  <a:lnTo>
                    <a:pt x="984" y="717"/>
                  </a:lnTo>
                  <a:lnTo>
                    <a:pt x="980" y="720"/>
                  </a:lnTo>
                  <a:lnTo>
                    <a:pt x="977" y="724"/>
                  </a:lnTo>
                  <a:lnTo>
                    <a:pt x="966" y="720"/>
                  </a:lnTo>
                  <a:lnTo>
                    <a:pt x="963" y="717"/>
                  </a:lnTo>
                  <a:lnTo>
                    <a:pt x="963" y="714"/>
                  </a:lnTo>
                  <a:lnTo>
                    <a:pt x="956" y="711"/>
                  </a:lnTo>
                  <a:lnTo>
                    <a:pt x="956" y="711"/>
                  </a:lnTo>
                  <a:lnTo>
                    <a:pt x="956" y="711"/>
                  </a:lnTo>
                  <a:lnTo>
                    <a:pt x="960" y="707"/>
                  </a:lnTo>
                  <a:lnTo>
                    <a:pt x="956" y="707"/>
                  </a:lnTo>
                  <a:lnTo>
                    <a:pt x="953" y="704"/>
                  </a:lnTo>
                  <a:lnTo>
                    <a:pt x="949" y="698"/>
                  </a:lnTo>
                  <a:lnTo>
                    <a:pt x="946" y="695"/>
                  </a:lnTo>
                  <a:lnTo>
                    <a:pt x="935" y="695"/>
                  </a:lnTo>
                  <a:lnTo>
                    <a:pt x="932" y="695"/>
                  </a:lnTo>
                  <a:lnTo>
                    <a:pt x="922" y="691"/>
                  </a:lnTo>
                  <a:lnTo>
                    <a:pt x="918" y="691"/>
                  </a:lnTo>
                  <a:lnTo>
                    <a:pt x="918" y="695"/>
                  </a:lnTo>
                  <a:lnTo>
                    <a:pt x="922" y="695"/>
                  </a:lnTo>
                  <a:lnTo>
                    <a:pt x="922" y="695"/>
                  </a:lnTo>
                  <a:lnTo>
                    <a:pt x="925" y="695"/>
                  </a:lnTo>
                  <a:lnTo>
                    <a:pt x="932" y="698"/>
                  </a:lnTo>
                  <a:lnTo>
                    <a:pt x="942" y="698"/>
                  </a:lnTo>
                  <a:lnTo>
                    <a:pt x="946" y="698"/>
                  </a:lnTo>
                  <a:lnTo>
                    <a:pt x="942" y="701"/>
                  </a:lnTo>
                  <a:lnTo>
                    <a:pt x="942" y="701"/>
                  </a:lnTo>
                  <a:lnTo>
                    <a:pt x="939" y="701"/>
                  </a:lnTo>
                  <a:lnTo>
                    <a:pt x="942" y="701"/>
                  </a:lnTo>
                  <a:lnTo>
                    <a:pt x="942" y="707"/>
                  </a:lnTo>
                  <a:lnTo>
                    <a:pt x="942" y="707"/>
                  </a:lnTo>
                  <a:lnTo>
                    <a:pt x="949" y="714"/>
                  </a:lnTo>
                  <a:lnTo>
                    <a:pt x="949" y="720"/>
                  </a:lnTo>
                  <a:lnTo>
                    <a:pt x="956" y="720"/>
                  </a:lnTo>
                  <a:lnTo>
                    <a:pt x="966" y="724"/>
                  </a:lnTo>
                  <a:lnTo>
                    <a:pt x="980" y="727"/>
                  </a:lnTo>
                  <a:lnTo>
                    <a:pt x="980" y="730"/>
                  </a:lnTo>
                  <a:lnTo>
                    <a:pt x="977" y="730"/>
                  </a:lnTo>
                  <a:lnTo>
                    <a:pt x="973" y="733"/>
                  </a:lnTo>
                  <a:lnTo>
                    <a:pt x="970" y="737"/>
                  </a:lnTo>
                  <a:lnTo>
                    <a:pt x="963" y="740"/>
                  </a:lnTo>
                  <a:lnTo>
                    <a:pt x="963" y="740"/>
                  </a:lnTo>
                  <a:lnTo>
                    <a:pt x="963" y="740"/>
                  </a:lnTo>
                  <a:lnTo>
                    <a:pt x="963" y="743"/>
                  </a:lnTo>
                  <a:lnTo>
                    <a:pt x="949" y="753"/>
                  </a:lnTo>
                  <a:lnTo>
                    <a:pt x="946" y="756"/>
                  </a:lnTo>
                  <a:lnTo>
                    <a:pt x="942" y="762"/>
                  </a:lnTo>
                  <a:lnTo>
                    <a:pt x="939" y="762"/>
                  </a:lnTo>
                  <a:lnTo>
                    <a:pt x="935" y="759"/>
                  </a:lnTo>
                  <a:lnTo>
                    <a:pt x="932" y="759"/>
                  </a:lnTo>
                  <a:lnTo>
                    <a:pt x="932" y="762"/>
                  </a:lnTo>
                  <a:lnTo>
                    <a:pt x="929" y="756"/>
                  </a:lnTo>
                  <a:lnTo>
                    <a:pt x="925" y="756"/>
                  </a:lnTo>
                  <a:lnTo>
                    <a:pt x="922" y="759"/>
                  </a:lnTo>
                  <a:lnTo>
                    <a:pt x="922" y="756"/>
                  </a:lnTo>
                  <a:lnTo>
                    <a:pt x="922" y="756"/>
                  </a:lnTo>
                  <a:lnTo>
                    <a:pt x="922" y="753"/>
                  </a:lnTo>
                  <a:lnTo>
                    <a:pt x="922" y="753"/>
                  </a:lnTo>
                  <a:lnTo>
                    <a:pt x="922" y="749"/>
                  </a:lnTo>
                  <a:lnTo>
                    <a:pt x="918" y="753"/>
                  </a:lnTo>
                  <a:lnTo>
                    <a:pt x="915" y="759"/>
                  </a:lnTo>
                  <a:lnTo>
                    <a:pt x="915" y="756"/>
                  </a:lnTo>
                  <a:lnTo>
                    <a:pt x="911" y="749"/>
                  </a:lnTo>
                  <a:lnTo>
                    <a:pt x="911" y="756"/>
                  </a:lnTo>
                  <a:lnTo>
                    <a:pt x="911" y="756"/>
                  </a:lnTo>
                  <a:lnTo>
                    <a:pt x="911" y="762"/>
                  </a:lnTo>
                  <a:lnTo>
                    <a:pt x="908" y="769"/>
                  </a:lnTo>
                  <a:lnTo>
                    <a:pt x="904" y="769"/>
                  </a:lnTo>
                  <a:lnTo>
                    <a:pt x="904" y="766"/>
                  </a:lnTo>
                  <a:lnTo>
                    <a:pt x="901" y="762"/>
                  </a:lnTo>
                  <a:lnTo>
                    <a:pt x="901" y="766"/>
                  </a:lnTo>
                  <a:lnTo>
                    <a:pt x="901" y="766"/>
                  </a:lnTo>
                  <a:lnTo>
                    <a:pt x="898" y="769"/>
                  </a:lnTo>
                  <a:lnTo>
                    <a:pt x="898" y="772"/>
                  </a:lnTo>
                  <a:lnTo>
                    <a:pt x="898" y="772"/>
                  </a:lnTo>
                  <a:lnTo>
                    <a:pt x="894" y="769"/>
                  </a:lnTo>
                  <a:lnTo>
                    <a:pt x="891" y="766"/>
                  </a:lnTo>
                  <a:lnTo>
                    <a:pt x="887" y="766"/>
                  </a:lnTo>
                  <a:lnTo>
                    <a:pt x="884" y="762"/>
                  </a:lnTo>
                  <a:lnTo>
                    <a:pt x="877" y="759"/>
                  </a:lnTo>
                  <a:lnTo>
                    <a:pt x="870" y="756"/>
                  </a:lnTo>
                  <a:lnTo>
                    <a:pt x="867" y="749"/>
                  </a:lnTo>
                  <a:lnTo>
                    <a:pt x="863" y="749"/>
                  </a:lnTo>
                  <a:lnTo>
                    <a:pt x="860" y="746"/>
                  </a:lnTo>
                  <a:lnTo>
                    <a:pt x="856" y="743"/>
                  </a:lnTo>
                  <a:lnTo>
                    <a:pt x="856" y="749"/>
                  </a:lnTo>
                  <a:lnTo>
                    <a:pt x="853" y="746"/>
                  </a:lnTo>
                  <a:lnTo>
                    <a:pt x="856" y="753"/>
                  </a:lnTo>
                  <a:lnTo>
                    <a:pt x="860" y="756"/>
                  </a:lnTo>
                  <a:lnTo>
                    <a:pt x="860" y="753"/>
                  </a:lnTo>
                  <a:lnTo>
                    <a:pt x="860" y="753"/>
                  </a:lnTo>
                  <a:lnTo>
                    <a:pt x="860" y="749"/>
                  </a:lnTo>
                  <a:lnTo>
                    <a:pt x="860" y="749"/>
                  </a:lnTo>
                  <a:lnTo>
                    <a:pt x="870" y="756"/>
                  </a:lnTo>
                  <a:lnTo>
                    <a:pt x="877" y="759"/>
                  </a:lnTo>
                  <a:lnTo>
                    <a:pt x="877" y="762"/>
                  </a:lnTo>
                  <a:lnTo>
                    <a:pt x="874" y="766"/>
                  </a:lnTo>
                  <a:lnTo>
                    <a:pt x="867" y="766"/>
                  </a:lnTo>
                  <a:lnTo>
                    <a:pt x="867" y="766"/>
                  </a:lnTo>
                  <a:lnTo>
                    <a:pt x="867" y="766"/>
                  </a:lnTo>
                  <a:lnTo>
                    <a:pt x="867" y="769"/>
                  </a:lnTo>
                  <a:lnTo>
                    <a:pt x="867" y="766"/>
                  </a:lnTo>
                  <a:lnTo>
                    <a:pt x="877" y="766"/>
                  </a:lnTo>
                  <a:lnTo>
                    <a:pt x="880" y="762"/>
                  </a:lnTo>
                  <a:lnTo>
                    <a:pt x="880" y="762"/>
                  </a:lnTo>
                  <a:lnTo>
                    <a:pt x="884" y="766"/>
                  </a:lnTo>
                  <a:lnTo>
                    <a:pt x="884" y="769"/>
                  </a:lnTo>
                  <a:lnTo>
                    <a:pt x="891" y="775"/>
                  </a:lnTo>
                  <a:lnTo>
                    <a:pt x="891" y="785"/>
                  </a:lnTo>
                  <a:lnTo>
                    <a:pt x="887" y="788"/>
                  </a:lnTo>
                  <a:lnTo>
                    <a:pt x="884" y="788"/>
                  </a:lnTo>
                  <a:lnTo>
                    <a:pt x="880" y="788"/>
                  </a:lnTo>
                  <a:lnTo>
                    <a:pt x="877" y="788"/>
                  </a:lnTo>
                  <a:lnTo>
                    <a:pt x="874" y="788"/>
                  </a:lnTo>
                  <a:lnTo>
                    <a:pt x="863" y="785"/>
                  </a:lnTo>
                  <a:lnTo>
                    <a:pt x="860" y="782"/>
                  </a:lnTo>
                  <a:lnTo>
                    <a:pt x="856" y="775"/>
                  </a:lnTo>
                  <a:lnTo>
                    <a:pt x="856" y="772"/>
                  </a:lnTo>
                  <a:lnTo>
                    <a:pt x="853" y="775"/>
                  </a:lnTo>
                  <a:lnTo>
                    <a:pt x="853" y="775"/>
                  </a:lnTo>
                  <a:lnTo>
                    <a:pt x="853" y="779"/>
                  </a:lnTo>
                  <a:lnTo>
                    <a:pt x="856" y="782"/>
                  </a:lnTo>
                  <a:lnTo>
                    <a:pt x="860" y="791"/>
                  </a:lnTo>
                  <a:lnTo>
                    <a:pt x="863" y="795"/>
                  </a:lnTo>
                  <a:lnTo>
                    <a:pt x="863" y="798"/>
                  </a:lnTo>
                  <a:lnTo>
                    <a:pt x="860" y="798"/>
                  </a:lnTo>
                  <a:lnTo>
                    <a:pt x="856" y="798"/>
                  </a:lnTo>
                  <a:lnTo>
                    <a:pt x="856" y="791"/>
                  </a:lnTo>
                  <a:lnTo>
                    <a:pt x="853" y="795"/>
                  </a:lnTo>
                  <a:lnTo>
                    <a:pt x="853" y="795"/>
                  </a:lnTo>
                  <a:lnTo>
                    <a:pt x="853" y="798"/>
                  </a:lnTo>
                  <a:lnTo>
                    <a:pt x="856" y="798"/>
                  </a:lnTo>
                  <a:lnTo>
                    <a:pt x="860" y="801"/>
                  </a:lnTo>
                  <a:lnTo>
                    <a:pt x="853" y="798"/>
                  </a:lnTo>
                  <a:lnTo>
                    <a:pt x="849" y="798"/>
                  </a:lnTo>
                  <a:lnTo>
                    <a:pt x="849" y="801"/>
                  </a:lnTo>
                  <a:lnTo>
                    <a:pt x="853" y="804"/>
                  </a:lnTo>
                  <a:lnTo>
                    <a:pt x="853" y="804"/>
                  </a:lnTo>
                  <a:lnTo>
                    <a:pt x="849" y="808"/>
                  </a:lnTo>
                  <a:lnTo>
                    <a:pt x="849" y="804"/>
                  </a:lnTo>
                  <a:lnTo>
                    <a:pt x="846" y="804"/>
                  </a:lnTo>
                  <a:lnTo>
                    <a:pt x="846" y="804"/>
                  </a:lnTo>
                  <a:lnTo>
                    <a:pt x="846" y="808"/>
                  </a:lnTo>
                  <a:lnTo>
                    <a:pt x="846" y="808"/>
                  </a:lnTo>
                  <a:lnTo>
                    <a:pt x="839" y="808"/>
                  </a:lnTo>
                  <a:lnTo>
                    <a:pt x="839" y="811"/>
                  </a:lnTo>
                  <a:lnTo>
                    <a:pt x="832" y="811"/>
                  </a:lnTo>
                  <a:lnTo>
                    <a:pt x="836" y="814"/>
                  </a:lnTo>
                  <a:lnTo>
                    <a:pt x="836" y="814"/>
                  </a:lnTo>
                  <a:lnTo>
                    <a:pt x="836" y="817"/>
                  </a:lnTo>
                  <a:lnTo>
                    <a:pt x="836" y="814"/>
                  </a:lnTo>
                  <a:lnTo>
                    <a:pt x="829" y="811"/>
                  </a:lnTo>
                  <a:lnTo>
                    <a:pt x="825" y="811"/>
                  </a:lnTo>
                  <a:lnTo>
                    <a:pt x="825" y="814"/>
                  </a:lnTo>
                  <a:lnTo>
                    <a:pt x="825" y="814"/>
                  </a:lnTo>
                  <a:lnTo>
                    <a:pt x="829" y="817"/>
                  </a:lnTo>
                  <a:lnTo>
                    <a:pt x="829" y="817"/>
                  </a:lnTo>
                  <a:lnTo>
                    <a:pt x="829" y="821"/>
                  </a:lnTo>
                  <a:lnTo>
                    <a:pt x="825" y="821"/>
                  </a:lnTo>
                  <a:lnTo>
                    <a:pt x="822" y="824"/>
                  </a:lnTo>
                  <a:lnTo>
                    <a:pt x="815" y="827"/>
                  </a:lnTo>
                  <a:lnTo>
                    <a:pt x="818" y="830"/>
                  </a:lnTo>
                  <a:lnTo>
                    <a:pt x="818" y="830"/>
                  </a:lnTo>
                  <a:lnTo>
                    <a:pt x="815" y="830"/>
                  </a:lnTo>
                  <a:lnTo>
                    <a:pt x="812" y="833"/>
                  </a:lnTo>
                  <a:lnTo>
                    <a:pt x="812" y="837"/>
                  </a:lnTo>
                  <a:lnTo>
                    <a:pt x="808" y="837"/>
                  </a:lnTo>
                  <a:lnTo>
                    <a:pt x="805" y="843"/>
                  </a:lnTo>
                  <a:lnTo>
                    <a:pt x="801" y="843"/>
                  </a:lnTo>
                  <a:lnTo>
                    <a:pt x="798" y="846"/>
                  </a:lnTo>
                  <a:lnTo>
                    <a:pt x="794" y="850"/>
                  </a:lnTo>
                  <a:lnTo>
                    <a:pt x="791" y="846"/>
                  </a:lnTo>
                  <a:lnTo>
                    <a:pt x="791" y="850"/>
                  </a:lnTo>
                  <a:lnTo>
                    <a:pt x="794" y="853"/>
                  </a:lnTo>
                  <a:lnTo>
                    <a:pt x="791" y="856"/>
                  </a:lnTo>
                  <a:lnTo>
                    <a:pt x="788" y="863"/>
                  </a:lnTo>
                  <a:lnTo>
                    <a:pt x="784" y="866"/>
                  </a:lnTo>
                  <a:lnTo>
                    <a:pt x="784" y="869"/>
                  </a:lnTo>
                  <a:lnTo>
                    <a:pt x="781" y="872"/>
                  </a:lnTo>
                  <a:lnTo>
                    <a:pt x="777" y="879"/>
                  </a:lnTo>
                  <a:lnTo>
                    <a:pt x="781" y="879"/>
                  </a:lnTo>
                  <a:lnTo>
                    <a:pt x="781" y="882"/>
                  </a:lnTo>
                  <a:lnTo>
                    <a:pt x="777" y="888"/>
                  </a:lnTo>
                  <a:lnTo>
                    <a:pt x="774" y="892"/>
                  </a:lnTo>
                  <a:lnTo>
                    <a:pt x="770" y="892"/>
                  </a:lnTo>
                  <a:lnTo>
                    <a:pt x="770" y="895"/>
                  </a:lnTo>
                  <a:lnTo>
                    <a:pt x="774" y="895"/>
                  </a:lnTo>
                  <a:lnTo>
                    <a:pt x="774" y="898"/>
                  </a:lnTo>
                  <a:lnTo>
                    <a:pt x="774" y="901"/>
                  </a:lnTo>
                  <a:lnTo>
                    <a:pt x="777" y="901"/>
                  </a:lnTo>
                  <a:lnTo>
                    <a:pt x="777" y="908"/>
                  </a:lnTo>
                  <a:lnTo>
                    <a:pt x="777" y="908"/>
                  </a:lnTo>
                  <a:lnTo>
                    <a:pt x="774" y="914"/>
                  </a:lnTo>
                  <a:lnTo>
                    <a:pt x="767" y="917"/>
                  </a:lnTo>
                  <a:lnTo>
                    <a:pt x="757" y="921"/>
                  </a:lnTo>
                  <a:lnTo>
                    <a:pt x="757" y="924"/>
                  </a:lnTo>
                  <a:lnTo>
                    <a:pt x="760" y="921"/>
                  </a:lnTo>
                  <a:lnTo>
                    <a:pt x="770" y="921"/>
                  </a:lnTo>
                  <a:lnTo>
                    <a:pt x="777" y="914"/>
                  </a:lnTo>
                  <a:lnTo>
                    <a:pt x="781" y="905"/>
                  </a:lnTo>
                  <a:lnTo>
                    <a:pt x="794" y="905"/>
                  </a:lnTo>
                  <a:lnTo>
                    <a:pt x="798" y="905"/>
                  </a:lnTo>
                  <a:lnTo>
                    <a:pt x="798" y="908"/>
                  </a:lnTo>
                  <a:lnTo>
                    <a:pt x="794" y="911"/>
                  </a:lnTo>
                  <a:lnTo>
                    <a:pt x="794" y="917"/>
                  </a:lnTo>
                  <a:lnTo>
                    <a:pt x="798" y="921"/>
                  </a:lnTo>
                  <a:lnTo>
                    <a:pt x="798" y="927"/>
                  </a:lnTo>
                  <a:lnTo>
                    <a:pt x="794" y="934"/>
                  </a:lnTo>
                  <a:lnTo>
                    <a:pt x="798" y="937"/>
                  </a:lnTo>
                  <a:lnTo>
                    <a:pt x="798" y="943"/>
                  </a:lnTo>
                  <a:lnTo>
                    <a:pt x="798" y="947"/>
                  </a:lnTo>
                  <a:lnTo>
                    <a:pt x="784" y="956"/>
                  </a:lnTo>
                  <a:lnTo>
                    <a:pt x="781" y="956"/>
                  </a:lnTo>
                  <a:lnTo>
                    <a:pt x="774" y="956"/>
                  </a:lnTo>
                  <a:lnTo>
                    <a:pt x="781" y="959"/>
                  </a:lnTo>
                  <a:lnTo>
                    <a:pt x="784" y="959"/>
                  </a:lnTo>
                  <a:lnTo>
                    <a:pt x="798" y="953"/>
                  </a:lnTo>
                  <a:lnTo>
                    <a:pt x="812" y="950"/>
                  </a:lnTo>
                  <a:lnTo>
                    <a:pt x="818" y="950"/>
                  </a:lnTo>
                  <a:lnTo>
                    <a:pt x="829" y="956"/>
                  </a:lnTo>
                  <a:lnTo>
                    <a:pt x="836" y="959"/>
                  </a:lnTo>
                  <a:lnTo>
                    <a:pt x="843" y="963"/>
                  </a:lnTo>
                  <a:lnTo>
                    <a:pt x="846" y="963"/>
                  </a:lnTo>
                  <a:lnTo>
                    <a:pt x="849" y="963"/>
                  </a:lnTo>
                  <a:lnTo>
                    <a:pt x="853" y="969"/>
                  </a:lnTo>
                  <a:lnTo>
                    <a:pt x="856" y="969"/>
                  </a:lnTo>
                  <a:lnTo>
                    <a:pt x="860" y="976"/>
                  </a:lnTo>
                  <a:lnTo>
                    <a:pt x="863" y="976"/>
                  </a:lnTo>
                  <a:lnTo>
                    <a:pt x="863" y="979"/>
                  </a:lnTo>
                  <a:lnTo>
                    <a:pt x="867" y="982"/>
                  </a:lnTo>
                  <a:lnTo>
                    <a:pt x="870" y="988"/>
                  </a:lnTo>
                  <a:lnTo>
                    <a:pt x="870" y="988"/>
                  </a:lnTo>
                  <a:lnTo>
                    <a:pt x="870" y="988"/>
                  </a:lnTo>
                  <a:lnTo>
                    <a:pt x="874" y="988"/>
                  </a:lnTo>
                  <a:lnTo>
                    <a:pt x="880" y="995"/>
                  </a:lnTo>
                  <a:lnTo>
                    <a:pt x="884" y="995"/>
                  </a:lnTo>
                  <a:lnTo>
                    <a:pt x="891" y="998"/>
                  </a:lnTo>
                  <a:lnTo>
                    <a:pt x="894" y="998"/>
                  </a:lnTo>
                  <a:lnTo>
                    <a:pt x="898" y="1005"/>
                  </a:lnTo>
                  <a:lnTo>
                    <a:pt x="901" y="1008"/>
                  </a:lnTo>
                  <a:lnTo>
                    <a:pt x="904" y="1011"/>
                  </a:lnTo>
                  <a:lnTo>
                    <a:pt x="904" y="1011"/>
                  </a:lnTo>
                  <a:lnTo>
                    <a:pt x="904" y="1014"/>
                  </a:lnTo>
                  <a:lnTo>
                    <a:pt x="911" y="1014"/>
                  </a:lnTo>
                  <a:lnTo>
                    <a:pt x="915" y="1014"/>
                  </a:lnTo>
                  <a:lnTo>
                    <a:pt x="918" y="1014"/>
                  </a:lnTo>
                  <a:lnTo>
                    <a:pt x="925" y="1014"/>
                  </a:lnTo>
                  <a:lnTo>
                    <a:pt x="929" y="1014"/>
                  </a:lnTo>
                  <a:lnTo>
                    <a:pt x="929" y="1014"/>
                  </a:lnTo>
                  <a:lnTo>
                    <a:pt x="935" y="1018"/>
                  </a:lnTo>
                  <a:lnTo>
                    <a:pt x="942" y="1018"/>
                  </a:lnTo>
                  <a:lnTo>
                    <a:pt x="946" y="1018"/>
                  </a:lnTo>
                  <a:lnTo>
                    <a:pt x="949" y="1018"/>
                  </a:lnTo>
                  <a:lnTo>
                    <a:pt x="949" y="1018"/>
                  </a:lnTo>
                  <a:lnTo>
                    <a:pt x="949" y="1018"/>
                  </a:lnTo>
                  <a:lnTo>
                    <a:pt x="953" y="1018"/>
                  </a:lnTo>
                  <a:lnTo>
                    <a:pt x="953" y="1021"/>
                  </a:lnTo>
                  <a:lnTo>
                    <a:pt x="949" y="1030"/>
                  </a:lnTo>
                  <a:lnTo>
                    <a:pt x="949" y="1034"/>
                  </a:lnTo>
                  <a:lnTo>
                    <a:pt x="946" y="1037"/>
                  </a:lnTo>
                  <a:lnTo>
                    <a:pt x="942" y="1040"/>
                  </a:lnTo>
                  <a:lnTo>
                    <a:pt x="942" y="1043"/>
                  </a:lnTo>
                  <a:lnTo>
                    <a:pt x="946" y="1043"/>
                  </a:lnTo>
                  <a:lnTo>
                    <a:pt x="946" y="1053"/>
                  </a:lnTo>
                  <a:lnTo>
                    <a:pt x="939" y="1060"/>
                  </a:lnTo>
                  <a:lnTo>
                    <a:pt x="939" y="1063"/>
                  </a:lnTo>
                  <a:lnTo>
                    <a:pt x="939" y="1066"/>
                  </a:lnTo>
                  <a:lnTo>
                    <a:pt x="935" y="1069"/>
                  </a:lnTo>
                  <a:lnTo>
                    <a:pt x="932" y="1076"/>
                  </a:lnTo>
                  <a:lnTo>
                    <a:pt x="935" y="1079"/>
                  </a:lnTo>
                  <a:lnTo>
                    <a:pt x="939" y="1079"/>
                  </a:lnTo>
                  <a:lnTo>
                    <a:pt x="939" y="1085"/>
                  </a:lnTo>
                  <a:lnTo>
                    <a:pt x="942" y="1085"/>
                  </a:lnTo>
                  <a:lnTo>
                    <a:pt x="942" y="1089"/>
                  </a:lnTo>
                  <a:lnTo>
                    <a:pt x="942" y="1092"/>
                  </a:lnTo>
                  <a:lnTo>
                    <a:pt x="942" y="1092"/>
                  </a:lnTo>
                  <a:lnTo>
                    <a:pt x="942" y="1095"/>
                  </a:lnTo>
                  <a:lnTo>
                    <a:pt x="946" y="1095"/>
                  </a:lnTo>
                  <a:lnTo>
                    <a:pt x="949" y="1098"/>
                  </a:lnTo>
                  <a:lnTo>
                    <a:pt x="953" y="1098"/>
                  </a:lnTo>
                  <a:lnTo>
                    <a:pt x="953" y="1102"/>
                  </a:lnTo>
                  <a:lnTo>
                    <a:pt x="956" y="1102"/>
                  </a:lnTo>
                  <a:lnTo>
                    <a:pt x="956" y="1108"/>
                  </a:lnTo>
                  <a:lnTo>
                    <a:pt x="956" y="1111"/>
                  </a:lnTo>
                  <a:lnTo>
                    <a:pt x="956" y="1114"/>
                  </a:lnTo>
                  <a:lnTo>
                    <a:pt x="946" y="1121"/>
                  </a:lnTo>
                  <a:lnTo>
                    <a:pt x="953" y="1118"/>
                  </a:lnTo>
                  <a:lnTo>
                    <a:pt x="956" y="1114"/>
                  </a:lnTo>
                  <a:lnTo>
                    <a:pt x="963" y="1118"/>
                  </a:lnTo>
                  <a:lnTo>
                    <a:pt x="966" y="1118"/>
                  </a:lnTo>
                  <a:lnTo>
                    <a:pt x="970" y="1121"/>
                  </a:lnTo>
                  <a:lnTo>
                    <a:pt x="970" y="1118"/>
                  </a:lnTo>
                  <a:lnTo>
                    <a:pt x="970" y="1114"/>
                  </a:lnTo>
                  <a:lnTo>
                    <a:pt x="977" y="1108"/>
                  </a:lnTo>
                  <a:lnTo>
                    <a:pt x="980" y="1108"/>
                  </a:lnTo>
                  <a:lnTo>
                    <a:pt x="977" y="1108"/>
                  </a:lnTo>
                  <a:lnTo>
                    <a:pt x="977" y="1111"/>
                  </a:lnTo>
                  <a:lnTo>
                    <a:pt x="980" y="1111"/>
                  </a:lnTo>
                  <a:lnTo>
                    <a:pt x="984" y="1118"/>
                  </a:lnTo>
                  <a:lnTo>
                    <a:pt x="980" y="1121"/>
                  </a:lnTo>
                  <a:lnTo>
                    <a:pt x="987" y="1124"/>
                  </a:lnTo>
                  <a:lnTo>
                    <a:pt x="994" y="1124"/>
                  </a:lnTo>
                  <a:lnTo>
                    <a:pt x="987" y="1124"/>
                  </a:lnTo>
                  <a:lnTo>
                    <a:pt x="984" y="1121"/>
                  </a:lnTo>
                  <a:lnTo>
                    <a:pt x="984" y="1118"/>
                  </a:lnTo>
                  <a:lnTo>
                    <a:pt x="984" y="1111"/>
                  </a:lnTo>
                  <a:lnTo>
                    <a:pt x="987" y="1108"/>
                  </a:lnTo>
                  <a:lnTo>
                    <a:pt x="984" y="1108"/>
                  </a:lnTo>
                  <a:lnTo>
                    <a:pt x="984" y="1105"/>
                  </a:lnTo>
                  <a:lnTo>
                    <a:pt x="987" y="1105"/>
                  </a:lnTo>
                  <a:lnTo>
                    <a:pt x="987" y="1105"/>
                  </a:lnTo>
                  <a:lnTo>
                    <a:pt x="990" y="1098"/>
                  </a:lnTo>
                  <a:lnTo>
                    <a:pt x="994" y="1095"/>
                  </a:lnTo>
                  <a:lnTo>
                    <a:pt x="994" y="1095"/>
                  </a:lnTo>
                  <a:lnTo>
                    <a:pt x="994" y="1089"/>
                  </a:lnTo>
                  <a:lnTo>
                    <a:pt x="990" y="1089"/>
                  </a:lnTo>
                  <a:lnTo>
                    <a:pt x="990" y="1085"/>
                  </a:lnTo>
                  <a:lnTo>
                    <a:pt x="994" y="1082"/>
                  </a:lnTo>
                  <a:lnTo>
                    <a:pt x="994" y="1079"/>
                  </a:lnTo>
                  <a:lnTo>
                    <a:pt x="994" y="1079"/>
                  </a:lnTo>
                  <a:lnTo>
                    <a:pt x="990" y="1076"/>
                  </a:lnTo>
                  <a:lnTo>
                    <a:pt x="990" y="1076"/>
                  </a:lnTo>
                  <a:lnTo>
                    <a:pt x="994" y="1066"/>
                  </a:lnTo>
                  <a:lnTo>
                    <a:pt x="994" y="1063"/>
                  </a:lnTo>
                  <a:lnTo>
                    <a:pt x="994" y="1060"/>
                  </a:lnTo>
                  <a:lnTo>
                    <a:pt x="994" y="1056"/>
                  </a:lnTo>
                  <a:lnTo>
                    <a:pt x="994" y="1053"/>
                  </a:lnTo>
                  <a:lnTo>
                    <a:pt x="997" y="1053"/>
                  </a:lnTo>
                  <a:lnTo>
                    <a:pt x="994" y="1050"/>
                  </a:lnTo>
                  <a:lnTo>
                    <a:pt x="997" y="1050"/>
                  </a:lnTo>
                  <a:lnTo>
                    <a:pt x="994" y="1047"/>
                  </a:lnTo>
                  <a:lnTo>
                    <a:pt x="994" y="1047"/>
                  </a:lnTo>
                  <a:lnTo>
                    <a:pt x="997" y="1043"/>
                  </a:lnTo>
                  <a:lnTo>
                    <a:pt x="994" y="1043"/>
                  </a:lnTo>
                  <a:lnTo>
                    <a:pt x="994" y="1040"/>
                  </a:lnTo>
                  <a:lnTo>
                    <a:pt x="994" y="1037"/>
                  </a:lnTo>
                  <a:lnTo>
                    <a:pt x="994" y="1034"/>
                  </a:lnTo>
                  <a:lnTo>
                    <a:pt x="990" y="1030"/>
                  </a:lnTo>
                  <a:lnTo>
                    <a:pt x="997" y="1030"/>
                  </a:lnTo>
                  <a:lnTo>
                    <a:pt x="1004" y="1027"/>
                  </a:lnTo>
                  <a:lnTo>
                    <a:pt x="1008" y="1027"/>
                  </a:lnTo>
                  <a:lnTo>
                    <a:pt x="1011" y="1027"/>
                  </a:lnTo>
                  <a:lnTo>
                    <a:pt x="1015" y="1024"/>
                  </a:lnTo>
                  <a:lnTo>
                    <a:pt x="1021" y="1021"/>
                  </a:lnTo>
                  <a:lnTo>
                    <a:pt x="1035" y="1018"/>
                  </a:lnTo>
                  <a:lnTo>
                    <a:pt x="1035" y="1018"/>
                  </a:lnTo>
                  <a:lnTo>
                    <a:pt x="1035" y="1014"/>
                  </a:lnTo>
                  <a:lnTo>
                    <a:pt x="1046" y="1011"/>
                  </a:lnTo>
                  <a:lnTo>
                    <a:pt x="1046" y="1008"/>
                  </a:lnTo>
                  <a:lnTo>
                    <a:pt x="1052" y="1008"/>
                  </a:lnTo>
                  <a:lnTo>
                    <a:pt x="1056" y="998"/>
                  </a:lnTo>
                  <a:lnTo>
                    <a:pt x="1059" y="998"/>
                  </a:lnTo>
                  <a:lnTo>
                    <a:pt x="1059" y="1001"/>
                  </a:lnTo>
                  <a:lnTo>
                    <a:pt x="1063" y="1001"/>
                  </a:lnTo>
                  <a:lnTo>
                    <a:pt x="1066" y="998"/>
                  </a:lnTo>
                  <a:lnTo>
                    <a:pt x="1063" y="995"/>
                  </a:lnTo>
                  <a:lnTo>
                    <a:pt x="1063" y="992"/>
                  </a:lnTo>
                  <a:lnTo>
                    <a:pt x="1059" y="992"/>
                  </a:lnTo>
                  <a:lnTo>
                    <a:pt x="1059" y="995"/>
                  </a:lnTo>
                  <a:lnTo>
                    <a:pt x="1059" y="995"/>
                  </a:lnTo>
                  <a:lnTo>
                    <a:pt x="1059" y="992"/>
                  </a:lnTo>
                  <a:lnTo>
                    <a:pt x="1063" y="982"/>
                  </a:lnTo>
                  <a:lnTo>
                    <a:pt x="1066" y="982"/>
                  </a:lnTo>
                  <a:lnTo>
                    <a:pt x="1066" y="976"/>
                  </a:lnTo>
                  <a:lnTo>
                    <a:pt x="1066" y="972"/>
                  </a:lnTo>
                  <a:lnTo>
                    <a:pt x="1063" y="969"/>
                  </a:lnTo>
                  <a:lnTo>
                    <a:pt x="1063" y="956"/>
                  </a:lnTo>
                  <a:lnTo>
                    <a:pt x="1063" y="950"/>
                  </a:lnTo>
                  <a:lnTo>
                    <a:pt x="1056" y="940"/>
                  </a:lnTo>
                  <a:lnTo>
                    <a:pt x="1052" y="940"/>
                  </a:lnTo>
                  <a:lnTo>
                    <a:pt x="1049" y="937"/>
                  </a:lnTo>
                  <a:lnTo>
                    <a:pt x="1046" y="934"/>
                  </a:lnTo>
                  <a:lnTo>
                    <a:pt x="1046" y="930"/>
                  </a:lnTo>
                  <a:lnTo>
                    <a:pt x="1049" y="924"/>
                  </a:lnTo>
                  <a:lnTo>
                    <a:pt x="1052" y="924"/>
                  </a:lnTo>
                  <a:lnTo>
                    <a:pt x="1063" y="914"/>
                  </a:lnTo>
                  <a:lnTo>
                    <a:pt x="1066" y="914"/>
                  </a:lnTo>
                  <a:lnTo>
                    <a:pt x="1066" y="911"/>
                  </a:lnTo>
                  <a:lnTo>
                    <a:pt x="1066" y="911"/>
                  </a:lnTo>
                  <a:lnTo>
                    <a:pt x="1066" y="908"/>
                  </a:lnTo>
                  <a:lnTo>
                    <a:pt x="1066" y="908"/>
                  </a:lnTo>
                  <a:lnTo>
                    <a:pt x="1070" y="905"/>
                  </a:lnTo>
                  <a:lnTo>
                    <a:pt x="1073" y="905"/>
                  </a:lnTo>
                  <a:lnTo>
                    <a:pt x="1073" y="908"/>
                  </a:lnTo>
                  <a:lnTo>
                    <a:pt x="1076" y="908"/>
                  </a:lnTo>
                  <a:lnTo>
                    <a:pt x="1076" y="908"/>
                  </a:lnTo>
                  <a:lnTo>
                    <a:pt x="1076" y="901"/>
                  </a:lnTo>
                  <a:lnTo>
                    <a:pt x="1080" y="901"/>
                  </a:lnTo>
                  <a:lnTo>
                    <a:pt x="1083" y="895"/>
                  </a:lnTo>
                  <a:lnTo>
                    <a:pt x="1083" y="892"/>
                  </a:lnTo>
                  <a:lnTo>
                    <a:pt x="1076" y="892"/>
                  </a:lnTo>
                  <a:lnTo>
                    <a:pt x="1076" y="892"/>
                  </a:lnTo>
                  <a:lnTo>
                    <a:pt x="1080" y="888"/>
                  </a:lnTo>
                  <a:lnTo>
                    <a:pt x="1080" y="885"/>
                  </a:lnTo>
                  <a:lnTo>
                    <a:pt x="1076" y="885"/>
                  </a:lnTo>
                  <a:lnTo>
                    <a:pt x="1080" y="882"/>
                  </a:lnTo>
                  <a:lnTo>
                    <a:pt x="1083" y="879"/>
                  </a:lnTo>
                  <a:lnTo>
                    <a:pt x="1080" y="879"/>
                  </a:lnTo>
                  <a:lnTo>
                    <a:pt x="1080" y="879"/>
                  </a:lnTo>
                  <a:lnTo>
                    <a:pt x="1080" y="872"/>
                  </a:lnTo>
                  <a:lnTo>
                    <a:pt x="1083" y="872"/>
                  </a:lnTo>
                  <a:lnTo>
                    <a:pt x="1083" y="872"/>
                  </a:lnTo>
                  <a:lnTo>
                    <a:pt x="1076" y="872"/>
                  </a:lnTo>
                  <a:lnTo>
                    <a:pt x="1073" y="872"/>
                  </a:lnTo>
                  <a:lnTo>
                    <a:pt x="1073" y="869"/>
                  </a:lnTo>
                  <a:lnTo>
                    <a:pt x="1083" y="863"/>
                  </a:lnTo>
                  <a:lnTo>
                    <a:pt x="1087" y="856"/>
                  </a:lnTo>
                  <a:lnTo>
                    <a:pt x="1087" y="853"/>
                  </a:lnTo>
                  <a:lnTo>
                    <a:pt x="1090" y="853"/>
                  </a:lnTo>
                  <a:lnTo>
                    <a:pt x="1094" y="853"/>
                  </a:lnTo>
                  <a:lnTo>
                    <a:pt x="1094" y="846"/>
                  </a:lnTo>
                  <a:lnTo>
                    <a:pt x="1090" y="846"/>
                  </a:lnTo>
                  <a:lnTo>
                    <a:pt x="1090" y="846"/>
                  </a:lnTo>
                  <a:lnTo>
                    <a:pt x="1087" y="846"/>
                  </a:lnTo>
                  <a:lnTo>
                    <a:pt x="1087" y="843"/>
                  </a:lnTo>
                  <a:lnTo>
                    <a:pt x="1087" y="837"/>
                  </a:lnTo>
                  <a:lnTo>
                    <a:pt x="1087" y="830"/>
                  </a:lnTo>
                  <a:lnTo>
                    <a:pt x="1087" y="827"/>
                  </a:lnTo>
                  <a:lnTo>
                    <a:pt x="1090" y="827"/>
                  </a:lnTo>
                  <a:lnTo>
                    <a:pt x="1094" y="827"/>
                  </a:lnTo>
                  <a:lnTo>
                    <a:pt x="1094" y="827"/>
                  </a:lnTo>
                  <a:lnTo>
                    <a:pt x="1094" y="824"/>
                  </a:lnTo>
                  <a:lnTo>
                    <a:pt x="1097" y="821"/>
                  </a:lnTo>
                  <a:lnTo>
                    <a:pt x="1101" y="821"/>
                  </a:lnTo>
                  <a:lnTo>
                    <a:pt x="1104" y="821"/>
                  </a:lnTo>
                  <a:lnTo>
                    <a:pt x="1104" y="824"/>
                  </a:lnTo>
                  <a:lnTo>
                    <a:pt x="1111" y="824"/>
                  </a:lnTo>
                  <a:lnTo>
                    <a:pt x="1118" y="827"/>
                  </a:lnTo>
                  <a:lnTo>
                    <a:pt x="1128" y="830"/>
                  </a:lnTo>
                  <a:lnTo>
                    <a:pt x="1132" y="830"/>
                  </a:lnTo>
                  <a:lnTo>
                    <a:pt x="1132" y="833"/>
                  </a:lnTo>
                  <a:lnTo>
                    <a:pt x="1125" y="833"/>
                  </a:lnTo>
                  <a:lnTo>
                    <a:pt x="1132" y="833"/>
                  </a:lnTo>
                  <a:lnTo>
                    <a:pt x="1138" y="830"/>
                  </a:lnTo>
                  <a:lnTo>
                    <a:pt x="1142" y="830"/>
                  </a:lnTo>
                  <a:lnTo>
                    <a:pt x="1142" y="833"/>
                  </a:lnTo>
                  <a:lnTo>
                    <a:pt x="1145" y="833"/>
                  </a:lnTo>
                  <a:lnTo>
                    <a:pt x="1149" y="837"/>
                  </a:lnTo>
                  <a:lnTo>
                    <a:pt x="1149" y="833"/>
                  </a:lnTo>
                  <a:lnTo>
                    <a:pt x="1152" y="833"/>
                  </a:lnTo>
                  <a:lnTo>
                    <a:pt x="1156" y="833"/>
                  </a:lnTo>
                  <a:lnTo>
                    <a:pt x="1159" y="833"/>
                  </a:lnTo>
                  <a:lnTo>
                    <a:pt x="1162" y="830"/>
                  </a:lnTo>
                  <a:lnTo>
                    <a:pt x="1169" y="833"/>
                  </a:lnTo>
                  <a:lnTo>
                    <a:pt x="1169" y="837"/>
                  </a:lnTo>
                  <a:lnTo>
                    <a:pt x="1173" y="840"/>
                  </a:lnTo>
                  <a:lnTo>
                    <a:pt x="1176" y="840"/>
                  </a:lnTo>
                  <a:lnTo>
                    <a:pt x="1176" y="846"/>
                  </a:lnTo>
                  <a:lnTo>
                    <a:pt x="1176" y="850"/>
                  </a:lnTo>
                  <a:lnTo>
                    <a:pt x="1176" y="850"/>
                  </a:lnTo>
                  <a:lnTo>
                    <a:pt x="1176" y="850"/>
                  </a:lnTo>
                  <a:lnTo>
                    <a:pt x="1183" y="853"/>
                  </a:lnTo>
                  <a:lnTo>
                    <a:pt x="1183" y="856"/>
                  </a:lnTo>
                  <a:lnTo>
                    <a:pt x="1180" y="856"/>
                  </a:lnTo>
                  <a:lnTo>
                    <a:pt x="1183" y="859"/>
                  </a:lnTo>
                  <a:lnTo>
                    <a:pt x="1187" y="856"/>
                  </a:lnTo>
                  <a:lnTo>
                    <a:pt x="1190" y="863"/>
                  </a:lnTo>
                  <a:lnTo>
                    <a:pt x="1190" y="863"/>
                  </a:lnTo>
                  <a:lnTo>
                    <a:pt x="1187" y="859"/>
                  </a:lnTo>
                  <a:lnTo>
                    <a:pt x="1183" y="863"/>
                  </a:lnTo>
                  <a:lnTo>
                    <a:pt x="1180" y="863"/>
                  </a:lnTo>
                  <a:lnTo>
                    <a:pt x="1187" y="869"/>
                  </a:lnTo>
                  <a:lnTo>
                    <a:pt x="1187" y="872"/>
                  </a:lnTo>
                  <a:lnTo>
                    <a:pt x="1190" y="869"/>
                  </a:lnTo>
                  <a:lnTo>
                    <a:pt x="1190" y="872"/>
                  </a:lnTo>
                  <a:lnTo>
                    <a:pt x="1193" y="869"/>
                  </a:lnTo>
                  <a:lnTo>
                    <a:pt x="1197" y="872"/>
                  </a:lnTo>
                  <a:lnTo>
                    <a:pt x="1200" y="872"/>
                  </a:lnTo>
                  <a:lnTo>
                    <a:pt x="1200" y="875"/>
                  </a:lnTo>
                  <a:lnTo>
                    <a:pt x="1207" y="872"/>
                  </a:lnTo>
                  <a:lnTo>
                    <a:pt x="1211" y="875"/>
                  </a:lnTo>
                  <a:lnTo>
                    <a:pt x="1211" y="882"/>
                  </a:lnTo>
                  <a:lnTo>
                    <a:pt x="1211" y="882"/>
                  </a:lnTo>
                  <a:lnTo>
                    <a:pt x="1218" y="879"/>
                  </a:lnTo>
                  <a:lnTo>
                    <a:pt x="1218" y="875"/>
                  </a:lnTo>
                  <a:lnTo>
                    <a:pt x="1221" y="875"/>
                  </a:lnTo>
                  <a:lnTo>
                    <a:pt x="1221" y="882"/>
                  </a:lnTo>
                  <a:lnTo>
                    <a:pt x="1221" y="885"/>
                  </a:lnTo>
                  <a:lnTo>
                    <a:pt x="1214" y="888"/>
                  </a:lnTo>
                  <a:lnTo>
                    <a:pt x="1211" y="892"/>
                  </a:lnTo>
                  <a:lnTo>
                    <a:pt x="1211" y="901"/>
                  </a:lnTo>
                  <a:lnTo>
                    <a:pt x="1211" y="901"/>
                  </a:lnTo>
                  <a:lnTo>
                    <a:pt x="1211" y="898"/>
                  </a:lnTo>
                  <a:lnTo>
                    <a:pt x="1207" y="901"/>
                  </a:lnTo>
                  <a:lnTo>
                    <a:pt x="1207" y="905"/>
                  </a:lnTo>
                  <a:lnTo>
                    <a:pt x="1197" y="905"/>
                  </a:lnTo>
                  <a:lnTo>
                    <a:pt x="1187" y="901"/>
                  </a:lnTo>
                  <a:lnTo>
                    <a:pt x="1197" y="905"/>
                  </a:lnTo>
                  <a:lnTo>
                    <a:pt x="1204" y="908"/>
                  </a:lnTo>
                  <a:lnTo>
                    <a:pt x="1211" y="911"/>
                  </a:lnTo>
                  <a:lnTo>
                    <a:pt x="1211" y="917"/>
                  </a:lnTo>
                  <a:lnTo>
                    <a:pt x="1207" y="921"/>
                  </a:lnTo>
                  <a:lnTo>
                    <a:pt x="1204" y="924"/>
                  </a:lnTo>
                  <a:lnTo>
                    <a:pt x="1200" y="927"/>
                  </a:lnTo>
                  <a:lnTo>
                    <a:pt x="1204" y="927"/>
                  </a:lnTo>
                  <a:lnTo>
                    <a:pt x="1207" y="934"/>
                  </a:lnTo>
                  <a:lnTo>
                    <a:pt x="1211" y="934"/>
                  </a:lnTo>
                  <a:lnTo>
                    <a:pt x="1207" y="937"/>
                  </a:lnTo>
                  <a:lnTo>
                    <a:pt x="1200" y="934"/>
                  </a:lnTo>
                  <a:lnTo>
                    <a:pt x="1207" y="937"/>
                  </a:lnTo>
                  <a:lnTo>
                    <a:pt x="1211" y="940"/>
                  </a:lnTo>
                  <a:lnTo>
                    <a:pt x="1211" y="940"/>
                  </a:lnTo>
                  <a:lnTo>
                    <a:pt x="1211" y="937"/>
                  </a:lnTo>
                  <a:lnTo>
                    <a:pt x="1214" y="937"/>
                  </a:lnTo>
                  <a:lnTo>
                    <a:pt x="1218" y="940"/>
                  </a:lnTo>
                  <a:lnTo>
                    <a:pt x="1218" y="943"/>
                  </a:lnTo>
                  <a:lnTo>
                    <a:pt x="1218" y="947"/>
                  </a:lnTo>
                  <a:lnTo>
                    <a:pt x="1218" y="950"/>
                  </a:lnTo>
                  <a:lnTo>
                    <a:pt x="1214" y="956"/>
                  </a:lnTo>
                  <a:lnTo>
                    <a:pt x="1214" y="959"/>
                  </a:lnTo>
                  <a:lnTo>
                    <a:pt x="1211" y="963"/>
                  </a:lnTo>
                  <a:lnTo>
                    <a:pt x="1214" y="959"/>
                  </a:lnTo>
                  <a:lnTo>
                    <a:pt x="1221" y="953"/>
                  </a:lnTo>
                  <a:lnTo>
                    <a:pt x="1224" y="947"/>
                  </a:lnTo>
                  <a:lnTo>
                    <a:pt x="1224" y="947"/>
                  </a:lnTo>
                  <a:lnTo>
                    <a:pt x="1224" y="950"/>
                  </a:lnTo>
                  <a:lnTo>
                    <a:pt x="1224" y="956"/>
                  </a:lnTo>
                  <a:lnTo>
                    <a:pt x="1224" y="959"/>
                  </a:lnTo>
                  <a:lnTo>
                    <a:pt x="1224" y="963"/>
                  </a:lnTo>
                  <a:lnTo>
                    <a:pt x="1224" y="966"/>
                  </a:lnTo>
                  <a:lnTo>
                    <a:pt x="1228" y="959"/>
                  </a:lnTo>
                  <a:lnTo>
                    <a:pt x="1228" y="956"/>
                  </a:lnTo>
                  <a:lnTo>
                    <a:pt x="1231" y="953"/>
                  </a:lnTo>
                  <a:lnTo>
                    <a:pt x="1235" y="953"/>
                  </a:lnTo>
                  <a:lnTo>
                    <a:pt x="1238" y="950"/>
                  </a:lnTo>
                  <a:lnTo>
                    <a:pt x="1242" y="953"/>
                  </a:lnTo>
                  <a:lnTo>
                    <a:pt x="1242" y="953"/>
                  </a:lnTo>
                  <a:lnTo>
                    <a:pt x="1245" y="953"/>
                  </a:lnTo>
                  <a:lnTo>
                    <a:pt x="1248" y="950"/>
                  </a:lnTo>
                  <a:lnTo>
                    <a:pt x="1248" y="947"/>
                  </a:lnTo>
                  <a:lnTo>
                    <a:pt x="1252" y="943"/>
                  </a:lnTo>
                  <a:lnTo>
                    <a:pt x="1255" y="940"/>
                  </a:lnTo>
                  <a:lnTo>
                    <a:pt x="1259" y="943"/>
                  </a:lnTo>
                  <a:lnTo>
                    <a:pt x="1259" y="950"/>
                  </a:lnTo>
                  <a:lnTo>
                    <a:pt x="1259" y="953"/>
                  </a:lnTo>
                  <a:lnTo>
                    <a:pt x="1262" y="947"/>
                  </a:lnTo>
                  <a:lnTo>
                    <a:pt x="1262" y="943"/>
                  </a:lnTo>
                  <a:lnTo>
                    <a:pt x="1262" y="943"/>
                  </a:lnTo>
                  <a:lnTo>
                    <a:pt x="1262" y="940"/>
                  </a:lnTo>
                  <a:lnTo>
                    <a:pt x="1266" y="937"/>
                  </a:lnTo>
                  <a:lnTo>
                    <a:pt x="1269" y="937"/>
                  </a:lnTo>
                  <a:lnTo>
                    <a:pt x="1269" y="934"/>
                  </a:lnTo>
                  <a:lnTo>
                    <a:pt x="1273" y="930"/>
                  </a:lnTo>
                  <a:lnTo>
                    <a:pt x="1276" y="927"/>
                  </a:lnTo>
                  <a:lnTo>
                    <a:pt x="1276" y="927"/>
                  </a:lnTo>
                  <a:lnTo>
                    <a:pt x="1279" y="927"/>
                  </a:lnTo>
                  <a:lnTo>
                    <a:pt x="1279" y="927"/>
                  </a:lnTo>
                  <a:lnTo>
                    <a:pt x="1279" y="927"/>
                  </a:lnTo>
                  <a:lnTo>
                    <a:pt x="1279" y="924"/>
                  </a:lnTo>
                  <a:lnTo>
                    <a:pt x="1276" y="924"/>
                  </a:lnTo>
                  <a:lnTo>
                    <a:pt x="1276" y="921"/>
                  </a:lnTo>
                  <a:lnTo>
                    <a:pt x="1279" y="917"/>
                  </a:lnTo>
                  <a:lnTo>
                    <a:pt x="1279" y="917"/>
                  </a:lnTo>
                  <a:lnTo>
                    <a:pt x="1283" y="917"/>
                  </a:lnTo>
                  <a:lnTo>
                    <a:pt x="1283" y="914"/>
                  </a:lnTo>
                  <a:lnTo>
                    <a:pt x="1286" y="914"/>
                  </a:lnTo>
                  <a:lnTo>
                    <a:pt x="1286" y="911"/>
                  </a:lnTo>
                  <a:lnTo>
                    <a:pt x="1290" y="908"/>
                  </a:lnTo>
                  <a:lnTo>
                    <a:pt x="1290" y="905"/>
                  </a:lnTo>
                  <a:lnTo>
                    <a:pt x="1290" y="901"/>
                  </a:lnTo>
                  <a:lnTo>
                    <a:pt x="1293" y="898"/>
                  </a:lnTo>
                  <a:lnTo>
                    <a:pt x="1297" y="898"/>
                  </a:lnTo>
                  <a:lnTo>
                    <a:pt x="1300" y="898"/>
                  </a:lnTo>
                  <a:lnTo>
                    <a:pt x="1297" y="901"/>
                  </a:lnTo>
                  <a:lnTo>
                    <a:pt x="1300" y="901"/>
                  </a:lnTo>
                  <a:lnTo>
                    <a:pt x="1300" y="901"/>
                  </a:lnTo>
                  <a:lnTo>
                    <a:pt x="1300" y="901"/>
                  </a:lnTo>
                  <a:lnTo>
                    <a:pt x="1297" y="905"/>
                  </a:lnTo>
                  <a:lnTo>
                    <a:pt x="1300" y="908"/>
                  </a:lnTo>
                  <a:lnTo>
                    <a:pt x="1297" y="908"/>
                  </a:lnTo>
                  <a:lnTo>
                    <a:pt x="1297" y="908"/>
                  </a:lnTo>
                  <a:lnTo>
                    <a:pt x="1297" y="911"/>
                  </a:lnTo>
                  <a:lnTo>
                    <a:pt x="1300" y="911"/>
                  </a:lnTo>
                  <a:lnTo>
                    <a:pt x="1300" y="911"/>
                  </a:lnTo>
                  <a:lnTo>
                    <a:pt x="1300" y="914"/>
                  </a:lnTo>
                  <a:lnTo>
                    <a:pt x="1300" y="914"/>
                  </a:lnTo>
                  <a:lnTo>
                    <a:pt x="1300" y="914"/>
                  </a:lnTo>
                  <a:lnTo>
                    <a:pt x="1300" y="917"/>
                  </a:lnTo>
                  <a:lnTo>
                    <a:pt x="1300" y="917"/>
                  </a:lnTo>
                  <a:lnTo>
                    <a:pt x="1300" y="921"/>
                  </a:lnTo>
                  <a:lnTo>
                    <a:pt x="1304" y="924"/>
                  </a:lnTo>
                  <a:lnTo>
                    <a:pt x="1304" y="930"/>
                  </a:lnTo>
                  <a:lnTo>
                    <a:pt x="1304" y="930"/>
                  </a:lnTo>
                  <a:lnTo>
                    <a:pt x="1300" y="930"/>
                  </a:lnTo>
                  <a:lnTo>
                    <a:pt x="1297" y="930"/>
                  </a:lnTo>
                  <a:lnTo>
                    <a:pt x="1300" y="930"/>
                  </a:lnTo>
                  <a:lnTo>
                    <a:pt x="1300" y="934"/>
                  </a:lnTo>
                  <a:lnTo>
                    <a:pt x="1304" y="934"/>
                  </a:lnTo>
                  <a:lnTo>
                    <a:pt x="1307" y="930"/>
                  </a:lnTo>
                  <a:lnTo>
                    <a:pt x="1307" y="934"/>
                  </a:lnTo>
                  <a:lnTo>
                    <a:pt x="1307" y="934"/>
                  </a:lnTo>
                  <a:lnTo>
                    <a:pt x="1307" y="940"/>
                  </a:lnTo>
                  <a:lnTo>
                    <a:pt x="1304" y="940"/>
                  </a:lnTo>
                  <a:lnTo>
                    <a:pt x="1297" y="940"/>
                  </a:lnTo>
                  <a:lnTo>
                    <a:pt x="1297" y="940"/>
                  </a:lnTo>
                  <a:lnTo>
                    <a:pt x="1300" y="943"/>
                  </a:lnTo>
                  <a:lnTo>
                    <a:pt x="1307" y="940"/>
                  </a:lnTo>
                  <a:lnTo>
                    <a:pt x="1310" y="940"/>
                  </a:lnTo>
                  <a:lnTo>
                    <a:pt x="1310" y="943"/>
                  </a:lnTo>
                  <a:lnTo>
                    <a:pt x="1307" y="947"/>
                  </a:lnTo>
                  <a:lnTo>
                    <a:pt x="1310" y="950"/>
                  </a:lnTo>
                  <a:lnTo>
                    <a:pt x="1314" y="947"/>
                  </a:lnTo>
                  <a:lnTo>
                    <a:pt x="1314" y="950"/>
                  </a:lnTo>
                  <a:lnTo>
                    <a:pt x="1310" y="956"/>
                  </a:lnTo>
                  <a:lnTo>
                    <a:pt x="1304" y="956"/>
                  </a:lnTo>
                  <a:lnTo>
                    <a:pt x="1300" y="953"/>
                  </a:lnTo>
                  <a:lnTo>
                    <a:pt x="1300" y="956"/>
                  </a:lnTo>
                  <a:lnTo>
                    <a:pt x="1300" y="956"/>
                  </a:lnTo>
                  <a:lnTo>
                    <a:pt x="1297" y="959"/>
                  </a:lnTo>
                  <a:lnTo>
                    <a:pt x="1304" y="959"/>
                  </a:lnTo>
                  <a:lnTo>
                    <a:pt x="1310" y="959"/>
                  </a:lnTo>
                  <a:lnTo>
                    <a:pt x="1314" y="956"/>
                  </a:lnTo>
                  <a:lnTo>
                    <a:pt x="1314" y="956"/>
                  </a:lnTo>
                  <a:lnTo>
                    <a:pt x="1314" y="959"/>
                  </a:lnTo>
                  <a:lnTo>
                    <a:pt x="1314" y="963"/>
                  </a:lnTo>
                  <a:lnTo>
                    <a:pt x="1310" y="963"/>
                  </a:lnTo>
                  <a:lnTo>
                    <a:pt x="1307" y="963"/>
                  </a:lnTo>
                  <a:lnTo>
                    <a:pt x="1300" y="969"/>
                  </a:lnTo>
                  <a:lnTo>
                    <a:pt x="1307" y="966"/>
                  </a:lnTo>
                  <a:lnTo>
                    <a:pt x="1310" y="966"/>
                  </a:lnTo>
                  <a:lnTo>
                    <a:pt x="1314" y="966"/>
                  </a:lnTo>
                  <a:lnTo>
                    <a:pt x="1317" y="966"/>
                  </a:lnTo>
                  <a:lnTo>
                    <a:pt x="1317" y="969"/>
                  </a:lnTo>
                  <a:lnTo>
                    <a:pt x="1314" y="969"/>
                  </a:lnTo>
                  <a:lnTo>
                    <a:pt x="1310" y="972"/>
                  </a:lnTo>
                  <a:lnTo>
                    <a:pt x="1307" y="976"/>
                  </a:lnTo>
                  <a:lnTo>
                    <a:pt x="1310" y="972"/>
                  </a:lnTo>
                  <a:lnTo>
                    <a:pt x="1314" y="972"/>
                  </a:lnTo>
                  <a:lnTo>
                    <a:pt x="1317" y="972"/>
                  </a:lnTo>
                  <a:lnTo>
                    <a:pt x="1321" y="976"/>
                  </a:lnTo>
                  <a:lnTo>
                    <a:pt x="1321" y="979"/>
                  </a:lnTo>
                  <a:lnTo>
                    <a:pt x="1317" y="982"/>
                  </a:lnTo>
                  <a:lnTo>
                    <a:pt x="1314" y="982"/>
                  </a:lnTo>
                  <a:lnTo>
                    <a:pt x="1314" y="982"/>
                  </a:lnTo>
                  <a:lnTo>
                    <a:pt x="1310" y="982"/>
                  </a:lnTo>
                  <a:lnTo>
                    <a:pt x="1314" y="985"/>
                  </a:lnTo>
                  <a:lnTo>
                    <a:pt x="1314" y="985"/>
                  </a:lnTo>
                  <a:lnTo>
                    <a:pt x="1317" y="985"/>
                  </a:lnTo>
                  <a:lnTo>
                    <a:pt x="1321" y="985"/>
                  </a:lnTo>
                  <a:lnTo>
                    <a:pt x="1324" y="988"/>
                  </a:lnTo>
                  <a:lnTo>
                    <a:pt x="1321" y="992"/>
                  </a:lnTo>
                  <a:lnTo>
                    <a:pt x="1317" y="992"/>
                  </a:lnTo>
                  <a:lnTo>
                    <a:pt x="1321" y="992"/>
                  </a:lnTo>
                  <a:lnTo>
                    <a:pt x="1324" y="992"/>
                  </a:lnTo>
                  <a:lnTo>
                    <a:pt x="1328" y="995"/>
                  </a:lnTo>
                  <a:lnTo>
                    <a:pt x="1328" y="998"/>
                  </a:lnTo>
                  <a:lnTo>
                    <a:pt x="1324" y="998"/>
                  </a:lnTo>
                  <a:lnTo>
                    <a:pt x="1321" y="1001"/>
                  </a:lnTo>
                  <a:lnTo>
                    <a:pt x="1317" y="1001"/>
                  </a:lnTo>
                  <a:lnTo>
                    <a:pt x="1317" y="1001"/>
                  </a:lnTo>
                  <a:lnTo>
                    <a:pt x="1321" y="1005"/>
                  </a:lnTo>
                  <a:lnTo>
                    <a:pt x="1321" y="1005"/>
                  </a:lnTo>
                  <a:lnTo>
                    <a:pt x="1317" y="1008"/>
                  </a:lnTo>
                  <a:lnTo>
                    <a:pt x="1310" y="1005"/>
                  </a:lnTo>
                  <a:lnTo>
                    <a:pt x="1307" y="1005"/>
                  </a:lnTo>
                  <a:lnTo>
                    <a:pt x="1310" y="1008"/>
                  </a:lnTo>
                  <a:lnTo>
                    <a:pt x="1310" y="1011"/>
                  </a:lnTo>
                  <a:lnTo>
                    <a:pt x="1314" y="1014"/>
                  </a:lnTo>
                  <a:lnTo>
                    <a:pt x="1317" y="1014"/>
                  </a:lnTo>
                  <a:lnTo>
                    <a:pt x="1314" y="1018"/>
                  </a:lnTo>
                  <a:lnTo>
                    <a:pt x="1310" y="1018"/>
                  </a:lnTo>
                  <a:lnTo>
                    <a:pt x="1310" y="1018"/>
                  </a:lnTo>
                  <a:lnTo>
                    <a:pt x="1304" y="1018"/>
                  </a:lnTo>
                  <a:lnTo>
                    <a:pt x="1310" y="1021"/>
                  </a:lnTo>
                  <a:lnTo>
                    <a:pt x="1314" y="1021"/>
                  </a:lnTo>
                  <a:lnTo>
                    <a:pt x="1314" y="1018"/>
                  </a:lnTo>
                  <a:lnTo>
                    <a:pt x="1321" y="1018"/>
                  </a:lnTo>
                  <a:lnTo>
                    <a:pt x="1321" y="1018"/>
                  </a:lnTo>
                  <a:lnTo>
                    <a:pt x="1321" y="1021"/>
                  </a:lnTo>
                  <a:lnTo>
                    <a:pt x="1324" y="1021"/>
                  </a:lnTo>
                  <a:lnTo>
                    <a:pt x="1321" y="1024"/>
                  </a:lnTo>
                  <a:lnTo>
                    <a:pt x="1324" y="1024"/>
                  </a:lnTo>
                  <a:lnTo>
                    <a:pt x="1324" y="1024"/>
                  </a:lnTo>
                  <a:lnTo>
                    <a:pt x="1324" y="1027"/>
                  </a:lnTo>
                  <a:lnTo>
                    <a:pt x="1324" y="1027"/>
                  </a:lnTo>
                  <a:lnTo>
                    <a:pt x="1328" y="1027"/>
                  </a:lnTo>
                  <a:lnTo>
                    <a:pt x="1331" y="1027"/>
                  </a:lnTo>
                  <a:lnTo>
                    <a:pt x="1331" y="1027"/>
                  </a:lnTo>
                  <a:lnTo>
                    <a:pt x="1331" y="1030"/>
                  </a:lnTo>
                  <a:lnTo>
                    <a:pt x="1331" y="1034"/>
                  </a:lnTo>
                  <a:lnTo>
                    <a:pt x="1331" y="1034"/>
                  </a:lnTo>
                  <a:lnTo>
                    <a:pt x="1331" y="1034"/>
                  </a:lnTo>
                  <a:lnTo>
                    <a:pt x="1334" y="1030"/>
                  </a:lnTo>
                  <a:lnTo>
                    <a:pt x="1338" y="1030"/>
                  </a:lnTo>
                  <a:lnTo>
                    <a:pt x="1338" y="1034"/>
                  </a:lnTo>
                  <a:lnTo>
                    <a:pt x="1338" y="1034"/>
                  </a:lnTo>
                  <a:lnTo>
                    <a:pt x="1334" y="1037"/>
                  </a:lnTo>
                  <a:lnTo>
                    <a:pt x="1328" y="1043"/>
                  </a:lnTo>
                  <a:lnTo>
                    <a:pt x="1324" y="1047"/>
                  </a:lnTo>
                  <a:lnTo>
                    <a:pt x="1321" y="1047"/>
                  </a:lnTo>
                  <a:lnTo>
                    <a:pt x="1324" y="1047"/>
                  </a:lnTo>
                  <a:lnTo>
                    <a:pt x="1328" y="1047"/>
                  </a:lnTo>
                  <a:lnTo>
                    <a:pt x="1334" y="1040"/>
                  </a:lnTo>
                  <a:lnTo>
                    <a:pt x="1338" y="1040"/>
                  </a:lnTo>
                  <a:lnTo>
                    <a:pt x="1338" y="1043"/>
                  </a:lnTo>
                  <a:lnTo>
                    <a:pt x="1334" y="1043"/>
                  </a:lnTo>
                  <a:lnTo>
                    <a:pt x="1334" y="1047"/>
                  </a:lnTo>
                  <a:lnTo>
                    <a:pt x="1334" y="1047"/>
                  </a:lnTo>
                  <a:lnTo>
                    <a:pt x="1338" y="1043"/>
                  </a:lnTo>
                  <a:lnTo>
                    <a:pt x="1341" y="1040"/>
                  </a:lnTo>
                  <a:lnTo>
                    <a:pt x="1345" y="1040"/>
                  </a:lnTo>
                  <a:lnTo>
                    <a:pt x="1345" y="1040"/>
                  </a:lnTo>
                  <a:lnTo>
                    <a:pt x="1345" y="1043"/>
                  </a:lnTo>
                  <a:lnTo>
                    <a:pt x="1341" y="1043"/>
                  </a:lnTo>
                  <a:lnTo>
                    <a:pt x="1341" y="1047"/>
                  </a:lnTo>
                  <a:lnTo>
                    <a:pt x="1348" y="1043"/>
                  </a:lnTo>
                  <a:lnTo>
                    <a:pt x="1348" y="1043"/>
                  </a:lnTo>
                  <a:lnTo>
                    <a:pt x="1345" y="1050"/>
                  </a:lnTo>
                  <a:lnTo>
                    <a:pt x="1341" y="1050"/>
                  </a:lnTo>
                  <a:lnTo>
                    <a:pt x="1345" y="1050"/>
                  </a:lnTo>
                  <a:lnTo>
                    <a:pt x="1348" y="1050"/>
                  </a:lnTo>
                  <a:lnTo>
                    <a:pt x="1355" y="1043"/>
                  </a:lnTo>
                  <a:lnTo>
                    <a:pt x="1355" y="1043"/>
                  </a:lnTo>
                  <a:lnTo>
                    <a:pt x="1355" y="1047"/>
                  </a:lnTo>
                  <a:lnTo>
                    <a:pt x="1352" y="1047"/>
                  </a:lnTo>
                  <a:lnTo>
                    <a:pt x="1359" y="1043"/>
                  </a:lnTo>
                  <a:lnTo>
                    <a:pt x="1359" y="1047"/>
                  </a:lnTo>
                  <a:lnTo>
                    <a:pt x="1359" y="1050"/>
                  </a:lnTo>
                  <a:lnTo>
                    <a:pt x="1355" y="1053"/>
                  </a:lnTo>
                  <a:lnTo>
                    <a:pt x="1355" y="1053"/>
                  </a:lnTo>
                  <a:lnTo>
                    <a:pt x="1359" y="1053"/>
                  </a:lnTo>
                  <a:lnTo>
                    <a:pt x="1365" y="1056"/>
                  </a:lnTo>
                  <a:lnTo>
                    <a:pt x="1369" y="1053"/>
                  </a:lnTo>
                  <a:lnTo>
                    <a:pt x="1372" y="1050"/>
                  </a:lnTo>
                  <a:lnTo>
                    <a:pt x="1376" y="1053"/>
                  </a:lnTo>
                  <a:lnTo>
                    <a:pt x="1372" y="1056"/>
                  </a:lnTo>
                  <a:lnTo>
                    <a:pt x="1372" y="1056"/>
                  </a:lnTo>
                  <a:lnTo>
                    <a:pt x="1369" y="1056"/>
                  </a:lnTo>
                  <a:lnTo>
                    <a:pt x="1379" y="1060"/>
                  </a:lnTo>
                  <a:lnTo>
                    <a:pt x="1383" y="1063"/>
                  </a:lnTo>
                  <a:lnTo>
                    <a:pt x="1376" y="1063"/>
                  </a:lnTo>
                  <a:lnTo>
                    <a:pt x="1376" y="1063"/>
                  </a:lnTo>
                  <a:lnTo>
                    <a:pt x="1369" y="1066"/>
                  </a:lnTo>
                  <a:lnTo>
                    <a:pt x="1369" y="1063"/>
                  </a:lnTo>
                  <a:lnTo>
                    <a:pt x="1362" y="1066"/>
                  </a:lnTo>
                  <a:lnTo>
                    <a:pt x="1359" y="1069"/>
                  </a:lnTo>
                  <a:lnTo>
                    <a:pt x="1352" y="1069"/>
                  </a:lnTo>
                  <a:lnTo>
                    <a:pt x="1341" y="1069"/>
                  </a:lnTo>
                  <a:lnTo>
                    <a:pt x="1341" y="1072"/>
                  </a:lnTo>
                  <a:lnTo>
                    <a:pt x="1348" y="1072"/>
                  </a:lnTo>
                  <a:lnTo>
                    <a:pt x="1355" y="1069"/>
                  </a:lnTo>
                  <a:lnTo>
                    <a:pt x="1359" y="1069"/>
                  </a:lnTo>
                  <a:lnTo>
                    <a:pt x="1359" y="1072"/>
                  </a:lnTo>
                  <a:lnTo>
                    <a:pt x="1352" y="1072"/>
                  </a:lnTo>
                  <a:lnTo>
                    <a:pt x="1345" y="1072"/>
                  </a:lnTo>
                  <a:lnTo>
                    <a:pt x="1338" y="1076"/>
                  </a:lnTo>
                  <a:lnTo>
                    <a:pt x="1334" y="1079"/>
                  </a:lnTo>
                  <a:lnTo>
                    <a:pt x="1331" y="1079"/>
                  </a:lnTo>
                  <a:lnTo>
                    <a:pt x="1331" y="1082"/>
                  </a:lnTo>
                  <a:lnTo>
                    <a:pt x="1328" y="1082"/>
                  </a:lnTo>
                  <a:lnTo>
                    <a:pt x="1321" y="1079"/>
                  </a:lnTo>
                  <a:lnTo>
                    <a:pt x="1317" y="1072"/>
                  </a:lnTo>
                  <a:lnTo>
                    <a:pt x="1317" y="1076"/>
                  </a:lnTo>
                  <a:lnTo>
                    <a:pt x="1317" y="1076"/>
                  </a:lnTo>
                  <a:lnTo>
                    <a:pt x="1321" y="1079"/>
                  </a:lnTo>
                  <a:lnTo>
                    <a:pt x="1321" y="1079"/>
                  </a:lnTo>
                  <a:lnTo>
                    <a:pt x="1328" y="1085"/>
                  </a:lnTo>
                  <a:lnTo>
                    <a:pt x="1328" y="1089"/>
                  </a:lnTo>
                  <a:lnTo>
                    <a:pt x="1324" y="1085"/>
                  </a:lnTo>
                  <a:lnTo>
                    <a:pt x="1321" y="1089"/>
                  </a:lnTo>
                  <a:lnTo>
                    <a:pt x="1324" y="1092"/>
                  </a:lnTo>
                  <a:lnTo>
                    <a:pt x="1324" y="1092"/>
                  </a:lnTo>
                  <a:lnTo>
                    <a:pt x="1328" y="1089"/>
                  </a:lnTo>
                  <a:lnTo>
                    <a:pt x="1331" y="1089"/>
                  </a:lnTo>
                  <a:lnTo>
                    <a:pt x="1331" y="1085"/>
                  </a:lnTo>
                  <a:lnTo>
                    <a:pt x="1338" y="1085"/>
                  </a:lnTo>
                  <a:lnTo>
                    <a:pt x="1341" y="1082"/>
                  </a:lnTo>
                  <a:lnTo>
                    <a:pt x="1345" y="1082"/>
                  </a:lnTo>
                  <a:lnTo>
                    <a:pt x="1348" y="1079"/>
                  </a:lnTo>
                  <a:lnTo>
                    <a:pt x="1352" y="1076"/>
                  </a:lnTo>
                  <a:lnTo>
                    <a:pt x="1355" y="1076"/>
                  </a:lnTo>
                  <a:lnTo>
                    <a:pt x="1362" y="1072"/>
                  </a:lnTo>
                  <a:lnTo>
                    <a:pt x="1365" y="1072"/>
                  </a:lnTo>
                  <a:lnTo>
                    <a:pt x="1369" y="1072"/>
                  </a:lnTo>
                  <a:lnTo>
                    <a:pt x="1369" y="1072"/>
                  </a:lnTo>
                  <a:lnTo>
                    <a:pt x="1365" y="1072"/>
                  </a:lnTo>
                  <a:lnTo>
                    <a:pt x="1362" y="1069"/>
                  </a:lnTo>
                  <a:lnTo>
                    <a:pt x="1365" y="1069"/>
                  </a:lnTo>
                  <a:lnTo>
                    <a:pt x="1372" y="1069"/>
                  </a:lnTo>
                  <a:lnTo>
                    <a:pt x="1379" y="1069"/>
                  </a:lnTo>
                  <a:lnTo>
                    <a:pt x="1383" y="1076"/>
                  </a:lnTo>
                  <a:lnTo>
                    <a:pt x="1383" y="1079"/>
                  </a:lnTo>
                  <a:lnTo>
                    <a:pt x="1379" y="1082"/>
                  </a:lnTo>
                  <a:lnTo>
                    <a:pt x="1376" y="1082"/>
                  </a:lnTo>
                  <a:lnTo>
                    <a:pt x="1372" y="1085"/>
                  </a:lnTo>
                  <a:lnTo>
                    <a:pt x="1379" y="1085"/>
                  </a:lnTo>
                  <a:lnTo>
                    <a:pt x="1379" y="1089"/>
                  </a:lnTo>
                  <a:lnTo>
                    <a:pt x="1383" y="1085"/>
                  </a:lnTo>
                  <a:lnTo>
                    <a:pt x="1383" y="1082"/>
                  </a:lnTo>
                  <a:lnTo>
                    <a:pt x="1390" y="1079"/>
                  </a:lnTo>
                  <a:lnTo>
                    <a:pt x="1393" y="1079"/>
                  </a:lnTo>
                  <a:lnTo>
                    <a:pt x="1393" y="1082"/>
                  </a:lnTo>
                  <a:lnTo>
                    <a:pt x="1393" y="1082"/>
                  </a:lnTo>
                  <a:lnTo>
                    <a:pt x="1393" y="1085"/>
                  </a:lnTo>
                  <a:lnTo>
                    <a:pt x="1396" y="1085"/>
                  </a:lnTo>
                  <a:lnTo>
                    <a:pt x="1400" y="1085"/>
                  </a:lnTo>
                  <a:lnTo>
                    <a:pt x="1403" y="1089"/>
                  </a:lnTo>
                  <a:lnTo>
                    <a:pt x="1400" y="1085"/>
                  </a:lnTo>
                  <a:lnTo>
                    <a:pt x="1396" y="1089"/>
                  </a:lnTo>
                  <a:lnTo>
                    <a:pt x="1396" y="1089"/>
                  </a:lnTo>
                  <a:lnTo>
                    <a:pt x="1403" y="1092"/>
                  </a:lnTo>
                  <a:lnTo>
                    <a:pt x="1403" y="1095"/>
                  </a:lnTo>
                  <a:lnTo>
                    <a:pt x="1400" y="1095"/>
                  </a:lnTo>
                  <a:lnTo>
                    <a:pt x="1396" y="1095"/>
                  </a:lnTo>
                  <a:lnTo>
                    <a:pt x="1396" y="1098"/>
                  </a:lnTo>
                  <a:lnTo>
                    <a:pt x="1400" y="1098"/>
                  </a:lnTo>
                  <a:lnTo>
                    <a:pt x="1400" y="1102"/>
                  </a:lnTo>
                  <a:lnTo>
                    <a:pt x="1396" y="1105"/>
                  </a:lnTo>
                  <a:lnTo>
                    <a:pt x="1396" y="1105"/>
                  </a:lnTo>
                  <a:lnTo>
                    <a:pt x="1393" y="1108"/>
                  </a:lnTo>
                  <a:lnTo>
                    <a:pt x="1386" y="1105"/>
                  </a:lnTo>
                  <a:lnTo>
                    <a:pt x="1390" y="1108"/>
                  </a:lnTo>
                  <a:lnTo>
                    <a:pt x="1396" y="1111"/>
                  </a:lnTo>
                  <a:lnTo>
                    <a:pt x="1400" y="1108"/>
                  </a:lnTo>
                  <a:lnTo>
                    <a:pt x="1400" y="1111"/>
                  </a:lnTo>
                  <a:lnTo>
                    <a:pt x="1400" y="1111"/>
                  </a:lnTo>
                  <a:lnTo>
                    <a:pt x="1396" y="1111"/>
                  </a:lnTo>
                  <a:lnTo>
                    <a:pt x="1393" y="1111"/>
                  </a:lnTo>
                  <a:lnTo>
                    <a:pt x="1396" y="1114"/>
                  </a:lnTo>
                  <a:lnTo>
                    <a:pt x="1400" y="1114"/>
                  </a:lnTo>
                  <a:lnTo>
                    <a:pt x="1400" y="1114"/>
                  </a:lnTo>
                  <a:lnTo>
                    <a:pt x="1400" y="1118"/>
                  </a:lnTo>
                  <a:lnTo>
                    <a:pt x="1400" y="1121"/>
                  </a:lnTo>
                  <a:lnTo>
                    <a:pt x="1396" y="1121"/>
                  </a:lnTo>
                  <a:lnTo>
                    <a:pt x="1393" y="1124"/>
                  </a:lnTo>
                  <a:lnTo>
                    <a:pt x="1390" y="1127"/>
                  </a:lnTo>
                  <a:lnTo>
                    <a:pt x="1386" y="1127"/>
                  </a:lnTo>
                  <a:lnTo>
                    <a:pt x="1383" y="1131"/>
                  </a:lnTo>
                  <a:lnTo>
                    <a:pt x="1379" y="1131"/>
                  </a:lnTo>
                  <a:lnTo>
                    <a:pt x="1376" y="1131"/>
                  </a:lnTo>
                  <a:lnTo>
                    <a:pt x="1376" y="1134"/>
                  </a:lnTo>
                  <a:lnTo>
                    <a:pt x="1372" y="1134"/>
                  </a:lnTo>
                  <a:lnTo>
                    <a:pt x="1369" y="1134"/>
                  </a:lnTo>
                  <a:lnTo>
                    <a:pt x="1369" y="1134"/>
                  </a:lnTo>
                  <a:lnTo>
                    <a:pt x="1365" y="1134"/>
                  </a:lnTo>
                  <a:lnTo>
                    <a:pt x="1362" y="1134"/>
                  </a:lnTo>
                  <a:lnTo>
                    <a:pt x="1362" y="1134"/>
                  </a:lnTo>
                  <a:lnTo>
                    <a:pt x="1359" y="1134"/>
                  </a:lnTo>
                  <a:lnTo>
                    <a:pt x="1352" y="1134"/>
                  </a:lnTo>
                  <a:lnTo>
                    <a:pt x="1352" y="1131"/>
                  </a:lnTo>
                  <a:lnTo>
                    <a:pt x="1348" y="1134"/>
                  </a:lnTo>
                  <a:lnTo>
                    <a:pt x="1352" y="1134"/>
                  </a:lnTo>
                  <a:lnTo>
                    <a:pt x="1345" y="1137"/>
                  </a:lnTo>
                  <a:lnTo>
                    <a:pt x="1341" y="1137"/>
                  </a:lnTo>
                  <a:lnTo>
                    <a:pt x="1341" y="1137"/>
                  </a:lnTo>
                  <a:lnTo>
                    <a:pt x="1341" y="1137"/>
                  </a:lnTo>
                  <a:lnTo>
                    <a:pt x="1341" y="1140"/>
                  </a:lnTo>
                  <a:lnTo>
                    <a:pt x="1338" y="1140"/>
                  </a:lnTo>
                  <a:lnTo>
                    <a:pt x="1338" y="1140"/>
                  </a:lnTo>
                  <a:lnTo>
                    <a:pt x="1338" y="1144"/>
                  </a:lnTo>
                  <a:lnTo>
                    <a:pt x="1334" y="1150"/>
                  </a:lnTo>
                  <a:lnTo>
                    <a:pt x="1331" y="1147"/>
                  </a:lnTo>
                  <a:lnTo>
                    <a:pt x="1331" y="1150"/>
                  </a:lnTo>
                  <a:lnTo>
                    <a:pt x="1328" y="1150"/>
                  </a:lnTo>
                  <a:lnTo>
                    <a:pt x="1324" y="1153"/>
                  </a:lnTo>
                  <a:lnTo>
                    <a:pt x="1324" y="1153"/>
                  </a:lnTo>
                  <a:lnTo>
                    <a:pt x="1321" y="1156"/>
                  </a:lnTo>
                  <a:lnTo>
                    <a:pt x="1317" y="1156"/>
                  </a:lnTo>
                  <a:lnTo>
                    <a:pt x="1317" y="1156"/>
                  </a:lnTo>
                  <a:lnTo>
                    <a:pt x="1314" y="1160"/>
                  </a:lnTo>
                  <a:lnTo>
                    <a:pt x="1310" y="1156"/>
                  </a:lnTo>
                  <a:lnTo>
                    <a:pt x="1304" y="1156"/>
                  </a:lnTo>
                  <a:lnTo>
                    <a:pt x="1304" y="1156"/>
                  </a:lnTo>
                  <a:lnTo>
                    <a:pt x="1297" y="1156"/>
                  </a:lnTo>
                  <a:lnTo>
                    <a:pt x="1297" y="1156"/>
                  </a:lnTo>
                  <a:lnTo>
                    <a:pt x="1286" y="1160"/>
                  </a:lnTo>
                  <a:lnTo>
                    <a:pt x="1283" y="1160"/>
                  </a:lnTo>
                  <a:lnTo>
                    <a:pt x="1283" y="1156"/>
                  </a:lnTo>
                  <a:lnTo>
                    <a:pt x="1283" y="1156"/>
                  </a:lnTo>
                  <a:lnTo>
                    <a:pt x="1279" y="1156"/>
                  </a:lnTo>
                  <a:lnTo>
                    <a:pt x="1276" y="1156"/>
                  </a:lnTo>
                  <a:lnTo>
                    <a:pt x="1269" y="1156"/>
                  </a:lnTo>
                  <a:lnTo>
                    <a:pt x="1269" y="1156"/>
                  </a:lnTo>
                  <a:lnTo>
                    <a:pt x="1262" y="1156"/>
                  </a:lnTo>
                  <a:lnTo>
                    <a:pt x="1259" y="1153"/>
                  </a:lnTo>
                  <a:lnTo>
                    <a:pt x="1259" y="1153"/>
                  </a:lnTo>
                  <a:lnTo>
                    <a:pt x="1255" y="1156"/>
                  </a:lnTo>
                  <a:lnTo>
                    <a:pt x="1248" y="1156"/>
                  </a:lnTo>
                  <a:lnTo>
                    <a:pt x="1245" y="1153"/>
                  </a:lnTo>
                  <a:lnTo>
                    <a:pt x="1242" y="1153"/>
                  </a:lnTo>
                  <a:lnTo>
                    <a:pt x="1238" y="1153"/>
                  </a:lnTo>
                  <a:lnTo>
                    <a:pt x="1235" y="1153"/>
                  </a:lnTo>
                  <a:lnTo>
                    <a:pt x="1231" y="1153"/>
                  </a:lnTo>
                  <a:lnTo>
                    <a:pt x="1228" y="1153"/>
                  </a:lnTo>
                  <a:lnTo>
                    <a:pt x="1228" y="1153"/>
                  </a:lnTo>
                  <a:lnTo>
                    <a:pt x="1221" y="1153"/>
                  </a:lnTo>
                  <a:lnTo>
                    <a:pt x="1214" y="1153"/>
                  </a:lnTo>
                  <a:lnTo>
                    <a:pt x="1207" y="1153"/>
                  </a:lnTo>
                  <a:lnTo>
                    <a:pt x="1204" y="1150"/>
                  </a:lnTo>
                  <a:lnTo>
                    <a:pt x="1200" y="1150"/>
                  </a:lnTo>
                  <a:lnTo>
                    <a:pt x="1200" y="1153"/>
                  </a:lnTo>
                  <a:lnTo>
                    <a:pt x="1200" y="1153"/>
                  </a:lnTo>
                  <a:lnTo>
                    <a:pt x="1200" y="1153"/>
                  </a:lnTo>
                  <a:lnTo>
                    <a:pt x="1197" y="1156"/>
                  </a:lnTo>
                  <a:lnTo>
                    <a:pt x="1190" y="1160"/>
                  </a:lnTo>
                  <a:lnTo>
                    <a:pt x="1183" y="1163"/>
                  </a:lnTo>
                  <a:lnTo>
                    <a:pt x="1183" y="1166"/>
                  </a:lnTo>
                  <a:lnTo>
                    <a:pt x="1183" y="1166"/>
                  </a:lnTo>
                  <a:lnTo>
                    <a:pt x="1183" y="1169"/>
                  </a:lnTo>
                  <a:lnTo>
                    <a:pt x="1180" y="1173"/>
                  </a:lnTo>
                  <a:lnTo>
                    <a:pt x="1173" y="1173"/>
                  </a:lnTo>
                  <a:lnTo>
                    <a:pt x="1169" y="1176"/>
                  </a:lnTo>
                  <a:lnTo>
                    <a:pt x="1162" y="1176"/>
                  </a:lnTo>
                  <a:lnTo>
                    <a:pt x="1162" y="1179"/>
                  </a:lnTo>
                  <a:lnTo>
                    <a:pt x="1159" y="1179"/>
                  </a:lnTo>
                  <a:lnTo>
                    <a:pt x="1156" y="1179"/>
                  </a:lnTo>
                  <a:lnTo>
                    <a:pt x="1156" y="1179"/>
                  </a:lnTo>
                  <a:lnTo>
                    <a:pt x="1152" y="1182"/>
                  </a:lnTo>
                  <a:lnTo>
                    <a:pt x="1149" y="1182"/>
                  </a:lnTo>
                  <a:lnTo>
                    <a:pt x="1145" y="1186"/>
                  </a:lnTo>
                  <a:lnTo>
                    <a:pt x="1145" y="1189"/>
                  </a:lnTo>
                  <a:lnTo>
                    <a:pt x="1142" y="1189"/>
                  </a:lnTo>
                  <a:lnTo>
                    <a:pt x="1138" y="1195"/>
                  </a:lnTo>
                  <a:lnTo>
                    <a:pt x="1128" y="1198"/>
                  </a:lnTo>
                  <a:lnTo>
                    <a:pt x="1128" y="1205"/>
                  </a:lnTo>
                  <a:lnTo>
                    <a:pt x="1121" y="1205"/>
                  </a:lnTo>
                  <a:lnTo>
                    <a:pt x="1118" y="1208"/>
                  </a:lnTo>
                  <a:lnTo>
                    <a:pt x="1114" y="1211"/>
                  </a:lnTo>
                  <a:lnTo>
                    <a:pt x="1111" y="1215"/>
                  </a:lnTo>
                  <a:lnTo>
                    <a:pt x="1111" y="1218"/>
                  </a:lnTo>
                  <a:lnTo>
                    <a:pt x="1101" y="1221"/>
                  </a:lnTo>
                  <a:lnTo>
                    <a:pt x="1101" y="1224"/>
                  </a:lnTo>
                  <a:lnTo>
                    <a:pt x="1090" y="1228"/>
                  </a:lnTo>
                  <a:lnTo>
                    <a:pt x="1083" y="1231"/>
                  </a:lnTo>
                  <a:lnTo>
                    <a:pt x="1090" y="1231"/>
                  </a:lnTo>
                  <a:lnTo>
                    <a:pt x="1101" y="1228"/>
                  </a:lnTo>
                  <a:lnTo>
                    <a:pt x="1107" y="1224"/>
                  </a:lnTo>
                  <a:lnTo>
                    <a:pt x="1114" y="1221"/>
                  </a:lnTo>
                  <a:lnTo>
                    <a:pt x="1118" y="1215"/>
                  </a:lnTo>
                  <a:lnTo>
                    <a:pt x="1125" y="1211"/>
                  </a:lnTo>
                  <a:lnTo>
                    <a:pt x="1128" y="1208"/>
                  </a:lnTo>
                  <a:lnTo>
                    <a:pt x="1135" y="1202"/>
                  </a:lnTo>
                  <a:lnTo>
                    <a:pt x="1149" y="1192"/>
                  </a:lnTo>
                  <a:lnTo>
                    <a:pt x="1159" y="1189"/>
                  </a:lnTo>
                  <a:lnTo>
                    <a:pt x="1162" y="1189"/>
                  </a:lnTo>
                  <a:lnTo>
                    <a:pt x="1169" y="1186"/>
                  </a:lnTo>
                  <a:lnTo>
                    <a:pt x="1180" y="1186"/>
                  </a:lnTo>
                  <a:lnTo>
                    <a:pt x="1190" y="1179"/>
                  </a:lnTo>
                  <a:lnTo>
                    <a:pt x="1193" y="1179"/>
                  </a:lnTo>
                  <a:lnTo>
                    <a:pt x="1200" y="1179"/>
                  </a:lnTo>
                  <a:lnTo>
                    <a:pt x="1211" y="1179"/>
                  </a:lnTo>
                  <a:lnTo>
                    <a:pt x="1218" y="1182"/>
                  </a:lnTo>
                  <a:lnTo>
                    <a:pt x="1228" y="1186"/>
                  </a:lnTo>
                  <a:lnTo>
                    <a:pt x="1228" y="1186"/>
                  </a:lnTo>
                  <a:lnTo>
                    <a:pt x="1221" y="1186"/>
                  </a:lnTo>
                  <a:lnTo>
                    <a:pt x="1221" y="1186"/>
                  </a:lnTo>
                  <a:lnTo>
                    <a:pt x="1221" y="1189"/>
                  </a:lnTo>
                  <a:lnTo>
                    <a:pt x="1224" y="1186"/>
                  </a:lnTo>
                  <a:lnTo>
                    <a:pt x="1228" y="1189"/>
                  </a:lnTo>
                  <a:lnTo>
                    <a:pt x="1228" y="1192"/>
                  </a:lnTo>
                  <a:lnTo>
                    <a:pt x="1228" y="1192"/>
                  </a:lnTo>
                  <a:lnTo>
                    <a:pt x="1228" y="1192"/>
                  </a:lnTo>
                  <a:lnTo>
                    <a:pt x="1224" y="1198"/>
                  </a:lnTo>
                  <a:lnTo>
                    <a:pt x="1221" y="1198"/>
                  </a:lnTo>
                  <a:lnTo>
                    <a:pt x="1218" y="1202"/>
                  </a:lnTo>
                  <a:lnTo>
                    <a:pt x="1214" y="1202"/>
                  </a:lnTo>
                  <a:lnTo>
                    <a:pt x="1211" y="1205"/>
                  </a:lnTo>
                  <a:lnTo>
                    <a:pt x="1204" y="1205"/>
                  </a:lnTo>
                  <a:lnTo>
                    <a:pt x="1200" y="1202"/>
                  </a:lnTo>
                  <a:lnTo>
                    <a:pt x="1197" y="1202"/>
                  </a:lnTo>
                  <a:lnTo>
                    <a:pt x="1193" y="1202"/>
                  </a:lnTo>
                  <a:lnTo>
                    <a:pt x="1190" y="1205"/>
                  </a:lnTo>
                  <a:lnTo>
                    <a:pt x="1187" y="1202"/>
                  </a:lnTo>
                  <a:lnTo>
                    <a:pt x="1183" y="1205"/>
                  </a:lnTo>
                  <a:lnTo>
                    <a:pt x="1187" y="1205"/>
                  </a:lnTo>
                  <a:lnTo>
                    <a:pt x="1193" y="1205"/>
                  </a:lnTo>
                  <a:lnTo>
                    <a:pt x="1200" y="1208"/>
                  </a:lnTo>
                  <a:lnTo>
                    <a:pt x="1200" y="1211"/>
                  </a:lnTo>
                  <a:lnTo>
                    <a:pt x="1204" y="1211"/>
                  </a:lnTo>
                  <a:lnTo>
                    <a:pt x="1207" y="1211"/>
                  </a:lnTo>
                  <a:lnTo>
                    <a:pt x="1211" y="1208"/>
                  </a:lnTo>
                  <a:lnTo>
                    <a:pt x="1214" y="1208"/>
                  </a:lnTo>
                  <a:lnTo>
                    <a:pt x="1214" y="1208"/>
                  </a:lnTo>
                  <a:lnTo>
                    <a:pt x="1218" y="1208"/>
                  </a:lnTo>
                  <a:lnTo>
                    <a:pt x="1218" y="1211"/>
                  </a:lnTo>
                  <a:lnTo>
                    <a:pt x="1214" y="1215"/>
                  </a:lnTo>
                  <a:lnTo>
                    <a:pt x="1211" y="1221"/>
                  </a:lnTo>
                  <a:lnTo>
                    <a:pt x="1207" y="1224"/>
                  </a:lnTo>
                  <a:lnTo>
                    <a:pt x="1207" y="1224"/>
                  </a:lnTo>
                  <a:lnTo>
                    <a:pt x="1214" y="1224"/>
                  </a:lnTo>
                  <a:lnTo>
                    <a:pt x="1214" y="1228"/>
                  </a:lnTo>
                  <a:lnTo>
                    <a:pt x="1211" y="1231"/>
                  </a:lnTo>
                  <a:lnTo>
                    <a:pt x="1214" y="1231"/>
                  </a:lnTo>
                  <a:lnTo>
                    <a:pt x="1214" y="1234"/>
                  </a:lnTo>
                  <a:lnTo>
                    <a:pt x="1214" y="1240"/>
                  </a:lnTo>
                  <a:lnTo>
                    <a:pt x="1214" y="1240"/>
                  </a:lnTo>
                  <a:lnTo>
                    <a:pt x="1218" y="1244"/>
                  </a:lnTo>
                  <a:lnTo>
                    <a:pt x="1221" y="1244"/>
                  </a:lnTo>
                  <a:lnTo>
                    <a:pt x="1221" y="1247"/>
                  </a:lnTo>
                  <a:lnTo>
                    <a:pt x="1228" y="1247"/>
                  </a:lnTo>
                  <a:lnTo>
                    <a:pt x="1228" y="1247"/>
                  </a:lnTo>
                  <a:lnTo>
                    <a:pt x="1224" y="1250"/>
                  </a:lnTo>
                  <a:lnTo>
                    <a:pt x="1228" y="1253"/>
                  </a:lnTo>
                  <a:lnTo>
                    <a:pt x="1235" y="1253"/>
                  </a:lnTo>
                  <a:lnTo>
                    <a:pt x="1238" y="1253"/>
                  </a:lnTo>
                  <a:lnTo>
                    <a:pt x="1238" y="1253"/>
                  </a:lnTo>
                  <a:lnTo>
                    <a:pt x="1245" y="1253"/>
                  </a:lnTo>
                  <a:lnTo>
                    <a:pt x="1245" y="1257"/>
                  </a:lnTo>
                  <a:lnTo>
                    <a:pt x="1252" y="1257"/>
                  </a:lnTo>
                  <a:lnTo>
                    <a:pt x="1252" y="1257"/>
                  </a:lnTo>
                  <a:lnTo>
                    <a:pt x="1259" y="1253"/>
                  </a:lnTo>
                  <a:lnTo>
                    <a:pt x="1259" y="1257"/>
                  </a:lnTo>
                  <a:lnTo>
                    <a:pt x="1259" y="1257"/>
                  </a:lnTo>
                  <a:lnTo>
                    <a:pt x="1262" y="1257"/>
                  </a:lnTo>
                  <a:lnTo>
                    <a:pt x="1269" y="1260"/>
                  </a:lnTo>
                  <a:lnTo>
                    <a:pt x="1269" y="1263"/>
                  </a:lnTo>
                  <a:lnTo>
                    <a:pt x="1269" y="1263"/>
                  </a:lnTo>
                  <a:lnTo>
                    <a:pt x="1266" y="1263"/>
                  </a:lnTo>
                  <a:lnTo>
                    <a:pt x="1269" y="1263"/>
                  </a:lnTo>
                  <a:lnTo>
                    <a:pt x="1273" y="1263"/>
                  </a:lnTo>
                  <a:lnTo>
                    <a:pt x="1276" y="1266"/>
                  </a:lnTo>
                  <a:lnTo>
                    <a:pt x="1273" y="1266"/>
                  </a:lnTo>
                  <a:lnTo>
                    <a:pt x="1269" y="1266"/>
                  </a:lnTo>
                  <a:lnTo>
                    <a:pt x="1266" y="1266"/>
                  </a:lnTo>
                  <a:lnTo>
                    <a:pt x="1259" y="1270"/>
                  </a:lnTo>
                  <a:lnTo>
                    <a:pt x="1252" y="1273"/>
                  </a:lnTo>
                  <a:lnTo>
                    <a:pt x="1248" y="1273"/>
                  </a:lnTo>
                  <a:lnTo>
                    <a:pt x="1242" y="1273"/>
                  </a:lnTo>
                  <a:lnTo>
                    <a:pt x="1235" y="1276"/>
                  </a:lnTo>
                  <a:lnTo>
                    <a:pt x="1228" y="1279"/>
                  </a:lnTo>
                  <a:lnTo>
                    <a:pt x="1228" y="1279"/>
                  </a:lnTo>
                  <a:lnTo>
                    <a:pt x="1228" y="1279"/>
                  </a:lnTo>
                  <a:lnTo>
                    <a:pt x="1221" y="1279"/>
                  </a:lnTo>
                  <a:lnTo>
                    <a:pt x="1221" y="1276"/>
                  </a:lnTo>
                  <a:lnTo>
                    <a:pt x="1218" y="1276"/>
                  </a:lnTo>
                  <a:lnTo>
                    <a:pt x="1218" y="1276"/>
                  </a:lnTo>
                  <a:lnTo>
                    <a:pt x="1214" y="1276"/>
                  </a:lnTo>
                  <a:lnTo>
                    <a:pt x="1211" y="1279"/>
                  </a:lnTo>
                  <a:lnTo>
                    <a:pt x="1214" y="1282"/>
                  </a:lnTo>
                  <a:lnTo>
                    <a:pt x="1207" y="1286"/>
                  </a:lnTo>
                  <a:lnTo>
                    <a:pt x="1200" y="1292"/>
                  </a:lnTo>
                  <a:lnTo>
                    <a:pt x="1197" y="1292"/>
                  </a:lnTo>
                  <a:lnTo>
                    <a:pt x="1193" y="1295"/>
                  </a:lnTo>
                  <a:lnTo>
                    <a:pt x="1190" y="1295"/>
                  </a:lnTo>
                  <a:lnTo>
                    <a:pt x="1190" y="1295"/>
                  </a:lnTo>
                  <a:lnTo>
                    <a:pt x="1190" y="1299"/>
                  </a:lnTo>
                  <a:lnTo>
                    <a:pt x="1187" y="1302"/>
                  </a:lnTo>
                  <a:lnTo>
                    <a:pt x="1187" y="1299"/>
                  </a:lnTo>
                  <a:lnTo>
                    <a:pt x="1183" y="1302"/>
                  </a:lnTo>
                  <a:lnTo>
                    <a:pt x="1180" y="1299"/>
                  </a:lnTo>
                  <a:lnTo>
                    <a:pt x="1180" y="1295"/>
                  </a:lnTo>
                  <a:lnTo>
                    <a:pt x="1180" y="1292"/>
                  </a:lnTo>
                  <a:lnTo>
                    <a:pt x="1176" y="1295"/>
                  </a:lnTo>
                  <a:lnTo>
                    <a:pt x="1176" y="1292"/>
                  </a:lnTo>
                  <a:lnTo>
                    <a:pt x="1176" y="1289"/>
                  </a:lnTo>
                  <a:lnTo>
                    <a:pt x="1176" y="1286"/>
                  </a:lnTo>
                  <a:lnTo>
                    <a:pt x="1176" y="1279"/>
                  </a:lnTo>
                  <a:lnTo>
                    <a:pt x="1183" y="1276"/>
                  </a:lnTo>
                  <a:lnTo>
                    <a:pt x="1183" y="1273"/>
                  </a:lnTo>
                  <a:lnTo>
                    <a:pt x="1190" y="1270"/>
                  </a:lnTo>
                  <a:lnTo>
                    <a:pt x="1200" y="1270"/>
                  </a:lnTo>
                  <a:lnTo>
                    <a:pt x="1204" y="1263"/>
                  </a:lnTo>
                  <a:lnTo>
                    <a:pt x="1211" y="1263"/>
                  </a:lnTo>
                  <a:lnTo>
                    <a:pt x="1214" y="1263"/>
                  </a:lnTo>
                  <a:lnTo>
                    <a:pt x="1214" y="1266"/>
                  </a:lnTo>
                  <a:lnTo>
                    <a:pt x="1218" y="1270"/>
                  </a:lnTo>
                  <a:lnTo>
                    <a:pt x="1218" y="1266"/>
                  </a:lnTo>
                  <a:lnTo>
                    <a:pt x="1218" y="1266"/>
                  </a:lnTo>
                  <a:lnTo>
                    <a:pt x="1221" y="1263"/>
                  </a:lnTo>
                  <a:lnTo>
                    <a:pt x="1224" y="1263"/>
                  </a:lnTo>
                  <a:lnTo>
                    <a:pt x="1231" y="1263"/>
                  </a:lnTo>
                  <a:lnTo>
                    <a:pt x="1224" y="1263"/>
                  </a:lnTo>
                  <a:lnTo>
                    <a:pt x="1218" y="1263"/>
                  </a:lnTo>
                  <a:lnTo>
                    <a:pt x="1214" y="1260"/>
                  </a:lnTo>
                  <a:lnTo>
                    <a:pt x="1211" y="1260"/>
                  </a:lnTo>
                  <a:lnTo>
                    <a:pt x="1207" y="1263"/>
                  </a:lnTo>
                  <a:lnTo>
                    <a:pt x="1204" y="1263"/>
                  </a:lnTo>
                  <a:lnTo>
                    <a:pt x="1207" y="1257"/>
                  </a:lnTo>
                  <a:lnTo>
                    <a:pt x="1211" y="1257"/>
                  </a:lnTo>
                  <a:lnTo>
                    <a:pt x="1214" y="1253"/>
                  </a:lnTo>
                  <a:lnTo>
                    <a:pt x="1214" y="1253"/>
                  </a:lnTo>
                  <a:lnTo>
                    <a:pt x="1211" y="1253"/>
                  </a:lnTo>
                  <a:lnTo>
                    <a:pt x="1211" y="1250"/>
                  </a:lnTo>
                  <a:lnTo>
                    <a:pt x="1207" y="1257"/>
                  </a:lnTo>
                  <a:lnTo>
                    <a:pt x="1204" y="1257"/>
                  </a:lnTo>
                  <a:lnTo>
                    <a:pt x="1200" y="1260"/>
                  </a:lnTo>
                  <a:lnTo>
                    <a:pt x="1197" y="1260"/>
                  </a:lnTo>
                  <a:lnTo>
                    <a:pt x="1193" y="1263"/>
                  </a:lnTo>
                  <a:lnTo>
                    <a:pt x="1187" y="1266"/>
                  </a:lnTo>
                  <a:lnTo>
                    <a:pt x="1183" y="1263"/>
                  </a:lnTo>
                  <a:lnTo>
                    <a:pt x="1183" y="1263"/>
                  </a:lnTo>
                  <a:lnTo>
                    <a:pt x="1183" y="1263"/>
                  </a:lnTo>
                  <a:lnTo>
                    <a:pt x="1187" y="1260"/>
                  </a:lnTo>
                  <a:lnTo>
                    <a:pt x="1183" y="1263"/>
                  </a:lnTo>
                  <a:lnTo>
                    <a:pt x="1180" y="1266"/>
                  </a:lnTo>
                  <a:lnTo>
                    <a:pt x="1176" y="1266"/>
                  </a:lnTo>
                  <a:lnTo>
                    <a:pt x="1173" y="1266"/>
                  </a:lnTo>
                  <a:lnTo>
                    <a:pt x="1169" y="1266"/>
                  </a:lnTo>
                  <a:lnTo>
                    <a:pt x="1169" y="1266"/>
                  </a:lnTo>
                  <a:lnTo>
                    <a:pt x="1169" y="1263"/>
                  </a:lnTo>
                  <a:lnTo>
                    <a:pt x="1162" y="1263"/>
                  </a:lnTo>
                  <a:lnTo>
                    <a:pt x="1159" y="1263"/>
                  </a:lnTo>
                  <a:lnTo>
                    <a:pt x="1159" y="1263"/>
                  </a:lnTo>
                  <a:lnTo>
                    <a:pt x="1156" y="1263"/>
                  </a:lnTo>
                  <a:lnTo>
                    <a:pt x="1159" y="1260"/>
                  </a:lnTo>
                  <a:lnTo>
                    <a:pt x="1159" y="1260"/>
                  </a:lnTo>
                  <a:lnTo>
                    <a:pt x="1159" y="1257"/>
                  </a:lnTo>
                  <a:lnTo>
                    <a:pt x="1159" y="1253"/>
                  </a:lnTo>
                  <a:lnTo>
                    <a:pt x="1156" y="1253"/>
                  </a:lnTo>
                  <a:lnTo>
                    <a:pt x="1156" y="1250"/>
                  </a:lnTo>
                  <a:lnTo>
                    <a:pt x="1152" y="1250"/>
                  </a:lnTo>
                  <a:lnTo>
                    <a:pt x="1156" y="1250"/>
                  </a:lnTo>
                  <a:lnTo>
                    <a:pt x="1159" y="1228"/>
                  </a:lnTo>
                  <a:lnTo>
                    <a:pt x="1159" y="1221"/>
                  </a:lnTo>
                  <a:lnTo>
                    <a:pt x="1152" y="1218"/>
                  </a:lnTo>
                  <a:lnTo>
                    <a:pt x="1149" y="1218"/>
                  </a:lnTo>
                  <a:lnTo>
                    <a:pt x="1145" y="1218"/>
                  </a:lnTo>
                  <a:lnTo>
                    <a:pt x="1138" y="1218"/>
                  </a:lnTo>
                  <a:lnTo>
                    <a:pt x="1138" y="1215"/>
                  </a:lnTo>
                  <a:lnTo>
                    <a:pt x="1135" y="1215"/>
                  </a:lnTo>
                  <a:lnTo>
                    <a:pt x="1135" y="1215"/>
                  </a:lnTo>
                  <a:lnTo>
                    <a:pt x="1132" y="1218"/>
                  </a:lnTo>
                  <a:lnTo>
                    <a:pt x="1128" y="1221"/>
                  </a:lnTo>
                  <a:lnTo>
                    <a:pt x="1121" y="1228"/>
                  </a:lnTo>
                  <a:lnTo>
                    <a:pt x="1118" y="1231"/>
                  </a:lnTo>
                  <a:lnTo>
                    <a:pt x="1118" y="1234"/>
                  </a:lnTo>
                  <a:lnTo>
                    <a:pt x="1114" y="1234"/>
                  </a:lnTo>
                  <a:lnTo>
                    <a:pt x="1114" y="1237"/>
                  </a:lnTo>
                  <a:lnTo>
                    <a:pt x="1111" y="1240"/>
                  </a:lnTo>
                  <a:lnTo>
                    <a:pt x="1107" y="1247"/>
                  </a:lnTo>
                  <a:lnTo>
                    <a:pt x="1104" y="1247"/>
                  </a:lnTo>
                  <a:lnTo>
                    <a:pt x="1097" y="1253"/>
                  </a:lnTo>
                  <a:lnTo>
                    <a:pt x="1097" y="1257"/>
                  </a:lnTo>
                  <a:lnTo>
                    <a:pt x="1094" y="1257"/>
                  </a:lnTo>
                  <a:lnTo>
                    <a:pt x="1090" y="1257"/>
                  </a:lnTo>
                  <a:lnTo>
                    <a:pt x="1090" y="1257"/>
                  </a:lnTo>
                  <a:lnTo>
                    <a:pt x="1087" y="1257"/>
                  </a:lnTo>
                  <a:lnTo>
                    <a:pt x="1087" y="1260"/>
                  </a:lnTo>
                  <a:lnTo>
                    <a:pt x="1080" y="1263"/>
                  </a:lnTo>
                  <a:lnTo>
                    <a:pt x="1025" y="1260"/>
                  </a:lnTo>
                  <a:lnTo>
                    <a:pt x="1018" y="1263"/>
                  </a:lnTo>
                  <a:lnTo>
                    <a:pt x="1015" y="1263"/>
                  </a:lnTo>
                  <a:lnTo>
                    <a:pt x="1011" y="1266"/>
                  </a:lnTo>
                  <a:lnTo>
                    <a:pt x="1004" y="1270"/>
                  </a:lnTo>
                  <a:lnTo>
                    <a:pt x="997" y="1276"/>
                  </a:lnTo>
                  <a:lnTo>
                    <a:pt x="990" y="1276"/>
                  </a:lnTo>
                  <a:lnTo>
                    <a:pt x="987" y="1279"/>
                  </a:lnTo>
                  <a:lnTo>
                    <a:pt x="973" y="1289"/>
                  </a:lnTo>
                  <a:lnTo>
                    <a:pt x="935" y="1299"/>
                  </a:lnTo>
                  <a:lnTo>
                    <a:pt x="935" y="1305"/>
                  </a:lnTo>
                  <a:lnTo>
                    <a:pt x="925" y="1308"/>
                  </a:lnTo>
                  <a:lnTo>
                    <a:pt x="860" y="1324"/>
                  </a:lnTo>
                  <a:lnTo>
                    <a:pt x="856" y="1318"/>
                  </a:lnTo>
                  <a:lnTo>
                    <a:pt x="860" y="1315"/>
                  </a:lnTo>
                  <a:lnTo>
                    <a:pt x="867" y="1312"/>
                  </a:lnTo>
                  <a:lnTo>
                    <a:pt x="870" y="1308"/>
                  </a:lnTo>
                  <a:lnTo>
                    <a:pt x="874" y="1305"/>
                  </a:lnTo>
                  <a:lnTo>
                    <a:pt x="874" y="1302"/>
                  </a:lnTo>
                  <a:lnTo>
                    <a:pt x="877" y="1279"/>
                  </a:lnTo>
                  <a:lnTo>
                    <a:pt x="863" y="1228"/>
                  </a:lnTo>
                  <a:lnTo>
                    <a:pt x="853" y="1221"/>
                  </a:lnTo>
                  <a:lnTo>
                    <a:pt x="846" y="1215"/>
                  </a:lnTo>
                  <a:lnTo>
                    <a:pt x="770" y="1186"/>
                  </a:lnTo>
                  <a:lnTo>
                    <a:pt x="767" y="1182"/>
                  </a:lnTo>
                  <a:lnTo>
                    <a:pt x="760" y="1182"/>
                  </a:lnTo>
                  <a:lnTo>
                    <a:pt x="760" y="1179"/>
                  </a:lnTo>
                  <a:lnTo>
                    <a:pt x="750" y="1179"/>
                  </a:lnTo>
                  <a:lnTo>
                    <a:pt x="750" y="1176"/>
                  </a:lnTo>
                  <a:lnTo>
                    <a:pt x="746" y="1176"/>
                  </a:lnTo>
                  <a:lnTo>
                    <a:pt x="743" y="1176"/>
                  </a:lnTo>
                  <a:lnTo>
                    <a:pt x="736" y="1176"/>
                  </a:lnTo>
                  <a:lnTo>
                    <a:pt x="736" y="1176"/>
                  </a:lnTo>
                  <a:lnTo>
                    <a:pt x="732" y="1173"/>
                  </a:lnTo>
                  <a:lnTo>
                    <a:pt x="729" y="1173"/>
                  </a:lnTo>
                  <a:lnTo>
                    <a:pt x="722" y="1169"/>
                  </a:lnTo>
                  <a:lnTo>
                    <a:pt x="719" y="1166"/>
                  </a:lnTo>
                  <a:lnTo>
                    <a:pt x="715" y="1166"/>
                  </a:lnTo>
                  <a:lnTo>
                    <a:pt x="712" y="1163"/>
                  </a:lnTo>
                  <a:lnTo>
                    <a:pt x="708" y="1163"/>
                  </a:lnTo>
                  <a:lnTo>
                    <a:pt x="705" y="1163"/>
                  </a:lnTo>
                  <a:lnTo>
                    <a:pt x="701" y="1163"/>
                  </a:lnTo>
                  <a:lnTo>
                    <a:pt x="701" y="1166"/>
                  </a:lnTo>
                  <a:lnTo>
                    <a:pt x="698" y="1163"/>
                  </a:lnTo>
                  <a:lnTo>
                    <a:pt x="695" y="1163"/>
                  </a:lnTo>
                  <a:lnTo>
                    <a:pt x="695" y="1160"/>
                  </a:lnTo>
                  <a:lnTo>
                    <a:pt x="691" y="1160"/>
                  </a:lnTo>
                  <a:lnTo>
                    <a:pt x="688" y="1160"/>
                  </a:lnTo>
                  <a:lnTo>
                    <a:pt x="688" y="1156"/>
                  </a:lnTo>
                  <a:lnTo>
                    <a:pt x="688" y="1156"/>
                  </a:lnTo>
                  <a:lnTo>
                    <a:pt x="681" y="1153"/>
                  </a:lnTo>
                  <a:lnTo>
                    <a:pt x="677" y="1153"/>
                  </a:lnTo>
                  <a:lnTo>
                    <a:pt x="674" y="1153"/>
                  </a:lnTo>
                  <a:lnTo>
                    <a:pt x="172" y="1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2" name="Freeform 163"/>
            <p:cNvSpPr>
              <a:spLocks noEditPoints="1"/>
            </p:cNvSpPr>
            <p:nvPr/>
          </p:nvSpPr>
          <p:spPr bwMode="auto">
            <a:xfrm>
              <a:off x="1198563" y="1724680"/>
              <a:ext cx="1654175" cy="1071562"/>
            </a:xfrm>
            <a:custGeom>
              <a:avLst/>
              <a:gdLst>
                <a:gd name="T0" fmla="*/ 912 w 1042"/>
                <a:gd name="T1" fmla="*/ 539 h 675"/>
                <a:gd name="T2" fmla="*/ 1022 w 1042"/>
                <a:gd name="T3" fmla="*/ 109 h 675"/>
                <a:gd name="T4" fmla="*/ 956 w 1042"/>
                <a:gd name="T5" fmla="*/ 84 h 675"/>
                <a:gd name="T6" fmla="*/ 908 w 1042"/>
                <a:gd name="T7" fmla="*/ 38 h 675"/>
                <a:gd name="T8" fmla="*/ 860 w 1042"/>
                <a:gd name="T9" fmla="*/ 26 h 675"/>
                <a:gd name="T10" fmla="*/ 815 w 1042"/>
                <a:gd name="T11" fmla="*/ 9 h 675"/>
                <a:gd name="T12" fmla="*/ 681 w 1042"/>
                <a:gd name="T13" fmla="*/ 64 h 675"/>
                <a:gd name="T14" fmla="*/ 636 w 1042"/>
                <a:gd name="T15" fmla="*/ 174 h 675"/>
                <a:gd name="T16" fmla="*/ 633 w 1042"/>
                <a:gd name="T17" fmla="*/ 190 h 675"/>
                <a:gd name="T18" fmla="*/ 564 w 1042"/>
                <a:gd name="T19" fmla="*/ 174 h 675"/>
                <a:gd name="T20" fmla="*/ 509 w 1042"/>
                <a:gd name="T21" fmla="*/ 210 h 675"/>
                <a:gd name="T22" fmla="*/ 585 w 1042"/>
                <a:gd name="T23" fmla="*/ 242 h 675"/>
                <a:gd name="T24" fmla="*/ 526 w 1042"/>
                <a:gd name="T25" fmla="*/ 297 h 675"/>
                <a:gd name="T26" fmla="*/ 427 w 1042"/>
                <a:gd name="T27" fmla="*/ 345 h 675"/>
                <a:gd name="T28" fmla="*/ 440 w 1042"/>
                <a:gd name="T29" fmla="*/ 374 h 675"/>
                <a:gd name="T30" fmla="*/ 464 w 1042"/>
                <a:gd name="T31" fmla="*/ 400 h 675"/>
                <a:gd name="T32" fmla="*/ 464 w 1042"/>
                <a:gd name="T33" fmla="*/ 455 h 675"/>
                <a:gd name="T34" fmla="*/ 526 w 1042"/>
                <a:gd name="T35" fmla="*/ 468 h 675"/>
                <a:gd name="T36" fmla="*/ 433 w 1042"/>
                <a:gd name="T37" fmla="*/ 536 h 675"/>
                <a:gd name="T38" fmla="*/ 347 w 1042"/>
                <a:gd name="T39" fmla="*/ 581 h 675"/>
                <a:gd name="T40" fmla="*/ 399 w 1042"/>
                <a:gd name="T41" fmla="*/ 571 h 675"/>
                <a:gd name="T42" fmla="*/ 464 w 1042"/>
                <a:gd name="T43" fmla="*/ 546 h 675"/>
                <a:gd name="T44" fmla="*/ 530 w 1042"/>
                <a:gd name="T45" fmla="*/ 507 h 675"/>
                <a:gd name="T46" fmla="*/ 581 w 1042"/>
                <a:gd name="T47" fmla="*/ 471 h 675"/>
                <a:gd name="T48" fmla="*/ 650 w 1042"/>
                <a:gd name="T49" fmla="*/ 426 h 675"/>
                <a:gd name="T50" fmla="*/ 633 w 1042"/>
                <a:gd name="T51" fmla="*/ 455 h 675"/>
                <a:gd name="T52" fmla="*/ 664 w 1042"/>
                <a:gd name="T53" fmla="*/ 471 h 675"/>
                <a:gd name="T54" fmla="*/ 705 w 1042"/>
                <a:gd name="T55" fmla="*/ 433 h 675"/>
                <a:gd name="T56" fmla="*/ 740 w 1042"/>
                <a:gd name="T57" fmla="*/ 445 h 675"/>
                <a:gd name="T58" fmla="*/ 788 w 1042"/>
                <a:gd name="T59" fmla="*/ 478 h 675"/>
                <a:gd name="T60" fmla="*/ 836 w 1042"/>
                <a:gd name="T61" fmla="*/ 517 h 675"/>
                <a:gd name="T62" fmla="*/ 863 w 1042"/>
                <a:gd name="T63" fmla="*/ 536 h 675"/>
                <a:gd name="T64" fmla="*/ 901 w 1042"/>
                <a:gd name="T65" fmla="*/ 523 h 675"/>
                <a:gd name="T66" fmla="*/ 905 w 1042"/>
                <a:gd name="T67" fmla="*/ 594 h 675"/>
                <a:gd name="T68" fmla="*/ 918 w 1042"/>
                <a:gd name="T69" fmla="*/ 639 h 675"/>
                <a:gd name="T70" fmla="*/ 884 w 1042"/>
                <a:gd name="T71" fmla="*/ 665 h 675"/>
                <a:gd name="T72" fmla="*/ 908 w 1042"/>
                <a:gd name="T73" fmla="*/ 659 h 675"/>
                <a:gd name="T74" fmla="*/ 867 w 1042"/>
                <a:gd name="T75" fmla="*/ 636 h 675"/>
                <a:gd name="T76" fmla="*/ 898 w 1042"/>
                <a:gd name="T77" fmla="*/ 659 h 675"/>
                <a:gd name="T78" fmla="*/ 888 w 1042"/>
                <a:gd name="T79" fmla="*/ 636 h 675"/>
                <a:gd name="T80" fmla="*/ 901 w 1042"/>
                <a:gd name="T81" fmla="*/ 617 h 675"/>
                <a:gd name="T82" fmla="*/ 888 w 1042"/>
                <a:gd name="T83" fmla="*/ 610 h 675"/>
                <a:gd name="T84" fmla="*/ 867 w 1042"/>
                <a:gd name="T85" fmla="*/ 620 h 675"/>
                <a:gd name="T86" fmla="*/ 884 w 1042"/>
                <a:gd name="T87" fmla="*/ 584 h 675"/>
                <a:gd name="T88" fmla="*/ 877 w 1042"/>
                <a:gd name="T89" fmla="*/ 571 h 675"/>
                <a:gd name="T90" fmla="*/ 292 w 1042"/>
                <a:gd name="T91" fmla="*/ 355 h 675"/>
                <a:gd name="T92" fmla="*/ 502 w 1042"/>
                <a:gd name="T93" fmla="*/ 287 h 675"/>
                <a:gd name="T94" fmla="*/ 726 w 1042"/>
                <a:gd name="T95" fmla="*/ 458 h 675"/>
                <a:gd name="T96" fmla="*/ 695 w 1042"/>
                <a:gd name="T97" fmla="*/ 465 h 675"/>
                <a:gd name="T98" fmla="*/ 378 w 1042"/>
                <a:gd name="T99" fmla="*/ 252 h 675"/>
                <a:gd name="T100" fmla="*/ 402 w 1042"/>
                <a:gd name="T101" fmla="*/ 400 h 675"/>
                <a:gd name="T102" fmla="*/ 592 w 1042"/>
                <a:gd name="T103" fmla="*/ 494 h 675"/>
                <a:gd name="T104" fmla="*/ 561 w 1042"/>
                <a:gd name="T105" fmla="*/ 520 h 675"/>
                <a:gd name="T106" fmla="*/ 574 w 1042"/>
                <a:gd name="T107" fmla="*/ 529 h 675"/>
                <a:gd name="T108" fmla="*/ 519 w 1042"/>
                <a:gd name="T109" fmla="*/ 555 h 675"/>
                <a:gd name="T110" fmla="*/ 413 w 1042"/>
                <a:gd name="T111" fmla="*/ 584 h 675"/>
                <a:gd name="T112" fmla="*/ 344 w 1042"/>
                <a:gd name="T113" fmla="*/ 594 h 675"/>
                <a:gd name="T114" fmla="*/ 58 w 1042"/>
                <a:gd name="T115" fmla="*/ 643 h 675"/>
                <a:gd name="T116" fmla="*/ 144 w 1042"/>
                <a:gd name="T117" fmla="*/ 639 h 675"/>
                <a:gd name="T118" fmla="*/ 234 w 1042"/>
                <a:gd name="T119" fmla="*/ 617 h 675"/>
                <a:gd name="T120" fmla="*/ 255 w 1042"/>
                <a:gd name="T121" fmla="*/ 620 h 675"/>
                <a:gd name="T122" fmla="*/ 292 w 1042"/>
                <a:gd name="T123" fmla="*/ 601 h 675"/>
                <a:gd name="T124" fmla="*/ 341 w 1042"/>
                <a:gd name="T125" fmla="*/ 575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2" h="675">
                  <a:moveTo>
                    <a:pt x="939" y="646"/>
                  </a:moveTo>
                  <a:lnTo>
                    <a:pt x="939" y="646"/>
                  </a:lnTo>
                  <a:lnTo>
                    <a:pt x="939" y="643"/>
                  </a:lnTo>
                  <a:lnTo>
                    <a:pt x="943" y="643"/>
                  </a:lnTo>
                  <a:lnTo>
                    <a:pt x="943" y="639"/>
                  </a:lnTo>
                  <a:lnTo>
                    <a:pt x="943" y="639"/>
                  </a:lnTo>
                  <a:lnTo>
                    <a:pt x="943" y="636"/>
                  </a:lnTo>
                  <a:lnTo>
                    <a:pt x="939" y="636"/>
                  </a:lnTo>
                  <a:lnTo>
                    <a:pt x="939" y="633"/>
                  </a:lnTo>
                  <a:lnTo>
                    <a:pt x="936" y="630"/>
                  </a:lnTo>
                  <a:lnTo>
                    <a:pt x="932" y="626"/>
                  </a:lnTo>
                  <a:lnTo>
                    <a:pt x="929" y="626"/>
                  </a:lnTo>
                  <a:lnTo>
                    <a:pt x="929" y="623"/>
                  </a:lnTo>
                  <a:lnTo>
                    <a:pt x="925" y="620"/>
                  </a:lnTo>
                  <a:lnTo>
                    <a:pt x="922" y="620"/>
                  </a:lnTo>
                  <a:lnTo>
                    <a:pt x="918" y="617"/>
                  </a:lnTo>
                  <a:lnTo>
                    <a:pt x="918" y="617"/>
                  </a:lnTo>
                  <a:lnTo>
                    <a:pt x="922" y="617"/>
                  </a:lnTo>
                  <a:lnTo>
                    <a:pt x="922" y="613"/>
                  </a:lnTo>
                  <a:lnTo>
                    <a:pt x="918" y="610"/>
                  </a:lnTo>
                  <a:lnTo>
                    <a:pt x="918" y="610"/>
                  </a:lnTo>
                  <a:lnTo>
                    <a:pt x="918" y="607"/>
                  </a:lnTo>
                  <a:lnTo>
                    <a:pt x="922" y="607"/>
                  </a:lnTo>
                  <a:lnTo>
                    <a:pt x="922" y="607"/>
                  </a:lnTo>
                  <a:lnTo>
                    <a:pt x="918" y="604"/>
                  </a:lnTo>
                  <a:lnTo>
                    <a:pt x="915" y="604"/>
                  </a:lnTo>
                  <a:lnTo>
                    <a:pt x="915" y="604"/>
                  </a:lnTo>
                  <a:lnTo>
                    <a:pt x="918" y="601"/>
                  </a:lnTo>
                  <a:lnTo>
                    <a:pt x="918" y="591"/>
                  </a:lnTo>
                  <a:lnTo>
                    <a:pt x="918" y="578"/>
                  </a:lnTo>
                  <a:lnTo>
                    <a:pt x="922" y="568"/>
                  </a:lnTo>
                  <a:lnTo>
                    <a:pt x="918" y="565"/>
                  </a:lnTo>
                  <a:lnTo>
                    <a:pt x="918" y="562"/>
                  </a:lnTo>
                  <a:lnTo>
                    <a:pt x="922" y="559"/>
                  </a:lnTo>
                  <a:lnTo>
                    <a:pt x="922" y="555"/>
                  </a:lnTo>
                  <a:lnTo>
                    <a:pt x="918" y="555"/>
                  </a:lnTo>
                  <a:lnTo>
                    <a:pt x="918" y="549"/>
                  </a:lnTo>
                  <a:lnTo>
                    <a:pt x="915" y="542"/>
                  </a:lnTo>
                  <a:lnTo>
                    <a:pt x="912" y="539"/>
                  </a:lnTo>
                  <a:lnTo>
                    <a:pt x="912" y="536"/>
                  </a:lnTo>
                  <a:lnTo>
                    <a:pt x="908" y="526"/>
                  </a:lnTo>
                  <a:lnTo>
                    <a:pt x="908" y="523"/>
                  </a:lnTo>
                  <a:lnTo>
                    <a:pt x="912" y="520"/>
                  </a:lnTo>
                  <a:lnTo>
                    <a:pt x="912" y="517"/>
                  </a:lnTo>
                  <a:lnTo>
                    <a:pt x="912" y="513"/>
                  </a:lnTo>
                  <a:lnTo>
                    <a:pt x="908" y="510"/>
                  </a:lnTo>
                  <a:lnTo>
                    <a:pt x="901" y="510"/>
                  </a:lnTo>
                  <a:lnTo>
                    <a:pt x="894" y="513"/>
                  </a:lnTo>
                  <a:lnTo>
                    <a:pt x="894" y="513"/>
                  </a:lnTo>
                  <a:lnTo>
                    <a:pt x="888" y="517"/>
                  </a:lnTo>
                  <a:lnTo>
                    <a:pt x="881" y="520"/>
                  </a:lnTo>
                  <a:lnTo>
                    <a:pt x="877" y="526"/>
                  </a:lnTo>
                  <a:lnTo>
                    <a:pt x="874" y="526"/>
                  </a:lnTo>
                  <a:lnTo>
                    <a:pt x="867" y="529"/>
                  </a:lnTo>
                  <a:lnTo>
                    <a:pt x="860" y="529"/>
                  </a:lnTo>
                  <a:lnTo>
                    <a:pt x="857" y="529"/>
                  </a:lnTo>
                  <a:lnTo>
                    <a:pt x="857" y="526"/>
                  </a:lnTo>
                  <a:lnTo>
                    <a:pt x="860" y="523"/>
                  </a:lnTo>
                  <a:lnTo>
                    <a:pt x="860" y="520"/>
                  </a:lnTo>
                  <a:lnTo>
                    <a:pt x="853" y="500"/>
                  </a:lnTo>
                  <a:lnTo>
                    <a:pt x="850" y="491"/>
                  </a:lnTo>
                  <a:lnTo>
                    <a:pt x="850" y="487"/>
                  </a:lnTo>
                  <a:lnTo>
                    <a:pt x="853" y="481"/>
                  </a:lnTo>
                  <a:lnTo>
                    <a:pt x="843" y="478"/>
                  </a:lnTo>
                  <a:lnTo>
                    <a:pt x="836" y="481"/>
                  </a:lnTo>
                  <a:lnTo>
                    <a:pt x="832" y="481"/>
                  </a:lnTo>
                  <a:lnTo>
                    <a:pt x="819" y="481"/>
                  </a:lnTo>
                  <a:lnTo>
                    <a:pt x="1042" y="132"/>
                  </a:lnTo>
                  <a:lnTo>
                    <a:pt x="1042" y="132"/>
                  </a:lnTo>
                  <a:lnTo>
                    <a:pt x="1039" y="132"/>
                  </a:lnTo>
                  <a:lnTo>
                    <a:pt x="1035" y="132"/>
                  </a:lnTo>
                  <a:lnTo>
                    <a:pt x="1032" y="129"/>
                  </a:lnTo>
                  <a:lnTo>
                    <a:pt x="1032" y="122"/>
                  </a:lnTo>
                  <a:lnTo>
                    <a:pt x="1029" y="119"/>
                  </a:lnTo>
                  <a:lnTo>
                    <a:pt x="1025" y="119"/>
                  </a:lnTo>
                  <a:lnTo>
                    <a:pt x="1025" y="116"/>
                  </a:lnTo>
                  <a:lnTo>
                    <a:pt x="1025" y="109"/>
                  </a:lnTo>
                  <a:lnTo>
                    <a:pt x="1022" y="109"/>
                  </a:lnTo>
                  <a:lnTo>
                    <a:pt x="1015" y="109"/>
                  </a:lnTo>
                  <a:lnTo>
                    <a:pt x="1015" y="109"/>
                  </a:lnTo>
                  <a:lnTo>
                    <a:pt x="1008" y="109"/>
                  </a:lnTo>
                  <a:lnTo>
                    <a:pt x="1004" y="109"/>
                  </a:lnTo>
                  <a:lnTo>
                    <a:pt x="1001" y="109"/>
                  </a:lnTo>
                  <a:lnTo>
                    <a:pt x="1001" y="109"/>
                  </a:lnTo>
                  <a:lnTo>
                    <a:pt x="998" y="109"/>
                  </a:lnTo>
                  <a:lnTo>
                    <a:pt x="998" y="109"/>
                  </a:lnTo>
                  <a:lnTo>
                    <a:pt x="994" y="109"/>
                  </a:lnTo>
                  <a:lnTo>
                    <a:pt x="994" y="106"/>
                  </a:lnTo>
                  <a:lnTo>
                    <a:pt x="998" y="106"/>
                  </a:lnTo>
                  <a:lnTo>
                    <a:pt x="998" y="106"/>
                  </a:lnTo>
                  <a:lnTo>
                    <a:pt x="994" y="103"/>
                  </a:lnTo>
                  <a:lnTo>
                    <a:pt x="991" y="106"/>
                  </a:lnTo>
                  <a:lnTo>
                    <a:pt x="987" y="103"/>
                  </a:lnTo>
                  <a:lnTo>
                    <a:pt x="987" y="103"/>
                  </a:lnTo>
                  <a:lnTo>
                    <a:pt x="991" y="103"/>
                  </a:lnTo>
                  <a:lnTo>
                    <a:pt x="987" y="100"/>
                  </a:lnTo>
                  <a:lnTo>
                    <a:pt x="987" y="100"/>
                  </a:lnTo>
                  <a:lnTo>
                    <a:pt x="984" y="100"/>
                  </a:lnTo>
                  <a:lnTo>
                    <a:pt x="984" y="100"/>
                  </a:lnTo>
                  <a:lnTo>
                    <a:pt x="980" y="97"/>
                  </a:lnTo>
                  <a:lnTo>
                    <a:pt x="977" y="93"/>
                  </a:lnTo>
                  <a:lnTo>
                    <a:pt x="974" y="93"/>
                  </a:lnTo>
                  <a:lnTo>
                    <a:pt x="974" y="93"/>
                  </a:lnTo>
                  <a:lnTo>
                    <a:pt x="970" y="93"/>
                  </a:lnTo>
                  <a:lnTo>
                    <a:pt x="970" y="93"/>
                  </a:lnTo>
                  <a:lnTo>
                    <a:pt x="970" y="93"/>
                  </a:lnTo>
                  <a:lnTo>
                    <a:pt x="970" y="90"/>
                  </a:lnTo>
                  <a:lnTo>
                    <a:pt x="967" y="90"/>
                  </a:lnTo>
                  <a:lnTo>
                    <a:pt x="963" y="93"/>
                  </a:lnTo>
                  <a:lnTo>
                    <a:pt x="963" y="93"/>
                  </a:lnTo>
                  <a:lnTo>
                    <a:pt x="963" y="90"/>
                  </a:lnTo>
                  <a:lnTo>
                    <a:pt x="963" y="90"/>
                  </a:lnTo>
                  <a:lnTo>
                    <a:pt x="963" y="87"/>
                  </a:lnTo>
                  <a:lnTo>
                    <a:pt x="960" y="87"/>
                  </a:lnTo>
                  <a:lnTo>
                    <a:pt x="956" y="87"/>
                  </a:lnTo>
                  <a:lnTo>
                    <a:pt x="956" y="87"/>
                  </a:lnTo>
                  <a:lnTo>
                    <a:pt x="956" y="84"/>
                  </a:lnTo>
                  <a:lnTo>
                    <a:pt x="953" y="84"/>
                  </a:lnTo>
                  <a:lnTo>
                    <a:pt x="953" y="80"/>
                  </a:lnTo>
                  <a:lnTo>
                    <a:pt x="953" y="80"/>
                  </a:lnTo>
                  <a:lnTo>
                    <a:pt x="949" y="77"/>
                  </a:lnTo>
                  <a:lnTo>
                    <a:pt x="949" y="77"/>
                  </a:lnTo>
                  <a:lnTo>
                    <a:pt x="946" y="77"/>
                  </a:lnTo>
                  <a:lnTo>
                    <a:pt x="939" y="84"/>
                  </a:lnTo>
                  <a:lnTo>
                    <a:pt x="932" y="87"/>
                  </a:lnTo>
                  <a:lnTo>
                    <a:pt x="939" y="84"/>
                  </a:lnTo>
                  <a:lnTo>
                    <a:pt x="943" y="77"/>
                  </a:lnTo>
                  <a:lnTo>
                    <a:pt x="946" y="74"/>
                  </a:lnTo>
                  <a:lnTo>
                    <a:pt x="949" y="71"/>
                  </a:lnTo>
                  <a:lnTo>
                    <a:pt x="946" y="67"/>
                  </a:lnTo>
                  <a:lnTo>
                    <a:pt x="939" y="64"/>
                  </a:lnTo>
                  <a:lnTo>
                    <a:pt x="936" y="64"/>
                  </a:lnTo>
                  <a:lnTo>
                    <a:pt x="932" y="67"/>
                  </a:lnTo>
                  <a:lnTo>
                    <a:pt x="929" y="67"/>
                  </a:lnTo>
                  <a:lnTo>
                    <a:pt x="925" y="67"/>
                  </a:lnTo>
                  <a:lnTo>
                    <a:pt x="922" y="67"/>
                  </a:lnTo>
                  <a:lnTo>
                    <a:pt x="915" y="74"/>
                  </a:lnTo>
                  <a:lnTo>
                    <a:pt x="912" y="77"/>
                  </a:lnTo>
                  <a:lnTo>
                    <a:pt x="915" y="74"/>
                  </a:lnTo>
                  <a:lnTo>
                    <a:pt x="915" y="67"/>
                  </a:lnTo>
                  <a:lnTo>
                    <a:pt x="915" y="64"/>
                  </a:lnTo>
                  <a:lnTo>
                    <a:pt x="915" y="61"/>
                  </a:lnTo>
                  <a:lnTo>
                    <a:pt x="908" y="58"/>
                  </a:lnTo>
                  <a:lnTo>
                    <a:pt x="908" y="58"/>
                  </a:lnTo>
                  <a:lnTo>
                    <a:pt x="912" y="58"/>
                  </a:lnTo>
                  <a:lnTo>
                    <a:pt x="915" y="58"/>
                  </a:lnTo>
                  <a:lnTo>
                    <a:pt x="915" y="55"/>
                  </a:lnTo>
                  <a:lnTo>
                    <a:pt x="905" y="51"/>
                  </a:lnTo>
                  <a:lnTo>
                    <a:pt x="905" y="48"/>
                  </a:lnTo>
                  <a:lnTo>
                    <a:pt x="908" y="45"/>
                  </a:lnTo>
                  <a:lnTo>
                    <a:pt x="912" y="45"/>
                  </a:lnTo>
                  <a:lnTo>
                    <a:pt x="915" y="42"/>
                  </a:lnTo>
                  <a:lnTo>
                    <a:pt x="912" y="38"/>
                  </a:lnTo>
                  <a:lnTo>
                    <a:pt x="912" y="35"/>
                  </a:lnTo>
                  <a:lnTo>
                    <a:pt x="908" y="35"/>
                  </a:lnTo>
                  <a:lnTo>
                    <a:pt x="908" y="38"/>
                  </a:lnTo>
                  <a:lnTo>
                    <a:pt x="905" y="35"/>
                  </a:lnTo>
                  <a:lnTo>
                    <a:pt x="901" y="32"/>
                  </a:lnTo>
                  <a:lnTo>
                    <a:pt x="898" y="35"/>
                  </a:lnTo>
                  <a:lnTo>
                    <a:pt x="894" y="32"/>
                  </a:lnTo>
                  <a:lnTo>
                    <a:pt x="891" y="32"/>
                  </a:lnTo>
                  <a:lnTo>
                    <a:pt x="888" y="32"/>
                  </a:lnTo>
                  <a:lnTo>
                    <a:pt x="884" y="32"/>
                  </a:lnTo>
                  <a:lnTo>
                    <a:pt x="884" y="35"/>
                  </a:lnTo>
                  <a:lnTo>
                    <a:pt x="884" y="35"/>
                  </a:lnTo>
                  <a:lnTo>
                    <a:pt x="881" y="35"/>
                  </a:lnTo>
                  <a:lnTo>
                    <a:pt x="881" y="32"/>
                  </a:lnTo>
                  <a:lnTo>
                    <a:pt x="884" y="29"/>
                  </a:lnTo>
                  <a:lnTo>
                    <a:pt x="884" y="29"/>
                  </a:lnTo>
                  <a:lnTo>
                    <a:pt x="884" y="26"/>
                  </a:lnTo>
                  <a:lnTo>
                    <a:pt x="888" y="26"/>
                  </a:lnTo>
                  <a:lnTo>
                    <a:pt x="888" y="22"/>
                  </a:lnTo>
                  <a:lnTo>
                    <a:pt x="888" y="19"/>
                  </a:lnTo>
                  <a:lnTo>
                    <a:pt x="888" y="16"/>
                  </a:lnTo>
                  <a:lnTo>
                    <a:pt x="884" y="16"/>
                  </a:lnTo>
                  <a:lnTo>
                    <a:pt x="881" y="19"/>
                  </a:lnTo>
                  <a:lnTo>
                    <a:pt x="881" y="22"/>
                  </a:lnTo>
                  <a:lnTo>
                    <a:pt x="881" y="22"/>
                  </a:lnTo>
                  <a:lnTo>
                    <a:pt x="877" y="22"/>
                  </a:lnTo>
                  <a:lnTo>
                    <a:pt x="874" y="22"/>
                  </a:lnTo>
                  <a:lnTo>
                    <a:pt x="870" y="26"/>
                  </a:lnTo>
                  <a:lnTo>
                    <a:pt x="874" y="29"/>
                  </a:lnTo>
                  <a:lnTo>
                    <a:pt x="870" y="29"/>
                  </a:lnTo>
                  <a:lnTo>
                    <a:pt x="867" y="29"/>
                  </a:lnTo>
                  <a:lnTo>
                    <a:pt x="867" y="29"/>
                  </a:lnTo>
                  <a:lnTo>
                    <a:pt x="863" y="32"/>
                  </a:lnTo>
                  <a:lnTo>
                    <a:pt x="863" y="35"/>
                  </a:lnTo>
                  <a:lnTo>
                    <a:pt x="863" y="32"/>
                  </a:lnTo>
                  <a:lnTo>
                    <a:pt x="863" y="29"/>
                  </a:lnTo>
                  <a:lnTo>
                    <a:pt x="867" y="26"/>
                  </a:lnTo>
                  <a:lnTo>
                    <a:pt x="863" y="26"/>
                  </a:lnTo>
                  <a:lnTo>
                    <a:pt x="860" y="29"/>
                  </a:lnTo>
                  <a:lnTo>
                    <a:pt x="860" y="32"/>
                  </a:lnTo>
                  <a:lnTo>
                    <a:pt x="857" y="32"/>
                  </a:lnTo>
                  <a:lnTo>
                    <a:pt x="860" y="26"/>
                  </a:lnTo>
                  <a:lnTo>
                    <a:pt x="857" y="22"/>
                  </a:lnTo>
                  <a:lnTo>
                    <a:pt x="853" y="22"/>
                  </a:lnTo>
                  <a:lnTo>
                    <a:pt x="853" y="22"/>
                  </a:lnTo>
                  <a:lnTo>
                    <a:pt x="860" y="19"/>
                  </a:lnTo>
                  <a:lnTo>
                    <a:pt x="863" y="19"/>
                  </a:lnTo>
                  <a:lnTo>
                    <a:pt x="867" y="19"/>
                  </a:lnTo>
                  <a:lnTo>
                    <a:pt x="874" y="19"/>
                  </a:lnTo>
                  <a:lnTo>
                    <a:pt x="877" y="19"/>
                  </a:lnTo>
                  <a:lnTo>
                    <a:pt x="881" y="16"/>
                  </a:lnTo>
                  <a:lnTo>
                    <a:pt x="881" y="13"/>
                  </a:lnTo>
                  <a:lnTo>
                    <a:pt x="881" y="13"/>
                  </a:lnTo>
                  <a:lnTo>
                    <a:pt x="881" y="9"/>
                  </a:lnTo>
                  <a:lnTo>
                    <a:pt x="877" y="9"/>
                  </a:lnTo>
                  <a:lnTo>
                    <a:pt x="874" y="9"/>
                  </a:lnTo>
                  <a:lnTo>
                    <a:pt x="874" y="6"/>
                  </a:lnTo>
                  <a:lnTo>
                    <a:pt x="874" y="6"/>
                  </a:lnTo>
                  <a:lnTo>
                    <a:pt x="870" y="3"/>
                  </a:lnTo>
                  <a:lnTo>
                    <a:pt x="870" y="3"/>
                  </a:lnTo>
                  <a:lnTo>
                    <a:pt x="874" y="3"/>
                  </a:lnTo>
                  <a:lnTo>
                    <a:pt x="874" y="0"/>
                  </a:lnTo>
                  <a:lnTo>
                    <a:pt x="874" y="0"/>
                  </a:lnTo>
                  <a:lnTo>
                    <a:pt x="867" y="3"/>
                  </a:lnTo>
                  <a:lnTo>
                    <a:pt x="863" y="6"/>
                  </a:lnTo>
                  <a:lnTo>
                    <a:pt x="860" y="6"/>
                  </a:lnTo>
                  <a:lnTo>
                    <a:pt x="853" y="6"/>
                  </a:lnTo>
                  <a:lnTo>
                    <a:pt x="846" y="13"/>
                  </a:lnTo>
                  <a:lnTo>
                    <a:pt x="843" y="16"/>
                  </a:lnTo>
                  <a:lnTo>
                    <a:pt x="832" y="16"/>
                  </a:lnTo>
                  <a:lnTo>
                    <a:pt x="829" y="13"/>
                  </a:lnTo>
                  <a:lnTo>
                    <a:pt x="826" y="9"/>
                  </a:lnTo>
                  <a:lnTo>
                    <a:pt x="826" y="13"/>
                  </a:lnTo>
                  <a:lnTo>
                    <a:pt x="822" y="13"/>
                  </a:lnTo>
                  <a:lnTo>
                    <a:pt x="819" y="9"/>
                  </a:lnTo>
                  <a:lnTo>
                    <a:pt x="815" y="9"/>
                  </a:lnTo>
                  <a:lnTo>
                    <a:pt x="815" y="13"/>
                  </a:lnTo>
                  <a:lnTo>
                    <a:pt x="812" y="13"/>
                  </a:lnTo>
                  <a:lnTo>
                    <a:pt x="812" y="13"/>
                  </a:lnTo>
                  <a:lnTo>
                    <a:pt x="812" y="9"/>
                  </a:lnTo>
                  <a:lnTo>
                    <a:pt x="815" y="9"/>
                  </a:lnTo>
                  <a:lnTo>
                    <a:pt x="812" y="6"/>
                  </a:lnTo>
                  <a:lnTo>
                    <a:pt x="808" y="6"/>
                  </a:lnTo>
                  <a:lnTo>
                    <a:pt x="802" y="9"/>
                  </a:lnTo>
                  <a:lnTo>
                    <a:pt x="795" y="13"/>
                  </a:lnTo>
                  <a:lnTo>
                    <a:pt x="795" y="16"/>
                  </a:lnTo>
                  <a:lnTo>
                    <a:pt x="795" y="19"/>
                  </a:lnTo>
                  <a:lnTo>
                    <a:pt x="798" y="19"/>
                  </a:lnTo>
                  <a:lnTo>
                    <a:pt x="798" y="22"/>
                  </a:lnTo>
                  <a:lnTo>
                    <a:pt x="791" y="22"/>
                  </a:lnTo>
                  <a:lnTo>
                    <a:pt x="788" y="26"/>
                  </a:lnTo>
                  <a:lnTo>
                    <a:pt x="784" y="32"/>
                  </a:lnTo>
                  <a:lnTo>
                    <a:pt x="781" y="38"/>
                  </a:lnTo>
                  <a:lnTo>
                    <a:pt x="781" y="38"/>
                  </a:lnTo>
                  <a:lnTo>
                    <a:pt x="777" y="38"/>
                  </a:lnTo>
                  <a:lnTo>
                    <a:pt x="781" y="32"/>
                  </a:lnTo>
                  <a:lnTo>
                    <a:pt x="784" y="26"/>
                  </a:lnTo>
                  <a:lnTo>
                    <a:pt x="784" y="22"/>
                  </a:lnTo>
                  <a:lnTo>
                    <a:pt x="784" y="22"/>
                  </a:lnTo>
                  <a:lnTo>
                    <a:pt x="774" y="26"/>
                  </a:lnTo>
                  <a:lnTo>
                    <a:pt x="771" y="26"/>
                  </a:lnTo>
                  <a:lnTo>
                    <a:pt x="767" y="26"/>
                  </a:lnTo>
                  <a:lnTo>
                    <a:pt x="764" y="22"/>
                  </a:lnTo>
                  <a:lnTo>
                    <a:pt x="760" y="22"/>
                  </a:lnTo>
                  <a:lnTo>
                    <a:pt x="757" y="22"/>
                  </a:lnTo>
                  <a:lnTo>
                    <a:pt x="757" y="22"/>
                  </a:lnTo>
                  <a:lnTo>
                    <a:pt x="764" y="26"/>
                  </a:lnTo>
                  <a:lnTo>
                    <a:pt x="767" y="26"/>
                  </a:lnTo>
                  <a:lnTo>
                    <a:pt x="764" y="29"/>
                  </a:lnTo>
                  <a:lnTo>
                    <a:pt x="757" y="26"/>
                  </a:lnTo>
                  <a:lnTo>
                    <a:pt x="753" y="26"/>
                  </a:lnTo>
                  <a:lnTo>
                    <a:pt x="743" y="29"/>
                  </a:lnTo>
                  <a:lnTo>
                    <a:pt x="733" y="35"/>
                  </a:lnTo>
                  <a:lnTo>
                    <a:pt x="722" y="42"/>
                  </a:lnTo>
                  <a:lnTo>
                    <a:pt x="716" y="45"/>
                  </a:lnTo>
                  <a:lnTo>
                    <a:pt x="705" y="51"/>
                  </a:lnTo>
                  <a:lnTo>
                    <a:pt x="698" y="58"/>
                  </a:lnTo>
                  <a:lnTo>
                    <a:pt x="691" y="61"/>
                  </a:lnTo>
                  <a:lnTo>
                    <a:pt x="688" y="61"/>
                  </a:lnTo>
                  <a:lnTo>
                    <a:pt x="681" y="64"/>
                  </a:lnTo>
                  <a:lnTo>
                    <a:pt x="678" y="64"/>
                  </a:lnTo>
                  <a:lnTo>
                    <a:pt x="671" y="67"/>
                  </a:lnTo>
                  <a:lnTo>
                    <a:pt x="664" y="67"/>
                  </a:lnTo>
                  <a:lnTo>
                    <a:pt x="664" y="67"/>
                  </a:lnTo>
                  <a:lnTo>
                    <a:pt x="657" y="64"/>
                  </a:lnTo>
                  <a:lnTo>
                    <a:pt x="650" y="64"/>
                  </a:lnTo>
                  <a:lnTo>
                    <a:pt x="647" y="61"/>
                  </a:lnTo>
                  <a:lnTo>
                    <a:pt x="643" y="58"/>
                  </a:lnTo>
                  <a:lnTo>
                    <a:pt x="640" y="58"/>
                  </a:lnTo>
                  <a:lnTo>
                    <a:pt x="636" y="64"/>
                  </a:lnTo>
                  <a:lnTo>
                    <a:pt x="630" y="67"/>
                  </a:lnTo>
                  <a:lnTo>
                    <a:pt x="626" y="74"/>
                  </a:lnTo>
                  <a:lnTo>
                    <a:pt x="623" y="77"/>
                  </a:lnTo>
                  <a:lnTo>
                    <a:pt x="619" y="80"/>
                  </a:lnTo>
                  <a:lnTo>
                    <a:pt x="616" y="80"/>
                  </a:lnTo>
                  <a:lnTo>
                    <a:pt x="616" y="77"/>
                  </a:lnTo>
                  <a:lnTo>
                    <a:pt x="612" y="80"/>
                  </a:lnTo>
                  <a:lnTo>
                    <a:pt x="616" y="87"/>
                  </a:lnTo>
                  <a:lnTo>
                    <a:pt x="619" y="100"/>
                  </a:lnTo>
                  <a:lnTo>
                    <a:pt x="626" y="113"/>
                  </a:lnTo>
                  <a:lnTo>
                    <a:pt x="626" y="122"/>
                  </a:lnTo>
                  <a:lnTo>
                    <a:pt x="626" y="132"/>
                  </a:lnTo>
                  <a:lnTo>
                    <a:pt x="623" y="139"/>
                  </a:lnTo>
                  <a:lnTo>
                    <a:pt x="619" y="142"/>
                  </a:lnTo>
                  <a:lnTo>
                    <a:pt x="619" y="145"/>
                  </a:lnTo>
                  <a:lnTo>
                    <a:pt x="626" y="151"/>
                  </a:lnTo>
                  <a:lnTo>
                    <a:pt x="630" y="151"/>
                  </a:lnTo>
                  <a:lnTo>
                    <a:pt x="630" y="148"/>
                  </a:lnTo>
                  <a:lnTo>
                    <a:pt x="633" y="151"/>
                  </a:lnTo>
                  <a:lnTo>
                    <a:pt x="636" y="148"/>
                  </a:lnTo>
                  <a:lnTo>
                    <a:pt x="636" y="148"/>
                  </a:lnTo>
                  <a:lnTo>
                    <a:pt x="636" y="151"/>
                  </a:lnTo>
                  <a:lnTo>
                    <a:pt x="633" y="151"/>
                  </a:lnTo>
                  <a:lnTo>
                    <a:pt x="643" y="158"/>
                  </a:lnTo>
                  <a:lnTo>
                    <a:pt x="643" y="161"/>
                  </a:lnTo>
                  <a:lnTo>
                    <a:pt x="636" y="161"/>
                  </a:lnTo>
                  <a:lnTo>
                    <a:pt x="636" y="161"/>
                  </a:lnTo>
                  <a:lnTo>
                    <a:pt x="636" y="171"/>
                  </a:lnTo>
                  <a:lnTo>
                    <a:pt x="636" y="174"/>
                  </a:lnTo>
                  <a:lnTo>
                    <a:pt x="640" y="177"/>
                  </a:lnTo>
                  <a:lnTo>
                    <a:pt x="640" y="174"/>
                  </a:lnTo>
                  <a:lnTo>
                    <a:pt x="647" y="174"/>
                  </a:lnTo>
                  <a:lnTo>
                    <a:pt x="650" y="174"/>
                  </a:lnTo>
                  <a:lnTo>
                    <a:pt x="650" y="177"/>
                  </a:lnTo>
                  <a:lnTo>
                    <a:pt x="654" y="174"/>
                  </a:lnTo>
                  <a:lnTo>
                    <a:pt x="660" y="177"/>
                  </a:lnTo>
                  <a:lnTo>
                    <a:pt x="667" y="181"/>
                  </a:lnTo>
                  <a:lnTo>
                    <a:pt x="660" y="181"/>
                  </a:lnTo>
                  <a:lnTo>
                    <a:pt x="664" y="184"/>
                  </a:lnTo>
                  <a:lnTo>
                    <a:pt x="660" y="187"/>
                  </a:lnTo>
                  <a:lnTo>
                    <a:pt x="654" y="190"/>
                  </a:lnTo>
                  <a:lnTo>
                    <a:pt x="654" y="187"/>
                  </a:lnTo>
                  <a:lnTo>
                    <a:pt x="650" y="184"/>
                  </a:lnTo>
                  <a:lnTo>
                    <a:pt x="650" y="187"/>
                  </a:lnTo>
                  <a:lnTo>
                    <a:pt x="643" y="187"/>
                  </a:lnTo>
                  <a:lnTo>
                    <a:pt x="643" y="184"/>
                  </a:lnTo>
                  <a:lnTo>
                    <a:pt x="640" y="181"/>
                  </a:lnTo>
                  <a:lnTo>
                    <a:pt x="636" y="177"/>
                  </a:lnTo>
                  <a:lnTo>
                    <a:pt x="636" y="177"/>
                  </a:lnTo>
                  <a:lnTo>
                    <a:pt x="630" y="174"/>
                  </a:lnTo>
                  <a:lnTo>
                    <a:pt x="630" y="171"/>
                  </a:lnTo>
                  <a:lnTo>
                    <a:pt x="636" y="161"/>
                  </a:lnTo>
                  <a:lnTo>
                    <a:pt x="633" y="158"/>
                  </a:lnTo>
                  <a:lnTo>
                    <a:pt x="633" y="158"/>
                  </a:lnTo>
                  <a:lnTo>
                    <a:pt x="630" y="161"/>
                  </a:lnTo>
                  <a:lnTo>
                    <a:pt x="630" y="171"/>
                  </a:lnTo>
                  <a:lnTo>
                    <a:pt x="626" y="177"/>
                  </a:lnTo>
                  <a:lnTo>
                    <a:pt x="623" y="181"/>
                  </a:lnTo>
                  <a:lnTo>
                    <a:pt x="623" y="184"/>
                  </a:lnTo>
                  <a:lnTo>
                    <a:pt x="626" y="177"/>
                  </a:lnTo>
                  <a:lnTo>
                    <a:pt x="630" y="177"/>
                  </a:lnTo>
                  <a:lnTo>
                    <a:pt x="630" y="181"/>
                  </a:lnTo>
                  <a:lnTo>
                    <a:pt x="636" y="181"/>
                  </a:lnTo>
                  <a:lnTo>
                    <a:pt x="636" y="184"/>
                  </a:lnTo>
                  <a:lnTo>
                    <a:pt x="636" y="190"/>
                  </a:lnTo>
                  <a:lnTo>
                    <a:pt x="633" y="193"/>
                  </a:lnTo>
                  <a:lnTo>
                    <a:pt x="626" y="197"/>
                  </a:lnTo>
                  <a:lnTo>
                    <a:pt x="633" y="190"/>
                  </a:lnTo>
                  <a:lnTo>
                    <a:pt x="633" y="187"/>
                  </a:lnTo>
                  <a:lnTo>
                    <a:pt x="630" y="187"/>
                  </a:lnTo>
                  <a:lnTo>
                    <a:pt x="630" y="187"/>
                  </a:lnTo>
                  <a:lnTo>
                    <a:pt x="626" y="187"/>
                  </a:lnTo>
                  <a:lnTo>
                    <a:pt x="619" y="190"/>
                  </a:lnTo>
                  <a:lnTo>
                    <a:pt x="619" y="193"/>
                  </a:lnTo>
                  <a:lnTo>
                    <a:pt x="616" y="197"/>
                  </a:lnTo>
                  <a:lnTo>
                    <a:pt x="612" y="197"/>
                  </a:lnTo>
                  <a:lnTo>
                    <a:pt x="612" y="193"/>
                  </a:lnTo>
                  <a:lnTo>
                    <a:pt x="609" y="193"/>
                  </a:lnTo>
                  <a:lnTo>
                    <a:pt x="605" y="193"/>
                  </a:lnTo>
                  <a:lnTo>
                    <a:pt x="602" y="193"/>
                  </a:lnTo>
                  <a:lnTo>
                    <a:pt x="602" y="190"/>
                  </a:lnTo>
                  <a:lnTo>
                    <a:pt x="599" y="187"/>
                  </a:lnTo>
                  <a:lnTo>
                    <a:pt x="599" y="190"/>
                  </a:lnTo>
                  <a:lnTo>
                    <a:pt x="595" y="190"/>
                  </a:lnTo>
                  <a:lnTo>
                    <a:pt x="595" y="187"/>
                  </a:lnTo>
                  <a:lnTo>
                    <a:pt x="592" y="184"/>
                  </a:lnTo>
                  <a:lnTo>
                    <a:pt x="588" y="187"/>
                  </a:lnTo>
                  <a:lnTo>
                    <a:pt x="588" y="187"/>
                  </a:lnTo>
                  <a:lnTo>
                    <a:pt x="588" y="181"/>
                  </a:lnTo>
                  <a:lnTo>
                    <a:pt x="585" y="181"/>
                  </a:lnTo>
                  <a:lnTo>
                    <a:pt x="585" y="177"/>
                  </a:lnTo>
                  <a:lnTo>
                    <a:pt x="588" y="177"/>
                  </a:lnTo>
                  <a:lnTo>
                    <a:pt x="592" y="171"/>
                  </a:lnTo>
                  <a:lnTo>
                    <a:pt x="595" y="171"/>
                  </a:lnTo>
                  <a:lnTo>
                    <a:pt x="599" y="168"/>
                  </a:lnTo>
                  <a:lnTo>
                    <a:pt x="599" y="168"/>
                  </a:lnTo>
                  <a:lnTo>
                    <a:pt x="592" y="161"/>
                  </a:lnTo>
                  <a:lnTo>
                    <a:pt x="588" y="161"/>
                  </a:lnTo>
                  <a:lnTo>
                    <a:pt x="585" y="161"/>
                  </a:lnTo>
                  <a:lnTo>
                    <a:pt x="578" y="164"/>
                  </a:lnTo>
                  <a:lnTo>
                    <a:pt x="574" y="164"/>
                  </a:lnTo>
                  <a:lnTo>
                    <a:pt x="571" y="161"/>
                  </a:lnTo>
                  <a:lnTo>
                    <a:pt x="568" y="161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7" y="171"/>
                  </a:lnTo>
                  <a:lnTo>
                    <a:pt x="564" y="174"/>
                  </a:lnTo>
                  <a:lnTo>
                    <a:pt x="561" y="174"/>
                  </a:lnTo>
                  <a:lnTo>
                    <a:pt x="561" y="174"/>
                  </a:lnTo>
                  <a:lnTo>
                    <a:pt x="557" y="174"/>
                  </a:lnTo>
                  <a:lnTo>
                    <a:pt x="554" y="171"/>
                  </a:lnTo>
                  <a:lnTo>
                    <a:pt x="550" y="171"/>
                  </a:lnTo>
                  <a:lnTo>
                    <a:pt x="544" y="171"/>
                  </a:lnTo>
                  <a:lnTo>
                    <a:pt x="537" y="171"/>
                  </a:lnTo>
                  <a:lnTo>
                    <a:pt x="533" y="171"/>
                  </a:lnTo>
                  <a:lnTo>
                    <a:pt x="533" y="174"/>
                  </a:lnTo>
                  <a:lnTo>
                    <a:pt x="530" y="174"/>
                  </a:lnTo>
                  <a:lnTo>
                    <a:pt x="530" y="174"/>
                  </a:lnTo>
                  <a:lnTo>
                    <a:pt x="526" y="174"/>
                  </a:lnTo>
                  <a:lnTo>
                    <a:pt x="519" y="177"/>
                  </a:lnTo>
                  <a:lnTo>
                    <a:pt x="519" y="177"/>
                  </a:lnTo>
                  <a:lnTo>
                    <a:pt x="516" y="177"/>
                  </a:lnTo>
                  <a:lnTo>
                    <a:pt x="513" y="181"/>
                  </a:lnTo>
                  <a:lnTo>
                    <a:pt x="509" y="184"/>
                  </a:lnTo>
                  <a:lnTo>
                    <a:pt x="506" y="184"/>
                  </a:lnTo>
                  <a:lnTo>
                    <a:pt x="506" y="184"/>
                  </a:lnTo>
                  <a:lnTo>
                    <a:pt x="506" y="181"/>
                  </a:lnTo>
                  <a:lnTo>
                    <a:pt x="506" y="181"/>
                  </a:lnTo>
                  <a:lnTo>
                    <a:pt x="502" y="184"/>
                  </a:lnTo>
                  <a:lnTo>
                    <a:pt x="502" y="187"/>
                  </a:lnTo>
                  <a:lnTo>
                    <a:pt x="506" y="193"/>
                  </a:lnTo>
                  <a:lnTo>
                    <a:pt x="513" y="200"/>
                  </a:lnTo>
                  <a:lnTo>
                    <a:pt x="516" y="200"/>
                  </a:lnTo>
                  <a:lnTo>
                    <a:pt x="519" y="203"/>
                  </a:lnTo>
                  <a:lnTo>
                    <a:pt x="526" y="206"/>
                  </a:lnTo>
                  <a:lnTo>
                    <a:pt x="526" y="210"/>
                  </a:lnTo>
                  <a:lnTo>
                    <a:pt x="530" y="213"/>
                  </a:lnTo>
                  <a:lnTo>
                    <a:pt x="533" y="213"/>
                  </a:lnTo>
                  <a:lnTo>
                    <a:pt x="533" y="213"/>
                  </a:lnTo>
                  <a:lnTo>
                    <a:pt x="526" y="213"/>
                  </a:lnTo>
                  <a:lnTo>
                    <a:pt x="526" y="210"/>
                  </a:lnTo>
                  <a:lnTo>
                    <a:pt x="523" y="210"/>
                  </a:lnTo>
                  <a:lnTo>
                    <a:pt x="519" y="206"/>
                  </a:lnTo>
                  <a:lnTo>
                    <a:pt x="516" y="206"/>
                  </a:lnTo>
                  <a:lnTo>
                    <a:pt x="513" y="210"/>
                  </a:lnTo>
                  <a:lnTo>
                    <a:pt x="509" y="210"/>
                  </a:lnTo>
                  <a:lnTo>
                    <a:pt x="509" y="206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09" y="203"/>
                  </a:lnTo>
                  <a:lnTo>
                    <a:pt x="506" y="206"/>
                  </a:lnTo>
                  <a:lnTo>
                    <a:pt x="506" y="213"/>
                  </a:lnTo>
                  <a:lnTo>
                    <a:pt x="506" y="216"/>
                  </a:lnTo>
                  <a:lnTo>
                    <a:pt x="506" y="216"/>
                  </a:lnTo>
                  <a:lnTo>
                    <a:pt x="502" y="219"/>
                  </a:lnTo>
                  <a:lnTo>
                    <a:pt x="499" y="226"/>
                  </a:lnTo>
                  <a:lnTo>
                    <a:pt x="499" y="229"/>
                  </a:lnTo>
                  <a:lnTo>
                    <a:pt x="499" y="232"/>
                  </a:lnTo>
                  <a:lnTo>
                    <a:pt x="506" y="239"/>
                  </a:lnTo>
                  <a:lnTo>
                    <a:pt x="513" y="242"/>
                  </a:lnTo>
                  <a:lnTo>
                    <a:pt x="516" y="245"/>
                  </a:lnTo>
                  <a:lnTo>
                    <a:pt x="519" y="245"/>
                  </a:lnTo>
                  <a:lnTo>
                    <a:pt x="523" y="242"/>
                  </a:lnTo>
                  <a:lnTo>
                    <a:pt x="530" y="242"/>
                  </a:lnTo>
                  <a:lnTo>
                    <a:pt x="533" y="245"/>
                  </a:lnTo>
                  <a:lnTo>
                    <a:pt x="544" y="245"/>
                  </a:lnTo>
                  <a:lnTo>
                    <a:pt x="547" y="245"/>
                  </a:lnTo>
                  <a:lnTo>
                    <a:pt x="547" y="252"/>
                  </a:lnTo>
                  <a:lnTo>
                    <a:pt x="550" y="252"/>
                  </a:lnTo>
                  <a:lnTo>
                    <a:pt x="550" y="248"/>
                  </a:lnTo>
                  <a:lnTo>
                    <a:pt x="550" y="245"/>
                  </a:lnTo>
                  <a:lnTo>
                    <a:pt x="554" y="245"/>
                  </a:lnTo>
                  <a:lnTo>
                    <a:pt x="557" y="245"/>
                  </a:lnTo>
                  <a:lnTo>
                    <a:pt x="557" y="248"/>
                  </a:lnTo>
                  <a:lnTo>
                    <a:pt x="554" y="252"/>
                  </a:lnTo>
                  <a:lnTo>
                    <a:pt x="554" y="255"/>
                  </a:lnTo>
                  <a:lnTo>
                    <a:pt x="554" y="255"/>
                  </a:lnTo>
                  <a:lnTo>
                    <a:pt x="561" y="252"/>
                  </a:lnTo>
                  <a:lnTo>
                    <a:pt x="561" y="248"/>
                  </a:lnTo>
                  <a:lnTo>
                    <a:pt x="568" y="248"/>
                  </a:lnTo>
                  <a:lnTo>
                    <a:pt x="574" y="242"/>
                  </a:lnTo>
                  <a:lnTo>
                    <a:pt x="581" y="242"/>
                  </a:lnTo>
                  <a:lnTo>
                    <a:pt x="581" y="239"/>
                  </a:lnTo>
                  <a:lnTo>
                    <a:pt x="585" y="239"/>
                  </a:lnTo>
                  <a:lnTo>
                    <a:pt x="585" y="242"/>
                  </a:lnTo>
                  <a:lnTo>
                    <a:pt x="588" y="242"/>
                  </a:lnTo>
                  <a:lnTo>
                    <a:pt x="595" y="239"/>
                  </a:lnTo>
                  <a:lnTo>
                    <a:pt x="599" y="239"/>
                  </a:lnTo>
                  <a:lnTo>
                    <a:pt x="602" y="239"/>
                  </a:lnTo>
                  <a:lnTo>
                    <a:pt x="599" y="239"/>
                  </a:lnTo>
                  <a:lnTo>
                    <a:pt x="595" y="242"/>
                  </a:lnTo>
                  <a:lnTo>
                    <a:pt x="595" y="242"/>
                  </a:lnTo>
                  <a:lnTo>
                    <a:pt x="599" y="245"/>
                  </a:lnTo>
                  <a:lnTo>
                    <a:pt x="595" y="248"/>
                  </a:lnTo>
                  <a:lnTo>
                    <a:pt x="588" y="252"/>
                  </a:lnTo>
                  <a:lnTo>
                    <a:pt x="585" y="248"/>
                  </a:lnTo>
                  <a:lnTo>
                    <a:pt x="585" y="248"/>
                  </a:lnTo>
                  <a:lnTo>
                    <a:pt x="578" y="252"/>
                  </a:lnTo>
                  <a:lnTo>
                    <a:pt x="578" y="252"/>
                  </a:lnTo>
                  <a:lnTo>
                    <a:pt x="585" y="255"/>
                  </a:lnTo>
                  <a:lnTo>
                    <a:pt x="585" y="255"/>
                  </a:lnTo>
                  <a:lnTo>
                    <a:pt x="585" y="261"/>
                  </a:lnTo>
                  <a:lnTo>
                    <a:pt x="578" y="265"/>
                  </a:lnTo>
                  <a:lnTo>
                    <a:pt x="578" y="271"/>
                  </a:lnTo>
                  <a:lnTo>
                    <a:pt x="574" y="271"/>
                  </a:lnTo>
                  <a:lnTo>
                    <a:pt x="574" y="274"/>
                  </a:lnTo>
                  <a:lnTo>
                    <a:pt x="578" y="274"/>
                  </a:lnTo>
                  <a:lnTo>
                    <a:pt x="578" y="277"/>
                  </a:lnTo>
                  <a:lnTo>
                    <a:pt x="574" y="281"/>
                  </a:lnTo>
                  <a:lnTo>
                    <a:pt x="571" y="284"/>
                  </a:lnTo>
                  <a:lnTo>
                    <a:pt x="568" y="287"/>
                  </a:lnTo>
                  <a:lnTo>
                    <a:pt x="564" y="287"/>
                  </a:lnTo>
                  <a:lnTo>
                    <a:pt x="564" y="287"/>
                  </a:lnTo>
                  <a:lnTo>
                    <a:pt x="557" y="290"/>
                  </a:lnTo>
                  <a:lnTo>
                    <a:pt x="557" y="294"/>
                  </a:lnTo>
                  <a:lnTo>
                    <a:pt x="550" y="290"/>
                  </a:lnTo>
                  <a:lnTo>
                    <a:pt x="547" y="290"/>
                  </a:lnTo>
                  <a:lnTo>
                    <a:pt x="544" y="290"/>
                  </a:lnTo>
                  <a:lnTo>
                    <a:pt x="544" y="287"/>
                  </a:lnTo>
                  <a:lnTo>
                    <a:pt x="540" y="284"/>
                  </a:lnTo>
                  <a:lnTo>
                    <a:pt x="537" y="287"/>
                  </a:lnTo>
                  <a:lnTo>
                    <a:pt x="533" y="290"/>
                  </a:lnTo>
                  <a:lnTo>
                    <a:pt x="530" y="294"/>
                  </a:lnTo>
                  <a:lnTo>
                    <a:pt x="526" y="297"/>
                  </a:lnTo>
                  <a:lnTo>
                    <a:pt x="519" y="297"/>
                  </a:lnTo>
                  <a:lnTo>
                    <a:pt x="516" y="300"/>
                  </a:lnTo>
                  <a:lnTo>
                    <a:pt x="513" y="300"/>
                  </a:lnTo>
                  <a:lnTo>
                    <a:pt x="509" y="300"/>
                  </a:lnTo>
                  <a:lnTo>
                    <a:pt x="506" y="300"/>
                  </a:lnTo>
                  <a:lnTo>
                    <a:pt x="499" y="303"/>
                  </a:lnTo>
                  <a:lnTo>
                    <a:pt x="495" y="303"/>
                  </a:lnTo>
                  <a:lnTo>
                    <a:pt x="492" y="303"/>
                  </a:lnTo>
                  <a:lnTo>
                    <a:pt x="492" y="307"/>
                  </a:lnTo>
                  <a:lnTo>
                    <a:pt x="488" y="313"/>
                  </a:lnTo>
                  <a:lnTo>
                    <a:pt x="488" y="316"/>
                  </a:lnTo>
                  <a:lnTo>
                    <a:pt x="485" y="313"/>
                  </a:lnTo>
                  <a:lnTo>
                    <a:pt x="482" y="310"/>
                  </a:lnTo>
                  <a:lnTo>
                    <a:pt x="478" y="310"/>
                  </a:lnTo>
                  <a:lnTo>
                    <a:pt x="475" y="310"/>
                  </a:lnTo>
                  <a:lnTo>
                    <a:pt x="475" y="313"/>
                  </a:lnTo>
                  <a:lnTo>
                    <a:pt x="478" y="316"/>
                  </a:lnTo>
                  <a:lnTo>
                    <a:pt x="475" y="316"/>
                  </a:lnTo>
                  <a:lnTo>
                    <a:pt x="475" y="316"/>
                  </a:lnTo>
                  <a:lnTo>
                    <a:pt x="471" y="313"/>
                  </a:lnTo>
                  <a:lnTo>
                    <a:pt x="468" y="310"/>
                  </a:lnTo>
                  <a:lnTo>
                    <a:pt x="468" y="310"/>
                  </a:lnTo>
                  <a:lnTo>
                    <a:pt x="461" y="316"/>
                  </a:lnTo>
                  <a:lnTo>
                    <a:pt x="461" y="319"/>
                  </a:lnTo>
                  <a:lnTo>
                    <a:pt x="458" y="319"/>
                  </a:lnTo>
                  <a:lnTo>
                    <a:pt x="454" y="319"/>
                  </a:lnTo>
                  <a:lnTo>
                    <a:pt x="447" y="326"/>
                  </a:lnTo>
                  <a:lnTo>
                    <a:pt x="444" y="332"/>
                  </a:lnTo>
                  <a:lnTo>
                    <a:pt x="444" y="332"/>
                  </a:lnTo>
                  <a:lnTo>
                    <a:pt x="440" y="336"/>
                  </a:lnTo>
                  <a:lnTo>
                    <a:pt x="437" y="332"/>
                  </a:lnTo>
                  <a:lnTo>
                    <a:pt x="433" y="336"/>
                  </a:lnTo>
                  <a:lnTo>
                    <a:pt x="437" y="339"/>
                  </a:lnTo>
                  <a:lnTo>
                    <a:pt x="437" y="339"/>
                  </a:lnTo>
                  <a:lnTo>
                    <a:pt x="433" y="339"/>
                  </a:lnTo>
                  <a:lnTo>
                    <a:pt x="433" y="339"/>
                  </a:lnTo>
                  <a:lnTo>
                    <a:pt x="430" y="339"/>
                  </a:lnTo>
                  <a:lnTo>
                    <a:pt x="430" y="342"/>
                  </a:lnTo>
                  <a:lnTo>
                    <a:pt x="427" y="345"/>
                  </a:lnTo>
                  <a:lnTo>
                    <a:pt x="427" y="349"/>
                  </a:lnTo>
                  <a:lnTo>
                    <a:pt x="430" y="352"/>
                  </a:lnTo>
                  <a:lnTo>
                    <a:pt x="430" y="355"/>
                  </a:lnTo>
                  <a:lnTo>
                    <a:pt x="427" y="358"/>
                  </a:lnTo>
                  <a:lnTo>
                    <a:pt x="427" y="361"/>
                  </a:lnTo>
                  <a:lnTo>
                    <a:pt x="427" y="365"/>
                  </a:lnTo>
                  <a:lnTo>
                    <a:pt x="430" y="365"/>
                  </a:lnTo>
                  <a:lnTo>
                    <a:pt x="433" y="361"/>
                  </a:lnTo>
                  <a:lnTo>
                    <a:pt x="433" y="361"/>
                  </a:lnTo>
                  <a:lnTo>
                    <a:pt x="433" y="368"/>
                  </a:lnTo>
                  <a:lnTo>
                    <a:pt x="430" y="368"/>
                  </a:lnTo>
                  <a:lnTo>
                    <a:pt x="430" y="371"/>
                  </a:lnTo>
                  <a:lnTo>
                    <a:pt x="430" y="371"/>
                  </a:lnTo>
                  <a:lnTo>
                    <a:pt x="433" y="371"/>
                  </a:lnTo>
                  <a:lnTo>
                    <a:pt x="437" y="368"/>
                  </a:lnTo>
                  <a:lnTo>
                    <a:pt x="437" y="368"/>
                  </a:lnTo>
                  <a:lnTo>
                    <a:pt x="440" y="371"/>
                  </a:lnTo>
                  <a:lnTo>
                    <a:pt x="440" y="371"/>
                  </a:lnTo>
                  <a:lnTo>
                    <a:pt x="444" y="374"/>
                  </a:lnTo>
                  <a:lnTo>
                    <a:pt x="447" y="374"/>
                  </a:lnTo>
                  <a:lnTo>
                    <a:pt x="451" y="374"/>
                  </a:lnTo>
                  <a:lnTo>
                    <a:pt x="454" y="371"/>
                  </a:lnTo>
                  <a:lnTo>
                    <a:pt x="454" y="365"/>
                  </a:lnTo>
                  <a:lnTo>
                    <a:pt x="458" y="365"/>
                  </a:lnTo>
                  <a:lnTo>
                    <a:pt x="464" y="365"/>
                  </a:lnTo>
                  <a:lnTo>
                    <a:pt x="468" y="361"/>
                  </a:lnTo>
                  <a:lnTo>
                    <a:pt x="464" y="365"/>
                  </a:lnTo>
                  <a:lnTo>
                    <a:pt x="461" y="365"/>
                  </a:lnTo>
                  <a:lnTo>
                    <a:pt x="454" y="371"/>
                  </a:lnTo>
                  <a:lnTo>
                    <a:pt x="454" y="374"/>
                  </a:lnTo>
                  <a:lnTo>
                    <a:pt x="451" y="378"/>
                  </a:lnTo>
                  <a:lnTo>
                    <a:pt x="454" y="381"/>
                  </a:lnTo>
                  <a:lnTo>
                    <a:pt x="458" y="381"/>
                  </a:lnTo>
                  <a:lnTo>
                    <a:pt x="451" y="384"/>
                  </a:lnTo>
                  <a:lnTo>
                    <a:pt x="451" y="381"/>
                  </a:lnTo>
                  <a:lnTo>
                    <a:pt x="451" y="381"/>
                  </a:lnTo>
                  <a:lnTo>
                    <a:pt x="447" y="378"/>
                  </a:lnTo>
                  <a:lnTo>
                    <a:pt x="444" y="378"/>
                  </a:lnTo>
                  <a:lnTo>
                    <a:pt x="440" y="374"/>
                  </a:lnTo>
                  <a:lnTo>
                    <a:pt x="437" y="374"/>
                  </a:lnTo>
                  <a:lnTo>
                    <a:pt x="433" y="371"/>
                  </a:lnTo>
                  <a:lnTo>
                    <a:pt x="433" y="374"/>
                  </a:lnTo>
                  <a:lnTo>
                    <a:pt x="430" y="374"/>
                  </a:lnTo>
                  <a:lnTo>
                    <a:pt x="427" y="378"/>
                  </a:lnTo>
                  <a:lnTo>
                    <a:pt x="423" y="381"/>
                  </a:lnTo>
                  <a:lnTo>
                    <a:pt x="420" y="378"/>
                  </a:lnTo>
                  <a:lnTo>
                    <a:pt x="420" y="381"/>
                  </a:lnTo>
                  <a:lnTo>
                    <a:pt x="423" y="384"/>
                  </a:lnTo>
                  <a:lnTo>
                    <a:pt x="423" y="384"/>
                  </a:lnTo>
                  <a:lnTo>
                    <a:pt x="423" y="387"/>
                  </a:lnTo>
                  <a:lnTo>
                    <a:pt x="420" y="391"/>
                  </a:lnTo>
                  <a:lnTo>
                    <a:pt x="423" y="394"/>
                  </a:lnTo>
                  <a:lnTo>
                    <a:pt x="423" y="394"/>
                  </a:lnTo>
                  <a:lnTo>
                    <a:pt x="427" y="400"/>
                  </a:lnTo>
                  <a:lnTo>
                    <a:pt x="427" y="400"/>
                  </a:lnTo>
                  <a:lnTo>
                    <a:pt x="427" y="403"/>
                  </a:lnTo>
                  <a:lnTo>
                    <a:pt x="430" y="407"/>
                  </a:lnTo>
                  <a:lnTo>
                    <a:pt x="430" y="407"/>
                  </a:lnTo>
                  <a:lnTo>
                    <a:pt x="423" y="407"/>
                  </a:lnTo>
                  <a:lnTo>
                    <a:pt x="423" y="410"/>
                  </a:lnTo>
                  <a:lnTo>
                    <a:pt x="437" y="413"/>
                  </a:lnTo>
                  <a:lnTo>
                    <a:pt x="440" y="413"/>
                  </a:lnTo>
                  <a:lnTo>
                    <a:pt x="447" y="413"/>
                  </a:lnTo>
                  <a:lnTo>
                    <a:pt x="451" y="410"/>
                  </a:lnTo>
                  <a:lnTo>
                    <a:pt x="451" y="413"/>
                  </a:lnTo>
                  <a:lnTo>
                    <a:pt x="454" y="413"/>
                  </a:lnTo>
                  <a:lnTo>
                    <a:pt x="461" y="407"/>
                  </a:lnTo>
                  <a:lnTo>
                    <a:pt x="461" y="403"/>
                  </a:lnTo>
                  <a:lnTo>
                    <a:pt x="458" y="400"/>
                  </a:lnTo>
                  <a:lnTo>
                    <a:pt x="458" y="400"/>
                  </a:lnTo>
                  <a:lnTo>
                    <a:pt x="464" y="397"/>
                  </a:lnTo>
                  <a:lnTo>
                    <a:pt x="468" y="394"/>
                  </a:lnTo>
                  <a:lnTo>
                    <a:pt x="478" y="391"/>
                  </a:lnTo>
                  <a:lnTo>
                    <a:pt x="482" y="391"/>
                  </a:lnTo>
                  <a:lnTo>
                    <a:pt x="478" y="391"/>
                  </a:lnTo>
                  <a:lnTo>
                    <a:pt x="468" y="397"/>
                  </a:lnTo>
                  <a:lnTo>
                    <a:pt x="464" y="400"/>
                  </a:lnTo>
                  <a:lnTo>
                    <a:pt x="464" y="400"/>
                  </a:lnTo>
                  <a:lnTo>
                    <a:pt x="468" y="403"/>
                  </a:lnTo>
                  <a:lnTo>
                    <a:pt x="468" y="407"/>
                  </a:lnTo>
                  <a:lnTo>
                    <a:pt x="464" y="410"/>
                  </a:lnTo>
                  <a:lnTo>
                    <a:pt x="461" y="413"/>
                  </a:lnTo>
                  <a:lnTo>
                    <a:pt x="458" y="416"/>
                  </a:lnTo>
                  <a:lnTo>
                    <a:pt x="461" y="420"/>
                  </a:lnTo>
                  <a:lnTo>
                    <a:pt x="458" y="423"/>
                  </a:lnTo>
                  <a:lnTo>
                    <a:pt x="458" y="426"/>
                  </a:lnTo>
                  <a:lnTo>
                    <a:pt x="458" y="429"/>
                  </a:lnTo>
                  <a:lnTo>
                    <a:pt x="458" y="433"/>
                  </a:lnTo>
                  <a:lnTo>
                    <a:pt x="454" y="433"/>
                  </a:lnTo>
                  <a:lnTo>
                    <a:pt x="451" y="436"/>
                  </a:lnTo>
                  <a:lnTo>
                    <a:pt x="451" y="436"/>
                  </a:lnTo>
                  <a:lnTo>
                    <a:pt x="447" y="436"/>
                  </a:lnTo>
                  <a:lnTo>
                    <a:pt x="447" y="439"/>
                  </a:lnTo>
                  <a:lnTo>
                    <a:pt x="447" y="442"/>
                  </a:lnTo>
                  <a:lnTo>
                    <a:pt x="447" y="445"/>
                  </a:lnTo>
                  <a:lnTo>
                    <a:pt x="451" y="445"/>
                  </a:lnTo>
                  <a:lnTo>
                    <a:pt x="454" y="442"/>
                  </a:lnTo>
                  <a:lnTo>
                    <a:pt x="458" y="442"/>
                  </a:lnTo>
                  <a:lnTo>
                    <a:pt x="458" y="445"/>
                  </a:lnTo>
                  <a:lnTo>
                    <a:pt x="454" y="449"/>
                  </a:lnTo>
                  <a:lnTo>
                    <a:pt x="451" y="449"/>
                  </a:lnTo>
                  <a:lnTo>
                    <a:pt x="451" y="449"/>
                  </a:lnTo>
                  <a:lnTo>
                    <a:pt x="451" y="452"/>
                  </a:lnTo>
                  <a:lnTo>
                    <a:pt x="451" y="452"/>
                  </a:lnTo>
                  <a:lnTo>
                    <a:pt x="451" y="455"/>
                  </a:lnTo>
                  <a:lnTo>
                    <a:pt x="447" y="455"/>
                  </a:lnTo>
                  <a:lnTo>
                    <a:pt x="444" y="455"/>
                  </a:lnTo>
                  <a:lnTo>
                    <a:pt x="440" y="458"/>
                  </a:lnTo>
                  <a:lnTo>
                    <a:pt x="440" y="458"/>
                  </a:lnTo>
                  <a:lnTo>
                    <a:pt x="437" y="458"/>
                  </a:lnTo>
                  <a:lnTo>
                    <a:pt x="440" y="458"/>
                  </a:lnTo>
                  <a:lnTo>
                    <a:pt x="444" y="462"/>
                  </a:lnTo>
                  <a:lnTo>
                    <a:pt x="447" y="462"/>
                  </a:lnTo>
                  <a:lnTo>
                    <a:pt x="451" y="458"/>
                  </a:lnTo>
                  <a:lnTo>
                    <a:pt x="458" y="455"/>
                  </a:lnTo>
                  <a:lnTo>
                    <a:pt x="461" y="455"/>
                  </a:lnTo>
                  <a:lnTo>
                    <a:pt x="464" y="455"/>
                  </a:lnTo>
                  <a:lnTo>
                    <a:pt x="464" y="452"/>
                  </a:lnTo>
                  <a:lnTo>
                    <a:pt x="471" y="449"/>
                  </a:lnTo>
                  <a:lnTo>
                    <a:pt x="471" y="452"/>
                  </a:lnTo>
                  <a:lnTo>
                    <a:pt x="468" y="455"/>
                  </a:lnTo>
                  <a:lnTo>
                    <a:pt x="468" y="455"/>
                  </a:lnTo>
                  <a:lnTo>
                    <a:pt x="471" y="455"/>
                  </a:lnTo>
                  <a:lnTo>
                    <a:pt x="471" y="458"/>
                  </a:lnTo>
                  <a:lnTo>
                    <a:pt x="471" y="462"/>
                  </a:lnTo>
                  <a:lnTo>
                    <a:pt x="475" y="462"/>
                  </a:lnTo>
                  <a:lnTo>
                    <a:pt x="478" y="462"/>
                  </a:lnTo>
                  <a:lnTo>
                    <a:pt x="478" y="458"/>
                  </a:lnTo>
                  <a:lnTo>
                    <a:pt x="482" y="458"/>
                  </a:lnTo>
                  <a:lnTo>
                    <a:pt x="478" y="462"/>
                  </a:lnTo>
                  <a:lnTo>
                    <a:pt x="482" y="465"/>
                  </a:lnTo>
                  <a:lnTo>
                    <a:pt x="482" y="471"/>
                  </a:lnTo>
                  <a:lnTo>
                    <a:pt x="482" y="475"/>
                  </a:lnTo>
                  <a:lnTo>
                    <a:pt x="485" y="478"/>
                  </a:lnTo>
                  <a:lnTo>
                    <a:pt x="485" y="478"/>
                  </a:lnTo>
                  <a:lnTo>
                    <a:pt x="488" y="475"/>
                  </a:lnTo>
                  <a:lnTo>
                    <a:pt x="488" y="471"/>
                  </a:lnTo>
                  <a:lnTo>
                    <a:pt x="492" y="465"/>
                  </a:lnTo>
                  <a:lnTo>
                    <a:pt x="492" y="462"/>
                  </a:lnTo>
                  <a:lnTo>
                    <a:pt x="495" y="458"/>
                  </a:lnTo>
                  <a:lnTo>
                    <a:pt x="499" y="458"/>
                  </a:lnTo>
                  <a:lnTo>
                    <a:pt x="502" y="458"/>
                  </a:lnTo>
                  <a:lnTo>
                    <a:pt x="506" y="458"/>
                  </a:lnTo>
                  <a:lnTo>
                    <a:pt x="502" y="458"/>
                  </a:lnTo>
                  <a:lnTo>
                    <a:pt x="495" y="465"/>
                  </a:lnTo>
                  <a:lnTo>
                    <a:pt x="495" y="465"/>
                  </a:lnTo>
                  <a:lnTo>
                    <a:pt x="502" y="471"/>
                  </a:lnTo>
                  <a:lnTo>
                    <a:pt x="502" y="471"/>
                  </a:lnTo>
                  <a:lnTo>
                    <a:pt x="509" y="468"/>
                  </a:lnTo>
                  <a:lnTo>
                    <a:pt x="516" y="468"/>
                  </a:lnTo>
                  <a:lnTo>
                    <a:pt x="519" y="465"/>
                  </a:lnTo>
                  <a:lnTo>
                    <a:pt x="523" y="465"/>
                  </a:lnTo>
                  <a:lnTo>
                    <a:pt x="530" y="462"/>
                  </a:lnTo>
                  <a:lnTo>
                    <a:pt x="533" y="462"/>
                  </a:lnTo>
                  <a:lnTo>
                    <a:pt x="530" y="465"/>
                  </a:lnTo>
                  <a:lnTo>
                    <a:pt x="526" y="468"/>
                  </a:lnTo>
                  <a:lnTo>
                    <a:pt x="526" y="468"/>
                  </a:lnTo>
                  <a:lnTo>
                    <a:pt x="523" y="471"/>
                  </a:lnTo>
                  <a:lnTo>
                    <a:pt x="513" y="478"/>
                  </a:lnTo>
                  <a:lnTo>
                    <a:pt x="506" y="481"/>
                  </a:lnTo>
                  <a:lnTo>
                    <a:pt x="502" y="484"/>
                  </a:lnTo>
                  <a:lnTo>
                    <a:pt x="502" y="487"/>
                  </a:lnTo>
                  <a:lnTo>
                    <a:pt x="506" y="491"/>
                  </a:lnTo>
                  <a:lnTo>
                    <a:pt x="509" y="494"/>
                  </a:lnTo>
                  <a:lnTo>
                    <a:pt x="502" y="491"/>
                  </a:lnTo>
                  <a:lnTo>
                    <a:pt x="499" y="494"/>
                  </a:lnTo>
                  <a:lnTo>
                    <a:pt x="495" y="497"/>
                  </a:lnTo>
                  <a:lnTo>
                    <a:pt x="495" y="500"/>
                  </a:lnTo>
                  <a:lnTo>
                    <a:pt x="488" y="504"/>
                  </a:lnTo>
                  <a:lnTo>
                    <a:pt x="488" y="507"/>
                  </a:lnTo>
                  <a:lnTo>
                    <a:pt x="488" y="510"/>
                  </a:lnTo>
                  <a:lnTo>
                    <a:pt x="488" y="510"/>
                  </a:lnTo>
                  <a:lnTo>
                    <a:pt x="488" y="513"/>
                  </a:lnTo>
                  <a:lnTo>
                    <a:pt x="485" y="513"/>
                  </a:lnTo>
                  <a:lnTo>
                    <a:pt x="485" y="510"/>
                  </a:lnTo>
                  <a:lnTo>
                    <a:pt x="482" y="510"/>
                  </a:lnTo>
                  <a:lnTo>
                    <a:pt x="482" y="513"/>
                  </a:lnTo>
                  <a:lnTo>
                    <a:pt x="475" y="517"/>
                  </a:lnTo>
                  <a:lnTo>
                    <a:pt x="478" y="517"/>
                  </a:lnTo>
                  <a:lnTo>
                    <a:pt x="475" y="520"/>
                  </a:lnTo>
                  <a:lnTo>
                    <a:pt x="471" y="520"/>
                  </a:lnTo>
                  <a:lnTo>
                    <a:pt x="471" y="520"/>
                  </a:lnTo>
                  <a:lnTo>
                    <a:pt x="468" y="520"/>
                  </a:lnTo>
                  <a:lnTo>
                    <a:pt x="461" y="526"/>
                  </a:lnTo>
                  <a:lnTo>
                    <a:pt x="458" y="529"/>
                  </a:lnTo>
                  <a:lnTo>
                    <a:pt x="458" y="529"/>
                  </a:lnTo>
                  <a:lnTo>
                    <a:pt x="458" y="533"/>
                  </a:lnTo>
                  <a:lnTo>
                    <a:pt x="454" y="529"/>
                  </a:lnTo>
                  <a:lnTo>
                    <a:pt x="454" y="526"/>
                  </a:lnTo>
                  <a:lnTo>
                    <a:pt x="451" y="529"/>
                  </a:lnTo>
                  <a:lnTo>
                    <a:pt x="444" y="533"/>
                  </a:lnTo>
                  <a:lnTo>
                    <a:pt x="440" y="533"/>
                  </a:lnTo>
                  <a:lnTo>
                    <a:pt x="440" y="536"/>
                  </a:lnTo>
                  <a:lnTo>
                    <a:pt x="437" y="536"/>
                  </a:lnTo>
                  <a:lnTo>
                    <a:pt x="433" y="536"/>
                  </a:lnTo>
                  <a:lnTo>
                    <a:pt x="427" y="542"/>
                  </a:lnTo>
                  <a:lnTo>
                    <a:pt x="416" y="542"/>
                  </a:lnTo>
                  <a:lnTo>
                    <a:pt x="413" y="549"/>
                  </a:lnTo>
                  <a:lnTo>
                    <a:pt x="409" y="552"/>
                  </a:lnTo>
                  <a:lnTo>
                    <a:pt x="409" y="555"/>
                  </a:lnTo>
                  <a:lnTo>
                    <a:pt x="409" y="559"/>
                  </a:lnTo>
                  <a:lnTo>
                    <a:pt x="409" y="559"/>
                  </a:lnTo>
                  <a:lnTo>
                    <a:pt x="409" y="559"/>
                  </a:lnTo>
                  <a:lnTo>
                    <a:pt x="406" y="559"/>
                  </a:lnTo>
                  <a:lnTo>
                    <a:pt x="406" y="559"/>
                  </a:lnTo>
                  <a:lnTo>
                    <a:pt x="406" y="559"/>
                  </a:lnTo>
                  <a:lnTo>
                    <a:pt x="406" y="562"/>
                  </a:lnTo>
                  <a:lnTo>
                    <a:pt x="402" y="562"/>
                  </a:lnTo>
                  <a:lnTo>
                    <a:pt x="402" y="559"/>
                  </a:lnTo>
                  <a:lnTo>
                    <a:pt x="402" y="559"/>
                  </a:lnTo>
                  <a:lnTo>
                    <a:pt x="402" y="555"/>
                  </a:lnTo>
                  <a:lnTo>
                    <a:pt x="399" y="552"/>
                  </a:lnTo>
                  <a:lnTo>
                    <a:pt x="396" y="555"/>
                  </a:lnTo>
                  <a:lnTo>
                    <a:pt x="396" y="552"/>
                  </a:lnTo>
                  <a:lnTo>
                    <a:pt x="389" y="555"/>
                  </a:lnTo>
                  <a:lnTo>
                    <a:pt x="385" y="555"/>
                  </a:lnTo>
                  <a:lnTo>
                    <a:pt x="382" y="555"/>
                  </a:lnTo>
                  <a:lnTo>
                    <a:pt x="378" y="559"/>
                  </a:lnTo>
                  <a:lnTo>
                    <a:pt x="375" y="562"/>
                  </a:lnTo>
                  <a:lnTo>
                    <a:pt x="368" y="562"/>
                  </a:lnTo>
                  <a:lnTo>
                    <a:pt x="365" y="568"/>
                  </a:lnTo>
                  <a:lnTo>
                    <a:pt x="365" y="568"/>
                  </a:lnTo>
                  <a:lnTo>
                    <a:pt x="365" y="571"/>
                  </a:lnTo>
                  <a:lnTo>
                    <a:pt x="361" y="568"/>
                  </a:lnTo>
                  <a:lnTo>
                    <a:pt x="358" y="571"/>
                  </a:lnTo>
                  <a:lnTo>
                    <a:pt x="354" y="571"/>
                  </a:lnTo>
                  <a:lnTo>
                    <a:pt x="354" y="575"/>
                  </a:lnTo>
                  <a:lnTo>
                    <a:pt x="354" y="575"/>
                  </a:lnTo>
                  <a:lnTo>
                    <a:pt x="351" y="575"/>
                  </a:lnTo>
                  <a:lnTo>
                    <a:pt x="344" y="575"/>
                  </a:lnTo>
                  <a:lnTo>
                    <a:pt x="344" y="578"/>
                  </a:lnTo>
                  <a:lnTo>
                    <a:pt x="344" y="581"/>
                  </a:lnTo>
                  <a:lnTo>
                    <a:pt x="344" y="581"/>
                  </a:lnTo>
                  <a:lnTo>
                    <a:pt x="347" y="581"/>
                  </a:lnTo>
                  <a:lnTo>
                    <a:pt x="347" y="581"/>
                  </a:lnTo>
                  <a:lnTo>
                    <a:pt x="347" y="578"/>
                  </a:lnTo>
                  <a:lnTo>
                    <a:pt x="351" y="578"/>
                  </a:lnTo>
                  <a:lnTo>
                    <a:pt x="351" y="578"/>
                  </a:lnTo>
                  <a:lnTo>
                    <a:pt x="351" y="581"/>
                  </a:lnTo>
                  <a:lnTo>
                    <a:pt x="351" y="581"/>
                  </a:lnTo>
                  <a:lnTo>
                    <a:pt x="354" y="581"/>
                  </a:lnTo>
                  <a:lnTo>
                    <a:pt x="358" y="575"/>
                  </a:lnTo>
                  <a:lnTo>
                    <a:pt x="361" y="575"/>
                  </a:lnTo>
                  <a:lnTo>
                    <a:pt x="361" y="578"/>
                  </a:lnTo>
                  <a:lnTo>
                    <a:pt x="361" y="578"/>
                  </a:lnTo>
                  <a:lnTo>
                    <a:pt x="361" y="581"/>
                  </a:lnTo>
                  <a:lnTo>
                    <a:pt x="365" y="581"/>
                  </a:lnTo>
                  <a:lnTo>
                    <a:pt x="365" y="578"/>
                  </a:lnTo>
                  <a:lnTo>
                    <a:pt x="368" y="578"/>
                  </a:lnTo>
                  <a:lnTo>
                    <a:pt x="368" y="578"/>
                  </a:lnTo>
                  <a:lnTo>
                    <a:pt x="368" y="578"/>
                  </a:lnTo>
                  <a:lnTo>
                    <a:pt x="372" y="575"/>
                  </a:lnTo>
                  <a:lnTo>
                    <a:pt x="375" y="575"/>
                  </a:lnTo>
                  <a:lnTo>
                    <a:pt x="378" y="575"/>
                  </a:lnTo>
                  <a:lnTo>
                    <a:pt x="382" y="571"/>
                  </a:lnTo>
                  <a:lnTo>
                    <a:pt x="378" y="568"/>
                  </a:lnTo>
                  <a:lnTo>
                    <a:pt x="382" y="565"/>
                  </a:lnTo>
                  <a:lnTo>
                    <a:pt x="385" y="562"/>
                  </a:lnTo>
                  <a:lnTo>
                    <a:pt x="389" y="562"/>
                  </a:lnTo>
                  <a:lnTo>
                    <a:pt x="392" y="565"/>
                  </a:lnTo>
                  <a:lnTo>
                    <a:pt x="392" y="568"/>
                  </a:lnTo>
                  <a:lnTo>
                    <a:pt x="389" y="568"/>
                  </a:lnTo>
                  <a:lnTo>
                    <a:pt x="385" y="571"/>
                  </a:lnTo>
                  <a:lnTo>
                    <a:pt x="385" y="571"/>
                  </a:lnTo>
                  <a:lnTo>
                    <a:pt x="389" y="575"/>
                  </a:lnTo>
                  <a:lnTo>
                    <a:pt x="392" y="571"/>
                  </a:lnTo>
                  <a:lnTo>
                    <a:pt x="392" y="568"/>
                  </a:lnTo>
                  <a:lnTo>
                    <a:pt x="396" y="568"/>
                  </a:lnTo>
                  <a:lnTo>
                    <a:pt x="396" y="568"/>
                  </a:lnTo>
                  <a:lnTo>
                    <a:pt x="399" y="568"/>
                  </a:lnTo>
                  <a:lnTo>
                    <a:pt x="399" y="568"/>
                  </a:lnTo>
                  <a:lnTo>
                    <a:pt x="399" y="568"/>
                  </a:lnTo>
                  <a:lnTo>
                    <a:pt x="399" y="571"/>
                  </a:lnTo>
                  <a:lnTo>
                    <a:pt x="399" y="571"/>
                  </a:lnTo>
                  <a:lnTo>
                    <a:pt x="402" y="568"/>
                  </a:lnTo>
                  <a:lnTo>
                    <a:pt x="406" y="568"/>
                  </a:lnTo>
                  <a:lnTo>
                    <a:pt x="409" y="565"/>
                  </a:lnTo>
                  <a:lnTo>
                    <a:pt x="413" y="565"/>
                  </a:lnTo>
                  <a:lnTo>
                    <a:pt x="416" y="562"/>
                  </a:lnTo>
                  <a:lnTo>
                    <a:pt x="420" y="562"/>
                  </a:lnTo>
                  <a:lnTo>
                    <a:pt x="423" y="562"/>
                  </a:lnTo>
                  <a:lnTo>
                    <a:pt x="423" y="562"/>
                  </a:lnTo>
                  <a:lnTo>
                    <a:pt x="420" y="565"/>
                  </a:lnTo>
                  <a:lnTo>
                    <a:pt x="416" y="568"/>
                  </a:lnTo>
                  <a:lnTo>
                    <a:pt x="416" y="571"/>
                  </a:lnTo>
                  <a:lnTo>
                    <a:pt x="420" y="571"/>
                  </a:lnTo>
                  <a:lnTo>
                    <a:pt x="423" y="565"/>
                  </a:lnTo>
                  <a:lnTo>
                    <a:pt x="423" y="562"/>
                  </a:lnTo>
                  <a:lnTo>
                    <a:pt x="427" y="562"/>
                  </a:lnTo>
                  <a:lnTo>
                    <a:pt x="427" y="562"/>
                  </a:lnTo>
                  <a:lnTo>
                    <a:pt x="430" y="562"/>
                  </a:lnTo>
                  <a:lnTo>
                    <a:pt x="433" y="562"/>
                  </a:lnTo>
                  <a:lnTo>
                    <a:pt x="437" y="562"/>
                  </a:lnTo>
                  <a:lnTo>
                    <a:pt x="440" y="559"/>
                  </a:lnTo>
                  <a:lnTo>
                    <a:pt x="440" y="559"/>
                  </a:lnTo>
                  <a:lnTo>
                    <a:pt x="440" y="559"/>
                  </a:lnTo>
                  <a:lnTo>
                    <a:pt x="444" y="555"/>
                  </a:lnTo>
                  <a:lnTo>
                    <a:pt x="447" y="552"/>
                  </a:lnTo>
                  <a:lnTo>
                    <a:pt x="447" y="555"/>
                  </a:lnTo>
                  <a:lnTo>
                    <a:pt x="447" y="555"/>
                  </a:lnTo>
                  <a:lnTo>
                    <a:pt x="447" y="559"/>
                  </a:lnTo>
                  <a:lnTo>
                    <a:pt x="447" y="559"/>
                  </a:lnTo>
                  <a:lnTo>
                    <a:pt x="451" y="555"/>
                  </a:lnTo>
                  <a:lnTo>
                    <a:pt x="451" y="555"/>
                  </a:lnTo>
                  <a:lnTo>
                    <a:pt x="454" y="552"/>
                  </a:lnTo>
                  <a:lnTo>
                    <a:pt x="454" y="552"/>
                  </a:lnTo>
                  <a:lnTo>
                    <a:pt x="447" y="552"/>
                  </a:lnTo>
                  <a:lnTo>
                    <a:pt x="444" y="552"/>
                  </a:lnTo>
                  <a:lnTo>
                    <a:pt x="451" y="549"/>
                  </a:lnTo>
                  <a:lnTo>
                    <a:pt x="458" y="546"/>
                  </a:lnTo>
                  <a:lnTo>
                    <a:pt x="464" y="546"/>
                  </a:lnTo>
                  <a:lnTo>
                    <a:pt x="464" y="546"/>
                  </a:lnTo>
                  <a:lnTo>
                    <a:pt x="464" y="542"/>
                  </a:lnTo>
                  <a:lnTo>
                    <a:pt x="464" y="542"/>
                  </a:lnTo>
                  <a:lnTo>
                    <a:pt x="464" y="542"/>
                  </a:lnTo>
                  <a:lnTo>
                    <a:pt x="468" y="542"/>
                  </a:lnTo>
                  <a:lnTo>
                    <a:pt x="471" y="539"/>
                  </a:lnTo>
                  <a:lnTo>
                    <a:pt x="471" y="539"/>
                  </a:lnTo>
                  <a:lnTo>
                    <a:pt x="475" y="542"/>
                  </a:lnTo>
                  <a:lnTo>
                    <a:pt x="475" y="542"/>
                  </a:lnTo>
                  <a:lnTo>
                    <a:pt x="478" y="539"/>
                  </a:lnTo>
                  <a:lnTo>
                    <a:pt x="475" y="539"/>
                  </a:lnTo>
                  <a:lnTo>
                    <a:pt x="478" y="539"/>
                  </a:lnTo>
                  <a:lnTo>
                    <a:pt x="478" y="536"/>
                  </a:lnTo>
                  <a:lnTo>
                    <a:pt x="482" y="533"/>
                  </a:lnTo>
                  <a:lnTo>
                    <a:pt x="482" y="536"/>
                  </a:lnTo>
                  <a:lnTo>
                    <a:pt x="482" y="536"/>
                  </a:lnTo>
                  <a:lnTo>
                    <a:pt x="485" y="539"/>
                  </a:lnTo>
                  <a:lnTo>
                    <a:pt x="488" y="536"/>
                  </a:lnTo>
                  <a:lnTo>
                    <a:pt x="492" y="533"/>
                  </a:lnTo>
                  <a:lnTo>
                    <a:pt x="492" y="533"/>
                  </a:lnTo>
                  <a:lnTo>
                    <a:pt x="495" y="529"/>
                  </a:lnTo>
                  <a:lnTo>
                    <a:pt x="495" y="529"/>
                  </a:lnTo>
                  <a:lnTo>
                    <a:pt x="499" y="533"/>
                  </a:lnTo>
                  <a:lnTo>
                    <a:pt x="502" y="533"/>
                  </a:lnTo>
                  <a:lnTo>
                    <a:pt x="506" y="526"/>
                  </a:lnTo>
                  <a:lnTo>
                    <a:pt x="506" y="523"/>
                  </a:lnTo>
                  <a:lnTo>
                    <a:pt x="506" y="523"/>
                  </a:lnTo>
                  <a:lnTo>
                    <a:pt x="502" y="523"/>
                  </a:lnTo>
                  <a:lnTo>
                    <a:pt x="502" y="523"/>
                  </a:lnTo>
                  <a:lnTo>
                    <a:pt x="506" y="520"/>
                  </a:lnTo>
                  <a:lnTo>
                    <a:pt x="509" y="520"/>
                  </a:lnTo>
                  <a:lnTo>
                    <a:pt x="513" y="517"/>
                  </a:lnTo>
                  <a:lnTo>
                    <a:pt x="513" y="517"/>
                  </a:lnTo>
                  <a:lnTo>
                    <a:pt x="516" y="520"/>
                  </a:lnTo>
                  <a:lnTo>
                    <a:pt x="519" y="513"/>
                  </a:lnTo>
                  <a:lnTo>
                    <a:pt x="523" y="513"/>
                  </a:lnTo>
                  <a:lnTo>
                    <a:pt x="523" y="510"/>
                  </a:lnTo>
                  <a:lnTo>
                    <a:pt x="526" y="510"/>
                  </a:lnTo>
                  <a:lnTo>
                    <a:pt x="526" y="510"/>
                  </a:lnTo>
                  <a:lnTo>
                    <a:pt x="530" y="507"/>
                  </a:lnTo>
                  <a:lnTo>
                    <a:pt x="533" y="510"/>
                  </a:lnTo>
                  <a:lnTo>
                    <a:pt x="533" y="510"/>
                  </a:lnTo>
                  <a:lnTo>
                    <a:pt x="533" y="510"/>
                  </a:lnTo>
                  <a:lnTo>
                    <a:pt x="537" y="510"/>
                  </a:lnTo>
                  <a:lnTo>
                    <a:pt x="540" y="507"/>
                  </a:lnTo>
                  <a:lnTo>
                    <a:pt x="540" y="507"/>
                  </a:lnTo>
                  <a:lnTo>
                    <a:pt x="544" y="504"/>
                  </a:lnTo>
                  <a:lnTo>
                    <a:pt x="544" y="504"/>
                  </a:lnTo>
                  <a:lnTo>
                    <a:pt x="544" y="504"/>
                  </a:lnTo>
                  <a:lnTo>
                    <a:pt x="550" y="504"/>
                  </a:lnTo>
                  <a:lnTo>
                    <a:pt x="550" y="504"/>
                  </a:lnTo>
                  <a:lnTo>
                    <a:pt x="554" y="504"/>
                  </a:lnTo>
                  <a:lnTo>
                    <a:pt x="554" y="504"/>
                  </a:lnTo>
                  <a:lnTo>
                    <a:pt x="554" y="504"/>
                  </a:lnTo>
                  <a:lnTo>
                    <a:pt x="557" y="504"/>
                  </a:lnTo>
                  <a:lnTo>
                    <a:pt x="557" y="504"/>
                  </a:lnTo>
                  <a:lnTo>
                    <a:pt x="561" y="504"/>
                  </a:lnTo>
                  <a:lnTo>
                    <a:pt x="561" y="497"/>
                  </a:lnTo>
                  <a:lnTo>
                    <a:pt x="561" y="497"/>
                  </a:lnTo>
                  <a:lnTo>
                    <a:pt x="557" y="497"/>
                  </a:lnTo>
                  <a:lnTo>
                    <a:pt x="557" y="497"/>
                  </a:lnTo>
                  <a:lnTo>
                    <a:pt x="564" y="494"/>
                  </a:lnTo>
                  <a:lnTo>
                    <a:pt x="564" y="494"/>
                  </a:lnTo>
                  <a:lnTo>
                    <a:pt x="564" y="494"/>
                  </a:lnTo>
                  <a:lnTo>
                    <a:pt x="568" y="494"/>
                  </a:lnTo>
                  <a:lnTo>
                    <a:pt x="564" y="491"/>
                  </a:lnTo>
                  <a:lnTo>
                    <a:pt x="564" y="491"/>
                  </a:lnTo>
                  <a:lnTo>
                    <a:pt x="564" y="491"/>
                  </a:lnTo>
                  <a:lnTo>
                    <a:pt x="568" y="491"/>
                  </a:lnTo>
                  <a:lnTo>
                    <a:pt x="571" y="487"/>
                  </a:lnTo>
                  <a:lnTo>
                    <a:pt x="578" y="487"/>
                  </a:lnTo>
                  <a:lnTo>
                    <a:pt x="581" y="484"/>
                  </a:lnTo>
                  <a:lnTo>
                    <a:pt x="585" y="484"/>
                  </a:lnTo>
                  <a:lnTo>
                    <a:pt x="588" y="481"/>
                  </a:lnTo>
                  <a:lnTo>
                    <a:pt x="588" y="475"/>
                  </a:lnTo>
                  <a:lnTo>
                    <a:pt x="588" y="475"/>
                  </a:lnTo>
                  <a:lnTo>
                    <a:pt x="585" y="475"/>
                  </a:lnTo>
                  <a:lnTo>
                    <a:pt x="585" y="471"/>
                  </a:lnTo>
                  <a:lnTo>
                    <a:pt x="581" y="471"/>
                  </a:lnTo>
                  <a:lnTo>
                    <a:pt x="578" y="471"/>
                  </a:lnTo>
                  <a:lnTo>
                    <a:pt x="578" y="468"/>
                  </a:lnTo>
                  <a:lnTo>
                    <a:pt x="578" y="465"/>
                  </a:lnTo>
                  <a:lnTo>
                    <a:pt x="581" y="462"/>
                  </a:lnTo>
                  <a:lnTo>
                    <a:pt x="585" y="462"/>
                  </a:lnTo>
                  <a:lnTo>
                    <a:pt x="585" y="462"/>
                  </a:lnTo>
                  <a:lnTo>
                    <a:pt x="588" y="458"/>
                  </a:lnTo>
                  <a:lnTo>
                    <a:pt x="585" y="458"/>
                  </a:lnTo>
                  <a:lnTo>
                    <a:pt x="588" y="455"/>
                  </a:lnTo>
                  <a:lnTo>
                    <a:pt x="592" y="458"/>
                  </a:lnTo>
                  <a:lnTo>
                    <a:pt x="599" y="455"/>
                  </a:lnTo>
                  <a:lnTo>
                    <a:pt x="602" y="458"/>
                  </a:lnTo>
                  <a:lnTo>
                    <a:pt x="605" y="455"/>
                  </a:lnTo>
                  <a:lnTo>
                    <a:pt x="605" y="458"/>
                  </a:lnTo>
                  <a:lnTo>
                    <a:pt x="605" y="458"/>
                  </a:lnTo>
                  <a:lnTo>
                    <a:pt x="609" y="458"/>
                  </a:lnTo>
                  <a:lnTo>
                    <a:pt x="612" y="455"/>
                  </a:lnTo>
                  <a:lnTo>
                    <a:pt x="612" y="452"/>
                  </a:lnTo>
                  <a:lnTo>
                    <a:pt x="609" y="452"/>
                  </a:lnTo>
                  <a:lnTo>
                    <a:pt x="609" y="452"/>
                  </a:lnTo>
                  <a:lnTo>
                    <a:pt x="612" y="452"/>
                  </a:lnTo>
                  <a:lnTo>
                    <a:pt x="616" y="452"/>
                  </a:lnTo>
                  <a:lnTo>
                    <a:pt x="619" y="449"/>
                  </a:lnTo>
                  <a:lnTo>
                    <a:pt x="623" y="445"/>
                  </a:lnTo>
                  <a:lnTo>
                    <a:pt x="619" y="442"/>
                  </a:lnTo>
                  <a:lnTo>
                    <a:pt x="616" y="439"/>
                  </a:lnTo>
                  <a:lnTo>
                    <a:pt x="612" y="439"/>
                  </a:lnTo>
                  <a:lnTo>
                    <a:pt x="612" y="439"/>
                  </a:lnTo>
                  <a:lnTo>
                    <a:pt x="612" y="439"/>
                  </a:lnTo>
                  <a:lnTo>
                    <a:pt x="612" y="439"/>
                  </a:lnTo>
                  <a:lnTo>
                    <a:pt x="619" y="436"/>
                  </a:lnTo>
                  <a:lnTo>
                    <a:pt x="623" y="439"/>
                  </a:lnTo>
                  <a:lnTo>
                    <a:pt x="626" y="439"/>
                  </a:lnTo>
                  <a:lnTo>
                    <a:pt x="630" y="436"/>
                  </a:lnTo>
                  <a:lnTo>
                    <a:pt x="630" y="436"/>
                  </a:lnTo>
                  <a:lnTo>
                    <a:pt x="640" y="429"/>
                  </a:lnTo>
                  <a:lnTo>
                    <a:pt x="643" y="426"/>
                  </a:lnTo>
                  <a:lnTo>
                    <a:pt x="647" y="426"/>
                  </a:lnTo>
                  <a:lnTo>
                    <a:pt x="650" y="426"/>
                  </a:lnTo>
                  <a:lnTo>
                    <a:pt x="650" y="423"/>
                  </a:lnTo>
                  <a:lnTo>
                    <a:pt x="657" y="420"/>
                  </a:lnTo>
                  <a:lnTo>
                    <a:pt x="664" y="416"/>
                  </a:lnTo>
                  <a:lnTo>
                    <a:pt x="671" y="413"/>
                  </a:lnTo>
                  <a:lnTo>
                    <a:pt x="678" y="410"/>
                  </a:lnTo>
                  <a:lnTo>
                    <a:pt x="685" y="403"/>
                  </a:lnTo>
                  <a:lnTo>
                    <a:pt x="681" y="410"/>
                  </a:lnTo>
                  <a:lnTo>
                    <a:pt x="681" y="413"/>
                  </a:lnTo>
                  <a:lnTo>
                    <a:pt x="685" y="413"/>
                  </a:lnTo>
                  <a:lnTo>
                    <a:pt x="688" y="413"/>
                  </a:lnTo>
                  <a:lnTo>
                    <a:pt x="688" y="413"/>
                  </a:lnTo>
                  <a:lnTo>
                    <a:pt x="695" y="410"/>
                  </a:lnTo>
                  <a:lnTo>
                    <a:pt x="698" y="410"/>
                  </a:lnTo>
                  <a:lnTo>
                    <a:pt x="705" y="407"/>
                  </a:lnTo>
                  <a:lnTo>
                    <a:pt x="709" y="403"/>
                  </a:lnTo>
                  <a:lnTo>
                    <a:pt x="705" y="407"/>
                  </a:lnTo>
                  <a:lnTo>
                    <a:pt x="702" y="410"/>
                  </a:lnTo>
                  <a:lnTo>
                    <a:pt x="695" y="410"/>
                  </a:lnTo>
                  <a:lnTo>
                    <a:pt x="688" y="420"/>
                  </a:lnTo>
                  <a:lnTo>
                    <a:pt x="688" y="423"/>
                  </a:lnTo>
                  <a:lnTo>
                    <a:pt x="691" y="426"/>
                  </a:lnTo>
                  <a:lnTo>
                    <a:pt x="691" y="429"/>
                  </a:lnTo>
                  <a:lnTo>
                    <a:pt x="688" y="429"/>
                  </a:lnTo>
                  <a:lnTo>
                    <a:pt x="685" y="426"/>
                  </a:lnTo>
                  <a:lnTo>
                    <a:pt x="685" y="429"/>
                  </a:lnTo>
                  <a:lnTo>
                    <a:pt x="681" y="429"/>
                  </a:lnTo>
                  <a:lnTo>
                    <a:pt x="678" y="426"/>
                  </a:lnTo>
                  <a:lnTo>
                    <a:pt x="674" y="423"/>
                  </a:lnTo>
                  <a:lnTo>
                    <a:pt x="667" y="423"/>
                  </a:lnTo>
                  <a:lnTo>
                    <a:pt x="667" y="426"/>
                  </a:lnTo>
                  <a:lnTo>
                    <a:pt x="660" y="429"/>
                  </a:lnTo>
                  <a:lnTo>
                    <a:pt x="654" y="429"/>
                  </a:lnTo>
                  <a:lnTo>
                    <a:pt x="650" y="433"/>
                  </a:lnTo>
                  <a:lnTo>
                    <a:pt x="650" y="436"/>
                  </a:lnTo>
                  <a:lnTo>
                    <a:pt x="650" y="436"/>
                  </a:lnTo>
                  <a:lnTo>
                    <a:pt x="650" y="442"/>
                  </a:lnTo>
                  <a:lnTo>
                    <a:pt x="643" y="442"/>
                  </a:lnTo>
                  <a:lnTo>
                    <a:pt x="643" y="449"/>
                  </a:lnTo>
                  <a:lnTo>
                    <a:pt x="633" y="455"/>
                  </a:lnTo>
                  <a:lnTo>
                    <a:pt x="630" y="458"/>
                  </a:lnTo>
                  <a:lnTo>
                    <a:pt x="630" y="462"/>
                  </a:lnTo>
                  <a:lnTo>
                    <a:pt x="633" y="465"/>
                  </a:lnTo>
                  <a:lnTo>
                    <a:pt x="633" y="465"/>
                  </a:lnTo>
                  <a:lnTo>
                    <a:pt x="636" y="465"/>
                  </a:lnTo>
                  <a:lnTo>
                    <a:pt x="640" y="462"/>
                  </a:lnTo>
                  <a:lnTo>
                    <a:pt x="643" y="462"/>
                  </a:lnTo>
                  <a:lnTo>
                    <a:pt x="643" y="465"/>
                  </a:lnTo>
                  <a:lnTo>
                    <a:pt x="636" y="468"/>
                  </a:lnTo>
                  <a:lnTo>
                    <a:pt x="633" y="468"/>
                  </a:lnTo>
                  <a:lnTo>
                    <a:pt x="633" y="471"/>
                  </a:lnTo>
                  <a:lnTo>
                    <a:pt x="626" y="471"/>
                  </a:lnTo>
                  <a:lnTo>
                    <a:pt x="626" y="471"/>
                  </a:lnTo>
                  <a:lnTo>
                    <a:pt x="623" y="471"/>
                  </a:lnTo>
                  <a:lnTo>
                    <a:pt x="623" y="475"/>
                  </a:lnTo>
                  <a:lnTo>
                    <a:pt x="619" y="475"/>
                  </a:lnTo>
                  <a:lnTo>
                    <a:pt x="616" y="475"/>
                  </a:lnTo>
                  <a:lnTo>
                    <a:pt x="616" y="478"/>
                  </a:lnTo>
                  <a:lnTo>
                    <a:pt x="623" y="484"/>
                  </a:lnTo>
                  <a:lnTo>
                    <a:pt x="623" y="481"/>
                  </a:lnTo>
                  <a:lnTo>
                    <a:pt x="626" y="481"/>
                  </a:lnTo>
                  <a:lnTo>
                    <a:pt x="626" y="481"/>
                  </a:lnTo>
                  <a:lnTo>
                    <a:pt x="630" y="478"/>
                  </a:lnTo>
                  <a:lnTo>
                    <a:pt x="633" y="478"/>
                  </a:lnTo>
                  <a:lnTo>
                    <a:pt x="633" y="481"/>
                  </a:lnTo>
                  <a:lnTo>
                    <a:pt x="633" y="481"/>
                  </a:lnTo>
                  <a:lnTo>
                    <a:pt x="633" y="478"/>
                  </a:lnTo>
                  <a:lnTo>
                    <a:pt x="636" y="478"/>
                  </a:lnTo>
                  <a:lnTo>
                    <a:pt x="640" y="475"/>
                  </a:lnTo>
                  <a:lnTo>
                    <a:pt x="643" y="471"/>
                  </a:lnTo>
                  <a:lnTo>
                    <a:pt x="643" y="468"/>
                  </a:lnTo>
                  <a:lnTo>
                    <a:pt x="643" y="471"/>
                  </a:lnTo>
                  <a:lnTo>
                    <a:pt x="643" y="471"/>
                  </a:lnTo>
                  <a:lnTo>
                    <a:pt x="643" y="475"/>
                  </a:lnTo>
                  <a:lnTo>
                    <a:pt x="650" y="475"/>
                  </a:lnTo>
                  <a:lnTo>
                    <a:pt x="654" y="468"/>
                  </a:lnTo>
                  <a:lnTo>
                    <a:pt x="660" y="468"/>
                  </a:lnTo>
                  <a:lnTo>
                    <a:pt x="660" y="471"/>
                  </a:lnTo>
                  <a:lnTo>
                    <a:pt x="664" y="471"/>
                  </a:lnTo>
                  <a:lnTo>
                    <a:pt x="664" y="465"/>
                  </a:lnTo>
                  <a:lnTo>
                    <a:pt x="667" y="462"/>
                  </a:lnTo>
                  <a:lnTo>
                    <a:pt x="671" y="462"/>
                  </a:lnTo>
                  <a:lnTo>
                    <a:pt x="667" y="465"/>
                  </a:lnTo>
                  <a:lnTo>
                    <a:pt x="667" y="468"/>
                  </a:lnTo>
                  <a:lnTo>
                    <a:pt x="667" y="468"/>
                  </a:lnTo>
                  <a:lnTo>
                    <a:pt x="674" y="462"/>
                  </a:lnTo>
                  <a:lnTo>
                    <a:pt x="674" y="458"/>
                  </a:lnTo>
                  <a:lnTo>
                    <a:pt x="678" y="455"/>
                  </a:lnTo>
                  <a:lnTo>
                    <a:pt x="678" y="458"/>
                  </a:lnTo>
                  <a:lnTo>
                    <a:pt x="674" y="462"/>
                  </a:lnTo>
                  <a:lnTo>
                    <a:pt x="674" y="465"/>
                  </a:lnTo>
                  <a:lnTo>
                    <a:pt x="681" y="458"/>
                  </a:lnTo>
                  <a:lnTo>
                    <a:pt x="681" y="462"/>
                  </a:lnTo>
                  <a:lnTo>
                    <a:pt x="681" y="465"/>
                  </a:lnTo>
                  <a:lnTo>
                    <a:pt x="685" y="465"/>
                  </a:lnTo>
                  <a:lnTo>
                    <a:pt x="688" y="465"/>
                  </a:lnTo>
                  <a:lnTo>
                    <a:pt x="691" y="462"/>
                  </a:lnTo>
                  <a:lnTo>
                    <a:pt x="691" y="458"/>
                  </a:lnTo>
                  <a:lnTo>
                    <a:pt x="698" y="458"/>
                  </a:lnTo>
                  <a:lnTo>
                    <a:pt x="702" y="458"/>
                  </a:lnTo>
                  <a:lnTo>
                    <a:pt x="698" y="455"/>
                  </a:lnTo>
                  <a:lnTo>
                    <a:pt x="698" y="452"/>
                  </a:lnTo>
                  <a:lnTo>
                    <a:pt x="705" y="452"/>
                  </a:lnTo>
                  <a:lnTo>
                    <a:pt x="709" y="449"/>
                  </a:lnTo>
                  <a:lnTo>
                    <a:pt x="709" y="445"/>
                  </a:lnTo>
                  <a:lnTo>
                    <a:pt x="705" y="445"/>
                  </a:lnTo>
                  <a:lnTo>
                    <a:pt x="702" y="445"/>
                  </a:lnTo>
                  <a:lnTo>
                    <a:pt x="698" y="442"/>
                  </a:lnTo>
                  <a:lnTo>
                    <a:pt x="698" y="442"/>
                  </a:lnTo>
                  <a:lnTo>
                    <a:pt x="702" y="442"/>
                  </a:lnTo>
                  <a:lnTo>
                    <a:pt x="705" y="442"/>
                  </a:lnTo>
                  <a:lnTo>
                    <a:pt x="705" y="439"/>
                  </a:lnTo>
                  <a:lnTo>
                    <a:pt x="705" y="439"/>
                  </a:lnTo>
                  <a:lnTo>
                    <a:pt x="702" y="439"/>
                  </a:lnTo>
                  <a:lnTo>
                    <a:pt x="698" y="436"/>
                  </a:lnTo>
                  <a:lnTo>
                    <a:pt x="698" y="433"/>
                  </a:lnTo>
                  <a:lnTo>
                    <a:pt x="705" y="433"/>
                  </a:lnTo>
                  <a:lnTo>
                    <a:pt x="705" y="433"/>
                  </a:lnTo>
                  <a:lnTo>
                    <a:pt x="709" y="433"/>
                  </a:lnTo>
                  <a:lnTo>
                    <a:pt x="709" y="433"/>
                  </a:lnTo>
                  <a:lnTo>
                    <a:pt x="709" y="429"/>
                  </a:lnTo>
                  <a:lnTo>
                    <a:pt x="712" y="426"/>
                  </a:lnTo>
                  <a:lnTo>
                    <a:pt x="719" y="429"/>
                  </a:lnTo>
                  <a:lnTo>
                    <a:pt x="719" y="426"/>
                  </a:lnTo>
                  <a:lnTo>
                    <a:pt x="726" y="426"/>
                  </a:lnTo>
                  <a:lnTo>
                    <a:pt x="719" y="433"/>
                  </a:lnTo>
                  <a:lnTo>
                    <a:pt x="719" y="433"/>
                  </a:lnTo>
                  <a:lnTo>
                    <a:pt x="719" y="439"/>
                  </a:lnTo>
                  <a:lnTo>
                    <a:pt x="722" y="439"/>
                  </a:lnTo>
                  <a:lnTo>
                    <a:pt x="722" y="433"/>
                  </a:lnTo>
                  <a:lnTo>
                    <a:pt x="726" y="433"/>
                  </a:lnTo>
                  <a:lnTo>
                    <a:pt x="729" y="433"/>
                  </a:lnTo>
                  <a:lnTo>
                    <a:pt x="726" y="433"/>
                  </a:lnTo>
                  <a:lnTo>
                    <a:pt x="726" y="436"/>
                  </a:lnTo>
                  <a:lnTo>
                    <a:pt x="726" y="439"/>
                  </a:lnTo>
                  <a:lnTo>
                    <a:pt x="729" y="436"/>
                  </a:lnTo>
                  <a:lnTo>
                    <a:pt x="733" y="433"/>
                  </a:lnTo>
                  <a:lnTo>
                    <a:pt x="733" y="436"/>
                  </a:lnTo>
                  <a:lnTo>
                    <a:pt x="736" y="433"/>
                  </a:lnTo>
                  <a:lnTo>
                    <a:pt x="740" y="433"/>
                  </a:lnTo>
                  <a:lnTo>
                    <a:pt x="743" y="429"/>
                  </a:lnTo>
                  <a:lnTo>
                    <a:pt x="746" y="429"/>
                  </a:lnTo>
                  <a:lnTo>
                    <a:pt x="750" y="429"/>
                  </a:lnTo>
                  <a:lnTo>
                    <a:pt x="750" y="433"/>
                  </a:lnTo>
                  <a:lnTo>
                    <a:pt x="746" y="433"/>
                  </a:lnTo>
                  <a:lnTo>
                    <a:pt x="743" y="436"/>
                  </a:lnTo>
                  <a:lnTo>
                    <a:pt x="740" y="436"/>
                  </a:lnTo>
                  <a:lnTo>
                    <a:pt x="736" y="439"/>
                  </a:lnTo>
                  <a:lnTo>
                    <a:pt x="740" y="439"/>
                  </a:lnTo>
                  <a:lnTo>
                    <a:pt x="746" y="442"/>
                  </a:lnTo>
                  <a:lnTo>
                    <a:pt x="750" y="442"/>
                  </a:lnTo>
                  <a:lnTo>
                    <a:pt x="746" y="445"/>
                  </a:lnTo>
                  <a:lnTo>
                    <a:pt x="743" y="442"/>
                  </a:lnTo>
                  <a:lnTo>
                    <a:pt x="740" y="442"/>
                  </a:lnTo>
                  <a:lnTo>
                    <a:pt x="736" y="442"/>
                  </a:lnTo>
                  <a:lnTo>
                    <a:pt x="736" y="445"/>
                  </a:lnTo>
                  <a:lnTo>
                    <a:pt x="740" y="445"/>
                  </a:lnTo>
                  <a:lnTo>
                    <a:pt x="740" y="445"/>
                  </a:lnTo>
                  <a:lnTo>
                    <a:pt x="743" y="445"/>
                  </a:lnTo>
                  <a:lnTo>
                    <a:pt x="743" y="445"/>
                  </a:lnTo>
                  <a:lnTo>
                    <a:pt x="740" y="449"/>
                  </a:lnTo>
                  <a:lnTo>
                    <a:pt x="740" y="449"/>
                  </a:lnTo>
                  <a:lnTo>
                    <a:pt x="743" y="452"/>
                  </a:lnTo>
                  <a:lnTo>
                    <a:pt x="746" y="452"/>
                  </a:lnTo>
                  <a:lnTo>
                    <a:pt x="743" y="455"/>
                  </a:lnTo>
                  <a:lnTo>
                    <a:pt x="740" y="455"/>
                  </a:lnTo>
                  <a:lnTo>
                    <a:pt x="740" y="455"/>
                  </a:lnTo>
                  <a:lnTo>
                    <a:pt x="743" y="455"/>
                  </a:lnTo>
                  <a:lnTo>
                    <a:pt x="746" y="455"/>
                  </a:lnTo>
                  <a:lnTo>
                    <a:pt x="750" y="458"/>
                  </a:lnTo>
                  <a:lnTo>
                    <a:pt x="753" y="458"/>
                  </a:lnTo>
                  <a:lnTo>
                    <a:pt x="760" y="458"/>
                  </a:lnTo>
                  <a:lnTo>
                    <a:pt x="760" y="458"/>
                  </a:lnTo>
                  <a:lnTo>
                    <a:pt x="760" y="462"/>
                  </a:lnTo>
                  <a:lnTo>
                    <a:pt x="760" y="462"/>
                  </a:lnTo>
                  <a:lnTo>
                    <a:pt x="760" y="465"/>
                  </a:lnTo>
                  <a:lnTo>
                    <a:pt x="760" y="465"/>
                  </a:lnTo>
                  <a:lnTo>
                    <a:pt x="764" y="465"/>
                  </a:lnTo>
                  <a:lnTo>
                    <a:pt x="764" y="468"/>
                  </a:lnTo>
                  <a:lnTo>
                    <a:pt x="767" y="465"/>
                  </a:lnTo>
                  <a:lnTo>
                    <a:pt x="767" y="462"/>
                  </a:lnTo>
                  <a:lnTo>
                    <a:pt x="767" y="462"/>
                  </a:lnTo>
                  <a:lnTo>
                    <a:pt x="774" y="462"/>
                  </a:lnTo>
                  <a:lnTo>
                    <a:pt x="771" y="465"/>
                  </a:lnTo>
                  <a:lnTo>
                    <a:pt x="771" y="465"/>
                  </a:lnTo>
                  <a:lnTo>
                    <a:pt x="764" y="471"/>
                  </a:lnTo>
                  <a:lnTo>
                    <a:pt x="767" y="475"/>
                  </a:lnTo>
                  <a:lnTo>
                    <a:pt x="767" y="475"/>
                  </a:lnTo>
                  <a:lnTo>
                    <a:pt x="764" y="475"/>
                  </a:lnTo>
                  <a:lnTo>
                    <a:pt x="764" y="475"/>
                  </a:lnTo>
                  <a:lnTo>
                    <a:pt x="764" y="478"/>
                  </a:lnTo>
                  <a:lnTo>
                    <a:pt x="774" y="478"/>
                  </a:lnTo>
                  <a:lnTo>
                    <a:pt x="777" y="478"/>
                  </a:lnTo>
                  <a:lnTo>
                    <a:pt x="777" y="478"/>
                  </a:lnTo>
                  <a:lnTo>
                    <a:pt x="784" y="478"/>
                  </a:lnTo>
                  <a:lnTo>
                    <a:pt x="788" y="478"/>
                  </a:lnTo>
                  <a:lnTo>
                    <a:pt x="791" y="478"/>
                  </a:lnTo>
                  <a:lnTo>
                    <a:pt x="795" y="478"/>
                  </a:lnTo>
                  <a:lnTo>
                    <a:pt x="795" y="481"/>
                  </a:lnTo>
                  <a:lnTo>
                    <a:pt x="795" y="481"/>
                  </a:lnTo>
                  <a:lnTo>
                    <a:pt x="798" y="481"/>
                  </a:lnTo>
                  <a:lnTo>
                    <a:pt x="802" y="484"/>
                  </a:lnTo>
                  <a:lnTo>
                    <a:pt x="802" y="487"/>
                  </a:lnTo>
                  <a:lnTo>
                    <a:pt x="805" y="487"/>
                  </a:lnTo>
                  <a:lnTo>
                    <a:pt x="812" y="484"/>
                  </a:lnTo>
                  <a:lnTo>
                    <a:pt x="812" y="484"/>
                  </a:lnTo>
                  <a:lnTo>
                    <a:pt x="815" y="484"/>
                  </a:lnTo>
                  <a:lnTo>
                    <a:pt x="815" y="487"/>
                  </a:lnTo>
                  <a:lnTo>
                    <a:pt x="812" y="487"/>
                  </a:lnTo>
                  <a:lnTo>
                    <a:pt x="808" y="487"/>
                  </a:lnTo>
                  <a:lnTo>
                    <a:pt x="808" y="491"/>
                  </a:lnTo>
                  <a:lnTo>
                    <a:pt x="812" y="491"/>
                  </a:lnTo>
                  <a:lnTo>
                    <a:pt x="815" y="494"/>
                  </a:lnTo>
                  <a:lnTo>
                    <a:pt x="815" y="497"/>
                  </a:lnTo>
                  <a:lnTo>
                    <a:pt x="822" y="497"/>
                  </a:lnTo>
                  <a:lnTo>
                    <a:pt x="829" y="497"/>
                  </a:lnTo>
                  <a:lnTo>
                    <a:pt x="832" y="497"/>
                  </a:lnTo>
                  <a:lnTo>
                    <a:pt x="832" y="497"/>
                  </a:lnTo>
                  <a:lnTo>
                    <a:pt x="836" y="494"/>
                  </a:lnTo>
                  <a:lnTo>
                    <a:pt x="839" y="491"/>
                  </a:lnTo>
                  <a:lnTo>
                    <a:pt x="843" y="491"/>
                  </a:lnTo>
                  <a:lnTo>
                    <a:pt x="843" y="494"/>
                  </a:lnTo>
                  <a:lnTo>
                    <a:pt x="839" y="497"/>
                  </a:lnTo>
                  <a:lnTo>
                    <a:pt x="836" y="504"/>
                  </a:lnTo>
                  <a:lnTo>
                    <a:pt x="836" y="507"/>
                  </a:lnTo>
                  <a:lnTo>
                    <a:pt x="832" y="507"/>
                  </a:lnTo>
                  <a:lnTo>
                    <a:pt x="829" y="504"/>
                  </a:lnTo>
                  <a:lnTo>
                    <a:pt x="829" y="504"/>
                  </a:lnTo>
                  <a:lnTo>
                    <a:pt x="829" y="507"/>
                  </a:lnTo>
                  <a:lnTo>
                    <a:pt x="832" y="510"/>
                  </a:lnTo>
                  <a:lnTo>
                    <a:pt x="832" y="513"/>
                  </a:lnTo>
                  <a:lnTo>
                    <a:pt x="836" y="513"/>
                  </a:lnTo>
                  <a:lnTo>
                    <a:pt x="839" y="513"/>
                  </a:lnTo>
                  <a:lnTo>
                    <a:pt x="839" y="517"/>
                  </a:lnTo>
                  <a:lnTo>
                    <a:pt x="836" y="517"/>
                  </a:lnTo>
                  <a:lnTo>
                    <a:pt x="836" y="517"/>
                  </a:lnTo>
                  <a:lnTo>
                    <a:pt x="843" y="520"/>
                  </a:lnTo>
                  <a:lnTo>
                    <a:pt x="843" y="520"/>
                  </a:lnTo>
                  <a:lnTo>
                    <a:pt x="846" y="520"/>
                  </a:lnTo>
                  <a:lnTo>
                    <a:pt x="850" y="517"/>
                  </a:lnTo>
                  <a:lnTo>
                    <a:pt x="853" y="510"/>
                  </a:lnTo>
                  <a:lnTo>
                    <a:pt x="853" y="517"/>
                  </a:lnTo>
                  <a:lnTo>
                    <a:pt x="853" y="520"/>
                  </a:lnTo>
                  <a:lnTo>
                    <a:pt x="850" y="523"/>
                  </a:lnTo>
                  <a:lnTo>
                    <a:pt x="850" y="523"/>
                  </a:lnTo>
                  <a:lnTo>
                    <a:pt x="846" y="526"/>
                  </a:lnTo>
                  <a:lnTo>
                    <a:pt x="846" y="526"/>
                  </a:lnTo>
                  <a:lnTo>
                    <a:pt x="850" y="529"/>
                  </a:lnTo>
                  <a:lnTo>
                    <a:pt x="846" y="529"/>
                  </a:lnTo>
                  <a:lnTo>
                    <a:pt x="846" y="539"/>
                  </a:lnTo>
                  <a:lnTo>
                    <a:pt x="850" y="539"/>
                  </a:lnTo>
                  <a:lnTo>
                    <a:pt x="853" y="539"/>
                  </a:lnTo>
                  <a:lnTo>
                    <a:pt x="850" y="542"/>
                  </a:lnTo>
                  <a:lnTo>
                    <a:pt x="853" y="546"/>
                  </a:lnTo>
                  <a:lnTo>
                    <a:pt x="857" y="552"/>
                  </a:lnTo>
                  <a:lnTo>
                    <a:pt x="860" y="552"/>
                  </a:lnTo>
                  <a:lnTo>
                    <a:pt x="860" y="555"/>
                  </a:lnTo>
                  <a:lnTo>
                    <a:pt x="863" y="552"/>
                  </a:lnTo>
                  <a:lnTo>
                    <a:pt x="863" y="555"/>
                  </a:lnTo>
                  <a:lnTo>
                    <a:pt x="867" y="555"/>
                  </a:lnTo>
                  <a:lnTo>
                    <a:pt x="867" y="552"/>
                  </a:lnTo>
                  <a:lnTo>
                    <a:pt x="867" y="552"/>
                  </a:lnTo>
                  <a:lnTo>
                    <a:pt x="870" y="552"/>
                  </a:lnTo>
                  <a:lnTo>
                    <a:pt x="870" y="552"/>
                  </a:lnTo>
                  <a:lnTo>
                    <a:pt x="874" y="549"/>
                  </a:lnTo>
                  <a:lnTo>
                    <a:pt x="870" y="546"/>
                  </a:lnTo>
                  <a:lnTo>
                    <a:pt x="867" y="546"/>
                  </a:lnTo>
                  <a:lnTo>
                    <a:pt x="867" y="546"/>
                  </a:lnTo>
                  <a:lnTo>
                    <a:pt x="867" y="546"/>
                  </a:lnTo>
                  <a:lnTo>
                    <a:pt x="867" y="542"/>
                  </a:lnTo>
                  <a:lnTo>
                    <a:pt x="867" y="539"/>
                  </a:lnTo>
                  <a:lnTo>
                    <a:pt x="867" y="539"/>
                  </a:lnTo>
                  <a:lnTo>
                    <a:pt x="863" y="536"/>
                  </a:lnTo>
                  <a:lnTo>
                    <a:pt x="863" y="536"/>
                  </a:lnTo>
                  <a:lnTo>
                    <a:pt x="867" y="533"/>
                  </a:lnTo>
                  <a:lnTo>
                    <a:pt x="867" y="529"/>
                  </a:lnTo>
                  <a:lnTo>
                    <a:pt x="867" y="529"/>
                  </a:lnTo>
                  <a:lnTo>
                    <a:pt x="870" y="533"/>
                  </a:lnTo>
                  <a:lnTo>
                    <a:pt x="870" y="536"/>
                  </a:lnTo>
                  <a:lnTo>
                    <a:pt x="874" y="533"/>
                  </a:lnTo>
                  <a:lnTo>
                    <a:pt x="874" y="536"/>
                  </a:lnTo>
                  <a:lnTo>
                    <a:pt x="874" y="536"/>
                  </a:lnTo>
                  <a:lnTo>
                    <a:pt x="874" y="539"/>
                  </a:lnTo>
                  <a:lnTo>
                    <a:pt x="874" y="542"/>
                  </a:lnTo>
                  <a:lnTo>
                    <a:pt x="877" y="542"/>
                  </a:lnTo>
                  <a:lnTo>
                    <a:pt x="881" y="539"/>
                  </a:lnTo>
                  <a:lnTo>
                    <a:pt x="881" y="539"/>
                  </a:lnTo>
                  <a:lnTo>
                    <a:pt x="881" y="542"/>
                  </a:lnTo>
                  <a:lnTo>
                    <a:pt x="877" y="546"/>
                  </a:lnTo>
                  <a:lnTo>
                    <a:pt x="877" y="549"/>
                  </a:lnTo>
                  <a:lnTo>
                    <a:pt x="877" y="549"/>
                  </a:lnTo>
                  <a:lnTo>
                    <a:pt x="877" y="555"/>
                  </a:lnTo>
                  <a:lnTo>
                    <a:pt x="877" y="555"/>
                  </a:lnTo>
                  <a:lnTo>
                    <a:pt x="881" y="555"/>
                  </a:lnTo>
                  <a:lnTo>
                    <a:pt x="884" y="555"/>
                  </a:lnTo>
                  <a:lnTo>
                    <a:pt x="884" y="552"/>
                  </a:lnTo>
                  <a:lnTo>
                    <a:pt x="884" y="555"/>
                  </a:lnTo>
                  <a:lnTo>
                    <a:pt x="884" y="555"/>
                  </a:lnTo>
                  <a:lnTo>
                    <a:pt x="884" y="562"/>
                  </a:lnTo>
                  <a:lnTo>
                    <a:pt x="888" y="562"/>
                  </a:lnTo>
                  <a:lnTo>
                    <a:pt x="891" y="555"/>
                  </a:lnTo>
                  <a:lnTo>
                    <a:pt x="891" y="552"/>
                  </a:lnTo>
                  <a:lnTo>
                    <a:pt x="894" y="549"/>
                  </a:lnTo>
                  <a:lnTo>
                    <a:pt x="894" y="542"/>
                  </a:lnTo>
                  <a:lnTo>
                    <a:pt x="898" y="536"/>
                  </a:lnTo>
                  <a:lnTo>
                    <a:pt x="898" y="529"/>
                  </a:lnTo>
                  <a:lnTo>
                    <a:pt x="894" y="523"/>
                  </a:lnTo>
                  <a:lnTo>
                    <a:pt x="894" y="520"/>
                  </a:lnTo>
                  <a:lnTo>
                    <a:pt x="894" y="520"/>
                  </a:lnTo>
                  <a:lnTo>
                    <a:pt x="894" y="520"/>
                  </a:lnTo>
                  <a:lnTo>
                    <a:pt x="898" y="526"/>
                  </a:lnTo>
                  <a:lnTo>
                    <a:pt x="901" y="526"/>
                  </a:lnTo>
                  <a:lnTo>
                    <a:pt x="901" y="523"/>
                  </a:lnTo>
                  <a:lnTo>
                    <a:pt x="905" y="520"/>
                  </a:lnTo>
                  <a:lnTo>
                    <a:pt x="901" y="523"/>
                  </a:lnTo>
                  <a:lnTo>
                    <a:pt x="901" y="529"/>
                  </a:lnTo>
                  <a:lnTo>
                    <a:pt x="901" y="533"/>
                  </a:lnTo>
                  <a:lnTo>
                    <a:pt x="898" y="539"/>
                  </a:lnTo>
                  <a:lnTo>
                    <a:pt x="898" y="542"/>
                  </a:lnTo>
                  <a:lnTo>
                    <a:pt x="901" y="546"/>
                  </a:lnTo>
                  <a:lnTo>
                    <a:pt x="898" y="549"/>
                  </a:lnTo>
                  <a:lnTo>
                    <a:pt x="898" y="552"/>
                  </a:lnTo>
                  <a:lnTo>
                    <a:pt x="898" y="555"/>
                  </a:lnTo>
                  <a:lnTo>
                    <a:pt x="898" y="559"/>
                  </a:lnTo>
                  <a:lnTo>
                    <a:pt x="901" y="562"/>
                  </a:lnTo>
                  <a:lnTo>
                    <a:pt x="901" y="565"/>
                  </a:lnTo>
                  <a:lnTo>
                    <a:pt x="905" y="565"/>
                  </a:lnTo>
                  <a:lnTo>
                    <a:pt x="905" y="568"/>
                  </a:lnTo>
                  <a:lnTo>
                    <a:pt x="908" y="571"/>
                  </a:lnTo>
                  <a:lnTo>
                    <a:pt x="908" y="568"/>
                  </a:lnTo>
                  <a:lnTo>
                    <a:pt x="912" y="571"/>
                  </a:lnTo>
                  <a:lnTo>
                    <a:pt x="915" y="568"/>
                  </a:lnTo>
                  <a:lnTo>
                    <a:pt x="918" y="568"/>
                  </a:lnTo>
                  <a:lnTo>
                    <a:pt x="918" y="571"/>
                  </a:lnTo>
                  <a:lnTo>
                    <a:pt x="915" y="571"/>
                  </a:lnTo>
                  <a:lnTo>
                    <a:pt x="912" y="575"/>
                  </a:lnTo>
                  <a:lnTo>
                    <a:pt x="912" y="575"/>
                  </a:lnTo>
                  <a:lnTo>
                    <a:pt x="915" y="578"/>
                  </a:lnTo>
                  <a:lnTo>
                    <a:pt x="912" y="578"/>
                  </a:lnTo>
                  <a:lnTo>
                    <a:pt x="912" y="578"/>
                  </a:lnTo>
                  <a:lnTo>
                    <a:pt x="912" y="581"/>
                  </a:lnTo>
                  <a:lnTo>
                    <a:pt x="912" y="584"/>
                  </a:lnTo>
                  <a:lnTo>
                    <a:pt x="912" y="588"/>
                  </a:lnTo>
                  <a:lnTo>
                    <a:pt x="912" y="588"/>
                  </a:lnTo>
                  <a:lnTo>
                    <a:pt x="908" y="584"/>
                  </a:lnTo>
                  <a:lnTo>
                    <a:pt x="908" y="584"/>
                  </a:lnTo>
                  <a:lnTo>
                    <a:pt x="905" y="584"/>
                  </a:lnTo>
                  <a:lnTo>
                    <a:pt x="908" y="588"/>
                  </a:lnTo>
                  <a:lnTo>
                    <a:pt x="905" y="588"/>
                  </a:lnTo>
                  <a:lnTo>
                    <a:pt x="905" y="591"/>
                  </a:lnTo>
                  <a:lnTo>
                    <a:pt x="905" y="594"/>
                  </a:lnTo>
                  <a:lnTo>
                    <a:pt x="905" y="594"/>
                  </a:lnTo>
                  <a:lnTo>
                    <a:pt x="901" y="594"/>
                  </a:lnTo>
                  <a:lnTo>
                    <a:pt x="901" y="597"/>
                  </a:lnTo>
                  <a:lnTo>
                    <a:pt x="901" y="601"/>
                  </a:lnTo>
                  <a:lnTo>
                    <a:pt x="905" y="601"/>
                  </a:lnTo>
                  <a:lnTo>
                    <a:pt x="905" y="601"/>
                  </a:lnTo>
                  <a:lnTo>
                    <a:pt x="908" y="601"/>
                  </a:lnTo>
                  <a:lnTo>
                    <a:pt x="908" y="604"/>
                  </a:lnTo>
                  <a:lnTo>
                    <a:pt x="912" y="604"/>
                  </a:lnTo>
                  <a:lnTo>
                    <a:pt x="915" y="604"/>
                  </a:lnTo>
                  <a:lnTo>
                    <a:pt x="915" y="607"/>
                  </a:lnTo>
                  <a:lnTo>
                    <a:pt x="912" y="607"/>
                  </a:lnTo>
                  <a:lnTo>
                    <a:pt x="908" y="607"/>
                  </a:lnTo>
                  <a:lnTo>
                    <a:pt x="912" y="607"/>
                  </a:lnTo>
                  <a:lnTo>
                    <a:pt x="912" y="610"/>
                  </a:lnTo>
                  <a:lnTo>
                    <a:pt x="915" y="613"/>
                  </a:lnTo>
                  <a:lnTo>
                    <a:pt x="918" y="617"/>
                  </a:lnTo>
                  <a:lnTo>
                    <a:pt x="918" y="617"/>
                  </a:lnTo>
                  <a:lnTo>
                    <a:pt x="915" y="617"/>
                  </a:lnTo>
                  <a:lnTo>
                    <a:pt x="915" y="617"/>
                  </a:lnTo>
                  <a:lnTo>
                    <a:pt x="912" y="620"/>
                  </a:lnTo>
                  <a:lnTo>
                    <a:pt x="912" y="623"/>
                  </a:lnTo>
                  <a:lnTo>
                    <a:pt x="915" y="626"/>
                  </a:lnTo>
                  <a:lnTo>
                    <a:pt x="918" y="630"/>
                  </a:lnTo>
                  <a:lnTo>
                    <a:pt x="922" y="630"/>
                  </a:lnTo>
                  <a:lnTo>
                    <a:pt x="925" y="630"/>
                  </a:lnTo>
                  <a:lnTo>
                    <a:pt x="922" y="633"/>
                  </a:lnTo>
                  <a:lnTo>
                    <a:pt x="918" y="630"/>
                  </a:lnTo>
                  <a:lnTo>
                    <a:pt x="915" y="633"/>
                  </a:lnTo>
                  <a:lnTo>
                    <a:pt x="912" y="636"/>
                  </a:lnTo>
                  <a:lnTo>
                    <a:pt x="905" y="639"/>
                  </a:lnTo>
                  <a:lnTo>
                    <a:pt x="901" y="643"/>
                  </a:lnTo>
                  <a:lnTo>
                    <a:pt x="901" y="646"/>
                  </a:lnTo>
                  <a:lnTo>
                    <a:pt x="905" y="649"/>
                  </a:lnTo>
                  <a:lnTo>
                    <a:pt x="908" y="646"/>
                  </a:lnTo>
                  <a:lnTo>
                    <a:pt x="908" y="643"/>
                  </a:lnTo>
                  <a:lnTo>
                    <a:pt x="912" y="643"/>
                  </a:lnTo>
                  <a:lnTo>
                    <a:pt x="912" y="639"/>
                  </a:lnTo>
                  <a:lnTo>
                    <a:pt x="918" y="636"/>
                  </a:lnTo>
                  <a:lnTo>
                    <a:pt x="918" y="639"/>
                  </a:lnTo>
                  <a:lnTo>
                    <a:pt x="922" y="639"/>
                  </a:lnTo>
                  <a:lnTo>
                    <a:pt x="925" y="636"/>
                  </a:lnTo>
                  <a:lnTo>
                    <a:pt x="922" y="639"/>
                  </a:lnTo>
                  <a:lnTo>
                    <a:pt x="925" y="643"/>
                  </a:lnTo>
                  <a:lnTo>
                    <a:pt x="929" y="643"/>
                  </a:lnTo>
                  <a:lnTo>
                    <a:pt x="929" y="643"/>
                  </a:lnTo>
                  <a:lnTo>
                    <a:pt x="925" y="646"/>
                  </a:lnTo>
                  <a:lnTo>
                    <a:pt x="925" y="649"/>
                  </a:lnTo>
                  <a:lnTo>
                    <a:pt x="925" y="652"/>
                  </a:lnTo>
                  <a:lnTo>
                    <a:pt x="922" y="655"/>
                  </a:lnTo>
                  <a:lnTo>
                    <a:pt x="922" y="655"/>
                  </a:lnTo>
                  <a:lnTo>
                    <a:pt x="922" y="659"/>
                  </a:lnTo>
                  <a:lnTo>
                    <a:pt x="922" y="659"/>
                  </a:lnTo>
                  <a:lnTo>
                    <a:pt x="922" y="659"/>
                  </a:lnTo>
                  <a:lnTo>
                    <a:pt x="915" y="659"/>
                  </a:lnTo>
                  <a:lnTo>
                    <a:pt x="915" y="662"/>
                  </a:lnTo>
                  <a:lnTo>
                    <a:pt x="915" y="665"/>
                  </a:lnTo>
                  <a:lnTo>
                    <a:pt x="918" y="665"/>
                  </a:lnTo>
                  <a:lnTo>
                    <a:pt x="918" y="665"/>
                  </a:lnTo>
                  <a:lnTo>
                    <a:pt x="922" y="665"/>
                  </a:lnTo>
                  <a:lnTo>
                    <a:pt x="922" y="665"/>
                  </a:lnTo>
                  <a:lnTo>
                    <a:pt x="918" y="668"/>
                  </a:lnTo>
                  <a:lnTo>
                    <a:pt x="918" y="665"/>
                  </a:lnTo>
                  <a:lnTo>
                    <a:pt x="915" y="668"/>
                  </a:lnTo>
                  <a:lnTo>
                    <a:pt x="912" y="668"/>
                  </a:lnTo>
                  <a:lnTo>
                    <a:pt x="912" y="672"/>
                  </a:lnTo>
                  <a:lnTo>
                    <a:pt x="915" y="675"/>
                  </a:lnTo>
                  <a:lnTo>
                    <a:pt x="915" y="675"/>
                  </a:lnTo>
                  <a:lnTo>
                    <a:pt x="918" y="672"/>
                  </a:lnTo>
                  <a:lnTo>
                    <a:pt x="918" y="672"/>
                  </a:lnTo>
                  <a:lnTo>
                    <a:pt x="922" y="672"/>
                  </a:lnTo>
                  <a:lnTo>
                    <a:pt x="929" y="665"/>
                  </a:lnTo>
                  <a:lnTo>
                    <a:pt x="932" y="662"/>
                  </a:lnTo>
                  <a:lnTo>
                    <a:pt x="932" y="655"/>
                  </a:lnTo>
                  <a:lnTo>
                    <a:pt x="939" y="646"/>
                  </a:lnTo>
                  <a:lnTo>
                    <a:pt x="939" y="646"/>
                  </a:lnTo>
                  <a:lnTo>
                    <a:pt x="939" y="646"/>
                  </a:lnTo>
                  <a:lnTo>
                    <a:pt x="939" y="646"/>
                  </a:lnTo>
                  <a:close/>
                  <a:moveTo>
                    <a:pt x="884" y="665"/>
                  </a:moveTo>
                  <a:lnTo>
                    <a:pt x="881" y="662"/>
                  </a:lnTo>
                  <a:lnTo>
                    <a:pt x="881" y="659"/>
                  </a:lnTo>
                  <a:lnTo>
                    <a:pt x="884" y="662"/>
                  </a:lnTo>
                  <a:lnTo>
                    <a:pt x="884" y="665"/>
                  </a:lnTo>
                  <a:lnTo>
                    <a:pt x="884" y="665"/>
                  </a:lnTo>
                  <a:close/>
                  <a:moveTo>
                    <a:pt x="905" y="668"/>
                  </a:moveTo>
                  <a:lnTo>
                    <a:pt x="908" y="668"/>
                  </a:lnTo>
                  <a:lnTo>
                    <a:pt x="908" y="668"/>
                  </a:lnTo>
                  <a:lnTo>
                    <a:pt x="908" y="672"/>
                  </a:lnTo>
                  <a:lnTo>
                    <a:pt x="905" y="668"/>
                  </a:lnTo>
                  <a:lnTo>
                    <a:pt x="905" y="668"/>
                  </a:lnTo>
                  <a:close/>
                  <a:moveTo>
                    <a:pt x="905" y="662"/>
                  </a:moveTo>
                  <a:lnTo>
                    <a:pt x="908" y="659"/>
                  </a:lnTo>
                  <a:lnTo>
                    <a:pt x="912" y="662"/>
                  </a:lnTo>
                  <a:lnTo>
                    <a:pt x="905" y="665"/>
                  </a:lnTo>
                  <a:lnTo>
                    <a:pt x="905" y="665"/>
                  </a:lnTo>
                  <a:lnTo>
                    <a:pt x="905" y="662"/>
                  </a:lnTo>
                  <a:lnTo>
                    <a:pt x="905" y="662"/>
                  </a:lnTo>
                  <a:lnTo>
                    <a:pt x="905" y="662"/>
                  </a:lnTo>
                  <a:close/>
                  <a:moveTo>
                    <a:pt x="905" y="652"/>
                  </a:moveTo>
                  <a:lnTo>
                    <a:pt x="908" y="655"/>
                  </a:lnTo>
                  <a:lnTo>
                    <a:pt x="905" y="659"/>
                  </a:lnTo>
                  <a:lnTo>
                    <a:pt x="905" y="655"/>
                  </a:lnTo>
                  <a:lnTo>
                    <a:pt x="901" y="655"/>
                  </a:lnTo>
                  <a:lnTo>
                    <a:pt x="905" y="652"/>
                  </a:lnTo>
                  <a:lnTo>
                    <a:pt x="905" y="652"/>
                  </a:lnTo>
                  <a:close/>
                  <a:moveTo>
                    <a:pt x="908" y="652"/>
                  </a:moveTo>
                  <a:lnTo>
                    <a:pt x="912" y="649"/>
                  </a:lnTo>
                  <a:lnTo>
                    <a:pt x="912" y="649"/>
                  </a:lnTo>
                  <a:lnTo>
                    <a:pt x="912" y="643"/>
                  </a:lnTo>
                  <a:lnTo>
                    <a:pt x="915" y="643"/>
                  </a:lnTo>
                  <a:lnTo>
                    <a:pt x="915" y="643"/>
                  </a:lnTo>
                  <a:lnTo>
                    <a:pt x="922" y="639"/>
                  </a:lnTo>
                  <a:lnTo>
                    <a:pt x="922" y="646"/>
                  </a:lnTo>
                  <a:lnTo>
                    <a:pt x="922" y="649"/>
                  </a:lnTo>
                  <a:lnTo>
                    <a:pt x="922" y="652"/>
                  </a:lnTo>
                  <a:lnTo>
                    <a:pt x="918" y="655"/>
                  </a:lnTo>
                  <a:lnTo>
                    <a:pt x="912" y="662"/>
                  </a:lnTo>
                  <a:lnTo>
                    <a:pt x="908" y="659"/>
                  </a:lnTo>
                  <a:lnTo>
                    <a:pt x="912" y="655"/>
                  </a:lnTo>
                  <a:lnTo>
                    <a:pt x="915" y="652"/>
                  </a:lnTo>
                  <a:lnTo>
                    <a:pt x="915" y="652"/>
                  </a:lnTo>
                  <a:lnTo>
                    <a:pt x="908" y="655"/>
                  </a:lnTo>
                  <a:lnTo>
                    <a:pt x="908" y="652"/>
                  </a:lnTo>
                  <a:lnTo>
                    <a:pt x="908" y="652"/>
                  </a:lnTo>
                  <a:close/>
                  <a:moveTo>
                    <a:pt x="874" y="662"/>
                  </a:moveTo>
                  <a:lnTo>
                    <a:pt x="874" y="662"/>
                  </a:lnTo>
                  <a:lnTo>
                    <a:pt x="877" y="665"/>
                  </a:lnTo>
                  <a:lnTo>
                    <a:pt x="877" y="665"/>
                  </a:lnTo>
                  <a:lnTo>
                    <a:pt x="881" y="668"/>
                  </a:lnTo>
                  <a:lnTo>
                    <a:pt x="877" y="675"/>
                  </a:lnTo>
                  <a:lnTo>
                    <a:pt x="874" y="672"/>
                  </a:lnTo>
                  <a:lnTo>
                    <a:pt x="874" y="668"/>
                  </a:lnTo>
                  <a:lnTo>
                    <a:pt x="874" y="665"/>
                  </a:lnTo>
                  <a:lnTo>
                    <a:pt x="874" y="662"/>
                  </a:lnTo>
                  <a:lnTo>
                    <a:pt x="874" y="662"/>
                  </a:lnTo>
                  <a:close/>
                  <a:moveTo>
                    <a:pt x="874" y="659"/>
                  </a:moveTo>
                  <a:lnTo>
                    <a:pt x="877" y="659"/>
                  </a:lnTo>
                  <a:lnTo>
                    <a:pt x="877" y="659"/>
                  </a:lnTo>
                  <a:lnTo>
                    <a:pt x="877" y="662"/>
                  </a:lnTo>
                  <a:lnTo>
                    <a:pt x="877" y="662"/>
                  </a:lnTo>
                  <a:lnTo>
                    <a:pt x="874" y="659"/>
                  </a:lnTo>
                  <a:lnTo>
                    <a:pt x="874" y="659"/>
                  </a:lnTo>
                  <a:close/>
                  <a:moveTo>
                    <a:pt x="874" y="655"/>
                  </a:moveTo>
                  <a:lnTo>
                    <a:pt x="874" y="652"/>
                  </a:lnTo>
                  <a:lnTo>
                    <a:pt x="874" y="655"/>
                  </a:lnTo>
                  <a:lnTo>
                    <a:pt x="874" y="655"/>
                  </a:lnTo>
                  <a:lnTo>
                    <a:pt x="874" y="655"/>
                  </a:lnTo>
                  <a:close/>
                  <a:moveTo>
                    <a:pt x="870" y="649"/>
                  </a:moveTo>
                  <a:lnTo>
                    <a:pt x="874" y="652"/>
                  </a:lnTo>
                  <a:lnTo>
                    <a:pt x="870" y="655"/>
                  </a:lnTo>
                  <a:lnTo>
                    <a:pt x="870" y="649"/>
                  </a:lnTo>
                  <a:lnTo>
                    <a:pt x="870" y="649"/>
                  </a:lnTo>
                  <a:close/>
                  <a:moveTo>
                    <a:pt x="867" y="636"/>
                  </a:moveTo>
                  <a:lnTo>
                    <a:pt x="867" y="633"/>
                  </a:lnTo>
                  <a:lnTo>
                    <a:pt x="870" y="633"/>
                  </a:lnTo>
                  <a:lnTo>
                    <a:pt x="867" y="636"/>
                  </a:lnTo>
                  <a:lnTo>
                    <a:pt x="867" y="636"/>
                  </a:lnTo>
                  <a:close/>
                  <a:moveTo>
                    <a:pt x="877" y="639"/>
                  </a:moveTo>
                  <a:lnTo>
                    <a:pt x="881" y="639"/>
                  </a:lnTo>
                  <a:lnTo>
                    <a:pt x="881" y="639"/>
                  </a:lnTo>
                  <a:lnTo>
                    <a:pt x="881" y="639"/>
                  </a:lnTo>
                  <a:lnTo>
                    <a:pt x="877" y="639"/>
                  </a:lnTo>
                  <a:lnTo>
                    <a:pt x="877" y="639"/>
                  </a:lnTo>
                  <a:close/>
                  <a:moveTo>
                    <a:pt x="877" y="633"/>
                  </a:moveTo>
                  <a:lnTo>
                    <a:pt x="881" y="630"/>
                  </a:lnTo>
                  <a:lnTo>
                    <a:pt x="884" y="630"/>
                  </a:lnTo>
                  <a:lnTo>
                    <a:pt x="888" y="630"/>
                  </a:lnTo>
                  <a:lnTo>
                    <a:pt x="884" y="633"/>
                  </a:lnTo>
                  <a:lnTo>
                    <a:pt x="884" y="633"/>
                  </a:lnTo>
                  <a:lnTo>
                    <a:pt x="881" y="636"/>
                  </a:lnTo>
                  <a:lnTo>
                    <a:pt x="877" y="633"/>
                  </a:lnTo>
                  <a:lnTo>
                    <a:pt x="877" y="633"/>
                  </a:lnTo>
                  <a:close/>
                  <a:moveTo>
                    <a:pt x="888" y="636"/>
                  </a:moveTo>
                  <a:lnTo>
                    <a:pt x="888" y="633"/>
                  </a:lnTo>
                  <a:lnTo>
                    <a:pt x="888" y="630"/>
                  </a:lnTo>
                  <a:lnTo>
                    <a:pt x="884" y="626"/>
                  </a:lnTo>
                  <a:lnTo>
                    <a:pt x="888" y="623"/>
                  </a:lnTo>
                  <a:lnTo>
                    <a:pt x="891" y="626"/>
                  </a:lnTo>
                  <a:lnTo>
                    <a:pt x="894" y="630"/>
                  </a:lnTo>
                  <a:lnTo>
                    <a:pt x="891" y="633"/>
                  </a:lnTo>
                  <a:lnTo>
                    <a:pt x="891" y="633"/>
                  </a:lnTo>
                  <a:lnTo>
                    <a:pt x="891" y="636"/>
                  </a:lnTo>
                  <a:lnTo>
                    <a:pt x="894" y="636"/>
                  </a:lnTo>
                  <a:lnTo>
                    <a:pt x="898" y="636"/>
                  </a:lnTo>
                  <a:lnTo>
                    <a:pt x="898" y="643"/>
                  </a:lnTo>
                  <a:lnTo>
                    <a:pt x="894" y="643"/>
                  </a:lnTo>
                  <a:lnTo>
                    <a:pt x="898" y="646"/>
                  </a:lnTo>
                  <a:lnTo>
                    <a:pt x="898" y="649"/>
                  </a:lnTo>
                  <a:lnTo>
                    <a:pt x="894" y="649"/>
                  </a:lnTo>
                  <a:lnTo>
                    <a:pt x="894" y="646"/>
                  </a:lnTo>
                  <a:lnTo>
                    <a:pt x="894" y="649"/>
                  </a:lnTo>
                  <a:lnTo>
                    <a:pt x="898" y="652"/>
                  </a:lnTo>
                  <a:lnTo>
                    <a:pt x="898" y="655"/>
                  </a:lnTo>
                  <a:lnTo>
                    <a:pt x="894" y="659"/>
                  </a:lnTo>
                  <a:lnTo>
                    <a:pt x="894" y="659"/>
                  </a:lnTo>
                  <a:lnTo>
                    <a:pt x="898" y="659"/>
                  </a:lnTo>
                  <a:lnTo>
                    <a:pt x="898" y="659"/>
                  </a:lnTo>
                  <a:lnTo>
                    <a:pt x="898" y="662"/>
                  </a:lnTo>
                  <a:lnTo>
                    <a:pt x="894" y="662"/>
                  </a:lnTo>
                  <a:lnTo>
                    <a:pt x="894" y="665"/>
                  </a:lnTo>
                  <a:lnTo>
                    <a:pt x="891" y="665"/>
                  </a:lnTo>
                  <a:lnTo>
                    <a:pt x="894" y="665"/>
                  </a:lnTo>
                  <a:lnTo>
                    <a:pt x="894" y="668"/>
                  </a:lnTo>
                  <a:lnTo>
                    <a:pt x="894" y="668"/>
                  </a:lnTo>
                  <a:lnTo>
                    <a:pt x="894" y="672"/>
                  </a:lnTo>
                  <a:lnTo>
                    <a:pt x="891" y="675"/>
                  </a:lnTo>
                  <a:lnTo>
                    <a:pt x="891" y="675"/>
                  </a:lnTo>
                  <a:lnTo>
                    <a:pt x="888" y="672"/>
                  </a:lnTo>
                  <a:lnTo>
                    <a:pt x="888" y="668"/>
                  </a:lnTo>
                  <a:lnTo>
                    <a:pt x="884" y="668"/>
                  </a:lnTo>
                  <a:lnTo>
                    <a:pt x="884" y="665"/>
                  </a:lnTo>
                  <a:lnTo>
                    <a:pt x="888" y="662"/>
                  </a:lnTo>
                  <a:lnTo>
                    <a:pt x="888" y="662"/>
                  </a:lnTo>
                  <a:lnTo>
                    <a:pt x="888" y="659"/>
                  </a:lnTo>
                  <a:lnTo>
                    <a:pt x="891" y="659"/>
                  </a:lnTo>
                  <a:lnTo>
                    <a:pt x="888" y="655"/>
                  </a:lnTo>
                  <a:lnTo>
                    <a:pt x="884" y="655"/>
                  </a:lnTo>
                  <a:lnTo>
                    <a:pt x="884" y="659"/>
                  </a:lnTo>
                  <a:lnTo>
                    <a:pt x="884" y="655"/>
                  </a:lnTo>
                  <a:lnTo>
                    <a:pt x="881" y="655"/>
                  </a:lnTo>
                  <a:lnTo>
                    <a:pt x="881" y="655"/>
                  </a:lnTo>
                  <a:lnTo>
                    <a:pt x="881" y="652"/>
                  </a:lnTo>
                  <a:lnTo>
                    <a:pt x="884" y="652"/>
                  </a:lnTo>
                  <a:lnTo>
                    <a:pt x="884" y="652"/>
                  </a:lnTo>
                  <a:lnTo>
                    <a:pt x="884" y="649"/>
                  </a:lnTo>
                  <a:lnTo>
                    <a:pt x="888" y="646"/>
                  </a:lnTo>
                  <a:lnTo>
                    <a:pt x="888" y="646"/>
                  </a:lnTo>
                  <a:lnTo>
                    <a:pt x="884" y="646"/>
                  </a:lnTo>
                  <a:lnTo>
                    <a:pt x="884" y="646"/>
                  </a:lnTo>
                  <a:lnTo>
                    <a:pt x="881" y="643"/>
                  </a:lnTo>
                  <a:lnTo>
                    <a:pt x="884" y="643"/>
                  </a:lnTo>
                  <a:lnTo>
                    <a:pt x="888" y="643"/>
                  </a:lnTo>
                  <a:lnTo>
                    <a:pt x="888" y="639"/>
                  </a:lnTo>
                  <a:lnTo>
                    <a:pt x="888" y="636"/>
                  </a:lnTo>
                  <a:lnTo>
                    <a:pt x="888" y="636"/>
                  </a:lnTo>
                  <a:close/>
                  <a:moveTo>
                    <a:pt x="912" y="633"/>
                  </a:moveTo>
                  <a:lnTo>
                    <a:pt x="908" y="630"/>
                  </a:lnTo>
                  <a:lnTo>
                    <a:pt x="908" y="630"/>
                  </a:lnTo>
                  <a:lnTo>
                    <a:pt x="912" y="626"/>
                  </a:lnTo>
                  <a:lnTo>
                    <a:pt x="912" y="626"/>
                  </a:lnTo>
                  <a:lnTo>
                    <a:pt x="912" y="630"/>
                  </a:lnTo>
                  <a:lnTo>
                    <a:pt x="912" y="633"/>
                  </a:lnTo>
                  <a:lnTo>
                    <a:pt x="912" y="633"/>
                  </a:lnTo>
                  <a:close/>
                  <a:moveTo>
                    <a:pt x="901" y="636"/>
                  </a:moveTo>
                  <a:lnTo>
                    <a:pt x="905" y="633"/>
                  </a:lnTo>
                  <a:lnTo>
                    <a:pt x="908" y="633"/>
                  </a:lnTo>
                  <a:lnTo>
                    <a:pt x="908" y="636"/>
                  </a:lnTo>
                  <a:lnTo>
                    <a:pt x="905" y="639"/>
                  </a:lnTo>
                  <a:lnTo>
                    <a:pt x="901" y="636"/>
                  </a:lnTo>
                  <a:lnTo>
                    <a:pt x="901" y="636"/>
                  </a:lnTo>
                  <a:close/>
                  <a:moveTo>
                    <a:pt x="901" y="633"/>
                  </a:moveTo>
                  <a:lnTo>
                    <a:pt x="901" y="630"/>
                  </a:lnTo>
                  <a:lnTo>
                    <a:pt x="908" y="626"/>
                  </a:lnTo>
                  <a:lnTo>
                    <a:pt x="908" y="630"/>
                  </a:lnTo>
                  <a:lnTo>
                    <a:pt x="905" y="633"/>
                  </a:lnTo>
                  <a:lnTo>
                    <a:pt x="901" y="633"/>
                  </a:lnTo>
                  <a:lnTo>
                    <a:pt x="901" y="633"/>
                  </a:lnTo>
                  <a:lnTo>
                    <a:pt x="901" y="633"/>
                  </a:lnTo>
                  <a:close/>
                  <a:moveTo>
                    <a:pt x="898" y="626"/>
                  </a:moveTo>
                  <a:lnTo>
                    <a:pt x="898" y="623"/>
                  </a:lnTo>
                  <a:lnTo>
                    <a:pt x="905" y="623"/>
                  </a:lnTo>
                  <a:lnTo>
                    <a:pt x="905" y="626"/>
                  </a:lnTo>
                  <a:lnTo>
                    <a:pt x="901" y="630"/>
                  </a:lnTo>
                  <a:lnTo>
                    <a:pt x="898" y="626"/>
                  </a:lnTo>
                  <a:lnTo>
                    <a:pt x="898" y="626"/>
                  </a:lnTo>
                  <a:lnTo>
                    <a:pt x="898" y="626"/>
                  </a:lnTo>
                  <a:close/>
                  <a:moveTo>
                    <a:pt x="901" y="617"/>
                  </a:moveTo>
                  <a:lnTo>
                    <a:pt x="905" y="613"/>
                  </a:lnTo>
                  <a:lnTo>
                    <a:pt x="908" y="610"/>
                  </a:lnTo>
                  <a:lnTo>
                    <a:pt x="912" y="617"/>
                  </a:lnTo>
                  <a:lnTo>
                    <a:pt x="908" y="620"/>
                  </a:lnTo>
                  <a:lnTo>
                    <a:pt x="901" y="620"/>
                  </a:lnTo>
                  <a:lnTo>
                    <a:pt x="901" y="620"/>
                  </a:lnTo>
                  <a:lnTo>
                    <a:pt x="901" y="617"/>
                  </a:lnTo>
                  <a:lnTo>
                    <a:pt x="901" y="617"/>
                  </a:lnTo>
                  <a:close/>
                  <a:moveTo>
                    <a:pt x="888" y="623"/>
                  </a:moveTo>
                  <a:lnTo>
                    <a:pt x="888" y="617"/>
                  </a:lnTo>
                  <a:lnTo>
                    <a:pt x="891" y="610"/>
                  </a:lnTo>
                  <a:lnTo>
                    <a:pt x="894" y="607"/>
                  </a:lnTo>
                  <a:lnTo>
                    <a:pt x="891" y="607"/>
                  </a:lnTo>
                  <a:lnTo>
                    <a:pt x="891" y="604"/>
                  </a:lnTo>
                  <a:lnTo>
                    <a:pt x="888" y="604"/>
                  </a:lnTo>
                  <a:lnTo>
                    <a:pt x="891" y="601"/>
                  </a:lnTo>
                  <a:lnTo>
                    <a:pt x="894" y="601"/>
                  </a:lnTo>
                  <a:lnTo>
                    <a:pt x="898" y="604"/>
                  </a:lnTo>
                  <a:lnTo>
                    <a:pt x="901" y="604"/>
                  </a:lnTo>
                  <a:lnTo>
                    <a:pt x="905" y="607"/>
                  </a:lnTo>
                  <a:lnTo>
                    <a:pt x="905" y="610"/>
                  </a:lnTo>
                  <a:lnTo>
                    <a:pt x="901" y="613"/>
                  </a:lnTo>
                  <a:lnTo>
                    <a:pt x="901" y="617"/>
                  </a:lnTo>
                  <a:lnTo>
                    <a:pt x="898" y="610"/>
                  </a:lnTo>
                  <a:lnTo>
                    <a:pt x="898" y="610"/>
                  </a:lnTo>
                  <a:lnTo>
                    <a:pt x="898" y="617"/>
                  </a:lnTo>
                  <a:lnTo>
                    <a:pt x="894" y="617"/>
                  </a:lnTo>
                  <a:lnTo>
                    <a:pt x="898" y="620"/>
                  </a:lnTo>
                  <a:lnTo>
                    <a:pt x="894" y="620"/>
                  </a:lnTo>
                  <a:lnTo>
                    <a:pt x="894" y="620"/>
                  </a:lnTo>
                  <a:lnTo>
                    <a:pt x="891" y="623"/>
                  </a:lnTo>
                  <a:lnTo>
                    <a:pt x="888" y="623"/>
                  </a:lnTo>
                  <a:lnTo>
                    <a:pt x="888" y="623"/>
                  </a:lnTo>
                  <a:close/>
                  <a:moveTo>
                    <a:pt x="881" y="617"/>
                  </a:moveTo>
                  <a:lnTo>
                    <a:pt x="877" y="617"/>
                  </a:lnTo>
                  <a:lnTo>
                    <a:pt x="877" y="613"/>
                  </a:lnTo>
                  <a:lnTo>
                    <a:pt x="877" y="610"/>
                  </a:lnTo>
                  <a:lnTo>
                    <a:pt x="877" y="607"/>
                  </a:lnTo>
                  <a:lnTo>
                    <a:pt x="877" y="604"/>
                  </a:lnTo>
                  <a:lnTo>
                    <a:pt x="881" y="607"/>
                  </a:lnTo>
                  <a:lnTo>
                    <a:pt x="881" y="604"/>
                  </a:lnTo>
                  <a:lnTo>
                    <a:pt x="884" y="604"/>
                  </a:lnTo>
                  <a:lnTo>
                    <a:pt x="888" y="607"/>
                  </a:lnTo>
                  <a:lnTo>
                    <a:pt x="884" y="610"/>
                  </a:lnTo>
                  <a:lnTo>
                    <a:pt x="888" y="610"/>
                  </a:lnTo>
                  <a:lnTo>
                    <a:pt x="888" y="610"/>
                  </a:lnTo>
                  <a:lnTo>
                    <a:pt x="891" y="610"/>
                  </a:lnTo>
                  <a:lnTo>
                    <a:pt x="888" y="617"/>
                  </a:lnTo>
                  <a:lnTo>
                    <a:pt x="881" y="623"/>
                  </a:lnTo>
                  <a:lnTo>
                    <a:pt x="881" y="626"/>
                  </a:lnTo>
                  <a:lnTo>
                    <a:pt x="877" y="626"/>
                  </a:lnTo>
                  <a:lnTo>
                    <a:pt x="874" y="630"/>
                  </a:lnTo>
                  <a:lnTo>
                    <a:pt x="877" y="626"/>
                  </a:lnTo>
                  <a:lnTo>
                    <a:pt x="874" y="623"/>
                  </a:lnTo>
                  <a:lnTo>
                    <a:pt x="874" y="630"/>
                  </a:lnTo>
                  <a:lnTo>
                    <a:pt x="870" y="630"/>
                  </a:lnTo>
                  <a:lnTo>
                    <a:pt x="870" y="626"/>
                  </a:lnTo>
                  <a:lnTo>
                    <a:pt x="874" y="623"/>
                  </a:lnTo>
                  <a:lnTo>
                    <a:pt x="874" y="623"/>
                  </a:lnTo>
                  <a:lnTo>
                    <a:pt x="874" y="620"/>
                  </a:lnTo>
                  <a:lnTo>
                    <a:pt x="877" y="620"/>
                  </a:lnTo>
                  <a:lnTo>
                    <a:pt x="881" y="620"/>
                  </a:lnTo>
                  <a:lnTo>
                    <a:pt x="881" y="617"/>
                  </a:lnTo>
                  <a:lnTo>
                    <a:pt x="881" y="617"/>
                  </a:lnTo>
                  <a:close/>
                  <a:moveTo>
                    <a:pt x="877" y="588"/>
                  </a:moveTo>
                  <a:lnTo>
                    <a:pt x="881" y="588"/>
                  </a:lnTo>
                  <a:lnTo>
                    <a:pt x="877" y="591"/>
                  </a:lnTo>
                  <a:lnTo>
                    <a:pt x="877" y="588"/>
                  </a:lnTo>
                  <a:lnTo>
                    <a:pt x="877" y="588"/>
                  </a:lnTo>
                  <a:close/>
                  <a:moveTo>
                    <a:pt x="867" y="591"/>
                  </a:moveTo>
                  <a:lnTo>
                    <a:pt x="870" y="588"/>
                  </a:lnTo>
                  <a:lnTo>
                    <a:pt x="874" y="588"/>
                  </a:lnTo>
                  <a:lnTo>
                    <a:pt x="874" y="588"/>
                  </a:lnTo>
                  <a:lnTo>
                    <a:pt x="877" y="591"/>
                  </a:lnTo>
                  <a:lnTo>
                    <a:pt x="877" y="597"/>
                  </a:lnTo>
                  <a:lnTo>
                    <a:pt x="874" y="604"/>
                  </a:lnTo>
                  <a:lnTo>
                    <a:pt x="874" y="604"/>
                  </a:lnTo>
                  <a:lnTo>
                    <a:pt x="874" y="610"/>
                  </a:lnTo>
                  <a:lnTo>
                    <a:pt x="870" y="613"/>
                  </a:lnTo>
                  <a:lnTo>
                    <a:pt x="870" y="617"/>
                  </a:lnTo>
                  <a:lnTo>
                    <a:pt x="867" y="620"/>
                  </a:lnTo>
                  <a:lnTo>
                    <a:pt x="867" y="623"/>
                  </a:lnTo>
                  <a:lnTo>
                    <a:pt x="867" y="623"/>
                  </a:lnTo>
                  <a:lnTo>
                    <a:pt x="867" y="620"/>
                  </a:lnTo>
                  <a:lnTo>
                    <a:pt x="867" y="620"/>
                  </a:lnTo>
                  <a:lnTo>
                    <a:pt x="863" y="617"/>
                  </a:lnTo>
                  <a:lnTo>
                    <a:pt x="863" y="613"/>
                  </a:lnTo>
                  <a:lnTo>
                    <a:pt x="863" y="610"/>
                  </a:lnTo>
                  <a:lnTo>
                    <a:pt x="867" y="610"/>
                  </a:lnTo>
                  <a:lnTo>
                    <a:pt x="870" y="610"/>
                  </a:lnTo>
                  <a:lnTo>
                    <a:pt x="867" y="607"/>
                  </a:lnTo>
                  <a:lnTo>
                    <a:pt x="867" y="607"/>
                  </a:lnTo>
                  <a:lnTo>
                    <a:pt x="863" y="607"/>
                  </a:lnTo>
                  <a:lnTo>
                    <a:pt x="863" y="607"/>
                  </a:lnTo>
                  <a:lnTo>
                    <a:pt x="867" y="607"/>
                  </a:lnTo>
                  <a:lnTo>
                    <a:pt x="867" y="604"/>
                  </a:lnTo>
                  <a:lnTo>
                    <a:pt x="863" y="604"/>
                  </a:lnTo>
                  <a:lnTo>
                    <a:pt x="863" y="601"/>
                  </a:lnTo>
                  <a:lnTo>
                    <a:pt x="867" y="601"/>
                  </a:lnTo>
                  <a:lnTo>
                    <a:pt x="867" y="597"/>
                  </a:lnTo>
                  <a:lnTo>
                    <a:pt x="867" y="594"/>
                  </a:lnTo>
                  <a:lnTo>
                    <a:pt x="870" y="594"/>
                  </a:lnTo>
                  <a:lnTo>
                    <a:pt x="867" y="591"/>
                  </a:lnTo>
                  <a:lnTo>
                    <a:pt x="867" y="591"/>
                  </a:lnTo>
                  <a:lnTo>
                    <a:pt x="867" y="591"/>
                  </a:lnTo>
                  <a:close/>
                  <a:moveTo>
                    <a:pt x="860" y="591"/>
                  </a:moveTo>
                  <a:lnTo>
                    <a:pt x="863" y="588"/>
                  </a:lnTo>
                  <a:lnTo>
                    <a:pt x="863" y="591"/>
                  </a:lnTo>
                  <a:lnTo>
                    <a:pt x="863" y="594"/>
                  </a:lnTo>
                  <a:lnTo>
                    <a:pt x="863" y="597"/>
                  </a:lnTo>
                  <a:lnTo>
                    <a:pt x="860" y="597"/>
                  </a:lnTo>
                  <a:lnTo>
                    <a:pt x="860" y="594"/>
                  </a:lnTo>
                  <a:lnTo>
                    <a:pt x="860" y="594"/>
                  </a:lnTo>
                  <a:lnTo>
                    <a:pt x="860" y="594"/>
                  </a:lnTo>
                  <a:lnTo>
                    <a:pt x="860" y="591"/>
                  </a:lnTo>
                  <a:lnTo>
                    <a:pt x="860" y="591"/>
                  </a:lnTo>
                  <a:close/>
                  <a:moveTo>
                    <a:pt x="877" y="597"/>
                  </a:moveTo>
                  <a:lnTo>
                    <a:pt x="881" y="594"/>
                  </a:lnTo>
                  <a:lnTo>
                    <a:pt x="881" y="591"/>
                  </a:lnTo>
                  <a:lnTo>
                    <a:pt x="884" y="588"/>
                  </a:lnTo>
                  <a:lnTo>
                    <a:pt x="888" y="588"/>
                  </a:lnTo>
                  <a:lnTo>
                    <a:pt x="888" y="588"/>
                  </a:lnTo>
                  <a:lnTo>
                    <a:pt x="888" y="584"/>
                  </a:lnTo>
                  <a:lnTo>
                    <a:pt x="884" y="584"/>
                  </a:lnTo>
                  <a:lnTo>
                    <a:pt x="884" y="578"/>
                  </a:lnTo>
                  <a:lnTo>
                    <a:pt x="891" y="575"/>
                  </a:lnTo>
                  <a:lnTo>
                    <a:pt x="891" y="562"/>
                  </a:lnTo>
                  <a:lnTo>
                    <a:pt x="894" y="559"/>
                  </a:lnTo>
                  <a:lnTo>
                    <a:pt x="894" y="562"/>
                  </a:lnTo>
                  <a:lnTo>
                    <a:pt x="894" y="565"/>
                  </a:lnTo>
                  <a:lnTo>
                    <a:pt x="898" y="565"/>
                  </a:lnTo>
                  <a:lnTo>
                    <a:pt x="901" y="568"/>
                  </a:lnTo>
                  <a:lnTo>
                    <a:pt x="901" y="581"/>
                  </a:lnTo>
                  <a:lnTo>
                    <a:pt x="901" y="584"/>
                  </a:lnTo>
                  <a:lnTo>
                    <a:pt x="898" y="584"/>
                  </a:lnTo>
                  <a:lnTo>
                    <a:pt x="898" y="578"/>
                  </a:lnTo>
                  <a:lnTo>
                    <a:pt x="898" y="571"/>
                  </a:lnTo>
                  <a:lnTo>
                    <a:pt x="898" y="575"/>
                  </a:lnTo>
                  <a:lnTo>
                    <a:pt x="898" y="584"/>
                  </a:lnTo>
                  <a:lnTo>
                    <a:pt x="894" y="588"/>
                  </a:lnTo>
                  <a:lnTo>
                    <a:pt x="894" y="591"/>
                  </a:lnTo>
                  <a:lnTo>
                    <a:pt x="894" y="591"/>
                  </a:lnTo>
                  <a:lnTo>
                    <a:pt x="891" y="591"/>
                  </a:lnTo>
                  <a:lnTo>
                    <a:pt x="888" y="594"/>
                  </a:lnTo>
                  <a:lnTo>
                    <a:pt x="884" y="597"/>
                  </a:lnTo>
                  <a:lnTo>
                    <a:pt x="881" y="601"/>
                  </a:lnTo>
                  <a:lnTo>
                    <a:pt x="877" y="597"/>
                  </a:lnTo>
                  <a:lnTo>
                    <a:pt x="877" y="597"/>
                  </a:lnTo>
                  <a:close/>
                  <a:moveTo>
                    <a:pt x="870" y="562"/>
                  </a:moveTo>
                  <a:lnTo>
                    <a:pt x="874" y="559"/>
                  </a:lnTo>
                  <a:lnTo>
                    <a:pt x="877" y="562"/>
                  </a:lnTo>
                  <a:lnTo>
                    <a:pt x="877" y="565"/>
                  </a:lnTo>
                  <a:lnTo>
                    <a:pt x="877" y="565"/>
                  </a:lnTo>
                  <a:lnTo>
                    <a:pt x="877" y="568"/>
                  </a:lnTo>
                  <a:lnTo>
                    <a:pt x="881" y="565"/>
                  </a:lnTo>
                  <a:lnTo>
                    <a:pt x="881" y="565"/>
                  </a:lnTo>
                  <a:lnTo>
                    <a:pt x="888" y="568"/>
                  </a:lnTo>
                  <a:lnTo>
                    <a:pt x="888" y="571"/>
                  </a:lnTo>
                  <a:lnTo>
                    <a:pt x="884" y="571"/>
                  </a:lnTo>
                  <a:lnTo>
                    <a:pt x="884" y="571"/>
                  </a:lnTo>
                  <a:lnTo>
                    <a:pt x="881" y="575"/>
                  </a:lnTo>
                  <a:lnTo>
                    <a:pt x="881" y="575"/>
                  </a:lnTo>
                  <a:lnTo>
                    <a:pt x="877" y="571"/>
                  </a:lnTo>
                  <a:lnTo>
                    <a:pt x="870" y="568"/>
                  </a:lnTo>
                  <a:lnTo>
                    <a:pt x="870" y="568"/>
                  </a:lnTo>
                  <a:lnTo>
                    <a:pt x="877" y="575"/>
                  </a:lnTo>
                  <a:lnTo>
                    <a:pt x="877" y="578"/>
                  </a:lnTo>
                  <a:lnTo>
                    <a:pt x="881" y="578"/>
                  </a:lnTo>
                  <a:lnTo>
                    <a:pt x="881" y="581"/>
                  </a:lnTo>
                  <a:lnTo>
                    <a:pt x="881" y="581"/>
                  </a:lnTo>
                  <a:lnTo>
                    <a:pt x="881" y="588"/>
                  </a:lnTo>
                  <a:lnTo>
                    <a:pt x="877" y="588"/>
                  </a:lnTo>
                  <a:lnTo>
                    <a:pt x="874" y="584"/>
                  </a:lnTo>
                  <a:lnTo>
                    <a:pt x="874" y="581"/>
                  </a:lnTo>
                  <a:lnTo>
                    <a:pt x="870" y="571"/>
                  </a:lnTo>
                  <a:lnTo>
                    <a:pt x="867" y="575"/>
                  </a:lnTo>
                  <a:lnTo>
                    <a:pt x="870" y="581"/>
                  </a:lnTo>
                  <a:lnTo>
                    <a:pt x="870" y="584"/>
                  </a:lnTo>
                  <a:lnTo>
                    <a:pt x="867" y="588"/>
                  </a:lnTo>
                  <a:lnTo>
                    <a:pt x="863" y="588"/>
                  </a:lnTo>
                  <a:lnTo>
                    <a:pt x="863" y="584"/>
                  </a:lnTo>
                  <a:lnTo>
                    <a:pt x="863" y="581"/>
                  </a:lnTo>
                  <a:lnTo>
                    <a:pt x="860" y="578"/>
                  </a:lnTo>
                  <a:lnTo>
                    <a:pt x="863" y="575"/>
                  </a:lnTo>
                  <a:lnTo>
                    <a:pt x="860" y="571"/>
                  </a:lnTo>
                  <a:lnTo>
                    <a:pt x="863" y="568"/>
                  </a:lnTo>
                  <a:lnTo>
                    <a:pt x="863" y="571"/>
                  </a:lnTo>
                  <a:lnTo>
                    <a:pt x="867" y="568"/>
                  </a:lnTo>
                  <a:lnTo>
                    <a:pt x="863" y="568"/>
                  </a:lnTo>
                  <a:lnTo>
                    <a:pt x="863" y="562"/>
                  </a:lnTo>
                  <a:lnTo>
                    <a:pt x="863" y="559"/>
                  </a:lnTo>
                  <a:lnTo>
                    <a:pt x="867" y="562"/>
                  </a:lnTo>
                  <a:lnTo>
                    <a:pt x="867" y="562"/>
                  </a:lnTo>
                  <a:lnTo>
                    <a:pt x="870" y="562"/>
                  </a:lnTo>
                  <a:lnTo>
                    <a:pt x="870" y="562"/>
                  </a:lnTo>
                  <a:close/>
                  <a:moveTo>
                    <a:pt x="870" y="555"/>
                  </a:moveTo>
                  <a:lnTo>
                    <a:pt x="874" y="555"/>
                  </a:lnTo>
                  <a:lnTo>
                    <a:pt x="874" y="555"/>
                  </a:lnTo>
                  <a:lnTo>
                    <a:pt x="870" y="559"/>
                  </a:lnTo>
                  <a:lnTo>
                    <a:pt x="870" y="555"/>
                  </a:lnTo>
                  <a:lnTo>
                    <a:pt x="870" y="555"/>
                  </a:lnTo>
                  <a:close/>
                  <a:moveTo>
                    <a:pt x="292" y="355"/>
                  </a:moveTo>
                  <a:lnTo>
                    <a:pt x="289" y="352"/>
                  </a:lnTo>
                  <a:lnTo>
                    <a:pt x="292" y="352"/>
                  </a:lnTo>
                  <a:lnTo>
                    <a:pt x="292" y="352"/>
                  </a:lnTo>
                  <a:lnTo>
                    <a:pt x="292" y="355"/>
                  </a:lnTo>
                  <a:lnTo>
                    <a:pt x="292" y="355"/>
                  </a:lnTo>
                  <a:close/>
                  <a:moveTo>
                    <a:pt x="289" y="355"/>
                  </a:moveTo>
                  <a:lnTo>
                    <a:pt x="292" y="358"/>
                  </a:lnTo>
                  <a:lnTo>
                    <a:pt x="292" y="361"/>
                  </a:lnTo>
                  <a:lnTo>
                    <a:pt x="299" y="365"/>
                  </a:lnTo>
                  <a:lnTo>
                    <a:pt x="296" y="368"/>
                  </a:lnTo>
                  <a:lnTo>
                    <a:pt x="289" y="361"/>
                  </a:lnTo>
                  <a:lnTo>
                    <a:pt x="289" y="358"/>
                  </a:lnTo>
                  <a:lnTo>
                    <a:pt x="289" y="358"/>
                  </a:lnTo>
                  <a:lnTo>
                    <a:pt x="289" y="358"/>
                  </a:lnTo>
                  <a:lnTo>
                    <a:pt x="289" y="355"/>
                  </a:lnTo>
                  <a:lnTo>
                    <a:pt x="289" y="355"/>
                  </a:lnTo>
                  <a:close/>
                  <a:moveTo>
                    <a:pt x="492" y="300"/>
                  </a:moveTo>
                  <a:lnTo>
                    <a:pt x="488" y="303"/>
                  </a:lnTo>
                  <a:lnTo>
                    <a:pt x="488" y="313"/>
                  </a:lnTo>
                  <a:lnTo>
                    <a:pt x="485" y="310"/>
                  </a:lnTo>
                  <a:lnTo>
                    <a:pt x="485" y="307"/>
                  </a:lnTo>
                  <a:lnTo>
                    <a:pt x="482" y="307"/>
                  </a:lnTo>
                  <a:lnTo>
                    <a:pt x="478" y="307"/>
                  </a:lnTo>
                  <a:lnTo>
                    <a:pt x="475" y="307"/>
                  </a:lnTo>
                  <a:lnTo>
                    <a:pt x="475" y="303"/>
                  </a:lnTo>
                  <a:lnTo>
                    <a:pt x="485" y="294"/>
                  </a:lnTo>
                  <a:lnTo>
                    <a:pt x="488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2" y="300"/>
                  </a:lnTo>
                  <a:close/>
                  <a:moveTo>
                    <a:pt x="495" y="300"/>
                  </a:moveTo>
                  <a:lnTo>
                    <a:pt x="495" y="300"/>
                  </a:lnTo>
                  <a:lnTo>
                    <a:pt x="495" y="300"/>
                  </a:lnTo>
                  <a:lnTo>
                    <a:pt x="495" y="297"/>
                  </a:lnTo>
                  <a:lnTo>
                    <a:pt x="495" y="294"/>
                  </a:lnTo>
                  <a:lnTo>
                    <a:pt x="495" y="294"/>
                  </a:lnTo>
                  <a:lnTo>
                    <a:pt x="492" y="290"/>
                  </a:lnTo>
                  <a:lnTo>
                    <a:pt x="495" y="287"/>
                  </a:lnTo>
                  <a:lnTo>
                    <a:pt x="502" y="287"/>
                  </a:lnTo>
                  <a:lnTo>
                    <a:pt x="509" y="290"/>
                  </a:lnTo>
                  <a:lnTo>
                    <a:pt x="509" y="294"/>
                  </a:lnTo>
                  <a:lnTo>
                    <a:pt x="506" y="294"/>
                  </a:lnTo>
                  <a:lnTo>
                    <a:pt x="495" y="300"/>
                  </a:lnTo>
                  <a:lnTo>
                    <a:pt x="495" y="300"/>
                  </a:lnTo>
                  <a:lnTo>
                    <a:pt x="495" y="300"/>
                  </a:lnTo>
                  <a:close/>
                  <a:moveTo>
                    <a:pt x="533" y="281"/>
                  </a:moveTo>
                  <a:lnTo>
                    <a:pt x="533" y="277"/>
                  </a:lnTo>
                  <a:lnTo>
                    <a:pt x="537" y="277"/>
                  </a:lnTo>
                  <a:lnTo>
                    <a:pt x="540" y="281"/>
                  </a:lnTo>
                  <a:lnTo>
                    <a:pt x="540" y="284"/>
                  </a:lnTo>
                  <a:lnTo>
                    <a:pt x="537" y="284"/>
                  </a:lnTo>
                  <a:lnTo>
                    <a:pt x="533" y="281"/>
                  </a:lnTo>
                  <a:lnTo>
                    <a:pt x="533" y="281"/>
                  </a:lnTo>
                  <a:close/>
                  <a:moveTo>
                    <a:pt x="729" y="439"/>
                  </a:moveTo>
                  <a:lnTo>
                    <a:pt x="733" y="436"/>
                  </a:lnTo>
                  <a:lnTo>
                    <a:pt x="733" y="436"/>
                  </a:lnTo>
                  <a:lnTo>
                    <a:pt x="733" y="439"/>
                  </a:lnTo>
                  <a:lnTo>
                    <a:pt x="729" y="439"/>
                  </a:lnTo>
                  <a:lnTo>
                    <a:pt x="729" y="439"/>
                  </a:lnTo>
                  <a:close/>
                  <a:moveTo>
                    <a:pt x="712" y="487"/>
                  </a:moveTo>
                  <a:lnTo>
                    <a:pt x="716" y="484"/>
                  </a:lnTo>
                  <a:lnTo>
                    <a:pt x="716" y="487"/>
                  </a:lnTo>
                  <a:lnTo>
                    <a:pt x="712" y="487"/>
                  </a:lnTo>
                  <a:lnTo>
                    <a:pt x="712" y="487"/>
                  </a:lnTo>
                  <a:close/>
                  <a:moveTo>
                    <a:pt x="753" y="478"/>
                  </a:moveTo>
                  <a:lnTo>
                    <a:pt x="757" y="478"/>
                  </a:lnTo>
                  <a:lnTo>
                    <a:pt x="760" y="478"/>
                  </a:lnTo>
                  <a:lnTo>
                    <a:pt x="757" y="481"/>
                  </a:lnTo>
                  <a:lnTo>
                    <a:pt x="753" y="481"/>
                  </a:lnTo>
                  <a:lnTo>
                    <a:pt x="753" y="478"/>
                  </a:lnTo>
                  <a:lnTo>
                    <a:pt x="753" y="478"/>
                  </a:lnTo>
                  <a:close/>
                  <a:moveTo>
                    <a:pt x="722" y="445"/>
                  </a:moveTo>
                  <a:lnTo>
                    <a:pt x="722" y="442"/>
                  </a:lnTo>
                  <a:lnTo>
                    <a:pt x="726" y="442"/>
                  </a:lnTo>
                  <a:lnTo>
                    <a:pt x="726" y="445"/>
                  </a:lnTo>
                  <a:lnTo>
                    <a:pt x="722" y="445"/>
                  </a:lnTo>
                  <a:lnTo>
                    <a:pt x="722" y="445"/>
                  </a:lnTo>
                  <a:close/>
                  <a:moveTo>
                    <a:pt x="726" y="458"/>
                  </a:moveTo>
                  <a:lnTo>
                    <a:pt x="726" y="452"/>
                  </a:lnTo>
                  <a:lnTo>
                    <a:pt x="729" y="452"/>
                  </a:lnTo>
                  <a:lnTo>
                    <a:pt x="733" y="452"/>
                  </a:lnTo>
                  <a:lnTo>
                    <a:pt x="733" y="455"/>
                  </a:lnTo>
                  <a:lnTo>
                    <a:pt x="736" y="455"/>
                  </a:lnTo>
                  <a:lnTo>
                    <a:pt x="736" y="458"/>
                  </a:lnTo>
                  <a:lnTo>
                    <a:pt x="733" y="458"/>
                  </a:lnTo>
                  <a:lnTo>
                    <a:pt x="726" y="458"/>
                  </a:lnTo>
                  <a:lnTo>
                    <a:pt x="726" y="458"/>
                  </a:lnTo>
                  <a:close/>
                  <a:moveTo>
                    <a:pt x="695" y="471"/>
                  </a:moveTo>
                  <a:lnTo>
                    <a:pt x="698" y="471"/>
                  </a:lnTo>
                  <a:lnTo>
                    <a:pt x="702" y="471"/>
                  </a:lnTo>
                  <a:lnTo>
                    <a:pt x="702" y="468"/>
                  </a:lnTo>
                  <a:lnTo>
                    <a:pt x="709" y="462"/>
                  </a:lnTo>
                  <a:lnTo>
                    <a:pt x="712" y="462"/>
                  </a:lnTo>
                  <a:lnTo>
                    <a:pt x="716" y="458"/>
                  </a:lnTo>
                  <a:lnTo>
                    <a:pt x="716" y="458"/>
                  </a:lnTo>
                  <a:lnTo>
                    <a:pt x="719" y="455"/>
                  </a:lnTo>
                  <a:lnTo>
                    <a:pt x="722" y="455"/>
                  </a:lnTo>
                  <a:lnTo>
                    <a:pt x="719" y="458"/>
                  </a:lnTo>
                  <a:lnTo>
                    <a:pt x="722" y="458"/>
                  </a:lnTo>
                  <a:lnTo>
                    <a:pt x="719" y="462"/>
                  </a:lnTo>
                  <a:lnTo>
                    <a:pt x="716" y="462"/>
                  </a:lnTo>
                  <a:lnTo>
                    <a:pt x="709" y="468"/>
                  </a:lnTo>
                  <a:lnTo>
                    <a:pt x="705" y="468"/>
                  </a:lnTo>
                  <a:lnTo>
                    <a:pt x="709" y="471"/>
                  </a:lnTo>
                  <a:lnTo>
                    <a:pt x="705" y="471"/>
                  </a:lnTo>
                  <a:lnTo>
                    <a:pt x="702" y="471"/>
                  </a:lnTo>
                  <a:lnTo>
                    <a:pt x="698" y="471"/>
                  </a:lnTo>
                  <a:lnTo>
                    <a:pt x="695" y="471"/>
                  </a:lnTo>
                  <a:lnTo>
                    <a:pt x="695" y="471"/>
                  </a:lnTo>
                  <a:lnTo>
                    <a:pt x="695" y="471"/>
                  </a:lnTo>
                  <a:close/>
                  <a:moveTo>
                    <a:pt x="695" y="465"/>
                  </a:moveTo>
                  <a:lnTo>
                    <a:pt x="702" y="462"/>
                  </a:lnTo>
                  <a:lnTo>
                    <a:pt x="702" y="465"/>
                  </a:lnTo>
                  <a:lnTo>
                    <a:pt x="698" y="465"/>
                  </a:lnTo>
                  <a:lnTo>
                    <a:pt x="698" y="465"/>
                  </a:lnTo>
                  <a:lnTo>
                    <a:pt x="695" y="465"/>
                  </a:lnTo>
                  <a:lnTo>
                    <a:pt x="695" y="465"/>
                  </a:lnTo>
                  <a:close/>
                  <a:moveTo>
                    <a:pt x="705" y="458"/>
                  </a:moveTo>
                  <a:lnTo>
                    <a:pt x="709" y="452"/>
                  </a:lnTo>
                  <a:lnTo>
                    <a:pt x="712" y="452"/>
                  </a:lnTo>
                  <a:lnTo>
                    <a:pt x="712" y="449"/>
                  </a:lnTo>
                  <a:lnTo>
                    <a:pt x="716" y="449"/>
                  </a:lnTo>
                  <a:lnTo>
                    <a:pt x="716" y="449"/>
                  </a:lnTo>
                  <a:lnTo>
                    <a:pt x="712" y="452"/>
                  </a:lnTo>
                  <a:lnTo>
                    <a:pt x="712" y="455"/>
                  </a:lnTo>
                  <a:lnTo>
                    <a:pt x="709" y="458"/>
                  </a:lnTo>
                  <a:lnTo>
                    <a:pt x="709" y="458"/>
                  </a:lnTo>
                  <a:lnTo>
                    <a:pt x="705" y="458"/>
                  </a:lnTo>
                  <a:lnTo>
                    <a:pt x="705" y="458"/>
                  </a:lnTo>
                  <a:lnTo>
                    <a:pt x="705" y="458"/>
                  </a:lnTo>
                  <a:close/>
                  <a:moveTo>
                    <a:pt x="712" y="436"/>
                  </a:moveTo>
                  <a:lnTo>
                    <a:pt x="712" y="433"/>
                  </a:lnTo>
                  <a:lnTo>
                    <a:pt x="716" y="436"/>
                  </a:lnTo>
                  <a:lnTo>
                    <a:pt x="716" y="436"/>
                  </a:lnTo>
                  <a:lnTo>
                    <a:pt x="716" y="439"/>
                  </a:lnTo>
                  <a:lnTo>
                    <a:pt x="716" y="439"/>
                  </a:lnTo>
                  <a:lnTo>
                    <a:pt x="712" y="436"/>
                  </a:lnTo>
                  <a:lnTo>
                    <a:pt x="712" y="436"/>
                  </a:lnTo>
                  <a:close/>
                  <a:moveTo>
                    <a:pt x="478" y="206"/>
                  </a:moveTo>
                  <a:lnTo>
                    <a:pt x="478" y="206"/>
                  </a:lnTo>
                  <a:lnTo>
                    <a:pt x="482" y="206"/>
                  </a:lnTo>
                  <a:lnTo>
                    <a:pt x="482" y="206"/>
                  </a:lnTo>
                  <a:lnTo>
                    <a:pt x="482" y="210"/>
                  </a:lnTo>
                  <a:lnTo>
                    <a:pt x="478" y="206"/>
                  </a:lnTo>
                  <a:lnTo>
                    <a:pt x="478" y="206"/>
                  </a:lnTo>
                  <a:close/>
                  <a:moveTo>
                    <a:pt x="402" y="277"/>
                  </a:moveTo>
                  <a:lnTo>
                    <a:pt x="406" y="271"/>
                  </a:lnTo>
                  <a:lnTo>
                    <a:pt x="406" y="268"/>
                  </a:lnTo>
                  <a:lnTo>
                    <a:pt x="399" y="265"/>
                  </a:lnTo>
                  <a:lnTo>
                    <a:pt x="402" y="261"/>
                  </a:lnTo>
                  <a:lnTo>
                    <a:pt x="399" y="255"/>
                  </a:lnTo>
                  <a:lnTo>
                    <a:pt x="396" y="255"/>
                  </a:lnTo>
                  <a:lnTo>
                    <a:pt x="389" y="255"/>
                  </a:lnTo>
                  <a:lnTo>
                    <a:pt x="389" y="255"/>
                  </a:lnTo>
                  <a:lnTo>
                    <a:pt x="385" y="255"/>
                  </a:lnTo>
                  <a:lnTo>
                    <a:pt x="378" y="252"/>
                  </a:lnTo>
                  <a:lnTo>
                    <a:pt x="378" y="248"/>
                  </a:lnTo>
                  <a:lnTo>
                    <a:pt x="389" y="242"/>
                  </a:lnTo>
                  <a:lnTo>
                    <a:pt x="392" y="235"/>
                  </a:lnTo>
                  <a:lnTo>
                    <a:pt x="396" y="235"/>
                  </a:lnTo>
                  <a:lnTo>
                    <a:pt x="396" y="242"/>
                  </a:lnTo>
                  <a:lnTo>
                    <a:pt x="392" y="242"/>
                  </a:lnTo>
                  <a:lnTo>
                    <a:pt x="399" y="245"/>
                  </a:lnTo>
                  <a:lnTo>
                    <a:pt x="399" y="248"/>
                  </a:lnTo>
                  <a:lnTo>
                    <a:pt x="402" y="248"/>
                  </a:lnTo>
                  <a:lnTo>
                    <a:pt x="406" y="245"/>
                  </a:lnTo>
                  <a:lnTo>
                    <a:pt x="413" y="245"/>
                  </a:lnTo>
                  <a:lnTo>
                    <a:pt x="416" y="248"/>
                  </a:lnTo>
                  <a:lnTo>
                    <a:pt x="416" y="252"/>
                  </a:lnTo>
                  <a:lnTo>
                    <a:pt x="413" y="255"/>
                  </a:lnTo>
                  <a:lnTo>
                    <a:pt x="416" y="258"/>
                  </a:lnTo>
                  <a:lnTo>
                    <a:pt x="420" y="261"/>
                  </a:lnTo>
                  <a:lnTo>
                    <a:pt x="420" y="265"/>
                  </a:lnTo>
                  <a:lnTo>
                    <a:pt x="427" y="268"/>
                  </a:lnTo>
                  <a:lnTo>
                    <a:pt x="427" y="271"/>
                  </a:lnTo>
                  <a:lnTo>
                    <a:pt x="423" y="274"/>
                  </a:lnTo>
                  <a:lnTo>
                    <a:pt x="420" y="271"/>
                  </a:lnTo>
                  <a:lnTo>
                    <a:pt x="416" y="271"/>
                  </a:lnTo>
                  <a:lnTo>
                    <a:pt x="416" y="274"/>
                  </a:lnTo>
                  <a:lnTo>
                    <a:pt x="409" y="274"/>
                  </a:lnTo>
                  <a:lnTo>
                    <a:pt x="406" y="277"/>
                  </a:lnTo>
                  <a:lnTo>
                    <a:pt x="402" y="277"/>
                  </a:lnTo>
                  <a:lnTo>
                    <a:pt x="402" y="277"/>
                  </a:lnTo>
                  <a:close/>
                  <a:moveTo>
                    <a:pt x="375" y="387"/>
                  </a:moveTo>
                  <a:lnTo>
                    <a:pt x="382" y="387"/>
                  </a:lnTo>
                  <a:lnTo>
                    <a:pt x="385" y="387"/>
                  </a:lnTo>
                  <a:lnTo>
                    <a:pt x="389" y="387"/>
                  </a:lnTo>
                  <a:lnTo>
                    <a:pt x="392" y="391"/>
                  </a:lnTo>
                  <a:lnTo>
                    <a:pt x="396" y="387"/>
                  </a:lnTo>
                  <a:lnTo>
                    <a:pt x="402" y="384"/>
                  </a:lnTo>
                  <a:lnTo>
                    <a:pt x="402" y="387"/>
                  </a:lnTo>
                  <a:lnTo>
                    <a:pt x="406" y="391"/>
                  </a:lnTo>
                  <a:lnTo>
                    <a:pt x="406" y="394"/>
                  </a:lnTo>
                  <a:lnTo>
                    <a:pt x="402" y="397"/>
                  </a:lnTo>
                  <a:lnTo>
                    <a:pt x="402" y="400"/>
                  </a:lnTo>
                  <a:lnTo>
                    <a:pt x="396" y="400"/>
                  </a:lnTo>
                  <a:lnTo>
                    <a:pt x="392" y="400"/>
                  </a:lnTo>
                  <a:lnTo>
                    <a:pt x="389" y="403"/>
                  </a:lnTo>
                  <a:lnTo>
                    <a:pt x="385" y="400"/>
                  </a:lnTo>
                  <a:lnTo>
                    <a:pt x="382" y="400"/>
                  </a:lnTo>
                  <a:lnTo>
                    <a:pt x="378" y="394"/>
                  </a:lnTo>
                  <a:lnTo>
                    <a:pt x="375" y="387"/>
                  </a:lnTo>
                  <a:lnTo>
                    <a:pt x="375" y="387"/>
                  </a:lnTo>
                  <a:close/>
                  <a:moveTo>
                    <a:pt x="633" y="439"/>
                  </a:moveTo>
                  <a:lnTo>
                    <a:pt x="640" y="433"/>
                  </a:lnTo>
                  <a:lnTo>
                    <a:pt x="640" y="433"/>
                  </a:lnTo>
                  <a:lnTo>
                    <a:pt x="643" y="436"/>
                  </a:lnTo>
                  <a:lnTo>
                    <a:pt x="636" y="439"/>
                  </a:lnTo>
                  <a:lnTo>
                    <a:pt x="633" y="439"/>
                  </a:lnTo>
                  <a:lnTo>
                    <a:pt x="633" y="439"/>
                  </a:lnTo>
                  <a:close/>
                  <a:moveTo>
                    <a:pt x="592" y="462"/>
                  </a:moveTo>
                  <a:lnTo>
                    <a:pt x="595" y="462"/>
                  </a:lnTo>
                  <a:lnTo>
                    <a:pt x="599" y="462"/>
                  </a:lnTo>
                  <a:lnTo>
                    <a:pt x="595" y="462"/>
                  </a:lnTo>
                  <a:lnTo>
                    <a:pt x="592" y="462"/>
                  </a:lnTo>
                  <a:lnTo>
                    <a:pt x="592" y="462"/>
                  </a:lnTo>
                  <a:close/>
                  <a:moveTo>
                    <a:pt x="592" y="491"/>
                  </a:moveTo>
                  <a:lnTo>
                    <a:pt x="595" y="487"/>
                  </a:lnTo>
                  <a:lnTo>
                    <a:pt x="599" y="491"/>
                  </a:lnTo>
                  <a:lnTo>
                    <a:pt x="599" y="491"/>
                  </a:lnTo>
                  <a:lnTo>
                    <a:pt x="595" y="494"/>
                  </a:lnTo>
                  <a:lnTo>
                    <a:pt x="592" y="491"/>
                  </a:lnTo>
                  <a:lnTo>
                    <a:pt x="592" y="491"/>
                  </a:lnTo>
                  <a:lnTo>
                    <a:pt x="592" y="491"/>
                  </a:lnTo>
                  <a:close/>
                  <a:moveTo>
                    <a:pt x="578" y="504"/>
                  </a:moveTo>
                  <a:lnTo>
                    <a:pt x="578" y="504"/>
                  </a:lnTo>
                  <a:lnTo>
                    <a:pt x="578" y="504"/>
                  </a:lnTo>
                  <a:lnTo>
                    <a:pt x="581" y="504"/>
                  </a:lnTo>
                  <a:lnTo>
                    <a:pt x="581" y="500"/>
                  </a:lnTo>
                  <a:lnTo>
                    <a:pt x="585" y="504"/>
                  </a:lnTo>
                  <a:lnTo>
                    <a:pt x="585" y="500"/>
                  </a:lnTo>
                  <a:lnTo>
                    <a:pt x="585" y="497"/>
                  </a:lnTo>
                  <a:lnTo>
                    <a:pt x="588" y="497"/>
                  </a:lnTo>
                  <a:lnTo>
                    <a:pt x="592" y="494"/>
                  </a:lnTo>
                  <a:lnTo>
                    <a:pt x="592" y="497"/>
                  </a:lnTo>
                  <a:lnTo>
                    <a:pt x="592" y="500"/>
                  </a:lnTo>
                  <a:lnTo>
                    <a:pt x="595" y="500"/>
                  </a:lnTo>
                  <a:lnTo>
                    <a:pt x="595" y="497"/>
                  </a:lnTo>
                  <a:lnTo>
                    <a:pt x="595" y="497"/>
                  </a:lnTo>
                  <a:lnTo>
                    <a:pt x="599" y="500"/>
                  </a:lnTo>
                  <a:lnTo>
                    <a:pt x="595" y="500"/>
                  </a:lnTo>
                  <a:lnTo>
                    <a:pt x="595" y="504"/>
                  </a:lnTo>
                  <a:lnTo>
                    <a:pt x="599" y="504"/>
                  </a:lnTo>
                  <a:lnTo>
                    <a:pt x="599" y="507"/>
                  </a:lnTo>
                  <a:lnTo>
                    <a:pt x="595" y="507"/>
                  </a:lnTo>
                  <a:lnTo>
                    <a:pt x="595" y="507"/>
                  </a:lnTo>
                  <a:lnTo>
                    <a:pt x="592" y="507"/>
                  </a:lnTo>
                  <a:lnTo>
                    <a:pt x="588" y="507"/>
                  </a:lnTo>
                  <a:lnTo>
                    <a:pt x="588" y="507"/>
                  </a:lnTo>
                  <a:lnTo>
                    <a:pt x="585" y="510"/>
                  </a:lnTo>
                  <a:lnTo>
                    <a:pt x="581" y="510"/>
                  </a:lnTo>
                  <a:lnTo>
                    <a:pt x="578" y="504"/>
                  </a:lnTo>
                  <a:lnTo>
                    <a:pt x="578" y="504"/>
                  </a:lnTo>
                  <a:close/>
                  <a:moveTo>
                    <a:pt x="537" y="539"/>
                  </a:moveTo>
                  <a:lnTo>
                    <a:pt x="537" y="542"/>
                  </a:lnTo>
                  <a:lnTo>
                    <a:pt x="533" y="542"/>
                  </a:lnTo>
                  <a:lnTo>
                    <a:pt x="530" y="539"/>
                  </a:lnTo>
                  <a:lnTo>
                    <a:pt x="530" y="536"/>
                  </a:lnTo>
                  <a:lnTo>
                    <a:pt x="533" y="536"/>
                  </a:lnTo>
                  <a:lnTo>
                    <a:pt x="533" y="533"/>
                  </a:lnTo>
                  <a:lnTo>
                    <a:pt x="533" y="529"/>
                  </a:lnTo>
                  <a:lnTo>
                    <a:pt x="533" y="526"/>
                  </a:lnTo>
                  <a:lnTo>
                    <a:pt x="533" y="523"/>
                  </a:lnTo>
                  <a:lnTo>
                    <a:pt x="537" y="520"/>
                  </a:lnTo>
                  <a:lnTo>
                    <a:pt x="547" y="517"/>
                  </a:lnTo>
                  <a:lnTo>
                    <a:pt x="550" y="517"/>
                  </a:lnTo>
                  <a:lnTo>
                    <a:pt x="554" y="517"/>
                  </a:lnTo>
                  <a:lnTo>
                    <a:pt x="554" y="523"/>
                  </a:lnTo>
                  <a:lnTo>
                    <a:pt x="554" y="526"/>
                  </a:lnTo>
                  <a:lnTo>
                    <a:pt x="557" y="520"/>
                  </a:lnTo>
                  <a:lnTo>
                    <a:pt x="557" y="520"/>
                  </a:lnTo>
                  <a:lnTo>
                    <a:pt x="557" y="517"/>
                  </a:lnTo>
                  <a:lnTo>
                    <a:pt x="561" y="520"/>
                  </a:lnTo>
                  <a:lnTo>
                    <a:pt x="561" y="517"/>
                  </a:lnTo>
                  <a:lnTo>
                    <a:pt x="557" y="513"/>
                  </a:lnTo>
                  <a:lnTo>
                    <a:pt x="557" y="513"/>
                  </a:lnTo>
                  <a:lnTo>
                    <a:pt x="561" y="510"/>
                  </a:lnTo>
                  <a:lnTo>
                    <a:pt x="564" y="510"/>
                  </a:lnTo>
                  <a:lnTo>
                    <a:pt x="564" y="510"/>
                  </a:lnTo>
                  <a:lnTo>
                    <a:pt x="564" y="513"/>
                  </a:lnTo>
                  <a:lnTo>
                    <a:pt x="564" y="517"/>
                  </a:lnTo>
                  <a:lnTo>
                    <a:pt x="564" y="520"/>
                  </a:lnTo>
                  <a:lnTo>
                    <a:pt x="568" y="517"/>
                  </a:lnTo>
                  <a:lnTo>
                    <a:pt x="568" y="517"/>
                  </a:lnTo>
                  <a:lnTo>
                    <a:pt x="571" y="513"/>
                  </a:lnTo>
                  <a:lnTo>
                    <a:pt x="571" y="517"/>
                  </a:lnTo>
                  <a:lnTo>
                    <a:pt x="571" y="513"/>
                  </a:lnTo>
                  <a:lnTo>
                    <a:pt x="571" y="510"/>
                  </a:lnTo>
                  <a:lnTo>
                    <a:pt x="574" y="510"/>
                  </a:lnTo>
                  <a:lnTo>
                    <a:pt x="578" y="510"/>
                  </a:lnTo>
                  <a:lnTo>
                    <a:pt x="578" y="513"/>
                  </a:lnTo>
                  <a:lnTo>
                    <a:pt x="574" y="513"/>
                  </a:lnTo>
                  <a:lnTo>
                    <a:pt x="574" y="517"/>
                  </a:lnTo>
                  <a:lnTo>
                    <a:pt x="578" y="517"/>
                  </a:lnTo>
                  <a:lnTo>
                    <a:pt x="581" y="513"/>
                  </a:lnTo>
                  <a:lnTo>
                    <a:pt x="585" y="513"/>
                  </a:lnTo>
                  <a:lnTo>
                    <a:pt x="585" y="513"/>
                  </a:lnTo>
                  <a:lnTo>
                    <a:pt x="588" y="517"/>
                  </a:lnTo>
                  <a:lnTo>
                    <a:pt x="585" y="517"/>
                  </a:lnTo>
                  <a:lnTo>
                    <a:pt x="581" y="517"/>
                  </a:lnTo>
                  <a:lnTo>
                    <a:pt x="581" y="520"/>
                  </a:lnTo>
                  <a:lnTo>
                    <a:pt x="581" y="520"/>
                  </a:lnTo>
                  <a:lnTo>
                    <a:pt x="585" y="523"/>
                  </a:lnTo>
                  <a:lnTo>
                    <a:pt x="581" y="526"/>
                  </a:lnTo>
                  <a:lnTo>
                    <a:pt x="578" y="526"/>
                  </a:lnTo>
                  <a:lnTo>
                    <a:pt x="578" y="523"/>
                  </a:lnTo>
                  <a:lnTo>
                    <a:pt x="574" y="526"/>
                  </a:lnTo>
                  <a:lnTo>
                    <a:pt x="571" y="523"/>
                  </a:lnTo>
                  <a:lnTo>
                    <a:pt x="571" y="523"/>
                  </a:lnTo>
                  <a:lnTo>
                    <a:pt x="568" y="526"/>
                  </a:lnTo>
                  <a:lnTo>
                    <a:pt x="571" y="526"/>
                  </a:lnTo>
                  <a:lnTo>
                    <a:pt x="574" y="529"/>
                  </a:lnTo>
                  <a:lnTo>
                    <a:pt x="571" y="533"/>
                  </a:lnTo>
                  <a:lnTo>
                    <a:pt x="568" y="533"/>
                  </a:lnTo>
                  <a:lnTo>
                    <a:pt x="564" y="529"/>
                  </a:lnTo>
                  <a:lnTo>
                    <a:pt x="561" y="529"/>
                  </a:lnTo>
                  <a:lnTo>
                    <a:pt x="557" y="529"/>
                  </a:lnTo>
                  <a:lnTo>
                    <a:pt x="561" y="533"/>
                  </a:lnTo>
                  <a:lnTo>
                    <a:pt x="564" y="533"/>
                  </a:lnTo>
                  <a:lnTo>
                    <a:pt x="561" y="536"/>
                  </a:lnTo>
                  <a:lnTo>
                    <a:pt x="557" y="533"/>
                  </a:lnTo>
                  <a:lnTo>
                    <a:pt x="554" y="536"/>
                  </a:lnTo>
                  <a:lnTo>
                    <a:pt x="554" y="536"/>
                  </a:lnTo>
                  <a:lnTo>
                    <a:pt x="550" y="539"/>
                  </a:lnTo>
                  <a:lnTo>
                    <a:pt x="547" y="539"/>
                  </a:lnTo>
                  <a:lnTo>
                    <a:pt x="547" y="539"/>
                  </a:lnTo>
                  <a:lnTo>
                    <a:pt x="547" y="542"/>
                  </a:lnTo>
                  <a:lnTo>
                    <a:pt x="544" y="542"/>
                  </a:lnTo>
                  <a:lnTo>
                    <a:pt x="544" y="546"/>
                  </a:lnTo>
                  <a:lnTo>
                    <a:pt x="540" y="546"/>
                  </a:lnTo>
                  <a:lnTo>
                    <a:pt x="540" y="549"/>
                  </a:lnTo>
                  <a:lnTo>
                    <a:pt x="537" y="549"/>
                  </a:lnTo>
                  <a:lnTo>
                    <a:pt x="537" y="546"/>
                  </a:lnTo>
                  <a:lnTo>
                    <a:pt x="544" y="542"/>
                  </a:lnTo>
                  <a:lnTo>
                    <a:pt x="544" y="539"/>
                  </a:lnTo>
                  <a:lnTo>
                    <a:pt x="544" y="536"/>
                  </a:lnTo>
                  <a:lnTo>
                    <a:pt x="544" y="536"/>
                  </a:lnTo>
                  <a:lnTo>
                    <a:pt x="540" y="539"/>
                  </a:lnTo>
                  <a:lnTo>
                    <a:pt x="540" y="539"/>
                  </a:lnTo>
                  <a:lnTo>
                    <a:pt x="540" y="536"/>
                  </a:lnTo>
                  <a:lnTo>
                    <a:pt x="537" y="536"/>
                  </a:lnTo>
                  <a:lnTo>
                    <a:pt x="533" y="539"/>
                  </a:lnTo>
                  <a:lnTo>
                    <a:pt x="537" y="539"/>
                  </a:lnTo>
                  <a:lnTo>
                    <a:pt x="537" y="539"/>
                  </a:lnTo>
                  <a:lnTo>
                    <a:pt x="537" y="539"/>
                  </a:lnTo>
                  <a:close/>
                  <a:moveTo>
                    <a:pt x="530" y="552"/>
                  </a:moveTo>
                  <a:lnTo>
                    <a:pt x="533" y="552"/>
                  </a:lnTo>
                  <a:lnTo>
                    <a:pt x="530" y="555"/>
                  </a:lnTo>
                  <a:lnTo>
                    <a:pt x="530" y="552"/>
                  </a:lnTo>
                  <a:lnTo>
                    <a:pt x="530" y="552"/>
                  </a:lnTo>
                  <a:close/>
                  <a:moveTo>
                    <a:pt x="519" y="555"/>
                  </a:moveTo>
                  <a:lnTo>
                    <a:pt x="519" y="552"/>
                  </a:lnTo>
                  <a:lnTo>
                    <a:pt x="530" y="549"/>
                  </a:lnTo>
                  <a:lnTo>
                    <a:pt x="523" y="555"/>
                  </a:lnTo>
                  <a:lnTo>
                    <a:pt x="519" y="555"/>
                  </a:lnTo>
                  <a:lnTo>
                    <a:pt x="519" y="555"/>
                  </a:lnTo>
                  <a:close/>
                  <a:moveTo>
                    <a:pt x="492" y="575"/>
                  </a:moveTo>
                  <a:lnTo>
                    <a:pt x="492" y="575"/>
                  </a:lnTo>
                  <a:lnTo>
                    <a:pt x="492" y="571"/>
                  </a:lnTo>
                  <a:lnTo>
                    <a:pt x="495" y="571"/>
                  </a:lnTo>
                  <a:lnTo>
                    <a:pt x="495" y="575"/>
                  </a:lnTo>
                  <a:lnTo>
                    <a:pt x="492" y="575"/>
                  </a:lnTo>
                  <a:lnTo>
                    <a:pt x="492" y="575"/>
                  </a:lnTo>
                  <a:close/>
                  <a:moveTo>
                    <a:pt x="478" y="546"/>
                  </a:moveTo>
                  <a:lnTo>
                    <a:pt x="482" y="546"/>
                  </a:lnTo>
                  <a:lnTo>
                    <a:pt x="485" y="546"/>
                  </a:lnTo>
                  <a:lnTo>
                    <a:pt x="482" y="549"/>
                  </a:lnTo>
                  <a:lnTo>
                    <a:pt x="478" y="546"/>
                  </a:lnTo>
                  <a:lnTo>
                    <a:pt x="478" y="546"/>
                  </a:lnTo>
                  <a:close/>
                  <a:moveTo>
                    <a:pt x="402" y="575"/>
                  </a:moveTo>
                  <a:lnTo>
                    <a:pt x="402" y="575"/>
                  </a:lnTo>
                  <a:lnTo>
                    <a:pt x="402" y="575"/>
                  </a:lnTo>
                  <a:lnTo>
                    <a:pt x="406" y="575"/>
                  </a:lnTo>
                  <a:lnTo>
                    <a:pt x="402" y="575"/>
                  </a:lnTo>
                  <a:lnTo>
                    <a:pt x="402" y="575"/>
                  </a:lnTo>
                  <a:close/>
                  <a:moveTo>
                    <a:pt x="399" y="575"/>
                  </a:moveTo>
                  <a:lnTo>
                    <a:pt x="399" y="575"/>
                  </a:lnTo>
                  <a:lnTo>
                    <a:pt x="399" y="578"/>
                  </a:lnTo>
                  <a:lnTo>
                    <a:pt x="399" y="575"/>
                  </a:lnTo>
                  <a:lnTo>
                    <a:pt x="399" y="575"/>
                  </a:lnTo>
                  <a:close/>
                  <a:moveTo>
                    <a:pt x="416" y="588"/>
                  </a:moveTo>
                  <a:lnTo>
                    <a:pt x="416" y="591"/>
                  </a:lnTo>
                  <a:lnTo>
                    <a:pt x="413" y="591"/>
                  </a:lnTo>
                  <a:lnTo>
                    <a:pt x="413" y="588"/>
                  </a:lnTo>
                  <a:lnTo>
                    <a:pt x="416" y="588"/>
                  </a:lnTo>
                  <a:lnTo>
                    <a:pt x="416" y="588"/>
                  </a:lnTo>
                  <a:close/>
                  <a:moveTo>
                    <a:pt x="413" y="588"/>
                  </a:moveTo>
                  <a:lnTo>
                    <a:pt x="413" y="581"/>
                  </a:lnTo>
                  <a:lnTo>
                    <a:pt x="413" y="584"/>
                  </a:lnTo>
                  <a:lnTo>
                    <a:pt x="413" y="584"/>
                  </a:lnTo>
                  <a:lnTo>
                    <a:pt x="413" y="588"/>
                  </a:lnTo>
                  <a:lnTo>
                    <a:pt x="413" y="588"/>
                  </a:lnTo>
                  <a:close/>
                  <a:moveTo>
                    <a:pt x="396" y="591"/>
                  </a:moveTo>
                  <a:lnTo>
                    <a:pt x="399" y="584"/>
                  </a:lnTo>
                  <a:lnTo>
                    <a:pt x="402" y="584"/>
                  </a:lnTo>
                  <a:lnTo>
                    <a:pt x="402" y="581"/>
                  </a:lnTo>
                  <a:lnTo>
                    <a:pt x="406" y="581"/>
                  </a:lnTo>
                  <a:lnTo>
                    <a:pt x="406" y="584"/>
                  </a:lnTo>
                  <a:lnTo>
                    <a:pt x="402" y="584"/>
                  </a:lnTo>
                  <a:lnTo>
                    <a:pt x="399" y="588"/>
                  </a:lnTo>
                  <a:lnTo>
                    <a:pt x="396" y="591"/>
                  </a:lnTo>
                  <a:lnTo>
                    <a:pt x="396" y="591"/>
                  </a:lnTo>
                  <a:close/>
                  <a:moveTo>
                    <a:pt x="392" y="581"/>
                  </a:moveTo>
                  <a:lnTo>
                    <a:pt x="389" y="578"/>
                  </a:lnTo>
                  <a:lnTo>
                    <a:pt x="389" y="575"/>
                  </a:lnTo>
                  <a:lnTo>
                    <a:pt x="392" y="575"/>
                  </a:lnTo>
                  <a:lnTo>
                    <a:pt x="396" y="575"/>
                  </a:lnTo>
                  <a:lnTo>
                    <a:pt x="392" y="578"/>
                  </a:lnTo>
                  <a:lnTo>
                    <a:pt x="392" y="581"/>
                  </a:lnTo>
                  <a:lnTo>
                    <a:pt x="392" y="581"/>
                  </a:lnTo>
                  <a:lnTo>
                    <a:pt x="392" y="581"/>
                  </a:lnTo>
                  <a:close/>
                  <a:moveTo>
                    <a:pt x="372" y="578"/>
                  </a:moveTo>
                  <a:lnTo>
                    <a:pt x="375" y="578"/>
                  </a:lnTo>
                  <a:lnTo>
                    <a:pt x="375" y="581"/>
                  </a:lnTo>
                  <a:lnTo>
                    <a:pt x="372" y="581"/>
                  </a:lnTo>
                  <a:lnTo>
                    <a:pt x="372" y="578"/>
                  </a:lnTo>
                  <a:lnTo>
                    <a:pt x="372" y="578"/>
                  </a:lnTo>
                  <a:close/>
                  <a:moveTo>
                    <a:pt x="358" y="588"/>
                  </a:moveTo>
                  <a:lnTo>
                    <a:pt x="358" y="584"/>
                  </a:lnTo>
                  <a:lnTo>
                    <a:pt x="361" y="581"/>
                  </a:lnTo>
                  <a:lnTo>
                    <a:pt x="361" y="584"/>
                  </a:lnTo>
                  <a:lnTo>
                    <a:pt x="358" y="588"/>
                  </a:lnTo>
                  <a:lnTo>
                    <a:pt x="358" y="588"/>
                  </a:lnTo>
                  <a:close/>
                  <a:moveTo>
                    <a:pt x="344" y="594"/>
                  </a:moveTo>
                  <a:lnTo>
                    <a:pt x="347" y="597"/>
                  </a:lnTo>
                  <a:lnTo>
                    <a:pt x="347" y="597"/>
                  </a:lnTo>
                  <a:lnTo>
                    <a:pt x="344" y="597"/>
                  </a:lnTo>
                  <a:lnTo>
                    <a:pt x="344" y="594"/>
                  </a:lnTo>
                  <a:lnTo>
                    <a:pt x="344" y="594"/>
                  </a:lnTo>
                  <a:close/>
                  <a:moveTo>
                    <a:pt x="3" y="649"/>
                  </a:moveTo>
                  <a:lnTo>
                    <a:pt x="0" y="652"/>
                  </a:lnTo>
                  <a:lnTo>
                    <a:pt x="7" y="652"/>
                  </a:lnTo>
                  <a:lnTo>
                    <a:pt x="3" y="649"/>
                  </a:lnTo>
                  <a:lnTo>
                    <a:pt x="3" y="649"/>
                  </a:lnTo>
                  <a:close/>
                  <a:moveTo>
                    <a:pt x="7" y="643"/>
                  </a:moveTo>
                  <a:lnTo>
                    <a:pt x="3" y="646"/>
                  </a:lnTo>
                  <a:lnTo>
                    <a:pt x="7" y="649"/>
                  </a:lnTo>
                  <a:lnTo>
                    <a:pt x="10" y="646"/>
                  </a:lnTo>
                  <a:lnTo>
                    <a:pt x="7" y="643"/>
                  </a:lnTo>
                  <a:lnTo>
                    <a:pt x="7" y="643"/>
                  </a:lnTo>
                  <a:close/>
                  <a:moveTo>
                    <a:pt x="10" y="636"/>
                  </a:moveTo>
                  <a:lnTo>
                    <a:pt x="14" y="639"/>
                  </a:lnTo>
                  <a:lnTo>
                    <a:pt x="14" y="636"/>
                  </a:lnTo>
                  <a:lnTo>
                    <a:pt x="10" y="636"/>
                  </a:lnTo>
                  <a:lnTo>
                    <a:pt x="10" y="636"/>
                  </a:lnTo>
                  <a:close/>
                  <a:moveTo>
                    <a:pt x="34" y="639"/>
                  </a:moveTo>
                  <a:lnTo>
                    <a:pt x="31" y="633"/>
                  </a:lnTo>
                  <a:lnTo>
                    <a:pt x="28" y="633"/>
                  </a:lnTo>
                  <a:lnTo>
                    <a:pt x="24" y="636"/>
                  </a:lnTo>
                  <a:lnTo>
                    <a:pt x="28" y="639"/>
                  </a:lnTo>
                  <a:lnTo>
                    <a:pt x="31" y="639"/>
                  </a:lnTo>
                  <a:lnTo>
                    <a:pt x="28" y="639"/>
                  </a:lnTo>
                  <a:lnTo>
                    <a:pt x="28" y="643"/>
                  </a:lnTo>
                  <a:lnTo>
                    <a:pt x="31" y="643"/>
                  </a:lnTo>
                  <a:lnTo>
                    <a:pt x="34" y="639"/>
                  </a:lnTo>
                  <a:lnTo>
                    <a:pt x="34" y="639"/>
                  </a:lnTo>
                  <a:lnTo>
                    <a:pt x="34" y="639"/>
                  </a:lnTo>
                  <a:close/>
                  <a:moveTo>
                    <a:pt x="38" y="646"/>
                  </a:moveTo>
                  <a:lnTo>
                    <a:pt x="41" y="646"/>
                  </a:lnTo>
                  <a:lnTo>
                    <a:pt x="45" y="643"/>
                  </a:lnTo>
                  <a:lnTo>
                    <a:pt x="45" y="639"/>
                  </a:lnTo>
                  <a:lnTo>
                    <a:pt x="48" y="639"/>
                  </a:lnTo>
                  <a:lnTo>
                    <a:pt x="45" y="636"/>
                  </a:lnTo>
                  <a:lnTo>
                    <a:pt x="41" y="639"/>
                  </a:lnTo>
                  <a:lnTo>
                    <a:pt x="41" y="643"/>
                  </a:lnTo>
                  <a:lnTo>
                    <a:pt x="38" y="646"/>
                  </a:lnTo>
                  <a:lnTo>
                    <a:pt x="38" y="646"/>
                  </a:lnTo>
                  <a:close/>
                  <a:moveTo>
                    <a:pt x="58" y="643"/>
                  </a:moveTo>
                  <a:lnTo>
                    <a:pt x="55" y="639"/>
                  </a:lnTo>
                  <a:lnTo>
                    <a:pt x="55" y="639"/>
                  </a:lnTo>
                  <a:lnTo>
                    <a:pt x="55" y="643"/>
                  </a:lnTo>
                  <a:lnTo>
                    <a:pt x="52" y="643"/>
                  </a:lnTo>
                  <a:lnTo>
                    <a:pt x="48" y="646"/>
                  </a:lnTo>
                  <a:lnTo>
                    <a:pt x="55" y="646"/>
                  </a:lnTo>
                  <a:lnTo>
                    <a:pt x="58" y="643"/>
                  </a:lnTo>
                  <a:lnTo>
                    <a:pt x="58" y="643"/>
                  </a:lnTo>
                  <a:close/>
                  <a:moveTo>
                    <a:pt x="103" y="643"/>
                  </a:moveTo>
                  <a:lnTo>
                    <a:pt x="103" y="639"/>
                  </a:lnTo>
                  <a:lnTo>
                    <a:pt x="107" y="636"/>
                  </a:lnTo>
                  <a:lnTo>
                    <a:pt x="107" y="633"/>
                  </a:lnTo>
                  <a:lnTo>
                    <a:pt x="103" y="633"/>
                  </a:lnTo>
                  <a:lnTo>
                    <a:pt x="100" y="636"/>
                  </a:lnTo>
                  <a:lnTo>
                    <a:pt x="100" y="636"/>
                  </a:lnTo>
                  <a:lnTo>
                    <a:pt x="96" y="639"/>
                  </a:lnTo>
                  <a:lnTo>
                    <a:pt x="96" y="636"/>
                  </a:lnTo>
                  <a:lnTo>
                    <a:pt x="93" y="639"/>
                  </a:lnTo>
                  <a:lnTo>
                    <a:pt x="89" y="639"/>
                  </a:lnTo>
                  <a:lnTo>
                    <a:pt x="86" y="639"/>
                  </a:lnTo>
                  <a:lnTo>
                    <a:pt x="86" y="639"/>
                  </a:lnTo>
                  <a:lnTo>
                    <a:pt x="89" y="643"/>
                  </a:lnTo>
                  <a:lnTo>
                    <a:pt x="93" y="643"/>
                  </a:lnTo>
                  <a:lnTo>
                    <a:pt x="96" y="643"/>
                  </a:lnTo>
                  <a:lnTo>
                    <a:pt x="100" y="639"/>
                  </a:lnTo>
                  <a:lnTo>
                    <a:pt x="103" y="643"/>
                  </a:lnTo>
                  <a:lnTo>
                    <a:pt x="103" y="643"/>
                  </a:lnTo>
                  <a:close/>
                  <a:moveTo>
                    <a:pt x="110" y="643"/>
                  </a:moveTo>
                  <a:lnTo>
                    <a:pt x="120" y="643"/>
                  </a:lnTo>
                  <a:lnTo>
                    <a:pt x="124" y="643"/>
                  </a:lnTo>
                  <a:lnTo>
                    <a:pt x="127" y="646"/>
                  </a:lnTo>
                  <a:lnTo>
                    <a:pt x="120" y="646"/>
                  </a:lnTo>
                  <a:lnTo>
                    <a:pt x="114" y="646"/>
                  </a:lnTo>
                  <a:lnTo>
                    <a:pt x="110" y="646"/>
                  </a:lnTo>
                  <a:lnTo>
                    <a:pt x="107" y="643"/>
                  </a:lnTo>
                  <a:lnTo>
                    <a:pt x="107" y="643"/>
                  </a:lnTo>
                  <a:lnTo>
                    <a:pt x="110" y="643"/>
                  </a:lnTo>
                  <a:lnTo>
                    <a:pt x="110" y="643"/>
                  </a:lnTo>
                  <a:close/>
                  <a:moveTo>
                    <a:pt x="144" y="639"/>
                  </a:moveTo>
                  <a:lnTo>
                    <a:pt x="141" y="636"/>
                  </a:lnTo>
                  <a:lnTo>
                    <a:pt x="134" y="636"/>
                  </a:lnTo>
                  <a:lnTo>
                    <a:pt x="134" y="639"/>
                  </a:lnTo>
                  <a:lnTo>
                    <a:pt x="138" y="639"/>
                  </a:lnTo>
                  <a:lnTo>
                    <a:pt x="144" y="639"/>
                  </a:lnTo>
                  <a:lnTo>
                    <a:pt x="144" y="639"/>
                  </a:lnTo>
                  <a:close/>
                  <a:moveTo>
                    <a:pt x="165" y="636"/>
                  </a:moveTo>
                  <a:lnTo>
                    <a:pt x="162" y="633"/>
                  </a:lnTo>
                  <a:lnTo>
                    <a:pt x="162" y="636"/>
                  </a:lnTo>
                  <a:lnTo>
                    <a:pt x="165" y="636"/>
                  </a:lnTo>
                  <a:lnTo>
                    <a:pt x="165" y="636"/>
                  </a:lnTo>
                  <a:close/>
                  <a:moveTo>
                    <a:pt x="179" y="633"/>
                  </a:moveTo>
                  <a:lnTo>
                    <a:pt x="175" y="630"/>
                  </a:lnTo>
                  <a:lnTo>
                    <a:pt x="172" y="633"/>
                  </a:lnTo>
                  <a:lnTo>
                    <a:pt x="172" y="636"/>
                  </a:lnTo>
                  <a:lnTo>
                    <a:pt x="175" y="633"/>
                  </a:lnTo>
                  <a:lnTo>
                    <a:pt x="179" y="633"/>
                  </a:lnTo>
                  <a:lnTo>
                    <a:pt x="179" y="633"/>
                  </a:lnTo>
                  <a:close/>
                  <a:moveTo>
                    <a:pt x="189" y="630"/>
                  </a:moveTo>
                  <a:lnTo>
                    <a:pt x="186" y="630"/>
                  </a:lnTo>
                  <a:lnTo>
                    <a:pt x="182" y="630"/>
                  </a:lnTo>
                  <a:lnTo>
                    <a:pt x="186" y="633"/>
                  </a:lnTo>
                  <a:lnTo>
                    <a:pt x="189" y="630"/>
                  </a:lnTo>
                  <a:lnTo>
                    <a:pt x="189" y="630"/>
                  </a:lnTo>
                  <a:close/>
                  <a:moveTo>
                    <a:pt x="189" y="626"/>
                  </a:moveTo>
                  <a:lnTo>
                    <a:pt x="189" y="623"/>
                  </a:lnTo>
                  <a:lnTo>
                    <a:pt x="186" y="626"/>
                  </a:lnTo>
                  <a:lnTo>
                    <a:pt x="189" y="626"/>
                  </a:lnTo>
                  <a:lnTo>
                    <a:pt x="189" y="626"/>
                  </a:lnTo>
                  <a:close/>
                  <a:moveTo>
                    <a:pt x="189" y="630"/>
                  </a:moveTo>
                  <a:lnTo>
                    <a:pt x="193" y="630"/>
                  </a:lnTo>
                  <a:lnTo>
                    <a:pt x="196" y="630"/>
                  </a:lnTo>
                  <a:lnTo>
                    <a:pt x="196" y="626"/>
                  </a:lnTo>
                  <a:lnTo>
                    <a:pt x="189" y="630"/>
                  </a:lnTo>
                  <a:lnTo>
                    <a:pt x="189" y="630"/>
                  </a:lnTo>
                  <a:close/>
                  <a:moveTo>
                    <a:pt x="234" y="610"/>
                  </a:moveTo>
                  <a:lnTo>
                    <a:pt x="237" y="613"/>
                  </a:lnTo>
                  <a:lnTo>
                    <a:pt x="241" y="613"/>
                  </a:lnTo>
                  <a:lnTo>
                    <a:pt x="234" y="617"/>
                  </a:lnTo>
                  <a:lnTo>
                    <a:pt x="234" y="620"/>
                  </a:lnTo>
                  <a:lnTo>
                    <a:pt x="227" y="620"/>
                  </a:lnTo>
                  <a:lnTo>
                    <a:pt x="224" y="626"/>
                  </a:lnTo>
                  <a:lnTo>
                    <a:pt x="217" y="626"/>
                  </a:lnTo>
                  <a:lnTo>
                    <a:pt x="213" y="630"/>
                  </a:lnTo>
                  <a:lnTo>
                    <a:pt x="206" y="630"/>
                  </a:lnTo>
                  <a:lnTo>
                    <a:pt x="210" y="626"/>
                  </a:lnTo>
                  <a:lnTo>
                    <a:pt x="213" y="626"/>
                  </a:lnTo>
                  <a:lnTo>
                    <a:pt x="213" y="623"/>
                  </a:lnTo>
                  <a:lnTo>
                    <a:pt x="217" y="623"/>
                  </a:lnTo>
                  <a:lnTo>
                    <a:pt x="217" y="620"/>
                  </a:lnTo>
                  <a:lnTo>
                    <a:pt x="220" y="617"/>
                  </a:lnTo>
                  <a:lnTo>
                    <a:pt x="224" y="617"/>
                  </a:lnTo>
                  <a:lnTo>
                    <a:pt x="227" y="613"/>
                  </a:lnTo>
                  <a:lnTo>
                    <a:pt x="227" y="613"/>
                  </a:lnTo>
                  <a:lnTo>
                    <a:pt x="230" y="613"/>
                  </a:lnTo>
                  <a:lnTo>
                    <a:pt x="230" y="613"/>
                  </a:lnTo>
                  <a:lnTo>
                    <a:pt x="234" y="610"/>
                  </a:lnTo>
                  <a:lnTo>
                    <a:pt x="234" y="610"/>
                  </a:lnTo>
                  <a:close/>
                  <a:moveTo>
                    <a:pt x="268" y="601"/>
                  </a:moveTo>
                  <a:lnTo>
                    <a:pt x="265" y="601"/>
                  </a:lnTo>
                  <a:lnTo>
                    <a:pt x="261" y="604"/>
                  </a:lnTo>
                  <a:lnTo>
                    <a:pt x="261" y="604"/>
                  </a:lnTo>
                  <a:lnTo>
                    <a:pt x="265" y="607"/>
                  </a:lnTo>
                  <a:lnTo>
                    <a:pt x="261" y="607"/>
                  </a:lnTo>
                  <a:lnTo>
                    <a:pt x="258" y="607"/>
                  </a:lnTo>
                  <a:lnTo>
                    <a:pt x="255" y="610"/>
                  </a:lnTo>
                  <a:lnTo>
                    <a:pt x="255" y="610"/>
                  </a:lnTo>
                  <a:lnTo>
                    <a:pt x="255" y="613"/>
                  </a:lnTo>
                  <a:lnTo>
                    <a:pt x="251" y="617"/>
                  </a:lnTo>
                  <a:lnTo>
                    <a:pt x="248" y="617"/>
                  </a:lnTo>
                  <a:lnTo>
                    <a:pt x="244" y="620"/>
                  </a:lnTo>
                  <a:lnTo>
                    <a:pt x="241" y="620"/>
                  </a:lnTo>
                  <a:lnTo>
                    <a:pt x="237" y="620"/>
                  </a:lnTo>
                  <a:lnTo>
                    <a:pt x="241" y="620"/>
                  </a:lnTo>
                  <a:lnTo>
                    <a:pt x="244" y="620"/>
                  </a:lnTo>
                  <a:lnTo>
                    <a:pt x="251" y="620"/>
                  </a:lnTo>
                  <a:lnTo>
                    <a:pt x="255" y="617"/>
                  </a:lnTo>
                  <a:lnTo>
                    <a:pt x="255" y="620"/>
                  </a:lnTo>
                  <a:lnTo>
                    <a:pt x="258" y="620"/>
                  </a:lnTo>
                  <a:lnTo>
                    <a:pt x="258" y="617"/>
                  </a:lnTo>
                  <a:lnTo>
                    <a:pt x="261" y="613"/>
                  </a:lnTo>
                  <a:lnTo>
                    <a:pt x="261" y="613"/>
                  </a:lnTo>
                  <a:lnTo>
                    <a:pt x="265" y="617"/>
                  </a:lnTo>
                  <a:lnTo>
                    <a:pt x="265" y="617"/>
                  </a:lnTo>
                  <a:lnTo>
                    <a:pt x="268" y="613"/>
                  </a:lnTo>
                  <a:lnTo>
                    <a:pt x="275" y="610"/>
                  </a:lnTo>
                  <a:lnTo>
                    <a:pt x="275" y="607"/>
                  </a:lnTo>
                  <a:lnTo>
                    <a:pt x="272" y="607"/>
                  </a:lnTo>
                  <a:lnTo>
                    <a:pt x="275" y="607"/>
                  </a:lnTo>
                  <a:lnTo>
                    <a:pt x="272" y="604"/>
                  </a:lnTo>
                  <a:lnTo>
                    <a:pt x="268" y="601"/>
                  </a:lnTo>
                  <a:lnTo>
                    <a:pt x="268" y="601"/>
                  </a:lnTo>
                  <a:lnTo>
                    <a:pt x="268" y="601"/>
                  </a:lnTo>
                  <a:close/>
                  <a:moveTo>
                    <a:pt x="279" y="604"/>
                  </a:moveTo>
                  <a:lnTo>
                    <a:pt x="279" y="604"/>
                  </a:lnTo>
                  <a:lnTo>
                    <a:pt x="279" y="601"/>
                  </a:lnTo>
                  <a:lnTo>
                    <a:pt x="275" y="604"/>
                  </a:lnTo>
                  <a:lnTo>
                    <a:pt x="279" y="604"/>
                  </a:lnTo>
                  <a:lnTo>
                    <a:pt x="279" y="604"/>
                  </a:lnTo>
                  <a:close/>
                  <a:moveTo>
                    <a:pt x="299" y="601"/>
                  </a:moveTo>
                  <a:lnTo>
                    <a:pt x="299" y="601"/>
                  </a:lnTo>
                  <a:lnTo>
                    <a:pt x="303" y="601"/>
                  </a:lnTo>
                  <a:lnTo>
                    <a:pt x="303" y="601"/>
                  </a:lnTo>
                  <a:lnTo>
                    <a:pt x="299" y="601"/>
                  </a:lnTo>
                  <a:lnTo>
                    <a:pt x="299" y="601"/>
                  </a:lnTo>
                  <a:lnTo>
                    <a:pt x="299" y="601"/>
                  </a:lnTo>
                  <a:close/>
                  <a:moveTo>
                    <a:pt x="292" y="604"/>
                  </a:moveTo>
                  <a:lnTo>
                    <a:pt x="296" y="601"/>
                  </a:lnTo>
                  <a:lnTo>
                    <a:pt x="296" y="604"/>
                  </a:lnTo>
                  <a:lnTo>
                    <a:pt x="292" y="604"/>
                  </a:lnTo>
                  <a:lnTo>
                    <a:pt x="292" y="604"/>
                  </a:lnTo>
                  <a:close/>
                  <a:moveTo>
                    <a:pt x="292" y="601"/>
                  </a:moveTo>
                  <a:lnTo>
                    <a:pt x="292" y="597"/>
                  </a:lnTo>
                  <a:lnTo>
                    <a:pt x="292" y="594"/>
                  </a:lnTo>
                  <a:lnTo>
                    <a:pt x="292" y="594"/>
                  </a:lnTo>
                  <a:lnTo>
                    <a:pt x="292" y="597"/>
                  </a:lnTo>
                  <a:lnTo>
                    <a:pt x="292" y="601"/>
                  </a:lnTo>
                  <a:lnTo>
                    <a:pt x="292" y="601"/>
                  </a:lnTo>
                  <a:close/>
                  <a:moveTo>
                    <a:pt x="286" y="597"/>
                  </a:moveTo>
                  <a:lnTo>
                    <a:pt x="282" y="597"/>
                  </a:lnTo>
                  <a:lnTo>
                    <a:pt x="282" y="601"/>
                  </a:lnTo>
                  <a:lnTo>
                    <a:pt x="286" y="601"/>
                  </a:lnTo>
                  <a:lnTo>
                    <a:pt x="286" y="601"/>
                  </a:lnTo>
                  <a:lnTo>
                    <a:pt x="289" y="601"/>
                  </a:lnTo>
                  <a:lnTo>
                    <a:pt x="286" y="597"/>
                  </a:lnTo>
                  <a:lnTo>
                    <a:pt x="286" y="597"/>
                  </a:lnTo>
                  <a:lnTo>
                    <a:pt x="286" y="597"/>
                  </a:lnTo>
                  <a:close/>
                  <a:moveTo>
                    <a:pt x="464" y="462"/>
                  </a:moveTo>
                  <a:lnTo>
                    <a:pt x="461" y="462"/>
                  </a:lnTo>
                  <a:lnTo>
                    <a:pt x="464" y="462"/>
                  </a:lnTo>
                  <a:lnTo>
                    <a:pt x="464" y="462"/>
                  </a:lnTo>
                  <a:lnTo>
                    <a:pt x="464" y="462"/>
                  </a:lnTo>
                  <a:lnTo>
                    <a:pt x="464" y="462"/>
                  </a:lnTo>
                  <a:close/>
                  <a:moveTo>
                    <a:pt x="454" y="465"/>
                  </a:moveTo>
                  <a:lnTo>
                    <a:pt x="454" y="462"/>
                  </a:lnTo>
                  <a:lnTo>
                    <a:pt x="454" y="462"/>
                  </a:lnTo>
                  <a:lnTo>
                    <a:pt x="458" y="458"/>
                  </a:lnTo>
                  <a:lnTo>
                    <a:pt x="461" y="455"/>
                  </a:lnTo>
                  <a:lnTo>
                    <a:pt x="461" y="458"/>
                  </a:lnTo>
                  <a:lnTo>
                    <a:pt x="458" y="462"/>
                  </a:lnTo>
                  <a:lnTo>
                    <a:pt x="454" y="465"/>
                  </a:lnTo>
                  <a:lnTo>
                    <a:pt x="454" y="465"/>
                  </a:lnTo>
                  <a:close/>
                  <a:moveTo>
                    <a:pt x="306" y="588"/>
                  </a:moveTo>
                  <a:lnTo>
                    <a:pt x="310" y="584"/>
                  </a:lnTo>
                  <a:lnTo>
                    <a:pt x="310" y="584"/>
                  </a:lnTo>
                  <a:lnTo>
                    <a:pt x="313" y="584"/>
                  </a:lnTo>
                  <a:lnTo>
                    <a:pt x="316" y="581"/>
                  </a:lnTo>
                  <a:lnTo>
                    <a:pt x="316" y="581"/>
                  </a:lnTo>
                  <a:lnTo>
                    <a:pt x="320" y="578"/>
                  </a:lnTo>
                  <a:lnTo>
                    <a:pt x="320" y="578"/>
                  </a:lnTo>
                  <a:lnTo>
                    <a:pt x="323" y="578"/>
                  </a:lnTo>
                  <a:lnTo>
                    <a:pt x="327" y="578"/>
                  </a:lnTo>
                  <a:lnTo>
                    <a:pt x="330" y="578"/>
                  </a:lnTo>
                  <a:lnTo>
                    <a:pt x="334" y="578"/>
                  </a:lnTo>
                  <a:lnTo>
                    <a:pt x="334" y="575"/>
                  </a:lnTo>
                  <a:lnTo>
                    <a:pt x="341" y="575"/>
                  </a:lnTo>
                  <a:lnTo>
                    <a:pt x="341" y="578"/>
                  </a:lnTo>
                  <a:lnTo>
                    <a:pt x="341" y="581"/>
                  </a:lnTo>
                  <a:lnTo>
                    <a:pt x="344" y="584"/>
                  </a:lnTo>
                  <a:lnTo>
                    <a:pt x="344" y="588"/>
                  </a:lnTo>
                  <a:lnTo>
                    <a:pt x="341" y="588"/>
                  </a:lnTo>
                  <a:lnTo>
                    <a:pt x="337" y="588"/>
                  </a:lnTo>
                  <a:lnTo>
                    <a:pt x="330" y="591"/>
                  </a:lnTo>
                  <a:lnTo>
                    <a:pt x="327" y="588"/>
                  </a:lnTo>
                  <a:lnTo>
                    <a:pt x="320" y="588"/>
                  </a:lnTo>
                  <a:lnTo>
                    <a:pt x="316" y="591"/>
                  </a:lnTo>
                  <a:lnTo>
                    <a:pt x="316" y="591"/>
                  </a:lnTo>
                  <a:lnTo>
                    <a:pt x="313" y="594"/>
                  </a:lnTo>
                  <a:lnTo>
                    <a:pt x="310" y="591"/>
                  </a:lnTo>
                  <a:lnTo>
                    <a:pt x="306" y="5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3" name="Freeform 164"/>
            <p:cNvSpPr>
              <a:spLocks/>
            </p:cNvSpPr>
            <p:nvPr/>
          </p:nvSpPr>
          <p:spPr bwMode="auto">
            <a:xfrm>
              <a:off x="3797301" y="4109105"/>
              <a:ext cx="11113" cy="4762"/>
            </a:xfrm>
            <a:custGeom>
              <a:avLst/>
              <a:gdLst>
                <a:gd name="T0" fmla="*/ 7 w 7"/>
                <a:gd name="T1" fmla="*/ 0 h 3"/>
                <a:gd name="T2" fmla="*/ 4 w 7"/>
                <a:gd name="T3" fmla="*/ 0 h 3"/>
                <a:gd name="T4" fmla="*/ 0 w 7"/>
                <a:gd name="T5" fmla="*/ 3 h 3"/>
                <a:gd name="T6" fmla="*/ 7 w 7"/>
                <a:gd name="T7" fmla="*/ 3 h 3"/>
                <a:gd name="T8" fmla="*/ 7 w 7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7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7" y="3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4" name="Freeform 165"/>
            <p:cNvSpPr>
              <a:spLocks/>
            </p:cNvSpPr>
            <p:nvPr/>
          </p:nvSpPr>
          <p:spPr bwMode="auto">
            <a:xfrm>
              <a:off x="3890963" y="4129742"/>
              <a:ext cx="71438" cy="25400"/>
            </a:xfrm>
            <a:custGeom>
              <a:avLst/>
              <a:gdLst>
                <a:gd name="T0" fmla="*/ 7 w 45"/>
                <a:gd name="T1" fmla="*/ 3 h 16"/>
                <a:gd name="T2" fmla="*/ 10 w 45"/>
                <a:gd name="T3" fmla="*/ 3 h 16"/>
                <a:gd name="T4" fmla="*/ 17 w 45"/>
                <a:gd name="T5" fmla="*/ 0 h 16"/>
                <a:gd name="T6" fmla="*/ 31 w 45"/>
                <a:gd name="T7" fmla="*/ 3 h 16"/>
                <a:gd name="T8" fmla="*/ 38 w 45"/>
                <a:gd name="T9" fmla="*/ 6 h 16"/>
                <a:gd name="T10" fmla="*/ 41 w 45"/>
                <a:gd name="T11" fmla="*/ 6 h 16"/>
                <a:gd name="T12" fmla="*/ 45 w 45"/>
                <a:gd name="T13" fmla="*/ 9 h 16"/>
                <a:gd name="T14" fmla="*/ 45 w 45"/>
                <a:gd name="T15" fmla="*/ 13 h 16"/>
                <a:gd name="T16" fmla="*/ 38 w 45"/>
                <a:gd name="T17" fmla="*/ 13 h 16"/>
                <a:gd name="T18" fmla="*/ 34 w 45"/>
                <a:gd name="T19" fmla="*/ 9 h 16"/>
                <a:gd name="T20" fmla="*/ 34 w 45"/>
                <a:gd name="T21" fmla="*/ 13 h 16"/>
                <a:gd name="T22" fmla="*/ 31 w 45"/>
                <a:gd name="T23" fmla="*/ 13 h 16"/>
                <a:gd name="T24" fmla="*/ 31 w 45"/>
                <a:gd name="T25" fmla="*/ 13 h 16"/>
                <a:gd name="T26" fmla="*/ 27 w 45"/>
                <a:gd name="T27" fmla="*/ 13 h 16"/>
                <a:gd name="T28" fmla="*/ 27 w 45"/>
                <a:gd name="T29" fmla="*/ 16 h 16"/>
                <a:gd name="T30" fmla="*/ 21 w 45"/>
                <a:gd name="T31" fmla="*/ 16 h 16"/>
                <a:gd name="T32" fmla="*/ 17 w 45"/>
                <a:gd name="T33" fmla="*/ 13 h 16"/>
                <a:gd name="T34" fmla="*/ 14 w 45"/>
                <a:gd name="T35" fmla="*/ 13 h 16"/>
                <a:gd name="T36" fmla="*/ 10 w 45"/>
                <a:gd name="T37" fmla="*/ 13 h 16"/>
                <a:gd name="T38" fmla="*/ 10 w 45"/>
                <a:gd name="T39" fmla="*/ 6 h 16"/>
                <a:gd name="T40" fmla="*/ 7 w 45"/>
                <a:gd name="T41" fmla="*/ 6 h 16"/>
                <a:gd name="T42" fmla="*/ 3 w 45"/>
                <a:gd name="T43" fmla="*/ 6 h 16"/>
                <a:gd name="T44" fmla="*/ 0 w 45"/>
                <a:gd name="T45" fmla="*/ 6 h 16"/>
                <a:gd name="T46" fmla="*/ 3 w 45"/>
                <a:gd name="T47" fmla="*/ 3 h 16"/>
                <a:gd name="T48" fmla="*/ 7 w 45"/>
                <a:gd name="T4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5" h="16">
                  <a:moveTo>
                    <a:pt x="7" y="3"/>
                  </a:moveTo>
                  <a:lnTo>
                    <a:pt x="10" y="3"/>
                  </a:lnTo>
                  <a:lnTo>
                    <a:pt x="17" y="0"/>
                  </a:lnTo>
                  <a:lnTo>
                    <a:pt x="31" y="3"/>
                  </a:lnTo>
                  <a:lnTo>
                    <a:pt x="38" y="6"/>
                  </a:lnTo>
                  <a:lnTo>
                    <a:pt x="41" y="6"/>
                  </a:lnTo>
                  <a:lnTo>
                    <a:pt x="45" y="9"/>
                  </a:lnTo>
                  <a:lnTo>
                    <a:pt x="45" y="13"/>
                  </a:lnTo>
                  <a:lnTo>
                    <a:pt x="38" y="13"/>
                  </a:lnTo>
                  <a:lnTo>
                    <a:pt x="34" y="9"/>
                  </a:lnTo>
                  <a:lnTo>
                    <a:pt x="34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27" y="13"/>
                  </a:lnTo>
                  <a:lnTo>
                    <a:pt x="27" y="16"/>
                  </a:lnTo>
                  <a:lnTo>
                    <a:pt x="21" y="16"/>
                  </a:lnTo>
                  <a:lnTo>
                    <a:pt x="17" y="13"/>
                  </a:lnTo>
                  <a:lnTo>
                    <a:pt x="14" y="13"/>
                  </a:lnTo>
                  <a:lnTo>
                    <a:pt x="10" y="13"/>
                  </a:lnTo>
                  <a:lnTo>
                    <a:pt x="10" y="6"/>
                  </a:lnTo>
                  <a:lnTo>
                    <a:pt x="7" y="6"/>
                  </a:lnTo>
                  <a:lnTo>
                    <a:pt x="3" y="6"/>
                  </a:lnTo>
                  <a:lnTo>
                    <a:pt x="0" y="6"/>
                  </a:lnTo>
                  <a:lnTo>
                    <a:pt x="3" y="3"/>
                  </a:lnTo>
                  <a:lnTo>
                    <a:pt x="7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5" name="Freeform 166"/>
            <p:cNvSpPr>
              <a:spLocks noEditPoints="1"/>
            </p:cNvSpPr>
            <p:nvPr/>
          </p:nvSpPr>
          <p:spPr bwMode="auto">
            <a:xfrm>
              <a:off x="4011613" y="4083705"/>
              <a:ext cx="87313" cy="60325"/>
            </a:xfrm>
            <a:custGeom>
              <a:avLst/>
              <a:gdLst>
                <a:gd name="T0" fmla="*/ 48 w 55"/>
                <a:gd name="T1" fmla="*/ 35 h 38"/>
                <a:gd name="T2" fmla="*/ 51 w 55"/>
                <a:gd name="T3" fmla="*/ 29 h 38"/>
                <a:gd name="T4" fmla="*/ 51 w 55"/>
                <a:gd name="T5" fmla="*/ 22 h 38"/>
                <a:gd name="T6" fmla="*/ 55 w 55"/>
                <a:gd name="T7" fmla="*/ 19 h 38"/>
                <a:gd name="T8" fmla="*/ 55 w 55"/>
                <a:gd name="T9" fmla="*/ 13 h 38"/>
                <a:gd name="T10" fmla="*/ 55 w 55"/>
                <a:gd name="T11" fmla="*/ 9 h 38"/>
                <a:gd name="T12" fmla="*/ 51 w 55"/>
                <a:gd name="T13" fmla="*/ 9 h 38"/>
                <a:gd name="T14" fmla="*/ 44 w 55"/>
                <a:gd name="T15" fmla="*/ 6 h 38"/>
                <a:gd name="T16" fmla="*/ 34 w 55"/>
                <a:gd name="T17" fmla="*/ 6 h 38"/>
                <a:gd name="T18" fmla="*/ 24 w 55"/>
                <a:gd name="T19" fmla="*/ 6 h 38"/>
                <a:gd name="T20" fmla="*/ 24 w 55"/>
                <a:gd name="T21" fmla="*/ 6 h 38"/>
                <a:gd name="T22" fmla="*/ 37 w 55"/>
                <a:gd name="T23" fmla="*/ 13 h 38"/>
                <a:gd name="T24" fmla="*/ 37 w 55"/>
                <a:gd name="T25" fmla="*/ 16 h 38"/>
                <a:gd name="T26" fmla="*/ 37 w 55"/>
                <a:gd name="T27" fmla="*/ 22 h 38"/>
                <a:gd name="T28" fmla="*/ 44 w 55"/>
                <a:gd name="T29" fmla="*/ 29 h 38"/>
                <a:gd name="T30" fmla="*/ 37 w 55"/>
                <a:gd name="T31" fmla="*/ 29 h 38"/>
                <a:gd name="T32" fmla="*/ 31 w 55"/>
                <a:gd name="T33" fmla="*/ 29 h 38"/>
                <a:gd name="T34" fmla="*/ 24 w 55"/>
                <a:gd name="T35" fmla="*/ 29 h 38"/>
                <a:gd name="T36" fmla="*/ 17 w 55"/>
                <a:gd name="T37" fmla="*/ 29 h 38"/>
                <a:gd name="T38" fmla="*/ 10 w 55"/>
                <a:gd name="T39" fmla="*/ 29 h 38"/>
                <a:gd name="T40" fmla="*/ 3 w 55"/>
                <a:gd name="T41" fmla="*/ 29 h 38"/>
                <a:gd name="T42" fmla="*/ 3 w 55"/>
                <a:gd name="T43" fmla="*/ 32 h 38"/>
                <a:gd name="T44" fmla="*/ 13 w 55"/>
                <a:gd name="T45" fmla="*/ 38 h 38"/>
                <a:gd name="T46" fmla="*/ 13 w 55"/>
                <a:gd name="T47" fmla="*/ 35 h 38"/>
                <a:gd name="T48" fmla="*/ 24 w 55"/>
                <a:gd name="T49" fmla="*/ 35 h 38"/>
                <a:gd name="T50" fmla="*/ 41 w 55"/>
                <a:gd name="T51" fmla="*/ 35 h 38"/>
                <a:gd name="T52" fmla="*/ 44 w 55"/>
                <a:gd name="T53" fmla="*/ 35 h 38"/>
                <a:gd name="T54" fmla="*/ 48 w 55"/>
                <a:gd name="T55" fmla="*/ 38 h 38"/>
                <a:gd name="T56" fmla="*/ 37 w 55"/>
                <a:gd name="T57" fmla="*/ 0 h 38"/>
                <a:gd name="T58" fmla="*/ 34 w 55"/>
                <a:gd name="T59" fmla="*/ 3 h 38"/>
                <a:gd name="T60" fmla="*/ 31 w 55"/>
                <a:gd name="T61" fmla="*/ 3 h 38"/>
                <a:gd name="T62" fmla="*/ 27 w 55"/>
                <a:gd name="T63" fmla="*/ 22 h 38"/>
                <a:gd name="T64" fmla="*/ 34 w 55"/>
                <a:gd name="T65" fmla="*/ 25 h 38"/>
                <a:gd name="T66" fmla="*/ 24 w 55"/>
                <a:gd name="T67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5" h="38">
                  <a:moveTo>
                    <a:pt x="48" y="38"/>
                  </a:moveTo>
                  <a:lnTo>
                    <a:pt x="48" y="35"/>
                  </a:lnTo>
                  <a:lnTo>
                    <a:pt x="51" y="32"/>
                  </a:lnTo>
                  <a:lnTo>
                    <a:pt x="51" y="29"/>
                  </a:lnTo>
                  <a:lnTo>
                    <a:pt x="51" y="25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5" y="19"/>
                  </a:lnTo>
                  <a:lnTo>
                    <a:pt x="55" y="16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44" y="6"/>
                  </a:lnTo>
                  <a:lnTo>
                    <a:pt x="37" y="6"/>
                  </a:lnTo>
                  <a:lnTo>
                    <a:pt x="34" y="6"/>
                  </a:lnTo>
                  <a:lnTo>
                    <a:pt x="31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7" y="9"/>
                  </a:lnTo>
                  <a:lnTo>
                    <a:pt x="37" y="13"/>
                  </a:lnTo>
                  <a:lnTo>
                    <a:pt x="34" y="16"/>
                  </a:lnTo>
                  <a:lnTo>
                    <a:pt x="37" y="16"/>
                  </a:lnTo>
                  <a:lnTo>
                    <a:pt x="34" y="22"/>
                  </a:lnTo>
                  <a:lnTo>
                    <a:pt x="37" y="22"/>
                  </a:lnTo>
                  <a:lnTo>
                    <a:pt x="41" y="25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37" y="29"/>
                  </a:lnTo>
                  <a:lnTo>
                    <a:pt x="34" y="32"/>
                  </a:lnTo>
                  <a:lnTo>
                    <a:pt x="31" y="29"/>
                  </a:lnTo>
                  <a:lnTo>
                    <a:pt x="27" y="29"/>
                  </a:lnTo>
                  <a:lnTo>
                    <a:pt x="24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0" y="29"/>
                  </a:lnTo>
                  <a:lnTo>
                    <a:pt x="7" y="25"/>
                  </a:lnTo>
                  <a:lnTo>
                    <a:pt x="3" y="29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7" y="35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3" y="35"/>
                  </a:lnTo>
                  <a:lnTo>
                    <a:pt x="17" y="35"/>
                  </a:lnTo>
                  <a:lnTo>
                    <a:pt x="24" y="35"/>
                  </a:lnTo>
                  <a:lnTo>
                    <a:pt x="27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4" y="35"/>
                  </a:lnTo>
                  <a:lnTo>
                    <a:pt x="48" y="38"/>
                  </a:lnTo>
                  <a:lnTo>
                    <a:pt x="48" y="38"/>
                  </a:lnTo>
                  <a:close/>
                  <a:moveTo>
                    <a:pt x="31" y="3"/>
                  </a:moveTo>
                  <a:lnTo>
                    <a:pt x="37" y="0"/>
                  </a:lnTo>
                  <a:lnTo>
                    <a:pt x="41" y="3"/>
                  </a:lnTo>
                  <a:lnTo>
                    <a:pt x="34" y="3"/>
                  </a:lnTo>
                  <a:lnTo>
                    <a:pt x="31" y="3"/>
                  </a:lnTo>
                  <a:lnTo>
                    <a:pt x="31" y="3"/>
                  </a:lnTo>
                  <a:close/>
                  <a:moveTo>
                    <a:pt x="24" y="22"/>
                  </a:moveTo>
                  <a:lnTo>
                    <a:pt x="27" y="22"/>
                  </a:lnTo>
                  <a:lnTo>
                    <a:pt x="31" y="22"/>
                  </a:lnTo>
                  <a:lnTo>
                    <a:pt x="34" y="25"/>
                  </a:lnTo>
                  <a:lnTo>
                    <a:pt x="27" y="25"/>
                  </a:lnTo>
                  <a:lnTo>
                    <a:pt x="24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6" name="Freeform 167"/>
            <p:cNvSpPr>
              <a:spLocks noEditPoints="1"/>
            </p:cNvSpPr>
            <p:nvPr/>
          </p:nvSpPr>
          <p:spPr bwMode="auto">
            <a:xfrm>
              <a:off x="3700463" y="3996392"/>
              <a:ext cx="327025" cy="101600"/>
            </a:xfrm>
            <a:custGeom>
              <a:avLst/>
              <a:gdLst>
                <a:gd name="T0" fmla="*/ 41 w 206"/>
                <a:gd name="T1" fmla="*/ 26 h 64"/>
                <a:gd name="T2" fmla="*/ 41 w 206"/>
                <a:gd name="T3" fmla="*/ 32 h 64"/>
                <a:gd name="T4" fmla="*/ 37 w 206"/>
                <a:gd name="T5" fmla="*/ 29 h 64"/>
                <a:gd name="T6" fmla="*/ 37 w 206"/>
                <a:gd name="T7" fmla="*/ 29 h 64"/>
                <a:gd name="T8" fmla="*/ 10 w 206"/>
                <a:gd name="T9" fmla="*/ 19 h 64"/>
                <a:gd name="T10" fmla="*/ 6 w 206"/>
                <a:gd name="T11" fmla="*/ 19 h 64"/>
                <a:gd name="T12" fmla="*/ 0 w 206"/>
                <a:gd name="T13" fmla="*/ 26 h 64"/>
                <a:gd name="T14" fmla="*/ 6 w 206"/>
                <a:gd name="T15" fmla="*/ 22 h 64"/>
                <a:gd name="T16" fmla="*/ 17 w 206"/>
                <a:gd name="T17" fmla="*/ 22 h 64"/>
                <a:gd name="T18" fmla="*/ 27 w 206"/>
                <a:gd name="T19" fmla="*/ 19 h 64"/>
                <a:gd name="T20" fmla="*/ 37 w 206"/>
                <a:gd name="T21" fmla="*/ 13 h 64"/>
                <a:gd name="T22" fmla="*/ 51 w 206"/>
                <a:gd name="T23" fmla="*/ 13 h 64"/>
                <a:gd name="T24" fmla="*/ 65 w 206"/>
                <a:gd name="T25" fmla="*/ 13 h 64"/>
                <a:gd name="T26" fmla="*/ 55 w 206"/>
                <a:gd name="T27" fmla="*/ 16 h 64"/>
                <a:gd name="T28" fmla="*/ 72 w 206"/>
                <a:gd name="T29" fmla="*/ 19 h 64"/>
                <a:gd name="T30" fmla="*/ 82 w 206"/>
                <a:gd name="T31" fmla="*/ 22 h 64"/>
                <a:gd name="T32" fmla="*/ 89 w 206"/>
                <a:gd name="T33" fmla="*/ 22 h 64"/>
                <a:gd name="T34" fmla="*/ 103 w 206"/>
                <a:gd name="T35" fmla="*/ 29 h 64"/>
                <a:gd name="T36" fmla="*/ 110 w 206"/>
                <a:gd name="T37" fmla="*/ 29 h 64"/>
                <a:gd name="T38" fmla="*/ 120 w 206"/>
                <a:gd name="T39" fmla="*/ 29 h 64"/>
                <a:gd name="T40" fmla="*/ 134 w 206"/>
                <a:gd name="T41" fmla="*/ 45 h 64"/>
                <a:gd name="T42" fmla="*/ 147 w 206"/>
                <a:gd name="T43" fmla="*/ 48 h 64"/>
                <a:gd name="T44" fmla="*/ 151 w 206"/>
                <a:gd name="T45" fmla="*/ 51 h 64"/>
                <a:gd name="T46" fmla="*/ 137 w 206"/>
                <a:gd name="T47" fmla="*/ 61 h 64"/>
                <a:gd name="T48" fmla="*/ 154 w 206"/>
                <a:gd name="T49" fmla="*/ 61 h 64"/>
                <a:gd name="T50" fmla="*/ 175 w 206"/>
                <a:gd name="T51" fmla="*/ 64 h 64"/>
                <a:gd name="T52" fmla="*/ 189 w 206"/>
                <a:gd name="T53" fmla="*/ 61 h 64"/>
                <a:gd name="T54" fmla="*/ 203 w 206"/>
                <a:gd name="T55" fmla="*/ 58 h 64"/>
                <a:gd name="T56" fmla="*/ 199 w 206"/>
                <a:gd name="T57" fmla="*/ 51 h 64"/>
                <a:gd name="T58" fmla="*/ 178 w 206"/>
                <a:gd name="T59" fmla="*/ 45 h 64"/>
                <a:gd name="T60" fmla="*/ 178 w 206"/>
                <a:gd name="T61" fmla="*/ 38 h 64"/>
                <a:gd name="T62" fmla="*/ 172 w 206"/>
                <a:gd name="T63" fmla="*/ 38 h 64"/>
                <a:gd name="T64" fmla="*/ 158 w 206"/>
                <a:gd name="T65" fmla="*/ 32 h 64"/>
                <a:gd name="T66" fmla="*/ 147 w 206"/>
                <a:gd name="T67" fmla="*/ 32 h 64"/>
                <a:gd name="T68" fmla="*/ 144 w 206"/>
                <a:gd name="T69" fmla="*/ 29 h 64"/>
                <a:gd name="T70" fmla="*/ 130 w 206"/>
                <a:gd name="T71" fmla="*/ 22 h 64"/>
                <a:gd name="T72" fmla="*/ 110 w 206"/>
                <a:gd name="T73" fmla="*/ 16 h 64"/>
                <a:gd name="T74" fmla="*/ 103 w 206"/>
                <a:gd name="T75" fmla="*/ 6 h 64"/>
                <a:gd name="T76" fmla="*/ 82 w 206"/>
                <a:gd name="T77" fmla="*/ 6 h 64"/>
                <a:gd name="T78" fmla="*/ 68 w 206"/>
                <a:gd name="T79" fmla="*/ 3 h 64"/>
                <a:gd name="T80" fmla="*/ 48 w 206"/>
                <a:gd name="T81" fmla="*/ 3 h 64"/>
                <a:gd name="T82" fmla="*/ 24 w 206"/>
                <a:gd name="T83" fmla="*/ 6 h 64"/>
                <a:gd name="T84" fmla="*/ 10 w 206"/>
                <a:gd name="T85" fmla="*/ 1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6" h="64">
                  <a:moveTo>
                    <a:pt x="37" y="26"/>
                  </a:moveTo>
                  <a:lnTo>
                    <a:pt x="37" y="22"/>
                  </a:lnTo>
                  <a:lnTo>
                    <a:pt x="41" y="26"/>
                  </a:lnTo>
                  <a:lnTo>
                    <a:pt x="44" y="29"/>
                  </a:lnTo>
                  <a:lnTo>
                    <a:pt x="44" y="32"/>
                  </a:lnTo>
                  <a:lnTo>
                    <a:pt x="41" y="32"/>
                  </a:lnTo>
                  <a:lnTo>
                    <a:pt x="34" y="32"/>
                  </a:lnTo>
                  <a:lnTo>
                    <a:pt x="34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41" y="29"/>
                  </a:lnTo>
                  <a:lnTo>
                    <a:pt x="37" y="29"/>
                  </a:lnTo>
                  <a:lnTo>
                    <a:pt x="37" y="26"/>
                  </a:lnTo>
                  <a:lnTo>
                    <a:pt x="37" y="26"/>
                  </a:lnTo>
                  <a:close/>
                  <a:moveTo>
                    <a:pt x="10" y="19"/>
                  </a:moveTo>
                  <a:lnTo>
                    <a:pt x="13" y="19"/>
                  </a:lnTo>
                  <a:lnTo>
                    <a:pt x="10" y="22"/>
                  </a:lnTo>
                  <a:lnTo>
                    <a:pt x="6" y="19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3" y="26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6"/>
                  </a:lnTo>
                  <a:lnTo>
                    <a:pt x="13" y="26"/>
                  </a:lnTo>
                  <a:lnTo>
                    <a:pt x="17" y="22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7" y="19"/>
                  </a:lnTo>
                  <a:lnTo>
                    <a:pt x="31" y="19"/>
                  </a:lnTo>
                  <a:lnTo>
                    <a:pt x="34" y="19"/>
                  </a:lnTo>
                  <a:lnTo>
                    <a:pt x="37" y="13"/>
                  </a:lnTo>
                  <a:lnTo>
                    <a:pt x="41" y="13"/>
                  </a:lnTo>
                  <a:lnTo>
                    <a:pt x="44" y="9"/>
                  </a:lnTo>
                  <a:lnTo>
                    <a:pt x="51" y="13"/>
                  </a:lnTo>
                  <a:lnTo>
                    <a:pt x="55" y="13"/>
                  </a:lnTo>
                  <a:lnTo>
                    <a:pt x="61" y="13"/>
                  </a:lnTo>
                  <a:lnTo>
                    <a:pt x="65" y="13"/>
                  </a:lnTo>
                  <a:lnTo>
                    <a:pt x="61" y="16"/>
                  </a:lnTo>
                  <a:lnTo>
                    <a:pt x="58" y="16"/>
                  </a:lnTo>
                  <a:lnTo>
                    <a:pt x="55" y="16"/>
                  </a:lnTo>
                  <a:lnTo>
                    <a:pt x="58" y="19"/>
                  </a:lnTo>
                  <a:lnTo>
                    <a:pt x="68" y="19"/>
                  </a:lnTo>
                  <a:lnTo>
                    <a:pt x="72" y="19"/>
                  </a:lnTo>
                  <a:lnTo>
                    <a:pt x="75" y="19"/>
                  </a:lnTo>
                  <a:lnTo>
                    <a:pt x="79" y="22"/>
                  </a:lnTo>
                  <a:lnTo>
                    <a:pt x="82" y="22"/>
                  </a:lnTo>
                  <a:lnTo>
                    <a:pt x="86" y="22"/>
                  </a:lnTo>
                  <a:lnTo>
                    <a:pt x="89" y="19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96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6" y="29"/>
                  </a:lnTo>
                  <a:lnTo>
                    <a:pt x="110" y="29"/>
                  </a:lnTo>
                  <a:lnTo>
                    <a:pt x="113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3" y="38"/>
                  </a:lnTo>
                  <a:lnTo>
                    <a:pt x="130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41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1" y="51"/>
                  </a:lnTo>
                  <a:lnTo>
                    <a:pt x="144" y="55"/>
                  </a:lnTo>
                  <a:lnTo>
                    <a:pt x="137" y="58"/>
                  </a:lnTo>
                  <a:lnTo>
                    <a:pt x="137" y="61"/>
                  </a:lnTo>
                  <a:lnTo>
                    <a:pt x="144" y="64"/>
                  </a:lnTo>
                  <a:lnTo>
                    <a:pt x="151" y="61"/>
                  </a:lnTo>
                  <a:lnTo>
                    <a:pt x="154" y="61"/>
                  </a:lnTo>
                  <a:lnTo>
                    <a:pt x="161" y="61"/>
                  </a:lnTo>
                  <a:lnTo>
                    <a:pt x="168" y="61"/>
                  </a:lnTo>
                  <a:lnTo>
                    <a:pt x="175" y="64"/>
                  </a:lnTo>
                  <a:lnTo>
                    <a:pt x="185" y="61"/>
                  </a:lnTo>
                  <a:lnTo>
                    <a:pt x="185" y="58"/>
                  </a:lnTo>
                  <a:lnTo>
                    <a:pt x="189" y="61"/>
                  </a:lnTo>
                  <a:lnTo>
                    <a:pt x="192" y="58"/>
                  </a:lnTo>
                  <a:lnTo>
                    <a:pt x="199" y="58"/>
                  </a:lnTo>
                  <a:lnTo>
                    <a:pt x="203" y="58"/>
                  </a:lnTo>
                  <a:lnTo>
                    <a:pt x="206" y="55"/>
                  </a:lnTo>
                  <a:lnTo>
                    <a:pt x="203" y="51"/>
                  </a:lnTo>
                  <a:lnTo>
                    <a:pt x="199" y="51"/>
                  </a:lnTo>
                  <a:lnTo>
                    <a:pt x="196" y="48"/>
                  </a:lnTo>
                  <a:lnTo>
                    <a:pt x="189" y="45"/>
                  </a:lnTo>
                  <a:lnTo>
                    <a:pt x="178" y="45"/>
                  </a:lnTo>
                  <a:lnTo>
                    <a:pt x="175" y="45"/>
                  </a:lnTo>
                  <a:lnTo>
                    <a:pt x="178" y="42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5" y="38"/>
                  </a:lnTo>
                  <a:lnTo>
                    <a:pt x="172" y="38"/>
                  </a:lnTo>
                  <a:lnTo>
                    <a:pt x="165" y="35"/>
                  </a:lnTo>
                  <a:lnTo>
                    <a:pt x="161" y="35"/>
                  </a:lnTo>
                  <a:lnTo>
                    <a:pt x="158" y="32"/>
                  </a:lnTo>
                  <a:lnTo>
                    <a:pt x="154" y="29"/>
                  </a:lnTo>
                  <a:lnTo>
                    <a:pt x="151" y="32"/>
                  </a:lnTo>
                  <a:lnTo>
                    <a:pt x="147" y="32"/>
                  </a:lnTo>
                  <a:lnTo>
                    <a:pt x="147" y="29"/>
                  </a:lnTo>
                  <a:lnTo>
                    <a:pt x="147" y="29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37" y="26"/>
                  </a:lnTo>
                  <a:lnTo>
                    <a:pt x="130" y="22"/>
                  </a:lnTo>
                  <a:lnTo>
                    <a:pt x="127" y="19"/>
                  </a:lnTo>
                  <a:lnTo>
                    <a:pt x="123" y="16"/>
                  </a:lnTo>
                  <a:lnTo>
                    <a:pt x="110" y="16"/>
                  </a:lnTo>
                  <a:lnTo>
                    <a:pt x="106" y="16"/>
                  </a:lnTo>
                  <a:lnTo>
                    <a:pt x="106" y="13"/>
                  </a:lnTo>
                  <a:lnTo>
                    <a:pt x="103" y="6"/>
                  </a:lnTo>
                  <a:lnTo>
                    <a:pt x="99" y="9"/>
                  </a:lnTo>
                  <a:lnTo>
                    <a:pt x="96" y="6"/>
                  </a:lnTo>
                  <a:lnTo>
                    <a:pt x="82" y="6"/>
                  </a:lnTo>
                  <a:lnTo>
                    <a:pt x="75" y="6"/>
                  </a:lnTo>
                  <a:lnTo>
                    <a:pt x="72" y="6"/>
                  </a:lnTo>
                  <a:lnTo>
                    <a:pt x="68" y="3"/>
                  </a:lnTo>
                  <a:lnTo>
                    <a:pt x="58" y="0"/>
                  </a:lnTo>
                  <a:lnTo>
                    <a:pt x="51" y="0"/>
                  </a:lnTo>
                  <a:lnTo>
                    <a:pt x="48" y="3"/>
                  </a:lnTo>
                  <a:lnTo>
                    <a:pt x="37" y="3"/>
                  </a:lnTo>
                  <a:lnTo>
                    <a:pt x="27" y="6"/>
                  </a:lnTo>
                  <a:lnTo>
                    <a:pt x="24" y="6"/>
                  </a:lnTo>
                  <a:lnTo>
                    <a:pt x="17" y="9"/>
                  </a:lnTo>
                  <a:lnTo>
                    <a:pt x="13" y="13"/>
                  </a:lnTo>
                  <a:lnTo>
                    <a:pt x="10" y="13"/>
                  </a:lnTo>
                  <a:lnTo>
                    <a:pt x="1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7" name="Freeform 168"/>
            <p:cNvSpPr>
              <a:spLocks noEditPoints="1"/>
            </p:cNvSpPr>
            <p:nvPr/>
          </p:nvSpPr>
          <p:spPr bwMode="auto">
            <a:xfrm>
              <a:off x="3902076" y="3888442"/>
              <a:ext cx="168275" cy="179387"/>
            </a:xfrm>
            <a:custGeom>
              <a:avLst/>
              <a:gdLst>
                <a:gd name="T0" fmla="*/ 103 w 106"/>
                <a:gd name="T1" fmla="*/ 100 h 113"/>
                <a:gd name="T2" fmla="*/ 89 w 106"/>
                <a:gd name="T3" fmla="*/ 113 h 113"/>
                <a:gd name="T4" fmla="*/ 100 w 106"/>
                <a:gd name="T5" fmla="*/ 103 h 113"/>
                <a:gd name="T6" fmla="*/ 93 w 106"/>
                <a:gd name="T7" fmla="*/ 103 h 113"/>
                <a:gd name="T8" fmla="*/ 89 w 106"/>
                <a:gd name="T9" fmla="*/ 113 h 113"/>
                <a:gd name="T10" fmla="*/ 106 w 106"/>
                <a:gd name="T11" fmla="*/ 87 h 113"/>
                <a:gd name="T12" fmla="*/ 100 w 106"/>
                <a:gd name="T13" fmla="*/ 87 h 113"/>
                <a:gd name="T14" fmla="*/ 89 w 106"/>
                <a:gd name="T15" fmla="*/ 77 h 113"/>
                <a:gd name="T16" fmla="*/ 82 w 106"/>
                <a:gd name="T17" fmla="*/ 84 h 113"/>
                <a:gd name="T18" fmla="*/ 79 w 106"/>
                <a:gd name="T19" fmla="*/ 87 h 113"/>
                <a:gd name="T20" fmla="*/ 89 w 106"/>
                <a:gd name="T21" fmla="*/ 77 h 113"/>
                <a:gd name="T22" fmla="*/ 82 w 106"/>
                <a:gd name="T23" fmla="*/ 77 h 113"/>
                <a:gd name="T24" fmla="*/ 76 w 106"/>
                <a:gd name="T25" fmla="*/ 74 h 113"/>
                <a:gd name="T26" fmla="*/ 62 w 106"/>
                <a:gd name="T27" fmla="*/ 61 h 113"/>
                <a:gd name="T28" fmla="*/ 69 w 106"/>
                <a:gd name="T29" fmla="*/ 74 h 113"/>
                <a:gd name="T30" fmla="*/ 62 w 106"/>
                <a:gd name="T31" fmla="*/ 68 h 113"/>
                <a:gd name="T32" fmla="*/ 62 w 106"/>
                <a:gd name="T33" fmla="*/ 61 h 113"/>
                <a:gd name="T34" fmla="*/ 48 w 106"/>
                <a:gd name="T35" fmla="*/ 61 h 113"/>
                <a:gd name="T36" fmla="*/ 48 w 106"/>
                <a:gd name="T37" fmla="*/ 58 h 113"/>
                <a:gd name="T38" fmla="*/ 79 w 106"/>
                <a:gd name="T39" fmla="*/ 58 h 113"/>
                <a:gd name="T40" fmla="*/ 79 w 106"/>
                <a:gd name="T41" fmla="*/ 52 h 113"/>
                <a:gd name="T42" fmla="*/ 58 w 106"/>
                <a:gd name="T43" fmla="*/ 48 h 113"/>
                <a:gd name="T44" fmla="*/ 62 w 106"/>
                <a:gd name="T45" fmla="*/ 55 h 113"/>
                <a:gd name="T46" fmla="*/ 62 w 106"/>
                <a:gd name="T47" fmla="*/ 48 h 113"/>
                <a:gd name="T48" fmla="*/ 58 w 106"/>
                <a:gd name="T49" fmla="*/ 42 h 113"/>
                <a:gd name="T50" fmla="*/ 51 w 106"/>
                <a:gd name="T51" fmla="*/ 35 h 113"/>
                <a:gd name="T52" fmla="*/ 45 w 106"/>
                <a:gd name="T53" fmla="*/ 39 h 113"/>
                <a:gd name="T54" fmla="*/ 45 w 106"/>
                <a:gd name="T55" fmla="*/ 32 h 113"/>
                <a:gd name="T56" fmla="*/ 41 w 106"/>
                <a:gd name="T57" fmla="*/ 29 h 113"/>
                <a:gd name="T58" fmla="*/ 34 w 106"/>
                <a:gd name="T59" fmla="*/ 3 h 113"/>
                <a:gd name="T60" fmla="*/ 38 w 106"/>
                <a:gd name="T61" fmla="*/ 13 h 113"/>
                <a:gd name="T62" fmla="*/ 31 w 106"/>
                <a:gd name="T63" fmla="*/ 22 h 113"/>
                <a:gd name="T64" fmla="*/ 31 w 106"/>
                <a:gd name="T65" fmla="*/ 10 h 113"/>
                <a:gd name="T66" fmla="*/ 20 w 106"/>
                <a:gd name="T67" fmla="*/ 0 h 113"/>
                <a:gd name="T68" fmla="*/ 3 w 106"/>
                <a:gd name="T69" fmla="*/ 3 h 113"/>
                <a:gd name="T70" fmla="*/ 17 w 106"/>
                <a:gd name="T71" fmla="*/ 3 h 113"/>
                <a:gd name="T72" fmla="*/ 14 w 106"/>
                <a:gd name="T73" fmla="*/ 6 h 113"/>
                <a:gd name="T74" fmla="*/ 0 w 106"/>
                <a:gd name="T75" fmla="*/ 3 h 113"/>
                <a:gd name="T76" fmla="*/ 27 w 106"/>
                <a:gd name="T77" fmla="*/ 32 h 113"/>
                <a:gd name="T78" fmla="*/ 24 w 106"/>
                <a:gd name="T79" fmla="*/ 35 h 113"/>
                <a:gd name="T80" fmla="*/ 17 w 106"/>
                <a:gd name="T81" fmla="*/ 52 h 113"/>
                <a:gd name="T82" fmla="*/ 17 w 106"/>
                <a:gd name="T83" fmla="*/ 52 h 113"/>
                <a:gd name="T84" fmla="*/ 14 w 106"/>
                <a:gd name="T85" fmla="*/ 52 h 113"/>
                <a:gd name="T86" fmla="*/ 14 w 106"/>
                <a:gd name="T87" fmla="*/ 52 h 113"/>
                <a:gd name="T88" fmla="*/ 14 w 106"/>
                <a:gd name="T89" fmla="*/ 39 h 113"/>
                <a:gd name="T90" fmla="*/ 10 w 106"/>
                <a:gd name="T91" fmla="*/ 39 h 113"/>
                <a:gd name="T92" fmla="*/ 14 w 106"/>
                <a:gd name="T93" fmla="*/ 45 h 113"/>
                <a:gd name="T94" fmla="*/ 20 w 106"/>
                <a:gd name="T95" fmla="*/ 52 h 113"/>
                <a:gd name="T96" fmla="*/ 17 w 106"/>
                <a:gd name="T97" fmla="*/ 61 h 113"/>
                <a:gd name="T98" fmla="*/ 20 w 106"/>
                <a:gd name="T99" fmla="*/ 55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" h="113">
                  <a:moveTo>
                    <a:pt x="100" y="100"/>
                  </a:moveTo>
                  <a:lnTo>
                    <a:pt x="103" y="100"/>
                  </a:lnTo>
                  <a:lnTo>
                    <a:pt x="103" y="100"/>
                  </a:lnTo>
                  <a:lnTo>
                    <a:pt x="100" y="100"/>
                  </a:lnTo>
                  <a:lnTo>
                    <a:pt x="100" y="100"/>
                  </a:lnTo>
                  <a:close/>
                  <a:moveTo>
                    <a:pt x="89" y="113"/>
                  </a:moveTo>
                  <a:lnTo>
                    <a:pt x="96" y="110"/>
                  </a:lnTo>
                  <a:lnTo>
                    <a:pt x="100" y="106"/>
                  </a:lnTo>
                  <a:lnTo>
                    <a:pt x="100" y="103"/>
                  </a:lnTo>
                  <a:lnTo>
                    <a:pt x="100" y="103"/>
                  </a:lnTo>
                  <a:lnTo>
                    <a:pt x="96" y="106"/>
                  </a:lnTo>
                  <a:lnTo>
                    <a:pt x="93" y="103"/>
                  </a:lnTo>
                  <a:lnTo>
                    <a:pt x="89" y="106"/>
                  </a:lnTo>
                  <a:lnTo>
                    <a:pt x="89" y="113"/>
                  </a:lnTo>
                  <a:lnTo>
                    <a:pt x="89" y="113"/>
                  </a:lnTo>
                  <a:close/>
                  <a:moveTo>
                    <a:pt x="100" y="84"/>
                  </a:moveTo>
                  <a:lnTo>
                    <a:pt x="103" y="84"/>
                  </a:lnTo>
                  <a:lnTo>
                    <a:pt x="106" y="87"/>
                  </a:lnTo>
                  <a:lnTo>
                    <a:pt x="106" y="87"/>
                  </a:lnTo>
                  <a:lnTo>
                    <a:pt x="103" y="87"/>
                  </a:lnTo>
                  <a:lnTo>
                    <a:pt x="100" y="87"/>
                  </a:lnTo>
                  <a:lnTo>
                    <a:pt x="100" y="84"/>
                  </a:lnTo>
                  <a:lnTo>
                    <a:pt x="100" y="84"/>
                  </a:lnTo>
                  <a:close/>
                  <a:moveTo>
                    <a:pt x="89" y="77"/>
                  </a:moveTo>
                  <a:lnTo>
                    <a:pt x="86" y="77"/>
                  </a:lnTo>
                  <a:lnTo>
                    <a:pt x="86" y="81"/>
                  </a:lnTo>
                  <a:lnTo>
                    <a:pt x="82" y="84"/>
                  </a:lnTo>
                  <a:lnTo>
                    <a:pt x="79" y="84"/>
                  </a:lnTo>
                  <a:lnTo>
                    <a:pt x="79" y="87"/>
                  </a:lnTo>
                  <a:lnTo>
                    <a:pt x="79" y="87"/>
                  </a:lnTo>
                  <a:lnTo>
                    <a:pt x="89" y="81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89" y="77"/>
                  </a:lnTo>
                  <a:close/>
                  <a:moveTo>
                    <a:pt x="76" y="74"/>
                  </a:moveTo>
                  <a:lnTo>
                    <a:pt x="82" y="77"/>
                  </a:lnTo>
                  <a:lnTo>
                    <a:pt x="82" y="77"/>
                  </a:lnTo>
                  <a:lnTo>
                    <a:pt x="79" y="77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close/>
                  <a:moveTo>
                    <a:pt x="62" y="61"/>
                  </a:moveTo>
                  <a:lnTo>
                    <a:pt x="65" y="64"/>
                  </a:lnTo>
                  <a:lnTo>
                    <a:pt x="65" y="71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65" y="71"/>
                  </a:lnTo>
                  <a:lnTo>
                    <a:pt x="62" y="68"/>
                  </a:lnTo>
                  <a:lnTo>
                    <a:pt x="65" y="68"/>
                  </a:lnTo>
                  <a:lnTo>
                    <a:pt x="62" y="61"/>
                  </a:lnTo>
                  <a:lnTo>
                    <a:pt x="62" y="61"/>
                  </a:lnTo>
                  <a:lnTo>
                    <a:pt x="62" y="61"/>
                  </a:lnTo>
                  <a:close/>
                  <a:moveTo>
                    <a:pt x="48" y="58"/>
                  </a:moveTo>
                  <a:lnTo>
                    <a:pt x="48" y="61"/>
                  </a:lnTo>
                  <a:lnTo>
                    <a:pt x="51" y="61"/>
                  </a:lnTo>
                  <a:lnTo>
                    <a:pt x="48" y="58"/>
                  </a:lnTo>
                  <a:lnTo>
                    <a:pt x="48" y="58"/>
                  </a:lnTo>
                  <a:close/>
                  <a:moveTo>
                    <a:pt x="79" y="52"/>
                  </a:moveTo>
                  <a:lnTo>
                    <a:pt x="76" y="55"/>
                  </a:lnTo>
                  <a:lnTo>
                    <a:pt x="79" y="58"/>
                  </a:lnTo>
                  <a:lnTo>
                    <a:pt x="79" y="55"/>
                  </a:lnTo>
                  <a:lnTo>
                    <a:pt x="79" y="52"/>
                  </a:lnTo>
                  <a:lnTo>
                    <a:pt x="79" y="52"/>
                  </a:lnTo>
                  <a:close/>
                  <a:moveTo>
                    <a:pt x="58" y="42"/>
                  </a:moveTo>
                  <a:lnTo>
                    <a:pt x="55" y="45"/>
                  </a:lnTo>
                  <a:lnTo>
                    <a:pt x="58" y="48"/>
                  </a:lnTo>
                  <a:lnTo>
                    <a:pt x="62" y="52"/>
                  </a:lnTo>
                  <a:lnTo>
                    <a:pt x="58" y="55"/>
                  </a:lnTo>
                  <a:lnTo>
                    <a:pt x="62" y="55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62" y="48"/>
                  </a:lnTo>
                  <a:lnTo>
                    <a:pt x="62" y="45"/>
                  </a:lnTo>
                  <a:lnTo>
                    <a:pt x="58" y="42"/>
                  </a:lnTo>
                  <a:lnTo>
                    <a:pt x="58" y="42"/>
                  </a:lnTo>
                  <a:close/>
                  <a:moveTo>
                    <a:pt x="41" y="29"/>
                  </a:moveTo>
                  <a:lnTo>
                    <a:pt x="48" y="32"/>
                  </a:lnTo>
                  <a:lnTo>
                    <a:pt x="51" y="35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5" y="39"/>
                  </a:lnTo>
                  <a:lnTo>
                    <a:pt x="48" y="39"/>
                  </a:lnTo>
                  <a:lnTo>
                    <a:pt x="48" y="35"/>
                  </a:lnTo>
                  <a:lnTo>
                    <a:pt x="45" y="32"/>
                  </a:lnTo>
                  <a:lnTo>
                    <a:pt x="41" y="32"/>
                  </a:lnTo>
                  <a:lnTo>
                    <a:pt x="41" y="29"/>
                  </a:lnTo>
                  <a:lnTo>
                    <a:pt x="41" y="29"/>
                  </a:lnTo>
                  <a:close/>
                  <a:moveTo>
                    <a:pt x="20" y="0"/>
                  </a:moveTo>
                  <a:lnTo>
                    <a:pt x="27" y="0"/>
                  </a:lnTo>
                  <a:lnTo>
                    <a:pt x="34" y="3"/>
                  </a:lnTo>
                  <a:lnTo>
                    <a:pt x="34" y="6"/>
                  </a:lnTo>
                  <a:lnTo>
                    <a:pt x="38" y="10"/>
                  </a:lnTo>
                  <a:lnTo>
                    <a:pt x="38" y="13"/>
                  </a:lnTo>
                  <a:lnTo>
                    <a:pt x="34" y="16"/>
                  </a:lnTo>
                  <a:lnTo>
                    <a:pt x="34" y="19"/>
                  </a:lnTo>
                  <a:lnTo>
                    <a:pt x="31" y="22"/>
                  </a:lnTo>
                  <a:lnTo>
                    <a:pt x="31" y="16"/>
                  </a:lnTo>
                  <a:lnTo>
                    <a:pt x="31" y="13"/>
                  </a:lnTo>
                  <a:lnTo>
                    <a:pt x="31" y="10"/>
                  </a:lnTo>
                  <a:lnTo>
                    <a:pt x="27" y="6"/>
                  </a:lnTo>
                  <a:lnTo>
                    <a:pt x="27" y="3"/>
                  </a:lnTo>
                  <a:lnTo>
                    <a:pt x="20" y="0"/>
                  </a:lnTo>
                  <a:lnTo>
                    <a:pt x="20" y="0"/>
                  </a:lnTo>
                  <a:close/>
                  <a:moveTo>
                    <a:pt x="0" y="3"/>
                  </a:moveTo>
                  <a:lnTo>
                    <a:pt x="3" y="3"/>
                  </a:lnTo>
                  <a:lnTo>
                    <a:pt x="7" y="6"/>
                  </a:lnTo>
                  <a:lnTo>
                    <a:pt x="10" y="3"/>
                  </a:lnTo>
                  <a:lnTo>
                    <a:pt x="17" y="3"/>
                  </a:lnTo>
                  <a:lnTo>
                    <a:pt x="20" y="6"/>
                  </a:lnTo>
                  <a:lnTo>
                    <a:pt x="17" y="6"/>
                  </a:lnTo>
                  <a:lnTo>
                    <a:pt x="14" y="6"/>
                  </a:lnTo>
                  <a:lnTo>
                    <a:pt x="7" y="10"/>
                  </a:lnTo>
                  <a:lnTo>
                    <a:pt x="3" y="10"/>
                  </a:lnTo>
                  <a:lnTo>
                    <a:pt x="0" y="3"/>
                  </a:lnTo>
                  <a:lnTo>
                    <a:pt x="0" y="3"/>
                  </a:lnTo>
                  <a:close/>
                  <a:moveTo>
                    <a:pt x="20" y="35"/>
                  </a:moveTo>
                  <a:lnTo>
                    <a:pt x="27" y="32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20" y="35"/>
                  </a:lnTo>
                  <a:close/>
                  <a:moveTo>
                    <a:pt x="17" y="52"/>
                  </a:moveTo>
                  <a:lnTo>
                    <a:pt x="17" y="48"/>
                  </a:lnTo>
                  <a:lnTo>
                    <a:pt x="20" y="48"/>
                  </a:lnTo>
                  <a:lnTo>
                    <a:pt x="17" y="52"/>
                  </a:lnTo>
                  <a:lnTo>
                    <a:pt x="17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4" y="48"/>
                  </a:moveTo>
                  <a:lnTo>
                    <a:pt x="17" y="45"/>
                  </a:lnTo>
                  <a:lnTo>
                    <a:pt x="14" y="39"/>
                  </a:lnTo>
                  <a:lnTo>
                    <a:pt x="14" y="35"/>
                  </a:lnTo>
                  <a:lnTo>
                    <a:pt x="10" y="35"/>
                  </a:lnTo>
                  <a:lnTo>
                    <a:pt x="10" y="39"/>
                  </a:lnTo>
                  <a:lnTo>
                    <a:pt x="7" y="45"/>
                  </a:lnTo>
                  <a:lnTo>
                    <a:pt x="10" y="45"/>
                  </a:lnTo>
                  <a:lnTo>
                    <a:pt x="14" y="45"/>
                  </a:lnTo>
                  <a:lnTo>
                    <a:pt x="14" y="48"/>
                  </a:lnTo>
                  <a:lnTo>
                    <a:pt x="14" y="48"/>
                  </a:lnTo>
                  <a:close/>
                  <a:moveTo>
                    <a:pt x="20" y="52"/>
                  </a:moveTo>
                  <a:lnTo>
                    <a:pt x="14" y="55"/>
                  </a:lnTo>
                  <a:lnTo>
                    <a:pt x="14" y="58"/>
                  </a:lnTo>
                  <a:lnTo>
                    <a:pt x="17" y="61"/>
                  </a:lnTo>
                  <a:lnTo>
                    <a:pt x="20" y="61"/>
                  </a:lnTo>
                  <a:lnTo>
                    <a:pt x="20" y="58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0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8" name="Freeform 169"/>
            <p:cNvSpPr>
              <a:spLocks noEditPoints="1"/>
            </p:cNvSpPr>
            <p:nvPr/>
          </p:nvSpPr>
          <p:spPr bwMode="auto">
            <a:xfrm>
              <a:off x="2617788" y="3072467"/>
              <a:ext cx="1743075" cy="866775"/>
            </a:xfrm>
            <a:custGeom>
              <a:avLst/>
              <a:gdLst>
                <a:gd name="T0" fmla="*/ 637 w 1098"/>
                <a:gd name="T1" fmla="*/ 52 h 546"/>
                <a:gd name="T2" fmla="*/ 771 w 1098"/>
                <a:gd name="T3" fmla="*/ 104 h 546"/>
                <a:gd name="T4" fmla="*/ 915 w 1098"/>
                <a:gd name="T5" fmla="*/ 165 h 546"/>
                <a:gd name="T6" fmla="*/ 1032 w 1098"/>
                <a:gd name="T7" fmla="*/ 136 h 546"/>
                <a:gd name="T8" fmla="*/ 1084 w 1098"/>
                <a:gd name="T9" fmla="*/ 110 h 546"/>
                <a:gd name="T10" fmla="*/ 1091 w 1098"/>
                <a:gd name="T11" fmla="*/ 162 h 546"/>
                <a:gd name="T12" fmla="*/ 1057 w 1098"/>
                <a:gd name="T13" fmla="*/ 171 h 546"/>
                <a:gd name="T14" fmla="*/ 1026 w 1098"/>
                <a:gd name="T15" fmla="*/ 184 h 546"/>
                <a:gd name="T16" fmla="*/ 1019 w 1098"/>
                <a:gd name="T17" fmla="*/ 217 h 546"/>
                <a:gd name="T18" fmla="*/ 995 w 1098"/>
                <a:gd name="T19" fmla="*/ 233 h 546"/>
                <a:gd name="T20" fmla="*/ 943 w 1098"/>
                <a:gd name="T21" fmla="*/ 252 h 546"/>
                <a:gd name="T22" fmla="*/ 922 w 1098"/>
                <a:gd name="T23" fmla="*/ 281 h 546"/>
                <a:gd name="T24" fmla="*/ 915 w 1098"/>
                <a:gd name="T25" fmla="*/ 288 h 546"/>
                <a:gd name="T26" fmla="*/ 898 w 1098"/>
                <a:gd name="T27" fmla="*/ 307 h 546"/>
                <a:gd name="T28" fmla="*/ 891 w 1098"/>
                <a:gd name="T29" fmla="*/ 275 h 546"/>
                <a:gd name="T30" fmla="*/ 888 w 1098"/>
                <a:gd name="T31" fmla="*/ 297 h 546"/>
                <a:gd name="T32" fmla="*/ 888 w 1098"/>
                <a:gd name="T33" fmla="*/ 307 h 546"/>
                <a:gd name="T34" fmla="*/ 878 w 1098"/>
                <a:gd name="T35" fmla="*/ 317 h 546"/>
                <a:gd name="T36" fmla="*/ 881 w 1098"/>
                <a:gd name="T37" fmla="*/ 339 h 546"/>
                <a:gd name="T38" fmla="*/ 891 w 1098"/>
                <a:gd name="T39" fmla="*/ 349 h 546"/>
                <a:gd name="T40" fmla="*/ 874 w 1098"/>
                <a:gd name="T41" fmla="*/ 362 h 546"/>
                <a:gd name="T42" fmla="*/ 843 w 1098"/>
                <a:gd name="T43" fmla="*/ 385 h 546"/>
                <a:gd name="T44" fmla="*/ 795 w 1098"/>
                <a:gd name="T45" fmla="*/ 407 h 546"/>
                <a:gd name="T46" fmla="*/ 771 w 1098"/>
                <a:gd name="T47" fmla="*/ 453 h 546"/>
                <a:gd name="T48" fmla="*/ 785 w 1098"/>
                <a:gd name="T49" fmla="*/ 524 h 546"/>
                <a:gd name="T50" fmla="*/ 754 w 1098"/>
                <a:gd name="T51" fmla="*/ 533 h 546"/>
                <a:gd name="T52" fmla="*/ 740 w 1098"/>
                <a:gd name="T53" fmla="*/ 511 h 546"/>
                <a:gd name="T54" fmla="*/ 733 w 1098"/>
                <a:gd name="T55" fmla="*/ 472 h 546"/>
                <a:gd name="T56" fmla="*/ 702 w 1098"/>
                <a:gd name="T57" fmla="*/ 462 h 546"/>
                <a:gd name="T58" fmla="*/ 685 w 1098"/>
                <a:gd name="T59" fmla="*/ 453 h 546"/>
                <a:gd name="T60" fmla="*/ 651 w 1098"/>
                <a:gd name="T61" fmla="*/ 449 h 546"/>
                <a:gd name="T62" fmla="*/ 606 w 1098"/>
                <a:gd name="T63" fmla="*/ 459 h 546"/>
                <a:gd name="T64" fmla="*/ 609 w 1098"/>
                <a:gd name="T65" fmla="*/ 472 h 546"/>
                <a:gd name="T66" fmla="*/ 578 w 1098"/>
                <a:gd name="T67" fmla="*/ 469 h 546"/>
                <a:gd name="T68" fmla="*/ 547 w 1098"/>
                <a:gd name="T69" fmla="*/ 462 h 546"/>
                <a:gd name="T70" fmla="*/ 506 w 1098"/>
                <a:gd name="T71" fmla="*/ 462 h 546"/>
                <a:gd name="T72" fmla="*/ 472 w 1098"/>
                <a:gd name="T73" fmla="*/ 482 h 546"/>
                <a:gd name="T74" fmla="*/ 451 w 1098"/>
                <a:gd name="T75" fmla="*/ 530 h 546"/>
                <a:gd name="T76" fmla="*/ 417 w 1098"/>
                <a:gd name="T77" fmla="*/ 504 h 546"/>
                <a:gd name="T78" fmla="*/ 396 w 1098"/>
                <a:gd name="T79" fmla="*/ 462 h 546"/>
                <a:gd name="T80" fmla="*/ 362 w 1098"/>
                <a:gd name="T81" fmla="*/ 462 h 546"/>
                <a:gd name="T82" fmla="*/ 334 w 1098"/>
                <a:gd name="T83" fmla="*/ 462 h 546"/>
                <a:gd name="T84" fmla="*/ 320 w 1098"/>
                <a:gd name="T85" fmla="*/ 440 h 546"/>
                <a:gd name="T86" fmla="*/ 293 w 1098"/>
                <a:gd name="T87" fmla="*/ 414 h 546"/>
                <a:gd name="T88" fmla="*/ 80 w 1098"/>
                <a:gd name="T89" fmla="*/ 362 h 546"/>
                <a:gd name="T90" fmla="*/ 42 w 1098"/>
                <a:gd name="T91" fmla="*/ 336 h 546"/>
                <a:gd name="T92" fmla="*/ 28 w 1098"/>
                <a:gd name="T93" fmla="*/ 294 h 546"/>
                <a:gd name="T94" fmla="*/ 24 w 1098"/>
                <a:gd name="T95" fmla="*/ 272 h 546"/>
                <a:gd name="T96" fmla="*/ 18 w 1098"/>
                <a:gd name="T97" fmla="*/ 272 h 546"/>
                <a:gd name="T98" fmla="*/ 4 w 1098"/>
                <a:gd name="T99" fmla="*/ 213 h 546"/>
                <a:gd name="T100" fmla="*/ 14 w 1098"/>
                <a:gd name="T101" fmla="*/ 159 h 546"/>
                <a:gd name="T102" fmla="*/ 49 w 1098"/>
                <a:gd name="T103" fmla="*/ 78 h 546"/>
                <a:gd name="T104" fmla="*/ 52 w 1098"/>
                <a:gd name="T105" fmla="*/ 65 h 546"/>
                <a:gd name="T106" fmla="*/ 55 w 1098"/>
                <a:gd name="T107" fmla="*/ 29 h 546"/>
                <a:gd name="T108" fmla="*/ 83 w 1098"/>
                <a:gd name="T109" fmla="*/ 33 h 546"/>
                <a:gd name="T110" fmla="*/ 83 w 1098"/>
                <a:gd name="T111" fmla="*/ 45 h 546"/>
                <a:gd name="T112" fmla="*/ 100 w 1098"/>
                <a:gd name="T113" fmla="*/ 10 h 546"/>
                <a:gd name="T114" fmla="*/ 946 w 1098"/>
                <a:gd name="T115" fmla="*/ 246 h 546"/>
                <a:gd name="T116" fmla="*/ 977 w 1098"/>
                <a:gd name="T117" fmla="*/ 236 h 546"/>
                <a:gd name="T118" fmla="*/ 97 w 1098"/>
                <a:gd name="T119" fmla="*/ 26 h 546"/>
                <a:gd name="T120" fmla="*/ 461 w 1098"/>
                <a:gd name="T121" fmla="*/ 498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98" h="546">
                  <a:moveTo>
                    <a:pt x="97" y="0"/>
                  </a:moveTo>
                  <a:lnTo>
                    <a:pt x="599" y="42"/>
                  </a:lnTo>
                  <a:lnTo>
                    <a:pt x="602" y="42"/>
                  </a:lnTo>
                  <a:lnTo>
                    <a:pt x="606" y="42"/>
                  </a:lnTo>
                  <a:lnTo>
                    <a:pt x="613" y="45"/>
                  </a:lnTo>
                  <a:lnTo>
                    <a:pt x="613" y="45"/>
                  </a:lnTo>
                  <a:lnTo>
                    <a:pt x="613" y="49"/>
                  </a:lnTo>
                  <a:lnTo>
                    <a:pt x="616" y="49"/>
                  </a:lnTo>
                  <a:lnTo>
                    <a:pt x="620" y="49"/>
                  </a:lnTo>
                  <a:lnTo>
                    <a:pt x="620" y="52"/>
                  </a:lnTo>
                  <a:lnTo>
                    <a:pt x="623" y="52"/>
                  </a:lnTo>
                  <a:lnTo>
                    <a:pt x="626" y="55"/>
                  </a:lnTo>
                  <a:lnTo>
                    <a:pt x="626" y="52"/>
                  </a:lnTo>
                  <a:lnTo>
                    <a:pt x="630" y="52"/>
                  </a:lnTo>
                  <a:lnTo>
                    <a:pt x="633" y="52"/>
                  </a:lnTo>
                  <a:lnTo>
                    <a:pt x="637" y="52"/>
                  </a:lnTo>
                  <a:lnTo>
                    <a:pt x="640" y="55"/>
                  </a:lnTo>
                  <a:lnTo>
                    <a:pt x="644" y="55"/>
                  </a:lnTo>
                  <a:lnTo>
                    <a:pt x="647" y="58"/>
                  </a:lnTo>
                  <a:lnTo>
                    <a:pt x="654" y="62"/>
                  </a:lnTo>
                  <a:lnTo>
                    <a:pt x="657" y="62"/>
                  </a:lnTo>
                  <a:lnTo>
                    <a:pt x="661" y="65"/>
                  </a:lnTo>
                  <a:lnTo>
                    <a:pt x="661" y="65"/>
                  </a:lnTo>
                  <a:lnTo>
                    <a:pt x="668" y="65"/>
                  </a:lnTo>
                  <a:lnTo>
                    <a:pt x="671" y="65"/>
                  </a:lnTo>
                  <a:lnTo>
                    <a:pt x="675" y="65"/>
                  </a:lnTo>
                  <a:lnTo>
                    <a:pt x="675" y="68"/>
                  </a:lnTo>
                  <a:lnTo>
                    <a:pt x="685" y="68"/>
                  </a:lnTo>
                  <a:lnTo>
                    <a:pt x="685" y="71"/>
                  </a:lnTo>
                  <a:lnTo>
                    <a:pt x="692" y="71"/>
                  </a:lnTo>
                  <a:lnTo>
                    <a:pt x="695" y="75"/>
                  </a:lnTo>
                  <a:lnTo>
                    <a:pt x="771" y="104"/>
                  </a:lnTo>
                  <a:lnTo>
                    <a:pt x="778" y="110"/>
                  </a:lnTo>
                  <a:lnTo>
                    <a:pt x="788" y="117"/>
                  </a:lnTo>
                  <a:lnTo>
                    <a:pt x="802" y="168"/>
                  </a:lnTo>
                  <a:lnTo>
                    <a:pt x="799" y="191"/>
                  </a:lnTo>
                  <a:lnTo>
                    <a:pt x="799" y="194"/>
                  </a:lnTo>
                  <a:lnTo>
                    <a:pt x="795" y="197"/>
                  </a:lnTo>
                  <a:lnTo>
                    <a:pt x="792" y="201"/>
                  </a:lnTo>
                  <a:lnTo>
                    <a:pt x="785" y="204"/>
                  </a:lnTo>
                  <a:lnTo>
                    <a:pt x="781" y="207"/>
                  </a:lnTo>
                  <a:lnTo>
                    <a:pt x="785" y="213"/>
                  </a:lnTo>
                  <a:lnTo>
                    <a:pt x="850" y="197"/>
                  </a:lnTo>
                  <a:lnTo>
                    <a:pt x="860" y="194"/>
                  </a:lnTo>
                  <a:lnTo>
                    <a:pt x="860" y="188"/>
                  </a:lnTo>
                  <a:lnTo>
                    <a:pt x="898" y="178"/>
                  </a:lnTo>
                  <a:lnTo>
                    <a:pt x="912" y="168"/>
                  </a:lnTo>
                  <a:lnTo>
                    <a:pt x="915" y="165"/>
                  </a:lnTo>
                  <a:lnTo>
                    <a:pt x="922" y="165"/>
                  </a:lnTo>
                  <a:lnTo>
                    <a:pt x="929" y="159"/>
                  </a:lnTo>
                  <a:lnTo>
                    <a:pt x="936" y="155"/>
                  </a:lnTo>
                  <a:lnTo>
                    <a:pt x="940" y="152"/>
                  </a:lnTo>
                  <a:lnTo>
                    <a:pt x="943" y="152"/>
                  </a:lnTo>
                  <a:lnTo>
                    <a:pt x="950" y="149"/>
                  </a:lnTo>
                  <a:lnTo>
                    <a:pt x="1005" y="152"/>
                  </a:lnTo>
                  <a:lnTo>
                    <a:pt x="1012" y="149"/>
                  </a:lnTo>
                  <a:lnTo>
                    <a:pt x="1012" y="146"/>
                  </a:lnTo>
                  <a:lnTo>
                    <a:pt x="1015" y="146"/>
                  </a:lnTo>
                  <a:lnTo>
                    <a:pt x="1015" y="146"/>
                  </a:lnTo>
                  <a:lnTo>
                    <a:pt x="1019" y="146"/>
                  </a:lnTo>
                  <a:lnTo>
                    <a:pt x="1022" y="146"/>
                  </a:lnTo>
                  <a:lnTo>
                    <a:pt x="1022" y="142"/>
                  </a:lnTo>
                  <a:lnTo>
                    <a:pt x="1029" y="136"/>
                  </a:lnTo>
                  <a:lnTo>
                    <a:pt x="1032" y="136"/>
                  </a:lnTo>
                  <a:lnTo>
                    <a:pt x="1036" y="129"/>
                  </a:lnTo>
                  <a:lnTo>
                    <a:pt x="1039" y="126"/>
                  </a:lnTo>
                  <a:lnTo>
                    <a:pt x="1039" y="123"/>
                  </a:lnTo>
                  <a:lnTo>
                    <a:pt x="1043" y="123"/>
                  </a:lnTo>
                  <a:lnTo>
                    <a:pt x="1043" y="120"/>
                  </a:lnTo>
                  <a:lnTo>
                    <a:pt x="1046" y="117"/>
                  </a:lnTo>
                  <a:lnTo>
                    <a:pt x="1053" y="110"/>
                  </a:lnTo>
                  <a:lnTo>
                    <a:pt x="1057" y="107"/>
                  </a:lnTo>
                  <a:lnTo>
                    <a:pt x="1060" y="104"/>
                  </a:lnTo>
                  <a:lnTo>
                    <a:pt x="1060" y="104"/>
                  </a:lnTo>
                  <a:lnTo>
                    <a:pt x="1063" y="104"/>
                  </a:lnTo>
                  <a:lnTo>
                    <a:pt x="1063" y="107"/>
                  </a:lnTo>
                  <a:lnTo>
                    <a:pt x="1070" y="107"/>
                  </a:lnTo>
                  <a:lnTo>
                    <a:pt x="1074" y="107"/>
                  </a:lnTo>
                  <a:lnTo>
                    <a:pt x="1077" y="107"/>
                  </a:lnTo>
                  <a:lnTo>
                    <a:pt x="1084" y="110"/>
                  </a:lnTo>
                  <a:lnTo>
                    <a:pt x="1084" y="117"/>
                  </a:lnTo>
                  <a:lnTo>
                    <a:pt x="1081" y="139"/>
                  </a:lnTo>
                  <a:lnTo>
                    <a:pt x="1077" y="139"/>
                  </a:lnTo>
                  <a:lnTo>
                    <a:pt x="1081" y="139"/>
                  </a:lnTo>
                  <a:lnTo>
                    <a:pt x="1081" y="142"/>
                  </a:lnTo>
                  <a:lnTo>
                    <a:pt x="1084" y="142"/>
                  </a:lnTo>
                  <a:lnTo>
                    <a:pt x="1084" y="146"/>
                  </a:lnTo>
                  <a:lnTo>
                    <a:pt x="1084" y="149"/>
                  </a:lnTo>
                  <a:lnTo>
                    <a:pt x="1084" y="149"/>
                  </a:lnTo>
                  <a:lnTo>
                    <a:pt x="1081" y="152"/>
                  </a:lnTo>
                  <a:lnTo>
                    <a:pt x="1084" y="152"/>
                  </a:lnTo>
                  <a:lnTo>
                    <a:pt x="1084" y="152"/>
                  </a:lnTo>
                  <a:lnTo>
                    <a:pt x="1084" y="152"/>
                  </a:lnTo>
                  <a:lnTo>
                    <a:pt x="1091" y="155"/>
                  </a:lnTo>
                  <a:lnTo>
                    <a:pt x="1087" y="159"/>
                  </a:lnTo>
                  <a:lnTo>
                    <a:pt x="1091" y="162"/>
                  </a:lnTo>
                  <a:lnTo>
                    <a:pt x="1094" y="159"/>
                  </a:lnTo>
                  <a:lnTo>
                    <a:pt x="1098" y="162"/>
                  </a:lnTo>
                  <a:lnTo>
                    <a:pt x="1094" y="165"/>
                  </a:lnTo>
                  <a:lnTo>
                    <a:pt x="1091" y="165"/>
                  </a:lnTo>
                  <a:lnTo>
                    <a:pt x="1091" y="162"/>
                  </a:lnTo>
                  <a:lnTo>
                    <a:pt x="1084" y="165"/>
                  </a:lnTo>
                  <a:lnTo>
                    <a:pt x="1081" y="165"/>
                  </a:lnTo>
                  <a:lnTo>
                    <a:pt x="1077" y="168"/>
                  </a:lnTo>
                  <a:lnTo>
                    <a:pt x="1077" y="168"/>
                  </a:lnTo>
                  <a:lnTo>
                    <a:pt x="1074" y="168"/>
                  </a:lnTo>
                  <a:lnTo>
                    <a:pt x="1070" y="171"/>
                  </a:lnTo>
                  <a:lnTo>
                    <a:pt x="1067" y="171"/>
                  </a:lnTo>
                  <a:lnTo>
                    <a:pt x="1067" y="168"/>
                  </a:lnTo>
                  <a:lnTo>
                    <a:pt x="1063" y="168"/>
                  </a:lnTo>
                  <a:lnTo>
                    <a:pt x="1060" y="171"/>
                  </a:lnTo>
                  <a:lnTo>
                    <a:pt x="1057" y="171"/>
                  </a:lnTo>
                  <a:lnTo>
                    <a:pt x="1053" y="168"/>
                  </a:lnTo>
                  <a:lnTo>
                    <a:pt x="1057" y="165"/>
                  </a:lnTo>
                  <a:lnTo>
                    <a:pt x="1050" y="171"/>
                  </a:lnTo>
                  <a:lnTo>
                    <a:pt x="1046" y="175"/>
                  </a:lnTo>
                  <a:lnTo>
                    <a:pt x="1043" y="178"/>
                  </a:lnTo>
                  <a:lnTo>
                    <a:pt x="1043" y="175"/>
                  </a:lnTo>
                  <a:lnTo>
                    <a:pt x="1043" y="178"/>
                  </a:lnTo>
                  <a:lnTo>
                    <a:pt x="1039" y="178"/>
                  </a:lnTo>
                  <a:lnTo>
                    <a:pt x="1039" y="175"/>
                  </a:lnTo>
                  <a:lnTo>
                    <a:pt x="1036" y="178"/>
                  </a:lnTo>
                  <a:lnTo>
                    <a:pt x="1036" y="181"/>
                  </a:lnTo>
                  <a:lnTo>
                    <a:pt x="1032" y="181"/>
                  </a:lnTo>
                  <a:lnTo>
                    <a:pt x="1032" y="178"/>
                  </a:lnTo>
                  <a:lnTo>
                    <a:pt x="1029" y="181"/>
                  </a:lnTo>
                  <a:lnTo>
                    <a:pt x="1026" y="181"/>
                  </a:lnTo>
                  <a:lnTo>
                    <a:pt x="1026" y="184"/>
                  </a:lnTo>
                  <a:lnTo>
                    <a:pt x="1019" y="191"/>
                  </a:lnTo>
                  <a:lnTo>
                    <a:pt x="1015" y="194"/>
                  </a:lnTo>
                  <a:lnTo>
                    <a:pt x="1012" y="197"/>
                  </a:lnTo>
                  <a:lnTo>
                    <a:pt x="1012" y="201"/>
                  </a:lnTo>
                  <a:lnTo>
                    <a:pt x="1008" y="201"/>
                  </a:lnTo>
                  <a:lnTo>
                    <a:pt x="1008" y="204"/>
                  </a:lnTo>
                  <a:lnTo>
                    <a:pt x="1012" y="204"/>
                  </a:lnTo>
                  <a:lnTo>
                    <a:pt x="1012" y="207"/>
                  </a:lnTo>
                  <a:lnTo>
                    <a:pt x="1005" y="210"/>
                  </a:lnTo>
                  <a:lnTo>
                    <a:pt x="1005" y="213"/>
                  </a:lnTo>
                  <a:lnTo>
                    <a:pt x="1012" y="217"/>
                  </a:lnTo>
                  <a:lnTo>
                    <a:pt x="1012" y="220"/>
                  </a:lnTo>
                  <a:lnTo>
                    <a:pt x="1012" y="223"/>
                  </a:lnTo>
                  <a:lnTo>
                    <a:pt x="1019" y="223"/>
                  </a:lnTo>
                  <a:lnTo>
                    <a:pt x="1019" y="220"/>
                  </a:lnTo>
                  <a:lnTo>
                    <a:pt x="1019" y="217"/>
                  </a:lnTo>
                  <a:lnTo>
                    <a:pt x="1022" y="217"/>
                  </a:lnTo>
                  <a:lnTo>
                    <a:pt x="1022" y="223"/>
                  </a:lnTo>
                  <a:lnTo>
                    <a:pt x="1022" y="226"/>
                  </a:lnTo>
                  <a:lnTo>
                    <a:pt x="1012" y="230"/>
                  </a:lnTo>
                  <a:lnTo>
                    <a:pt x="1008" y="230"/>
                  </a:lnTo>
                  <a:lnTo>
                    <a:pt x="1008" y="226"/>
                  </a:lnTo>
                  <a:lnTo>
                    <a:pt x="1008" y="223"/>
                  </a:lnTo>
                  <a:lnTo>
                    <a:pt x="1005" y="230"/>
                  </a:lnTo>
                  <a:lnTo>
                    <a:pt x="1001" y="233"/>
                  </a:lnTo>
                  <a:lnTo>
                    <a:pt x="998" y="233"/>
                  </a:lnTo>
                  <a:lnTo>
                    <a:pt x="998" y="230"/>
                  </a:lnTo>
                  <a:lnTo>
                    <a:pt x="998" y="226"/>
                  </a:lnTo>
                  <a:lnTo>
                    <a:pt x="995" y="223"/>
                  </a:lnTo>
                  <a:lnTo>
                    <a:pt x="995" y="226"/>
                  </a:lnTo>
                  <a:lnTo>
                    <a:pt x="995" y="230"/>
                  </a:lnTo>
                  <a:lnTo>
                    <a:pt x="995" y="233"/>
                  </a:lnTo>
                  <a:lnTo>
                    <a:pt x="995" y="233"/>
                  </a:lnTo>
                  <a:lnTo>
                    <a:pt x="984" y="233"/>
                  </a:lnTo>
                  <a:lnTo>
                    <a:pt x="981" y="233"/>
                  </a:lnTo>
                  <a:lnTo>
                    <a:pt x="977" y="233"/>
                  </a:lnTo>
                  <a:lnTo>
                    <a:pt x="971" y="233"/>
                  </a:lnTo>
                  <a:lnTo>
                    <a:pt x="967" y="233"/>
                  </a:lnTo>
                  <a:lnTo>
                    <a:pt x="967" y="233"/>
                  </a:lnTo>
                  <a:lnTo>
                    <a:pt x="960" y="236"/>
                  </a:lnTo>
                  <a:lnTo>
                    <a:pt x="957" y="236"/>
                  </a:lnTo>
                  <a:lnTo>
                    <a:pt x="950" y="239"/>
                  </a:lnTo>
                  <a:lnTo>
                    <a:pt x="946" y="239"/>
                  </a:lnTo>
                  <a:lnTo>
                    <a:pt x="943" y="243"/>
                  </a:lnTo>
                  <a:lnTo>
                    <a:pt x="943" y="246"/>
                  </a:lnTo>
                  <a:lnTo>
                    <a:pt x="936" y="246"/>
                  </a:lnTo>
                  <a:lnTo>
                    <a:pt x="940" y="249"/>
                  </a:lnTo>
                  <a:lnTo>
                    <a:pt x="943" y="252"/>
                  </a:lnTo>
                  <a:lnTo>
                    <a:pt x="943" y="252"/>
                  </a:lnTo>
                  <a:lnTo>
                    <a:pt x="940" y="255"/>
                  </a:lnTo>
                  <a:lnTo>
                    <a:pt x="940" y="255"/>
                  </a:lnTo>
                  <a:lnTo>
                    <a:pt x="940" y="259"/>
                  </a:lnTo>
                  <a:lnTo>
                    <a:pt x="940" y="262"/>
                  </a:lnTo>
                  <a:lnTo>
                    <a:pt x="936" y="262"/>
                  </a:lnTo>
                  <a:lnTo>
                    <a:pt x="936" y="265"/>
                  </a:lnTo>
                  <a:lnTo>
                    <a:pt x="933" y="265"/>
                  </a:lnTo>
                  <a:lnTo>
                    <a:pt x="933" y="268"/>
                  </a:lnTo>
                  <a:lnTo>
                    <a:pt x="929" y="275"/>
                  </a:lnTo>
                  <a:lnTo>
                    <a:pt x="929" y="275"/>
                  </a:lnTo>
                  <a:lnTo>
                    <a:pt x="926" y="275"/>
                  </a:lnTo>
                  <a:lnTo>
                    <a:pt x="926" y="275"/>
                  </a:lnTo>
                  <a:lnTo>
                    <a:pt x="926" y="278"/>
                  </a:lnTo>
                  <a:lnTo>
                    <a:pt x="922" y="281"/>
                  </a:lnTo>
                  <a:lnTo>
                    <a:pt x="922" y="281"/>
                  </a:lnTo>
                  <a:lnTo>
                    <a:pt x="919" y="281"/>
                  </a:lnTo>
                  <a:lnTo>
                    <a:pt x="919" y="278"/>
                  </a:lnTo>
                  <a:lnTo>
                    <a:pt x="919" y="275"/>
                  </a:lnTo>
                  <a:lnTo>
                    <a:pt x="915" y="278"/>
                  </a:lnTo>
                  <a:lnTo>
                    <a:pt x="912" y="272"/>
                  </a:lnTo>
                  <a:lnTo>
                    <a:pt x="909" y="272"/>
                  </a:lnTo>
                  <a:lnTo>
                    <a:pt x="912" y="268"/>
                  </a:lnTo>
                  <a:lnTo>
                    <a:pt x="915" y="262"/>
                  </a:lnTo>
                  <a:lnTo>
                    <a:pt x="912" y="265"/>
                  </a:lnTo>
                  <a:lnTo>
                    <a:pt x="909" y="268"/>
                  </a:lnTo>
                  <a:lnTo>
                    <a:pt x="909" y="272"/>
                  </a:lnTo>
                  <a:lnTo>
                    <a:pt x="909" y="275"/>
                  </a:lnTo>
                  <a:lnTo>
                    <a:pt x="909" y="275"/>
                  </a:lnTo>
                  <a:lnTo>
                    <a:pt x="912" y="278"/>
                  </a:lnTo>
                  <a:lnTo>
                    <a:pt x="912" y="281"/>
                  </a:lnTo>
                  <a:lnTo>
                    <a:pt x="915" y="288"/>
                  </a:lnTo>
                  <a:lnTo>
                    <a:pt x="915" y="291"/>
                  </a:lnTo>
                  <a:lnTo>
                    <a:pt x="912" y="297"/>
                  </a:lnTo>
                  <a:lnTo>
                    <a:pt x="909" y="301"/>
                  </a:lnTo>
                  <a:lnTo>
                    <a:pt x="905" y="307"/>
                  </a:lnTo>
                  <a:lnTo>
                    <a:pt x="902" y="310"/>
                  </a:lnTo>
                  <a:lnTo>
                    <a:pt x="902" y="310"/>
                  </a:lnTo>
                  <a:lnTo>
                    <a:pt x="902" y="314"/>
                  </a:lnTo>
                  <a:lnTo>
                    <a:pt x="902" y="310"/>
                  </a:lnTo>
                  <a:lnTo>
                    <a:pt x="898" y="310"/>
                  </a:lnTo>
                  <a:lnTo>
                    <a:pt x="895" y="317"/>
                  </a:lnTo>
                  <a:lnTo>
                    <a:pt x="895" y="317"/>
                  </a:lnTo>
                  <a:lnTo>
                    <a:pt x="895" y="320"/>
                  </a:lnTo>
                  <a:lnTo>
                    <a:pt x="895" y="317"/>
                  </a:lnTo>
                  <a:lnTo>
                    <a:pt x="895" y="310"/>
                  </a:lnTo>
                  <a:lnTo>
                    <a:pt x="898" y="307"/>
                  </a:lnTo>
                  <a:lnTo>
                    <a:pt x="898" y="307"/>
                  </a:lnTo>
                  <a:lnTo>
                    <a:pt x="898" y="304"/>
                  </a:lnTo>
                  <a:lnTo>
                    <a:pt x="898" y="304"/>
                  </a:lnTo>
                  <a:lnTo>
                    <a:pt x="902" y="301"/>
                  </a:lnTo>
                  <a:lnTo>
                    <a:pt x="898" y="301"/>
                  </a:lnTo>
                  <a:lnTo>
                    <a:pt x="895" y="301"/>
                  </a:lnTo>
                  <a:lnTo>
                    <a:pt x="898" y="297"/>
                  </a:lnTo>
                  <a:lnTo>
                    <a:pt x="898" y="297"/>
                  </a:lnTo>
                  <a:lnTo>
                    <a:pt x="895" y="297"/>
                  </a:lnTo>
                  <a:lnTo>
                    <a:pt x="895" y="297"/>
                  </a:lnTo>
                  <a:lnTo>
                    <a:pt x="895" y="297"/>
                  </a:lnTo>
                  <a:lnTo>
                    <a:pt x="891" y="294"/>
                  </a:lnTo>
                  <a:lnTo>
                    <a:pt x="891" y="291"/>
                  </a:lnTo>
                  <a:lnTo>
                    <a:pt x="891" y="288"/>
                  </a:lnTo>
                  <a:lnTo>
                    <a:pt x="895" y="281"/>
                  </a:lnTo>
                  <a:lnTo>
                    <a:pt x="891" y="278"/>
                  </a:lnTo>
                  <a:lnTo>
                    <a:pt x="891" y="275"/>
                  </a:lnTo>
                  <a:lnTo>
                    <a:pt x="895" y="272"/>
                  </a:lnTo>
                  <a:lnTo>
                    <a:pt x="895" y="272"/>
                  </a:lnTo>
                  <a:lnTo>
                    <a:pt x="895" y="268"/>
                  </a:lnTo>
                  <a:lnTo>
                    <a:pt x="895" y="268"/>
                  </a:lnTo>
                  <a:lnTo>
                    <a:pt x="895" y="268"/>
                  </a:lnTo>
                  <a:lnTo>
                    <a:pt x="895" y="272"/>
                  </a:lnTo>
                  <a:lnTo>
                    <a:pt x="891" y="275"/>
                  </a:lnTo>
                  <a:lnTo>
                    <a:pt x="888" y="275"/>
                  </a:lnTo>
                  <a:lnTo>
                    <a:pt x="888" y="275"/>
                  </a:lnTo>
                  <a:lnTo>
                    <a:pt x="888" y="278"/>
                  </a:lnTo>
                  <a:lnTo>
                    <a:pt x="888" y="281"/>
                  </a:lnTo>
                  <a:lnTo>
                    <a:pt x="888" y="285"/>
                  </a:lnTo>
                  <a:lnTo>
                    <a:pt x="888" y="288"/>
                  </a:lnTo>
                  <a:lnTo>
                    <a:pt x="888" y="288"/>
                  </a:lnTo>
                  <a:lnTo>
                    <a:pt x="888" y="291"/>
                  </a:lnTo>
                  <a:lnTo>
                    <a:pt x="888" y="297"/>
                  </a:lnTo>
                  <a:lnTo>
                    <a:pt x="885" y="297"/>
                  </a:lnTo>
                  <a:lnTo>
                    <a:pt x="881" y="294"/>
                  </a:lnTo>
                  <a:lnTo>
                    <a:pt x="878" y="294"/>
                  </a:lnTo>
                  <a:lnTo>
                    <a:pt x="874" y="291"/>
                  </a:lnTo>
                  <a:lnTo>
                    <a:pt x="874" y="291"/>
                  </a:lnTo>
                  <a:lnTo>
                    <a:pt x="874" y="288"/>
                  </a:lnTo>
                  <a:lnTo>
                    <a:pt x="874" y="285"/>
                  </a:lnTo>
                  <a:lnTo>
                    <a:pt x="871" y="288"/>
                  </a:lnTo>
                  <a:lnTo>
                    <a:pt x="871" y="291"/>
                  </a:lnTo>
                  <a:lnTo>
                    <a:pt x="874" y="291"/>
                  </a:lnTo>
                  <a:lnTo>
                    <a:pt x="878" y="294"/>
                  </a:lnTo>
                  <a:lnTo>
                    <a:pt x="881" y="297"/>
                  </a:lnTo>
                  <a:lnTo>
                    <a:pt x="885" y="301"/>
                  </a:lnTo>
                  <a:lnTo>
                    <a:pt x="888" y="304"/>
                  </a:lnTo>
                  <a:lnTo>
                    <a:pt x="888" y="304"/>
                  </a:lnTo>
                  <a:lnTo>
                    <a:pt x="888" y="307"/>
                  </a:lnTo>
                  <a:lnTo>
                    <a:pt x="885" y="307"/>
                  </a:lnTo>
                  <a:lnTo>
                    <a:pt x="885" y="304"/>
                  </a:lnTo>
                  <a:lnTo>
                    <a:pt x="881" y="304"/>
                  </a:lnTo>
                  <a:lnTo>
                    <a:pt x="885" y="310"/>
                  </a:lnTo>
                  <a:lnTo>
                    <a:pt x="888" y="310"/>
                  </a:lnTo>
                  <a:lnTo>
                    <a:pt x="888" y="314"/>
                  </a:lnTo>
                  <a:lnTo>
                    <a:pt x="888" y="314"/>
                  </a:lnTo>
                  <a:lnTo>
                    <a:pt x="888" y="317"/>
                  </a:lnTo>
                  <a:lnTo>
                    <a:pt x="885" y="314"/>
                  </a:lnTo>
                  <a:lnTo>
                    <a:pt x="888" y="320"/>
                  </a:lnTo>
                  <a:lnTo>
                    <a:pt x="888" y="320"/>
                  </a:lnTo>
                  <a:lnTo>
                    <a:pt x="885" y="320"/>
                  </a:lnTo>
                  <a:lnTo>
                    <a:pt x="881" y="317"/>
                  </a:lnTo>
                  <a:lnTo>
                    <a:pt x="878" y="317"/>
                  </a:lnTo>
                  <a:lnTo>
                    <a:pt x="874" y="317"/>
                  </a:lnTo>
                  <a:lnTo>
                    <a:pt x="878" y="317"/>
                  </a:lnTo>
                  <a:lnTo>
                    <a:pt x="881" y="320"/>
                  </a:lnTo>
                  <a:lnTo>
                    <a:pt x="881" y="320"/>
                  </a:lnTo>
                  <a:lnTo>
                    <a:pt x="885" y="323"/>
                  </a:lnTo>
                  <a:lnTo>
                    <a:pt x="888" y="323"/>
                  </a:lnTo>
                  <a:lnTo>
                    <a:pt x="888" y="323"/>
                  </a:lnTo>
                  <a:lnTo>
                    <a:pt x="891" y="323"/>
                  </a:lnTo>
                  <a:lnTo>
                    <a:pt x="891" y="327"/>
                  </a:lnTo>
                  <a:lnTo>
                    <a:pt x="891" y="330"/>
                  </a:lnTo>
                  <a:lnTo>
                    <a:pt x="888" y="330"/>
                  </a:lnTo>
                  <a:lnTo>
                    <a:pt x="888" y="333"/>
                  </a:lnTo>
                  <a:lnTo>
                    <a:pt x="891" y="333"/>
                  </a:lnTo>
                  <a:lnTo>
                    <a:pt x="891" y="336"/>
                  </a:lnTo>
                  <a:lnTo>
                    <a:pt x="891" y="339"/>
                  </a:lnTo>
                  <a:lnTo>
                    <a:pt x="888" y="339"/>
                  </a:lnTo>
                  <a:lnTo>
                    <a:pt x="888" y="339"/>
                  </a:lnTo>
                  <a:lnTo>
                    <a:pt x="881" y="339"/>
                  </a:lnTo>
                  <a:lnTo>
                    <a:pt x="878" y="343"/>
                  </a:lnTo>
                  <a:lnTo>
                    <a:pt x="878" y="343"/>
                  </a:lnTo>
                  <a:lnTo>
                    <a:pt x="874" y="336"/>
                  </a:lnTo>
                  <a:lnTo>
                    <a:pt x="874" y="339"/>
                  </a:lnTo>
                  <a:lnTo>
                    <a:pt x="874" y="343"/>
                  </a:lnTo>
                  <a:lnTo>
                    <a:pt x="874" y="346"/>
                  </a:lnTo>
                  <a:lnTo>
                    <a:pt x="878" y="346"/>
                  </a:lnTo>
                  <a:lnTo>
                    <a:pt x="885" y="343"/>
                  </a:lnTo>
                  <a:lnTo>
                    <a:pt x="885" y="343"/>
                  </a:lnTo>
                  <a:lnTo>
                    <a:pt x="888" y="349"/>
                  </a:lnTo>
                  <a:lnTo>
                    <a:pt x="888" y="349"/>
                  </a:lnTo>
                  <a:lnTo>
                    <a:pt x="888" y="346"/>
                  </a:lnTo>
                  <a:lnTo>
                    <a:pt x="891" y="343"/>
                  </a:lnTo>
                  <a:lnTo>
                    <a:pt x="891" y="343"/>
                  </a:lnTo>
                  <a:lnTo>
                    <a:pt x="895" y="346"/>
                  </a:lnTo>
                  <a:lnTo>
                    <a:pt x="891" y="349"/>
                  </a:lnTo>
                  <a:lnTo>
                    <a:pt x="891" y="349"/>
                  </a:lnTo>
                  <a:lnTo>
                    <a:pt x="888" y="352"/>
                  </a:lnTo>
                  <a:lnTo>
                    <a:pt x="885" y="356"/>
                  </a:lnTo>
                  <a:lnTo>
                    <a:pt x="885" y="356"/>
                  </a:lnTo>
                  <a:lnTo>
                    <a:pt x="881" y="356"/>
                  </a:lnTo>
                  <a:lnTo>
                    <a:pt x="878" y="356"/>
                  </a:lnTo>
                  <a:lnTo>
                    <a:pt x="878" y="352"/>
                  </a:lnTo>
                  <a:lnTo>
                    <a:pt x="878" y="356"/>
                  </a:lnTo>
                  <a:lnTo>
                    <a:pt x="874" y="356"/>
                  </a:lnTo>
                  <a:lnTo>
                    <a:pt x="871" y="356"/>
                  </a:lnTo>
                  <a:lnTo>
                    <a:pt x="867" y="356"/>
                  </a:lnTo>
                  <a:lnTo>
                    <a:pt x="871" y="356"/>
                  </a:lnTo>
                  <a:lnTo>
                    <a:pt x="874" y="356"/>
                  </a:lnTo>
                  <a:lnTo>
                    <a:pt x="878" y="359"/>
                  </a:lnTo>
                  <a:lnTo>
                    <a:pt x="874" y="359"/>
                  </a:lnTo>
                  <a:lnTo>
                    <a:pt x="874" y="362"/>
                  </a:lnTo>
                  <a:lnTo>
                    <a:pt x="871" y="362"/>
                  </a:lnTo>
                  <a:lnTo>
                    <a:pt x="867" y="362"/>
                  </a:lnTo>
                  <a:lnTo>
                    <a:pt x="871" y="365"/>
                  </a:lnTo>
                  <a:lnTo>
                    <a:pt x="874" y="365"/>
                  </a:lnTo>
                  <a:lnTo>
                    <a:pt x="878" y="362"/>
                  </a:lnTo>
                  <a:lnTo>
                    <a:pt x="878" y="362"/>
                  </a:lnTo>
                  <a:lnTo>
                    <a:pt x="881" y="362"/>
                  </a:lnTo>
                  <a:lnTo>
                    <a:pt x="878" y="369"/>
                  </a:lnTo>
                  <a:lnTo>
                    <a:pt x="874" y="369"/>
                  </a:lnTo>
                  <a:lnTo>
                    <a:pt x="874" y="365"/>
                  </a:lnTo>
                  <a:lnTo>
                    <a:pt x="871" y="365"/>
                  </a:lnTo>
                  <a:lnTo>
                    <a:pt x="871" y="369"/>
                  </a:lnTo>
                  <a:lnTo>
                    <a:pt x="864" y="369"/>
                  </a:lnTo>
                  <a:lnTo>
                    <a:pt x="857" y="372"/>
                  </a:lnTo>
                  <a:lnTo>
                    <a:pt x="847" y="378"/>
                  </a:lnTo>
                  <a:lnTo>
                    <a:pt x="843" y="385"/>
                  </a:lnTo>
                  <a:lnTo>
                    <a:pt x="840" y="385"/>
                  </a:lnTo>
                  <a:lnTo>
                    <a:pt x="840" y="385"/>
                  </a:lnTo>
                  <a:lnTo>
                    <a:pt x="833" y="385"/>
                  </a:lnTo>
                  <a:lnTo>
                    <a:pt x="829" y="388"/>
                  </a:lnTo>
                  <a:lnTo>
                    <a:pt x="823" y="394"/>
                  </a:lnTo>
                  <a:lnTo>
                    <a:pt x="823" y="398"/>
                  </a:lnTo>
                  <a:lnTo>
                    <a:pt x="819" y="398"/>
                  </a:lnTo>
                  <a:lnTo>
                    <a:pt x="816" y="398"/>
                  </a:lnTo>
                  <a:lnTo>
                    <a:pt x="816" y="401"/>
                  </a:lnTo>
                  <a:lnTo>
                    <a:pt x="812" y="404"/>
                  </a:lnTo>
                  <a:lnTo>
                    <a:pt x="812" y="404"/>
                  </a:lnTo>
                  <a:lnTo>
                    <a:pt x="809" y="404"/>
                  </a:lnTo>
                  <a:lnTo>
                    <a:pt x="809" y="404"/>
                  </a:lnTo>
                  <a:lnTo>
                    <a:pt x="805" y="404"/>
                  </a:lnTo>
                  <a:lnTo>
                    <a:pt x="802" y="407"/>
                  </a:lnTo>
                  <a:lnTo>
                    <a:pt x="795" y="407"/>
                  </a:lnTo>
                  <a:lnTo>
                    <a:pt x="795" y="411"/>
                  </a:lnTo>
                  <a:lnTo>
                    <a:pt x="792" y="411"/>
                  </a:lnTo>
                  <a:lnTo>
                    <a:pt x="792" y="411"/>
                  </a:lnTo>
                  <a:lnTo>
                    <a:pt x="785" y="411"/>
                  </a:lnTo>
                  <a:lnTo>
                    <a:pt x="785" y="414"/>
                  </a:lnTo>
                  <a:lnTo>
                    <a:pt x="788" y="414"/>
                  </a:lnTo>
                  <a:lnTo>
                    <a:pt x="785" y="417"/>
                  </a:lnTo>
                  <a:lnTo>
                    <a:pt x="785" y="420"/>
                  </a:lnTo>
                  <a:lnTo>
                    <a:pt x="781" y="420"/>
                  </a:lnTo>
                  <a:lnTo>
                    <a:pt x="781" y="420"/>
                  </a:lnTo>
                  <a:lnTo>
                    <a:pt x="778" y="423"/>
                  </a:lnTo>
                  <a:lnTo>
                    <a:pt x="774" y="427"/>
                  </a:lnTo>
                  <a:lnTo>
                    <a:pt x="771" y="430"/>
                  </a:lnTo>
                  <a:lnTo>
                    <a:pt x="771" y="436"/>
                  </a:lnTo>
                  <a:lnTo>
                    <a:pt x="771" y="446"/>
                  </a:lnTo>
                  <a:lnTo>
                    <a:pt x="771" y="453"/>
                  </a:lnTo>
                  <a:lnTo>
                    <a:pt x="771" y="459"/>
                  </a:lnTo>
                  <a:lnTo>
                    <a:pt x="771" y="462"/>
                  </a:lnTo>
                  <a:lnTo>
                    <a:pt x="771" y="472"/>
                  </a:lnTo>
                  <a:lnTo>
                    <a:pt x="774" y="475"/>
                  </a:lnTo>
                  <a:lnTo>
                    <a:pt x="774" y="482"/>
                  </a:lnTo>
                  <a:lnTo>
                    <a:pt x="778" y="485"/>
                  </a:lnTo>
                  <a:lnTo>
                    <a:pt x="781" y="488"/>
                  </a:lnTo>
                  <a:lnTo>
                    <a:pt x="778" y="491"/>
                  </a:lnTo>
                  <a:lnTo>
                    <a:pt x="778" y="494"/>
                  </a:lnTo>
                  <a:lnTo>
                    <a:pt x="778" y="498"/>
                  </a:lnTo>
                  <a:lnTo>
                    <a:pt x="781" y="507"/>
                  </a:lnTo>
                  <a:lnTo>
                    <a:pt x="785" y="511"/>
                  </a:lnTo>
                  <a:lnTo>
                    <a:pt x="785" y="514"/>
                  </a:lnTo>
                  <a:lnTo>
                    <a:pt x="785" y="517"/>
                  </a:lnTo>
                  <a:lnTo>
                    <a:pt x="785" y="517"/>
                  </a:lnTo>
                  <a:lnTo>
                    <a:pt x="785" y="524"/>
                  </a:lnTo>
                  <a:lnTo>
                    <a:pt x="785" y="527"/>
                  </a:lnTo>
                  <a:lnTo>
                    <a:pt x="785" y="530"/>
                  </a:lnTo>
                  <a:lnTo>
                    <a:pt x="781" y="533"/>
                  </a:lnTo>
                  <a:lnTo>
                    <a:pt x="778" y="540"/>
                  </a:lnTo>
                  <a:lnTo>
                    <a:pt x="778" y="540"/>
                  </a:lnTo>
                  <a:lnTo>
                    <a:pt x="774" y="546"/>
                  </a:lnTo>
                  <a:lnTo>
                    <a:pt x="771" y="546"/>
                  </a:lnTo>
                  <a:lnTo>
                    <a:pt x="768" y="546"/>
                  </a:lnTo>
                  <a:lnTo>
                    <a:pt x="764" y="546"/>
                  </a:lnTo>
                  <a:lnTo>
                    <a:pt x="764" y="543"/>
                  </a:lnTo>
                  <a:lnTo>
                    <a:pt x="761" y="543"/>
                  </a:lnTo>
                  <a:lnTo>
                    <a:pt x="761" y="543"/>
                  </a:lnTo>
                  <a:lnTo>
                    <a:pt x="757" y="540"/>
                  </a:lnTo>
                  <a:lnTo>
                    <a:pt x="757" y="536"/>
                  </a:lnTo>
                  <a:lnTo>
                    <a:pt x="757" y="533"/>
                  </a:lnTo>
                  <a:lnTo>
                    <a:pt x="754" y="533"/>
                  </a:lnTo>
                  <a:lnTo>
                    <a:pt x="750" y="533"/>
                  </a:lnTo>
                  <a:lnTo>
                    <a:pt x="750" y="530"/>
                  </a:lnTo>
                  <a:lnTo>
                    <a:pt x="750" y="527"/>
                  </a:lnTo>
                  <a:lnTo>
                    <a:pt x="747" y="524"/>
                  </a:lnTo>
                  <a:lnTo>
                    <a:pt x="747" y="520"/>
                  </a:lnTo>
                  <a:lnTo>
                    <a:pt x="747" y="520"/>
                  </a:lnTo>
                  <a:lnTo>
                    <a:pt x="747" y="517"/>
                  </a:lnTo>
                  <a:lnTo>
                    <a:pt x="750" y="514"/>
                  </a:lnTo>
                  <a:lnTo>
                    <a:pt x="747" y="514"/>
                  </a:lnTo>
                  <a:lnTo>
                    <a:pt x="747" y="514"/>
                  </a:lnTo>
                  <a:lnTo>
                    <a:pt x="747" y="514"/>
                  </a:lnTo>
                  <a:lnTo>
                    <a:pt x="743" y="517"/>
                  </a:lnTo>
                  <a:lnTo>
                    <a:pt x="743" y="514"/>
                  </a:lnTo>
                  <a:lnTo>
                    <a:pt x="743" y="514"/>
                  </a:lnTo>
                  <a:lnTo>
                    <a:pt x="740" y="514"/>
                  </a:lnTo>
                  <a:lnTo>
                    <a:pt x="740" y="511"/>
                  </a:lnTo>
                  <a:lnTo>
                    <a:pt x="740" y="507"/>
                  </a:lnTo>
                  <a:lnTo>
                    <a:pt x="737" y="504"/>
                  </a:lnTo>
                  <a:lnTo>
                    <a:pt x="743" y="498"/>
                  </a:lnTo>
                  <a:lnTo>
                    <a:pt x="743" y="494"/>
                  </a:lnTo>
                  <a:lnTo>
                    <a:pt x="740" y="494"/>
                  </a:lnTo>
                  <a:lnTo>
                    <a:pt x="737" y="494"/>
                  </a:lnTo>
                  <a:lnTo>
                    <a:pt x="740" y="498"/>
                  </a:lnTo>
                  <a:lnTo>
                    <a:pt x="737" y="501"/>
                  </a:lnTo>
                  <a:lnTo>
                    <a:pt x="737" y="501"/>
                  </a:lnTo>
                  <a:lnTo>
                    <a:pt x="733" y="498"/>
                  </a:lnTo>
                  <a:lnTo>
                    <a:pt x="733" y="494"/>
                  </a:lnTo>
                  <a:lnTo>
                    <a:pt x="737" y="488"/>
                  </a:lnTo>
                  <a:lnTo>
                    <a:pt x="740" y="482"/>
                  </a:lnTo>
                  <a:lnTo>
                    <a:pt x="740" y="478"/>
                  </a:lnTo>
                  <a:lnTo>
                    <a:pt x="737" y="472"/>
                  </a:lnTo>
                  <a:lnTo>
                    <a:pt x="733" y="472"/>
                  </a:lnTo>
                  <a:lnTo>
                    <a:pt x="733" y="472"/>
                  </a:lnTo>
                  <a:lnTo>
                    <a:pt x="733" y="469"/>
                  </a:lnTo>
                  <a:lnTo>
                    <a:pt x="730" y="469"/>
                  </a:lnTo>
                  <a:lnTo>
                    <a:pt x="730" y="469"/>
                  </a:lnTo>
                  <a:lnTo>
                    <a:pt x="726" y="465"/>
                  </a:lnTo>
                  <a:lnTo>
                    <a:pt x="726" y="465"/>
                  </a:lnTo>
                  <a:lnTo>
                    <a:pt x="723" y="462"/>
                  </a:lnTo>
                  <a:lnTo>
                    <a:pt x="723" y="456"/>
                  </a:lnTo>
                  <a:lnTo>
                    <a:pt x="719" y="456"/>
                  </a:lnTo>
                  <a:lnTo>
                    <a:pt x="716" y="456"/>
                  </a:lnTo>
                  <a:lnTo>
                    <a:pt x="713" y="456"/>
                  </a:lnTo>
                  <a:lnTo>
                    <a:pt x="709" y="456"/>
                  </a:lnTo>
                  <a:lnTo>
                    <a:pt x="709" y="456"/>
                  </a:lnTo>
                  <a:lnTo>
                    <a:pt x="709" y="459"/>
                  </a:lnTo>
                  <a:lnTo>
                    <a:pt x="706" y="456"/>
                  </a:lnTo>
                  <a:lnTo>
                    <a:pt x="702" y="462"/>
                  </a:lnTo>
                  <a:lnTo>
                    <a:pt x="699" y="462"/>
                  </a:lnTo>
                  <a:lnTo>
                    <a:pt x="692" y="462"/>
                  </a:lnTo>
                  <a:lnTo>
                    <a:pt x="692" y="462"/>
                  </a:lnTo>
                  <a:lnTo>
                    <a:pt x="692" y="459"/>
                  </a:lnTo>
                  <a:lnTo>
                    <a:pt x="692" y="462"/>
                  </a:lnTo>
                  <a:lnTo>
                    <a:pt x="695" y="462"/>
                  </a:lnTo>
                  <a:lnTo>
                    <a:pt x="692" y="459"/>
                  </a:lnTo>
                  <a:lnTo>
                    <a:pt x="692" y="456"/>
                  </a:lnTo>
                  <a:lnTo>
                    <a:pt x="685" y="453"/>
                  </a:lnTo>
                  <a:lnTo>
                    <a:pt x="688" y="453"/>
                  </a:lnTo>
                  <a:lnTo>
                    <a:pt x="688" y="456"/>
                  </a:lnTo>
                  <a:lnTo>
                    <a:pt x="688" y="453"/>
                  </a:lnTo>
                  <a:lnTo>
                    <a:pt x="685" y="453"/>
                  </a:lnTo>
                  <a:lnTo>
                    <a:pt x="685" y="449"/>
                  </a:lnTo>
                  <a:lnTo>
                    <a:pt x="685" y="449"/>
                  </a:lnTo>
                  <a:lnTo>
                    <a:pt x="685" y="453"/>
                  </a:lnTo>
                  <a:lnTo>
                    <a:pt x="685" y="453"/>
                  </a:lnTo>
                  <a:lnTo>
                    <a:pt x="682" y="453"/>
                  </a:lnTo>
                  <a:lnTo>
                    <a:pt x="678" y="449"/>
                  </a:lnTo>
                  <a:lnTo>
                    <a:pt x="675" y="449"/>
                  </a:lnTo>
                  <a:lnTo>
                    <a:pt x="668" y="449"/>
                  </a:lnTo>
                  <a:lnTo>
                    <a:pt x="671" y="449"/>
                  </a:lnTo>
                  <a:lnTo>
                    <a:pt x="675" y="449"/>
                  </a:lnTo>
                  <a:lnTo>
                    <a:pt x="678" y="449"/>
                  </a:lnTo>
                  <a:lnTo>
                    <a:pt x="675" y="446"/>
                  </a:lnTo>
                  <a:lnTo>
                    <a:pt x="671" y="446"/>
                  </a:lnTo>
                  <a:lnTo>
                    <a:pt x="668" y="449"/>
                  </a:lnTo>
                  <a:lnTo>
                    <a:pt x="664" y="449"/>
                  </a:lnTo>
                  <a:lnTo>
                    <a:pt x="661" y="449"/>
                  </a:lnTo>
                  <a:lnTo>
                    <a:pt x="657" y="449"/>
                  </a:lnTo>
                  <a:lnTo>
                    <a:pt x="654" y="449"/>
                  </a:lnTo>
                  <a:lnTo>
                    <a:pt x="651" y="449"/>
                  </a:lnTo>
                  <a:lnTo>
                    <a:pt x="647" y="449"/>
                  </a:lnTo>
                  <a:lnTo>
                    <a:pt x="644" y="446"/>
                  </a:lnTo>
                  <a:lnTo>
                    <a:pt x="644" y="446"/>
                  </a:lnTo>
                  <a:lnTo>
                    <a:pt x="644" y="443"/>
                  </a:lnTo>
                  <a:lnTo>
                    <a:pt x="640" y="443"/>
                  </a:lnTo>
                  <a:lnTo>
                    <a:pt x="640" y="446"/>
                  </a:lnTo>
                  <a:lnTo>
                    <a:pt x="637" y="449"/>
                  </a:lnTo>
                  <a:lnTo>
                    <a:pt x="633" y="446"/>
                  </a:lnTo>
                  <a:lnTo>
                    <a:pt x="633" y="449"/>
                  </a:lnTo>
                  <a:lnTo>
                    <a:pt x="626" y="446"/>
                  </a:lnTo>
                  <a:lnTo>
                    <a:pt x="616" y="449"/>
                  </a:lnTo>
                  <a:lnTo>
                    <a:pt x="613" y="453"/>
                  </a:lnTo>
                  <a:lnTo>
                    <a:pt x="606" y="453"/>
                  </a:lnTo>
                  <a:lnTo>
                    <a:pt x="602" y="456"/>
                  </a:lnTo>
                  <a:lnTo>
                    <a:pt x="602" y="459"/>
                  </a:lnTo>
                  <a:lnTo>
                    <a:pt x="606" y="459"/>
                  </a:lnTo>
                  <a:lnTo>
                    <a:pt x="609" y="456"/>
                  </a:lnTo>
                  <a:lnTo>
                    <a:pt x="609" y="456"/>
                  </a:lnTo>
                  <a:lnTo>
                    <a:pt x="609" y="459"/>
                  </a:lnTo>
                  <a:lnTo>
                    <a:pt x="613" y="459"/>
                  </a:lnTo>
                  <a:lnTo>
                    <a:pt x="613" y="462"/>
                  </a:lnTo>
                  <a:lnTo>
                    <a:pt x="606" y="462"/>
                  </a:lnTo>
                  <a:lnTo>
                    <a:pt x="606" y="465"/>
                  </a:lnTo>
                  <a:lnTo>
                    <a:pt x="609" y="469"/>
                  </a:lnTo>
                  <a:lnTo>
                    <a:pt x="613" y="469"/>
                  </a:lnTo>
                  <a:lnTo>
                    <a:pt x="620" y="472"/>
                  </a:lnTo>
                  <a:lnTo>
                    <a:pt x="620" y="475"/>
                  </a:lnTo>
                  <a:lnTo>
                    <a:pt x="616" y="475"/>
                  </a:lnTo>
                  <a:lnTo>
                    <a:pt x="613" y="475"/>
                  </a:lnTo>
                  <a:lnTo>
                    <a:pt x="613" y="472"/>
                  </a:lnTo>
                  <a:lnTo>
                    <a:pt x="613" y="472"/>
                  </a:lnTo>
                  <a:lnTo>
                    <a:pt x="609" y="472"/>
                  </a:lnTo>
                  <a:lnTo>
                    <a:pt x="609" y="469"/>
                  </a:lnTo>
                  <a:lnTo>
                    <a:pt x="606" y="469"/>
                  </a:lnTo>
                  <a:lnTo>
                    <a:pt x="602" y="465"/>
                  </a:lnTo>
                  <a:lnTo>
                    <a:pt x="599" y="465"/>
                  </a:lnTo>
                  <a:lnTo>
                    <a:pt x="599" y="469"/>
                  </a:lnTo>
                  <a:lnTo>
                    <a:pt x="599" y="472"/>
                  </a:lnTo>
                  <a:lnTo>
                    <a:pt x="599" y="475"/>
                  </a:lnTo>
                  <a:lnTo>
                    <a:pt x="596" y="472"/>
                  </a:lnTo>
                  <a:lnTo>
                    <a:pt x="592" y="469"/>
                  </a:lnTo>
                  <a:lnTo>
                    <a:pt x="589" y="472"/>
                  </a:lnTo>
                  <a:lnTo>
                    <a:pt x="589" y="475"/>
                  </a:lnTo>
                  <a:lnTo>
                    <a:pt x="582" y="472"/>
                  </a:lnTo>
                  <a:lnTo>
                    <a:pt x="582" y="472"/>
                  </a:lnTo>
                  <a:lnTo>
                    <a:pt x="578" y="472"/>
                  </a:lnTo>
                  <a:lnTo>
                    <a:pt x="575" y="472"/>
                  </a:lnTo>
                  <a:lnTo>
                    <a:pt x="578" y="469"/>
                  </a:lnTo>
                  <a:lnTo>
                    <a:pt x="578" y="469"/>
                  </a:lnTo>
                  <a:lnTo>
                    <a:pt x="578" y="465"/>
                  </a:lnTo>
                  <a:lnTo>
                    <a:pt x="575" y="465"/>
                  </a:lnTo>
                  <a:lnTo>
                    <a:pt x="571" y="465"/>
                  </a:lnTo>
                  <a:lnTo>
                    <a:pt x="571" y="462"/>
                  </a:lnTo>
                  <a:lnTo>
                    <a:pt x="571" y="462"/>
                  </a:lnTo>
                  <a:lnTo>
                    <a:pt x="568" y="462"/>
                  </a:lnTo>
                  <a:lnTo>
                    <a:pt x="568" y="462"/>
                  </a:lnTo>
                  <a:lnTo>
                    <a:pt x="568" y="459"/>
                  </a:lnTo>
                  <a:lnTo>
                    <a:pt x="565" y="459"/>
                  </a:lnTo>
                  <a:lnTo>
                    <a:pt x="561" y="459"/>
                  </a:lnTo>
                  <a:lnTo>
                    <a:pt x="561" y="462"/>
                  </a:lnTo>
                  <a:lnTo>
                    <a:pt x="561" y="462"/>
                  </a:lnTo>
                  <a:lnTo>
                    <a:pt x="558" y="465"/>
                  </a:lnTo>
                  <a:lnTo>
                    <a:pt x="547" y="462"/>
                  </a:lnTo>
                  <a:lnTo>
                    <a:pt x="547" y="462"/>
                  </a:lnTo>
                  <a:lnTo>
                    <a:pt x="537" y="459"/>
                  </a:lnTo>
                  <a:lnTo>
                    <a:pt x="534" y="459"/>
                  </a:lnTo>
                  <a:lnTo>
                    <a:pt x="527" y="462"/>
                  </a:lnTo>
                  <a:lnTo>
                    <a:pt x="523" y="462"/>
                  </a:lnTo>
                  <a:lnTo>
                    <a:pt x="520" y="462"/>
                  </a:lnTo>
                  <a:lnTo>
                    <a:pt x="516" y="465"/>
                  </a:lnTo>
                  <a:lnTo>
                    <a:pt x="513" y="465"/>
                  </a:lnTo>
                  <a:lnTo>
                    <a:pt x="513" y="465"/>
                  </a:lnTo>
                  <a:lnTo>
                    <a:pt x="513" y="462"/>
                  </a:lnTo>
                  <a:lnTo>
                    <a:pt x="516" y="459"/>
                  </a:lnTo>
                  <a:lnTo>
                    <a:pt x="513" y="456"/>
                  </a:lnTo>
                  <a:lnTo>
                    <a:pt x="513" y="459"/>
                  </a:lnTo>
                  <a:lnTo>
                    <a:pt x="510" y="459"/>
                  </a:lnTo>
                  <a:lnTo>
                    <a:pt x="506" y="459"/>
                  </a:lnTo>
                  <a:lnTo>
                    <a:pt x="506" y="459"/>
                  </a:lnTo>
                  <a:lnTo>
                    <a:pt x="506" y="462"/>
                  </a:lnTo>
                  <a:lnTo>
                    <a:pt x="506" y="465"/>
                  </a:lnTo>
                  <a:lnTo>
                    <a:pt x="510" y="469"/>
                  </a:lnTo>
                  <a:lnTo>
                    <a:pt x="506" y="472"/>
                  </a:lnTo>
                  <a:lnTo>
                    <a:pt x="503" y="472"/>
                  </a:lnTo>
                  <a:lnTo>
                    <a:pt x="496" y="475"/>
                  </a:lnTo>
                  <a:lnTo>
                    <a:pt x="489" y="478"/>
                  </a:lnTo>
                  <a:lnTo>
                    <a:pt x="485" y="478"/>
                  </a:lnTo>
                  <a:lnTo>
                    <a:pt x="482" y="482"/>
                  </a:lnTo>
                  <a:lnTo>
                    <a:pt x="479" y="482"/>
                  </a:lnTo>
                  <a:lnTo>
                    <a:pt x="482" y="478"/>
                  </a:lnTo>
                  <a:lnTo>
                    <a:pt x="482" y="478"/>
                  </a:lnTo>
                  <a:lnTo>
                    <a:pt x="479" y="478"/>
                  </a:lnTo>
                  <a:lnTo>
                    <a:pt x="479" y="478"/>
                  </a:lnTo>
                  <a:lnTo>
                    <a:pt x="475" y="478"/>
                  </a:lnTo>
                  <a:lnTo>
                    <a:pt x="475" y="482"/>
                  </a:lnTo>
                  <a:lnTo>
                    <a:pt x="472" y="482"/>
                  </a:lnTo>
                  <a:lnTo>
                    <a:pt x="468" y="482"/>
                  </a:lnTo>
                  <a:lnTo>
                    <a:pt x="472" y="485"/>
                  </a:lnTo>
                  <a:lnTo>
                    <a:pt x="465" y="488"/>
                  </a:lnTo>
                  <a:lnTo>
                    <a:pt x="465" y="485"/>
                  </a:lnTo>
                  <a:lnTo>
                    <a:pt x="461" y="488"/>
                  </a:lnTo>
                  <a:lnTo>
                    <a:pt x="465" y="491"/>
                  </a:lnTo>
                  <a:lnTo>
                    <a:pt x="458" y="494"/>
                  </a:lnTo>
                  <a:lnTo>
                    <a:pt x="458" y="494"/>
                  </a:lnTo>
                  <a:lnTo>
                    <a:pt x="458" y="501"/>
                  </a:lnTo>
                  <a:lnTo>
                    <a:pt x="454" y="504"/>
                  </a:lnTo>
                  <a:lnTo>
                    <a:pt x="454" y="511"/>
                  </a:lnTo>
                  <a:lnTo>
                    <a:pt x="451" y="514"/>
                  </a:lnTo>
                  <a:lnTo>
                    <a:pt x="454" y="517"/>
                  </a:lnTo>
                  <a:lnTo>
                    <a:pt x="451" y="524"/>
                  </a:lnTo>
                  <a:lnTo>
                    <a:pt x="454" y="524"/>
                  </a:lnTo>
                  <a:lnTo>
                    <a:pt x="451" y="530"/>
                  </a:lnTo>
                  <a:lnTo>
                    <a:pt x="451" y="533"/>
                  </a:lnTo>
                  <a:lnTo>
                    <a:pt x="448" y="533"/>
                  </a:lnTo>
                  <a:lnTo>
                    <a:pt x="448" y="530"/>
                  </a:lnTo>
                  <a:lnTo>
                    <a:pt x="444" y="530"/>
                  </a:lnTo>
                  <a:lnTo>
                    <a:pt x="441" y="530"/>
                  </a:lnTo>
                  <a:lnTo>
                    <a:pt x="434" y="527"/>
                  </a:lnTo>
                  <a:lnTo>
                    <a:pt x="430" y="524"/>
                  </a:lnTo>
                  <a:lnTo>
                    <a:pt x="427" y="524"/>
                  </a:lnTo>
                  <a:lnTo>
                    <a:pt x="427" y="524"/>
                  </a:lnTo>
                  <a:lnTo>
                    <a:pt x="424" y="524"/>
                  </a:lnTo>
                  <a:lnTo>
                    <a:pt x="424" y="524"/>
                  </a:lnTo>
                  <a:lnTo>
                    <a:pt x="420" y="520"/>
                  </a:lnTo>
                  <a:lnTo>
                    <a:pt x="420" y="517"/>
                  </a:lnTo>
                  <a:lnTo>
                    <a:pt x="417" y="507"/>
                  </a:lnTo>
                  <a:lnTo>
                    <a:pt x="417" y="504"/>
                  </a:lnTo>
                  <a:lnTo>
                    <a:pt x="417" y="504"/>
                  </a:lnTo>
                  <a:lnTo>
                    <a:pt x="417" y="501"/>
                  </a:lnTo>
                  <a:lnTo>
                    <a:pt x="417" y="498"/>
                  </a:lnTo>
                  <a:lnTo>
                    <a:pt x="417" y="494"/>
                  </a:lnTo>
                  <a:lnTo>
                    <a:pt x="413" y="494"/>
                  </a:lnTo>
                  <a:lnTo>
                    <a:pt x="413" y="491"/>
                  </a:lnTo>
                  <a:lnTo>
                    <a:pt x="410" y="488"/>
                  </a:lnTo>
                  <a:lnTo>
                    <a:pt x="410" y="488"/>
                  </a:lnTo>
                  <a:lnTo>
                    <a:pt x="406" y="485"/>
                  </a:lnTo>
                  <a:lnTo>
                    <a:pt x="403" y="478"/>
                  </a:lnTo>
                  <a:lnTo>
                    <a:pt x="403" y="478"/>
                  </a:lnTo>
                  <a:lnTo>
                    <a:pt x="403" y="475"/>
                  </a:lnTo>
                  <a:lnTo>
                    <a:pt x="399" y="472"/>
                  </a:lnTo>
                  <a:lnTo>
                    <a:pt x="399" y="469"/>
                  </a:lnTo>
                  <a:lnTo>
                    <a:pt x="399" y="469"/>
                  </a:lnTo>
                  <a:lnTo>
                    <a:pt x="399" y="465"/>
                  </a:lnTo>
                  <a:lnTo>
                    <a:pt x="396" y="462"/>
                  </a:lnTo>
                  <a:lnTo>
                    <a:pt x="393" y="459"/>
                  </a:lnTo>
                  <a:lnTo>
                    <a:pt x="389" y="456"/>
                  </a:lnTo>
                  <a:lnTo>
                    <a:pt x="386" y="456"/>
                  </a:lnTo>
                  <a:lnTo>
                    <a:pt x="386" y="456"/>
                  </a:lnTo>
                  <a:lnTo>
                    <a:pt x="382" y="456"/>
                  </a:lnTo>
                  <a:lnTo>
                    <a:pt x="382" y="453"/>
                  </a:lnTo>
                  <a:lnTo>
                    <a:pt x="379" y="456"/>
                  </a:lnTo>
                  <a:lnTo>
                    <a:pt x="375" y="453"/>
                  </a:lnTo>
                  <a:lnTo>
                    <a:pt x="372" y="453"/>
                  </a:lnTo>
                  <a:lnTo>
                    <a:pt x="372" y="456"/>
                  </a:lnTo>
                  <a:lnTo>
                    <a:pt x="368" y="456"/>
                  </a:lnTo>
                  <a:lnTo>
                    <a:pt x="368" y="456"/>
                  </a:lnTo>
                  <a:lnTo>
                    <a:pt x="368" y="456"/>
                  </a:lnTo>
                  <a:lnTo>
                    <a:pt x="365" y="456"/>
                  </a:lnTo>
                  <a:lnTo>
                    <a:pt x="362" y="459"/>
                  </a:lnTo>
                  <a:lnTo>
                    <a:pt x="362" y="462"/>
                  </a:lnTo>
                  <a:lnTo>
                    <a:pt x="358" y="462"/>
                  </a:lnTo>
                  <a:lnTo>
                    <a:pt x="358" y="465"/>
                  </a:lnTo>
                  <a:lnTo>
                    <a:pt x="358" y="465"/>
                  </a:lnTo>
                  <a:lnTo>
                    <a:pt x="358" y="465"/>
                  </a:lnTo>
                  <a:lnTo>
                    <a:pt x="355" y="469"/>
                  </a:lnTo>
                  <a:lnTo>
                    <a:pt x="355" y="469"/>
                  </a:lnTo>
                  <a:lnTo>
                    <a:pt x="351" y="469"/>
                  </a:lnTo>
                  <a:lnTo>
                    <a:pt x="351" y="469"/>
                  </a:lnTo>
                  <a:lnTo>
                    <a:pt x="348" y="469"/>
                  </a:lnTo>
                  <a:lnTo>
                    <a:pt x="344" y="465"/>
                  </a:lnTo>
                  <a:lnTo>
                    <a:pt x="341" y="465"/>
                  </a:lnTo>
                  <a:lnTo>
                    <a:pt x="341" y="465"/>
                  </a:lnTo>
                  <a:lnTo>
                    <a:pt x="338" y="462"/>
                  </a:lnTo>
                  <a:lnTo>
                    <a:pt x="334" y="462"/>
                  </a:lnTo>
                  <a:lnTo>
                    <a:pt x="334" y="462"/>
                  </a:lnTo>
                  <a:lnTo>
                    <a:pt x="334" y="462"/>
                  </a:lnTo>
                  <a:lnTo>
                    <a:pt x="334" y="459"/>
                  </a:lnTo>
                  <a:lnTo>
                    <a:pt x="331" y="459"/>
                  </a:lnTo>
                  <a:lnTo>
                    <a:pt x="331" y="459"/>
                  </a:lnTo>
                  <a:lnTo>
                    <a:pt x="327" y="459"/>
                  </a:lnTo>
                  <a:lnTo>
                    <a:pt x="327" y="459"/>
                  </a:lnTo>
                  <a:lnTo>
                    <a:pt x="327" y="456"/>
                  </a:lnTo>
                  <a:lnTo>
                    <a:pt x="327" y="456"/>
                  </a:lnTo>
                  <a:lnTo>
                    <a:pt x="324" y="453"/>
                  </a:lnTo>
                  <a:lnTo>
                    <a:pt x="320" y="449"/>
                  </a:lnTo>
                  <a:lnTo>
                    <a:pt x="320" y="446"/>
                  </a:lnTo>
                  <a:lnTo>
                    <a:pt x="324" y="446"/>
                  </a:lnTo>
                  <a:lnTo>
                    <a:pt x="324" y="446"/>
                  </a:lnTo>
                  <a:lnTo>
                    <a:pt x="324" y="443"/>
                  </a:lnTo>
                  <a:lnTo>
                    <a:pt x="320" y="443"/>
                  </a:lnTo>
                  <a:lnTo>
                    <a:pt x="320" y="440"/>
                  </a:lnTo>
                  <a:lnTo>
                    <a:pt x="320" y="440"/>
                  </a:lnTo>
                  <a:lnTo>
                    <a:pt x="317" y="440"/>
                  </a:lnTo>
                  <a:lnTo>
                    <a:pt x="317" y="436"/>
                  </a:lnTo>
                  <a:lnTo>
                    <a:pt x="317" y="433"/>
                  </a:lnTo>
                  <a:lnTo>
                    <a:pt x="313" y="433"/>
                  </a:lnTo>
                  <a:lnTo>
                    <a:pt x="310" y="430"/>
                  </a:lnTo>
                  <a:lnTo>
                    <a:pt x="313" y="430"/>
                  </a:lnTo>
                  <a:lnTo>
                    <a:pt x="313" y="430"/>
                  </a:lnTo>
                  <a:lnTo>
                    <a:pt x="310" y="427"/>
                  </a:lnTo>
                  <a:lnTo>
                    <a:pt x="307" y="427"/>
                  </a:lnTo>
                  <a:lnTo>
                    <a:pt x="307" y="423"/>
                  </a:lnTo>
                  <a:lnTo>
                    <a:pt x="307" y="420"/>
                  </a:lnTo>
                  <a:lnTo>
                    <a:pt x="303" y="420"/>
                  </a:lnTo>
                  <a:lnTo>
                    <a:pt x="303" y="420"/>
                  </a:lnTo>
                  <a:lnTo>
                    <a:pt x="300" y="417"/>
                  </a:lnTo>
                  <a:lnTo>
                    <a:pt x="296" y="414"/>
                  </a:lnTo>
                  <a:lnTo>
                    <a:pt x="293" y="414"/>
                  </a:lnTo>
                  <a:lnTo>
                    <a:pt x="262" y="411"/>
                  </a:lnTo>
                  <a:lnTo>
                    <a:pt x="262" y="417"/>
                  </a:lnTo>
                  <a:lnTo>
                    <a:pt x="207" y="417"/>
                  </a:lnTo>
                  <a:lnTo>
                    <a:pt x="141" y="391"/>
                  </a:lnTo>
                  <a:lnTo>
                    <a:pt x="141" y="388"/>
                  </a:lnTo>
                  <a:lnTo>
                    <a:pt x="141" y="388"/>
                  </a:lnTo>
                  <a:lnTo>
                    <a:pt x="93" y="388"/>
                  </a:lnTo>
                  <a:lnTo>
                    <a:pt x="93" y="385"/>
                  </a:lnTo>
                  <a:lnTo>
                    <a:pt x="97" y="381"/>
                  </a:lnTo>
                  <a:lnTo>
                    <a:pt x="93" y="378"/>
                  </a:lnTo>
                  <a:lnTo>
                    <a:pt x="86" y="369"/>
                  </a:lnTo>
                  <a:lnTo>
                    <a:pt x="83" y="365"/>
                  </a:lnTo>
                  <a:lnTo>
                    <a:pt x="80" y="365"/>
                  </a:lnTo>
                  <a:lnTo>
                    <a:pt x="80" y="365"/>
                  </a:lnTo>
                  <a:lnTo>
                    <a:pt x="76" y="365"/>
                  </a:lnTo>
                  <a:lnTo>
                    <a:pt x="80" y="362"/>
                  </a:lnTo>
                  <a:lnTo>
                    <a:pt x="76" y="359"/>
                  </a:lnTo>
                  <a:lnTo>
                    <a:pt x="73" y="359"/>
                  </a:lnTo>
                  <a:lnTo>
                    <a:pt x="69" y="359"/>
                  </a:lnTo>
                  <a:lnTo>
                    <a:pt x="62" y="356"/>
                  </a:lnTo>
                  <a:lnTo>
                    <a:pt x="62" y="352"/>
                  </a:lnTo>
                  <a:lnTo>
                    <a:pt x="62" y="352"/>
                  </a:lnTo>
                  <a:lnTo>
                    <a:pt x="55" y="352"/>
                  </a:lnTo>
                  <a:lnTo>
                    <a:pt x="52" y="352"/>
                  </a:lnTo>
                  <a:lnTo>
                    <a:pt x="52" y="349"/>
                  </a:lnTo>
                  <a:lnTo>
                    <a:pt x="45" y="349"/>
                  </a:lnTo>
                  <a:lnTo>
                    <a:pt x="38" y="349"/>
                  </a:lnTo>
                  <a:lnTo>
                    <a:pt x="38" y="346"/>
                  </a:lnTo>
                  <a:lnTo>
                    <a:pt x="38" y="346"/>
                  </a:lnTo>
                  <a:lnTo>
                    <a:pt x="38" y="343"/>
                  </a:lnTo>
                  <a:lnTo>
                    <a:pt x="38" y="343"/>
                  </a:lnTo>
                  <a:lnTo>
                    <a:pt x="42" y="336"/>
                  </a:lnTo>
                  <a:lnTo>
                    <a:pt x="38" y="333"/>
                  </a:lnTo>
                  <a:lnTo>
                    <a:pt x="35" y="330"/>
                  </a:lnTo>
                  <a:lnTo>
                    <a:pt x="35" y="330"/>
                  </a:lnTo>
                  <a:lnTo>
                    <a:pt x="35" y="327"/>
                  </a:lnTo>
                  <a:lnTo>
                    <a:pt x="35" y="327"/>
                  </a:lnTo>
                  <a:lnTo>
                    <a:pt x="31" y="323"/>
                  </a:lnTo>
                  <a:lnTo>
                    <a:pt x="28" y="317"/>
                  </a:lnTo>
                  <a:lnTo>
                    <a:pt x="28" y="310"/>
                  </a:lnTo>
                  <a:lnTo>
                    <a:pt x="24" y="307"/>
                  </a:lnTo>
                  <a:lnTo>
                    <a:pt x="24" y="307"/>
                  </a:lnTo>
                  <a:lnTo>
                    <a:pt x="24" y="304"/>
                  </a:lnTo>
                  <a:lnTo>
                    <a:pt x="21" y="301"/>
                  </a:lnTo>
                  <a:lnTo>
                    <a:pt x="21" y="297"/>
                  </a:lnTo>
                  <a:lnTo>
                    <a:pt x="24" y="297"/>
                  </a:lnTo>
                  <a:lnTo>
                    <a:pt x="28" y="297"/>
                  </a:lnTo>
                  <a:lnTo>
                    <a:pt x="28" y="294"/>
                  </a:lnTo>
                  <a:lnTo>
                    <a:pt x="24" y="291"/>
                  </a:lnTo>
                  <a:lnTo>
                    <a:pt x="21" y="291"/>
                  </a:lnTo>
                  <a:lnTo>
                    <a:pt x="21" y="288"/>
                  </a:lnTo>
                  <a:lnTo>
                    <a:pt x="18" y="288"/>
                  </a:lnTo>
                  <a:lnTo>
                    <a:pt x="18" y="285"/>
                  </a:lnTo>
                  <a:lnTo>
                    <a:pt x="21" y="281"/>
                  </a:lnTo>
                  <a:lnTo>
                    <a:pt x="18" y="278"/>
                  </a:lnTo>
                  <a:lnTo>
                    <a:pt x="21" y="278"/>
                  </a:lnTo>
                  <a:lnTo>
                    <a:pt x="21" y="275"/>
                  </a:lnTo>
                  <a:lnTo>
                    <a:pt x="21" y="275"/>
                  </a:lnTo>
                  <a:lnTo>
                    <a:pt x="24" y="275"/>
                  </a:lnTo>
                  <a:lnTo>
                    <a:pt x="24" y="278"/>
                  </a:lnTo>
                  <a:lnTo>
                    <a:pt x="28" y="278"/>
                  </a:lnTo>
                  <a:lnTo>
                    <a:pt x="28" y="278"/>
                  </a:lnTo>
                  <a:lnTo>
                    <a:pt x="24" y="275"/>
                  </a:lnTo>
                  <a:lnTo>
                    <a:pt x="24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8"/>
                  </a:lnTo>
                  <a:lnTo>
                    <a:pt x="28" y="268"/>
                  </a:lnTo>
                  <a:lnTo>
                    <a:pt x="31" y="268"/>
                  </a:lnTo>
                  <a:lnTo>
                    <a:pt x="35" y="268"/>
                  </a:lnTo>
                  <a:lnTo>
                    <a:pt x="28" y="268"/>
                  </a:lnTo>
                  <a:lnTo>
                    <a:pt x="28" y="265"/>
                  </a:lnTo>
                  <a:lnTo>
                    <a:pt x="24" y="265"/>
                  </a:lnTo>
                  <a:lnTo>
                    <a:pt x="24" y="265"/>
                  </a:lnTo>
                  <a:lnTo>
                    <a:pt x="24" y="265"/>
                  </a:lnTo>
                  <a:lnTo>
                    <a:pt x="21" y="265"/>
                  </a:lnTo>
                  <a:lnTo>
                    <a:pt x="21" y="268"/>
                  </a:lnTo>
                  <a:lnTo>
                    <a:pt x="21" y="272"/>
                  </a:lnTo>
                  <a:lnTo>
                    <a:pt x="21" y="272"/>
                  </a:lnTo>
                  <a:lnTo>
                    <a:pt x="18" y="272"/>
                  </a:lnTo>
                  <a:lnTo>
                    <a:pt x="18" y="268"/>
                  </a:lnTo>
                  <a:lnTo>
                    <a:pt x="14" y="265"/>
                  </a:lnTo>
                  <a:lnTo>
                    <a:pt x="11" y="262"/>
                  </a:lnTo>
                  <a:lnTo>
                    <a:pt x="14" y="262"/>
                  </a:lnTo>
                  <a:lnTo>
                    <a:pt x="14" y="259"/>
                  </a:lnTo>
                  <a:lnTo>
                    <a:pt x="4" y="249"/>
                  </a:lnTo>
                  <a:lnTo>
                    <a:pt x="4" y="246"/>
                  </a:lnTo>
                  <a:lnTo>
                    <a:pt x="4" y="243"/>
                  </a:lnTo>
                  <a:lnTo>
                    <a:pt x="7" y="243"/>
                  </a:lnTo>
                  <a:lnTo>
                    <a:pt x="7" y="236"/>
                  </a:lnTo>
                  <a:lnTo>
                    <a:pt x="4" y="236"/>
                  </a:lnTo>
                  <a:lnTo>
                    <a:pt x="4" y="233"/>
                  </a:lnTo>
                  <a:lnTo>
                    <a:pt x="7" y="230"/>
                  </a:lnTo>
                  <a:lnTo>
                    <a:pt x="7" y="226"/>
                  </a:lnTo>
                  <a:lnTo>
                    <a:pt x="7" y="220"/>
                  </a:lnTo>
                  <a:lnTo>
                    <a:pt x="4" y="213"/>
                  </a:lnTo>
                  <a:lnTo>
                    <a:pt x="0" y="210"/>
                  </a:lnTo>
                  <a:lnTo>
                    <a:pt x="0" y="207"/>
                  </a:lnTo>
                  <a:lnTo>
                    <a:pt x="4" y="204"/>
                  </a:lnTo>
                  <a:lnTo>
                    <a:pt x="7" y="201"/>
                  </a:lnTo>
                  <a:lnTo>
                    <a:pt x="11" y="194"/>
                  </a:lnTo>
                  <a:lnTo>
                    <a:pt x="11" y="194"/>
                  </a:lnTo>
                  <a:lnTo>
                    <a:pt x="7" y="191"/>
                  </a:lnTo>
                  <a:lnTo>
                    <a:pt x="11" y="191"/>
                  </a:lnTo>
                  <a:lnTo>
                    <a:pt x="14" y="188"/>
                  </a:lnTo>
                  <a:lnTo>
                    <a:pt x="14" y="181"/>
                  </a:lnTo>
                  <a:lnTo>
                    <a:pt x="11" y="175"/>
                  </a:lnTo>
                  <a:lnTo>
                    <a:pt x="11" y="175"/>
                  </a:lnTo>
                  <a:lnTo>
                    <a:pt x="14" y="171"/>
                  </a:lnTo>
                  <a:lnTo>
                    <a:pt x="11" y="168"/>
                  </a:lnTo>
                  <a:lnTo>
                    <a:pt x="11" y="165"/>
                  </a:lnTo>
                  <a:lnTo>
                    <a:pt x="14" y="159"/>
                  </a:lnTo>
                  <a:lnTo>
                    <a:pt x="14" y="152"/>
                  </a:lnTo>
                  <a:lnTo>
                    <a:pt x="14" y="149"/>
                  </a:lnTo>
                  <a:lnTo>
                    <a:pt x="21" y="142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4" y="133"/>
                  </a:lnTo>
                  <a:lnTo>
                    <a:pt x="28" y="129"/>
                  </a:lnTo>
                  <a:lnTo>
                    <a:pt x="31" y="123"/>
                  </a:lnTo>
                  <a:lnTo>
                    <a:pt x="31" y="117"/>
                  </a:lnTo>
                  <a:lnTo>
                    <a:pt x="38" y="107"/>
                  </a:lnTo>
                  <a:lnTo>
                    <a:pt x="38" y="100"/>
                  </a:lnTo>
                  <a:lnTo>
                    <a:pt x="42" y="91"/>
                  </a:lnTo>
                  <a:lnTo>
                    <a:pt x="45" y="87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78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5" y="71"/>
                  </a:lnTo>
                  <a:lnTo>
                    <a:pt x="62" y="71"/>
                  </a:lnTo>
                  <a:lnTo>
                    <a:pt x="66" y="75"/>
                  </a:lnTo>
                  <a:lnTo>
                    <a:pt x="66" y="71"/>
                  </a:lnTo>
                  <a:lnTo>
                    <a:pt x="69" y="75"/>
                  </a:lnTo>
                  <a:lnTo>
                    <a:pt x="73" y="78"/>
                  </a:lnTo>
                  <a:lnTo>
                    <a:pt x="73" y="75"/>
                  </a:lnTo>
                  <a:lnTo>
                    <a:pt x="69" y="71"/>
                  </a:lnTo>
                  <a:lnTo>
                    <a:pt x="66" y="71"/>
                  </a:lnTo>
                  <a:lnTo>
                    <a:pt x="62" y="68"/>
                  </a:lnTo>
                  <a:lnTo>
                    <a:pt x="55" y="68"/>
                  </a:lnTo>
                  <a:lnTo>
                    <a:pt x="52" y="68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5" y="62"/>
                  </a:lnTo>
                  <a:lnTo>
                    <a:pt x="55" y="58"/>
                  </a:lnTo>
                  <a:lnTo>
                    <a:pt x="59" y="58"/>
                  </a:lnTo>
                  <a:lnTo>
                    <a:pt x="55" y="55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5" y="52"/>
                  </a:lnTo>
                  <a:lnTo>
                    <a:pt x="59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5" y="45"/>
                  </a:lnTo>
                  <a:lnTo>
                    <a:pt x="55" y="42"/>
                  </a:lnTo>
                  <a:lnTo>
                    <a:pt x="55" y="39"/>
                  </a:lnTo>
                  <a:lnTo>
                    <a:pt x="55" y="29"/>
                  </a:lnTo>
                  <a:lnTo>
                    <a:pt x="55" y="23"/>
                  </a:lnTo>
                  <a:lnTo>
                    <a:pt x="52" y="20"/>
                  </a:lnTo>
                  <a:lnTo>
                    <a:pt x="55" y="13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69" y="16"/>
                  </a:lnTo>
                  <a:lnTo>
                    <a:pt x="73" y="20"/>
                  </a:lnTo>
                  <a:lnTo>
                    <a:pt x="80" y="20"/>
                  </a:lnTo>
                  <a:lnTo>
                    <a:pt x="83" y="23"/>
                  </a:lnTo>
                  <a:lnTo>
                    <a:pt x="86" y="26"/>
                  </a:lnTo>
                  <a:lnTo>
                    <a:pt x="86" y="23"/>
                  </a:lnTo>
                  <a:lnTo>
                    <a:pt x="90" y="23"/>
                  </a:lnTo>
                  <a:lnTo>
                    <a:pt x="90" y="26"/>
                  </a:lnTo>
                  <a:lnTo>
                    <a:pt x="90" y="29"/>
                  </a:lnTo>
                  <a:lnTo>
                    <a:pt x="86" y="29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6" y="33"/>
                  </a:lnTo>
                  <a:lnTo>
                    <a:pt x="86" y="33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3" y="33"/>
                  </a:lnTo>
                  <a:lnTo>
                    <a:pt x="90" y="33"/>
                  </a:lnTo>
                  <a:lnTo>
                    <a:pt x="86" y="39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39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80" y="42"/>
                  </a:lnTo>
                  <a:lnTo>
                    <a:pt x="80" y="45"/>
                  </a:lnTo>
                  <a:lnTo>
                    <a:pt x="83" y="45"/>
                  </a:lnTo>
                  <a:lnTo>
                    <a:pt x="86" y="45"/>
                  </a:lnTo>
                  <a:lnTo>
                    <a:pt x="90" y="42"/>
                  </a:lnTo>
                  <a:lnTo>
                    <a:pt x="90" y="39"/>
                  </a:lnTo>
                  <a:lnTo>
                    <a:pt x="90" y="36"/>
                  </a:lnTo>
                  <a:lnTo>
                    <a:pt x="93" y="36"/>
                  </a:lnTo>
                  <a:lnTo>
                    <a:pt x="93" y="29"/>
                  </a:lnTo>
                  <a:lnTo>
                    <a:pt x="97" y="29"/>
                  </a:lnTo>
                  <a:lnTo>
                    <a:pt x="100" y="26"/>
                  </a:lnTo>
                  <a:lnTo>
                    <a:pt x="100" y="23"/>
                  </a:lnTo>
                  <a:lnTo>
                    <a:pt x="100" y="20"/>
                  </a:lnTo>
                  <a:lnTo>
                    <a:pt x="97" y="20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3"/>
                  </a:lnTo>
                  <a:lnTo>
                    <a:pt x="97" y="13"/>
                  </a:lnTo>
                  <a:lnTo>
                    <a:pt x="100" y="10"/>
                  </a:lnTo>
                  <a:lnTo>
                    <a:pt x="100" y="7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97" y="0"/>
                  </a:lnTo>
                  <a:close/>
                  <a:moveTo>
                    <a:pt x="1005" y="233"/>
                  </a:moveTo>
                  <a:lnTo>
                    <a:pt x="1008" y="233"/>
                  </a:lnTo>
                  <a:lnTo>
                    <a:pt x="1008" y="233"/>
                  </a:lnTo>
                  <a:lnTo>
                    <a:pt x="1012" y="233"/>
                  </a:lnTo>
                  <a:lnTo>
                    <a:pt x="1012" y="233"/>
                  </a:lnTo>
                  <a:lnTo>
                    <a:pt x="1012" y="230"/>
                  </a:lnTo>
                  <a:lnTo>
                    <a:pt x="1008" y="230"/>
                  </a:lnTo>
                  <a:lnTo>
                    <a:pt x="1008" y="233"/>
                  </a:lnTo>
                  <a:lnTo>
                    <a:pt x="1005" y="233"/>
                  </a:lnTo>
                  <a:lnTo>
                    <a:pt x="1005" y="233"/>
                  </a:lnTo>
                  <a:close/>
                  <a:moveTo>
                    <a:pt x="946" y="246"/>
                  </a:moveTo>
                  <a:lnTo>
                    <a:pt x="946" y="246"/>
                  </a:lnTo>
                  <a:lnTo>
                    <a:pt x="950" y="246"/>
                  </a:lnTo>
                  <a:lnTo>
                    <a:pt x="950" y="246"/>
                  </a:lnTo>
                  <a:lnTo>
                    <a:pt x="953" y="246"/>
                  </a:lnTo>
                  <a:lnTo>
                    <a:pt x="957" y="246"/>
                  </a:lnTo>
                  <a:lnTo>
                    <a:pt x="964" y="243"/>
                  </a:lnTo>
                  <a:lnTo>
                    <a:pt x="967" y="243"/>
                  </a:lnTo>
                  <a:lnTo>
                    <a:pt x="974" y="243"/>
                  </a:lnTo>
                  <a:lnTo>
                    <a:pt x="974" y="243"/>
                  </a:lnTo>
                  <a:lnTo>
                    <a:pt x="977" y="243"/>
                  </a:lnTo>
                  <a:lnTo>
                    <a:pt x="981" y="239"/>
                  </a:lnTo>
                  <a:lnTo>
                    <a:pt x="984" y="239"/>
                  </a:lnTo>
                  <a:lnTo>
                    <a:pt x="981" y="239"/>
                  </a:lnTo>
                  <a:lnTo>
                    <a:pt x="977" y="239"/>
                  </a:lnTo>
                  <a:lnTo>
                    <a:pt x="974" y="239"/>
                  </a:lnTo>
                  <a:lnTo>
                    <a:pt x="974" y="239"/>
                  </a:lnTo>
                  <a:lnTo>
                    <a:pt x="977" y="236"/>
                  </a:lnTo>
                  <a:lnTo>
                    <a:pt x="977" y="236"/>
                  </a:lnTo>
                  <a:lnTo>
                    <a:pt x="971" y="239"/>
                  </a:lnTo>
                  <a:lnTo>
                    <a:pt x="967" y="239"/>
                  </a:lnTo>
                  <a:lnTo>
                    <a:pt x="960" y="239"/>
                  </a:lnTo>
                  <a:lnTo>
                    <a:pt x="957" y="239"/>
                  </a:lnTo>
                  <a:lnTo>
                    <a:pt x="950" y="243"/>
                  </a:lnTo>
                  <a:lnTo>
                    <a:pt x="946" y="243"/>
                  </a:lnTo>
                  <a:lnTo>
                    <a:pt x="943" y="246"/>
                  </a:lnTo>
                  <a:lnTo>
                    <a:pt x="946" y="246"/>
                  </a:lnTo>
                  <a:lnTo>
                    <a:pt x="946" y="246"/>
                  </a:lnTo>
                  <a:lnTo>
                    <a:pt x="946" y="246"/>
                  </a:lnTo>
                  <a:close/>
                  <a:moveTo>
                    <a:pt x="97" y="16"/>
                  </a:moveTo>
                  <a:lnTo>
                    <a:pt x="93" y="16"/>
                  </a:lnTo>
                  <a:lnTo>
                    <a:pt x="93" y="23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3" y="20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7" y="16"/>
                  </a:lnTo>
                  <a:close/>
                  <a:moveTo>
                    <a:pt x="465" y="494"/>
                  </a:moveTo>
                  <a:lnTo>
                    <a:pt x="465" y="494"/>
                  </a:lnTo>
                  <a:lnTo>
                    <a:pt x="468" y="488"/>
                  </a:lnTo>
                  <a:lnTo>
                    <a:pt x="472" y="485"/>
                  </a:lnTo>
                  <a:lnTo>
                    <a:pt x="468" y="488"/>
                  </a:lnTo>
                  <a:lnTo>
                    <a:pt x="465" y="494"/>
                  </a:lnTo>
                  <a:lnTo>
                    <a:pt x="465" y="494"/>
                  </a:lnTo>
                  <a:close/>
                  <a:moveTo>
                    <a:pt x="458" y="504"/>
                  </a:moveTo>
                  <a:lnTo>
                    <a:pt x="461" y="501"/>
                  </a:lnTo>
                  <a:lnTo>
                    <a:pt x="461" y="498"/>
                  </a:lnTo>
                  <a:lnTo>
                    <a:pt x="461" y="498"/>
                  </a:lnTo>
                  <a:lnTo>
                    <a:pt x="458" y="504"/>
                  </a:lnTo>
                  <a:lnTo>
                    <a:pt x="458" y="504"/>
                  </a:lnTo>
                  <a:close/>
                  <a:moveTo>
                    <a:pt x="458" y="527"/>
                  </a:moveTo>
                  <a:lnTo>
                    <a:pt x="454" y="520"/>
                  </a:lnTo>
                  <a:lnTo>
                    <a:pt x="454" y="514"/>
                  </a:lnTo>
                  <a:lnTo>
                    <a:pt x="458" y="504"/>
                  </a:lnTo>
                  <a:lnTo>
                    <a:pt x="454" y="511"/>
                  </a:lnTo>
                  <a:lnTo>
                    <a:pt x="454" y="520"/>
                  </a:lnTo>
                  <a:lnTo>
                    <a:pt x="454" y="520"/>
                  </a:lnTo>
                  <a:lnTo>
                    <a:pt x="458" y="527"/>
                  </a:lnTo>
                  <a:lnTo>
                    <a:pt x="458" y="5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9" name="Freeform 170"/>
            <p:cNvSpPr>
              <a:spLocks/>
            </p:cNvSpPr>
            <p:nvPr/>
          </p:nvSpPr>
          <p:spPr bwMode="auto">
            <a:xfrm>
              <a:off x="3743326" y="4371042"/>
              <a:ext cx="169863" cy="66675"/>
            </a:xfrm>
            <a:custGeom>
              <a:avLst/>
              <a:gdLst>
                <a:gd name="T0" fmla="*/ 93 w 107"/>
                <a:gd name="T1" fmla="*/ 38 h 42"/>
                <a:gd name="T2" fmla="*/ 86 w 107"/>
                <a:gd name="T3" fmla="*/ 29 h 42"/>
                <a:gd name="T4" fmla="*/ 90 w 107"/>
                <a:gd name="T5" fmla="*/ 22 h 42"/>
                <a:gd name="T6" fmla="*/ 93 w 107"/>
                <a:gd name="T7" fmla="*/ 22 h 42"/>
                <a:gd name="T8" fmla="*/ 93 w 107"/>
                <a:gd name="T9" fmla="*/ 19 h 42"/>
                <a:gd name="T10" fmla="*/ 86 w 107"/>
                <a:gd name="T11" fmla="*/ 22 h 42"/>
                <a:gd name="T12" fmla="*/ 83 w 107"/>
                <a:gd name="T13" fmla="*/ 19 h 42"/>
                <a:gd name="T14" fmla="*/ 79 w 107"/>
                <a:gd name="T15" fmla="*/ 12 h 42"/>
                <a:gd name="T16" fmla="*/ 72 w 107"/>
                <a:gd name="T17" fmla="*/ 9 h 42"/>
                <a:gd name="T18" fmla="*/ 62 w 107"/>
                <a:gd name="T19" fmla="*/ 12 h 42"/>
                <a:gd name="T20" fmla="*/ 62 w 107"/>
                <a:gd name="T21" fmla="*/ 16 h 42"/>
                <a:gd name="T22" fmla="*/ 59 w 107"/>
                <a:gd name="T23" fmla="*/ 22 h 42"/>
                <a:gd name="T24" fmla="*/ 48 w 107"/>
                <a:gd name="T25" fmla="*/ 25 h 42"/>
                <a:gd name="T26" fmla="*/ 48 w 107"/>
                <a:gd name="T27" fmla="*/ 29 h 42"/>
                <a:gd name="T28" fmla="*/ 55 w 107"/>
                <a:gd name="T29" fmla="*/ 35 h 42"/>
                <a:gd name="T30" fmla="*/ 52 w 107"/>
                <a:gd name="T31" fmla="*/ 38 h 42"/>
                <a:gd name="T32" fmla="*/ 48 w 107"/>
                <a:gd name="T33" fmla="*/ 38 h 42"/>
                <a:gd name="T34" fmla="*/ 38 w 107"/>
                <a:gd name="T35" fmla="*/ 42 h 42"/>
                <a:gd name="T36" fmla="*/ 38 w 107"/>
                <a:gd name="T37" fmla="*/ 38 h 42"/>
                <a:gd name="T38" fmla="*/ 38 w 107"/>
                <a:gd name="T39" fmla="*/ 32 h 42"/>
                <a:gd name="T40" fmla="*/ 34 w 107"/>
                <a:gd name="T41" fmla="*/ 32 h 42"/>
                <a:gd name="T42" fmla="*/ 34 w 107"/>
                <a:gd name="T43" fmla="*/ 35 h 42"/>
                <a:gd name="T44" fmla="*/ 31 w 107"/>
                <a:gd name="T45" fmla="*/ 35 h 42"/>
                <a:gd name="T46" fmla="*/ 24 w 107"/>
                <a:gd name="T47" fmla="*/ 29 h 42"/>
                <a:gd name="T48" fmla="*/ 17 w 107"/>
                <a:gd name="T49" fmla="*/ 25 h 42"/>
                <a:gd name="T50" fmla="*/ 14 w 107"/>
                <a:gd name="T51" fmla="*/ 22 h 42"/>
                <a:gd name="T52" fmla="*/ 10 w 107"/>
                <a:gd name="T53" fmla="*/ 22 h 42"/>
                <a:gd name="T54" fmla="*/ 4 w 107"/>
                <a:gd name="T55" fmla="*/ 22 h 42"/>
                <a:gd name="T56" fmla="*/ 0 w 107"/>
                <a:gd name="T57" fmla="*/ 22 h 42"/>
                <a:gd name="T58" fmla="*/ 0 w 107"/>
                <a:gd name="T59" fmla="*/ 16 h 42"/>
                <a:gd name="T60" fmla="*/ 0 w 107"/>
                <a:gd name="T61" fmla="*/ 12 h 42"/>
                <a:gd name="T62" fmla="*/ 0 w 107"/>
                <a:gd name="T63" fmla="*/ 9 h 42"/>
                <a:gd name="T64" fmla="*/ 4 w 107"/>
                <a:gd name="T65" fmla="*/ 3 h 42"/>
                <a:gd name="T66" fmla="*/ 7 w 107"/>
                <a:gd name="T67" fmla="*/ 3 h 42"/>
                <a:gd name="T68" fmla="*/ 10 w 107"/>
                <a:gd name="T69" fmla="*/ 6 h 42"/>
                <a:gd name="T70" fmla="*/ 14 w 107"/>
                <a:gd name="T71" fmla="*/ 6 h 42"/>
                <a:gd name="T72" fmla="*/ 14 w 107"/>
                <a:gd name="T73" fmla="*/ 9 h 42"/>
                <a:gd name="T74" fmla="*/ 14 w 107"/>
                <a:gd name="T75" fmla="*/ 9 h 42"/>
                <a:gd name="T76" fmla="*/ 21 w 107"/>
                <a:gd name="T77" fmla="*/ 12 h 42"/>
                <a:gd name="T78" fmla="*/ 17 w 107"/>
                <a:gd name="T79" fmla="*/ 9 h 42"/>
                <a:gd name="T80" fmla="*/ 24 w 107"/>
                <a:gd name="T81" fmla="*/ 9 h 42"/>
                <a:gd name="T82" fmla="*/ 38 w 107"/>
                <a:gd name="T83" fmla="*/ 12 h 42"/>
                <a:gd name="T84" fmla="*/ 45 w 107"/>
                <a:gd name="T85" fmla="*/ 9 h 42"/>
                <a:gd name="T86" fmla="*/ 62 w 107"/>
                <a:gd name="T87" fmla="*/ 3 h 42"/>
                <a:gd name="T88" fmla="*/ 69 w 107"/>
                <a:gd name="T89" fmla="*/ 0 h 42"/>
                <a:gd name="T90" fmla="*/ 72 w 107"/>
                <a:gd name="T91" fmla="*/ 3 h 42"/>
                <a:gd name="T92" fmla="*/ 83 w 107"/>
                <a:gd name="T93" fmla="*/ 3 h 42"/>
                <a:gd name="T94" fmla="*/ 96 w 107"/>
                <a:gd name="T95" fmla="*/ 9 h 42"/>
                <a:gd name="T96" fmla="*/ 100 w 107"/>
                <a:gd name="T97" fmla="*/ 12 h 42"/>
                <a:gd name="T98" fmla="*/ 107 w 107"/>
                <a:gd name="T99" fmla="*/ 16 h 42"/>
                <a:gd name="T100" fmla="*/ 107 w 107"/>
                <a:gd name="T101" fmla="*/ 22 h 42"/>
                <a:gd name="T102" fmla="*/ 103 w 107"/>
                <a:gd name="T103" fmla="*/ 29 h 42"/>
                <a:gd name="T104" fmla="*/ 100 w 107"/>
                <a:gd name="T105" fmla="*/ 35 h 42"/>
                <a:gd name="T106" fmla="*/ 96 w 107"/>
                <a:gd name="T10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7" h="42">
                  <a:moveTo>
                    <a:pt x="96" y="42"/>
                  </a:moveTo>
                  <a:lnTo>
                    <a:pt x="93" y="38"/>
                  </a:lnTo>
                  <a:lnTo>
                    <a:pt x="86" y="32"/>
                  </a:lnTo>
                  <a:lnTo>
                    <a:pt x="86" y="29"/>
                  </a:lnTo>
                  <a:lnTo>
                    <a:pt x="86" y="25"/>
                  </a:lnTo>
                  <a:lnTo>
                    <a:pt x="90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0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3" y="19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6" y="9"/>
                  </a:lnTo>
                  <a:lnTo>
                    <a:pt x="72" y="9"/>
                  </a:lnTo>
                  <a:lnTo>
                    <a:pt x="69" y="9"/>
                  </a:lnTo>
                  <a:lnTo>
                    <a:pt x="62" y="12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9"/>
                  </a:lnTo>
                  <a:lnTo>
                    <a:pt x="59" y="22"/>
                  </a:lnTo>
                  <a:lnTo>
                    <a:pt x="52" y="22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9"/>
                  </a:lnTo>
                  <a:lnTo>
                    <a:pt x="52" y="32"/>
                  </a:lnTo>
                  <a:lnTo>
                    <a:pt x="55" y="35"/>
                  </a:lnTo>
                  <a:lnTo>
                    <a:pt x="55" y="38"/>
                  </a:lnTo>
                  <a:lnTo>
                    <a:pt x="52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5" y="42"/>
                  </a:lnTo>
                  <a:lnTo>
                    <a:pt x="38" y="42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1" y="35"/>
                  </a:lnTo>
                  <a:lnTo>
                    <a:pt x="28" y="35"/>
                  </a:lnTo>
                  <a:lnTo>
                    <a:pt x="24" y="29"/>
                  </a:lnTo>
                  <a:lnTo>
                    <a:pt x="24" y="25"/>
                  </a:lnTo>
                  <a:lnTo>
                    <a:pt x="17" y="25"/>
                  </a:lnTo>
                  <a:lnTo>
                    <a:pt x="14" y="25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0" y="22"/>
                  </a:lnTo>
                  <a:lnTo>
                    <a:pt x="7" y="22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9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9"/>
                  </a:lnTo>
                  <a:lnTo>
                    <a:pt x="4" y="6"/>
                  </a:lnTo>
                  <a:lnTo>
                    <a:pt x="4" y="3"/>
                  </a:lnTo>
                  <a:lnTo>
                    <a:pt x="4" y="3"/>
                  </a:lnTo>
                  <a:lnTo>
                    <a:pt x="7" y="3"/>
                  </a:lnTo>
                  <a:lnTo>
                    <a:pt x="7" y="6"/>
                  </a:lnTo>
                  <a:lnTo>
                    <a:pt x="10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7" y="12"/>
                  </a:lnTo>
                  <a:lnTo>
                    <a:pt x="21" y="12"/>
                  </a:lnTo>
                  <a:lnTo>
                    <a:pt x="21" y="9"/>
                  </a:lnTo>
                  <a:lnTo>
                    <a:pt x="17" y="9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31" y="12"/>
                  </a:lnTo>
                  <a:lnTo>
                    <a:pt x="38" y="12"/>
                  </a:lnTo>
                  <a:lnTo>
                    <a:pt x="41" y="12"/>
                  </a:lnTo>
                  <a:lnTo>
                    <a:pt x="45" y="9"/>
                  </a:lnTo>
                  <a:lnTo>
                    <a:pt x="55" y="6"/>
                  </a:lnTo>
                  <a:lnTo>
                    <a:pt x="62" y="3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6" y="3"/>
                  </a:lnTo>
                  <a:lnTo>
                    <a:pt x="83" y="3"/>
                  </a:lnTo>
                  <a:lnTo>
                    <a:pt x="90" y="6"/>
                  </a:lnTo>
                  <a:lnTo>
                    <a:pt x="96" y="9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3" y="19"/>
                  </a:lnTo>
                  <a:lnTo>
                    <a:pt x="107" y="22"/>
                  </a:lnTo>
                  <a:lnTo>
                    <a:pt x="107" y="25"/>
                  </a:lnTo>
                  <a:lnTo>
                    <a:pt x="103" y="29"/>
                  </a:lnTo>
                  <a:lnTo>
                    <a:pt x="103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96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0" name="Freeform 171"/>
            <p:cNvSpPr>
              <a:spLocks/>
            </p:cNvSpPr>
            <p:nvPr/>
          </p:nvSpPr>
          <p:spPr bwMode="auto">
            <a:xfrm>
              <a:off x="3651251" y="4329767"/>
              <a:ext cx="103188" cy="80962"/>
            </a:xfrm>
            <a:custGeom>
              <a:avLst/>
              <a:gdLst>
                <a:gd name="T0" fmla="*/ 58 w 65"/>
                <a:gd name="T1" fmla="*/ 48 h 51"/>
                <a:gd name="T2" fmla="*/ 58 w 65"/>
                <a:gd name="T3" fmla="*/ 48 h 51"/>
                <a:gd name="T4" fmla="*/ 58 w 65"/>
                <a:gd name="T5" fmla="*/ 51 h 51"/>
                <a:gd name="T6" fmla="*/ 55 w 65"/>
                <a:gd name="T7" fmla="*/ 51 h 51"/>
                <a:gd name="T8" fmla="*/ 51 w 65"/>
                <a:gd name="T9" fmla="*/ 51 h 51"/>
                <a:gd name="T10" fmla="*/ 48 w 65"/>
                <a:gd name="T11" fmla="*/ 45 h 51"/>
                <a:gd name="T12" fmla="*/ 44 w 65"/>
                <a:gd name="T13" fmla="*/ 42 h 51"/>
                <a:gd name="T14" fmla="*/ 48 w 65"/>
                <a:gd name="T15" fmla="*/ 45 h 51"/>
                <a:gd name="T16" fmla="*/ 51 w 65"/>
                <a:gd name="T17" fmla="*/ 48 h 51"/>
                <a:gd name="T18" fmla="*/ 44 w 65"/>
                <a:gd name="T19" fmla="*/ 48 h 51"/>
                <a:gd name="T20" fmla="*/ 41 w 65"/>
                <a:gd name="T21" fmla="*/ 45 h 51"/>
                <a:gd name="T22" fmla="*/ 41 w 65"/>
                <a:gd name="T23" fmla="*/ 42 h 51"/>
                <a:gd name="T24" fmla="*/ 37 w 65"/>
                <a:gd name="T25" fmla="*/ 35 h 51"/>
                <a:gd name="T26" fmla="*/ 31 w 65"/>
                <a:gd name="T27" fmla="*/ 32 h 51"/>
                <a:gd name="T28" fmla="*/ 27 w 65"/>
                <a:gd name="T29" fmla="*/ 26 h 51"/>
                <a:gd name="T30" fmla="*/ 20 w 65"/>
                <a:gd name="T31" fmla="*/ 19 h 51"/>
                <a:gd name="T32" fmla="*/ 13 w 65"/>
                <a:gd name="T33" fmla="*/ 16 h 51"/>
                <a:gd name="T34" fmla="*/ 13 w 65"/>
                <a:gd name="T35" fmla="*/ 19 h 51"/>
                <a:gd name="T36" fmla="*/ 20 w 65"/>
                <a:gd name="T37" fmla="*/ 26 h 51"/>
                <a:gd name="T38" fmla="*/ 17 w 65"/>
                <a:gd name="T39" fmla="*/ 29 h 51"/>
                <a:gd name="T40" fmla="*/ 10 w 65"/>
                <a:gd name="T41" fmla="*/ 26 h 51"/>
                <a:gd name="T42" fmla="*/ 0 w 65"/>
                <a:gd name="T43" fmla="*/ 19 h 51"/>
                <a:gd name="T44" fmla="*/ 3 w 65"/>
                <a:gd name="T45" fmla="*/ 13 h 51"/>
                <a:gd name="T46" fmla="*/ 3 w 65"/>
                <a:gd name="T47" fmla="*/ 9 h 51"/>
                <a:gd name="T48" fmla="*/ 0 w 65"/>
                <a:gd name="T49" fmla="*/ 6 h 51"/>
                <a:gd name="T50" fmla="*/ 3 w 65"/>
                <a:gd name="T51" fmla="*/ 3 h 51"/>
                <a:gd name="T52" fmla="*/ 3 w 65"/>
                <a:gd name="T53" fmla="*/ 3 h 51"/>
                <a:gd name="T54" fmla="*/ 10 w 65"/>
                <a:gd name="T55" fmla="*/ 0 h 51"/>
                <a:gd name="T56" fmla="*/ 24 w 65"/>
                <a:gd name="T57" fmla="*/ 3 h 51"/>
                <a:gd name="T58" fmla="*/ 31 w 65"/>
                <a:gd name="T59" fmla="*/ 3 h 51"/>
                <a:gd name="T60" fmla="*/ 34 w 65"/>
                <a:gd name="T61" fmla="*/ 6 h 51"/>
                <a:gd name="T62" fmla="*/ 41 w 65"/>
                <a:gd name="T63" fmla="*/ 9 h 51"/>
                <a:gd name="T64" fmla="*/ 41 w 65"/>
                <a:gd name="T65" fmla="*/ 9 h 51"/>
                <a:gd name="T66" fmla="*/ 44 w 65"/>
                <a:gd name="T67" fmla="*/ 9 h 51"/>
                <a:gd name="T68" fmla="*/ 48 w 65"/>
                <a:gd name="T69" fmla="*/ 9 h 51"/>
                <a:gd name="T70" fmla="*/ 51 w 65"/>
                <a:gd name="T71" fmla="*/ 16 h 51"/>
                <a:gd name="T72" fmla="*/ 58 w 65"/>
                <a:gd name="T73" fmla="*/ 22 h 51"/>
                <a:gd name="T74" fmla="*/ 62 w 65"/>
                <a:gd name="T75" fmla="*/ 26 h 51"/>
                <a:gd name="T76" fmla="*/ 65 w 65"/>
                <a:gd name="T77" fmla="*/ 29 h 51"/>
                <a:gd name="T78" fmla="*/ 62 w 65"/>
                <a:gd name="T79" fmla="*/ 29 h 51"/>
                <a:gd name="T80" fmla="*/ 58 w 65"/>
                <a:gd name="T81" fmla="*/ 35 h 51"/>
                <a:gd name="T82" fmla="*/ 58 w 65"/>
                <a:gd name="T83" fmla="*/ 38 h 51"/>
                <a:gd name="T84" fmla="*/ 58 w 65"/>
                <a:gd name="T85" fmla="*/ 42 h 51"/>
                <a:gd name="T86" fmla="*/ 58 w 65"/>
                <a:gd name="T87" fmla="*/ 48 h 51"/>
                <a:gd name="T88" fmla="*/ 58 w 65"/>
                <a:gd name="T8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" h="51">
                  <a:moveTo>
                    <a:pt x="58" y="48"/>
                  </a:move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1" y="51"/>
                  </a:lnTo>
                  <a:lnTo>
                    <a:pt x="51" y="48"/>
                  </a:lnTo>
                  <a:lnTo>
                    <a:pt x="48" y="45"/>
                  </a:lnTo>
                  <a:lnTo>
                    <a:pt x="48" y="42"/>
                  </a:lnTo>
                  <a:lnTo>
                    <a:pt x="44" y="42"/>
                  </a:lnTo>
                  <a:lnTo>
                    <a:pt x="44" y="45"/>
                  </a:lnTo>
                  <a:lnTo>
                    <a:pt x="48" y="45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48" y="51"/>
                  </a:lnTo>
                  <a:lnTo>
                    <a:pt x="44" y="48"/>
                  </a:lnTo>
                  <a:lnTo>
                    <a:pt x="41" y="48"/>
                  </a:lnTo>
                  <a:lnTo>
                    <a:pt x="41" y="45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38"/>
                  </a:lnTo>
                  <a:lnTo>
                    <a:pt x="37" y="35"/>
                  </a:lnTo>
                  <a:lnTo>
                    <a:pt x="34" y="32"/>
                  </a:lnTo>
                  <a:lnTo>
                    <a:pt x="31" y="32"/>
                  </a:lnTo>
                  <a:lnTo>
                    <a:pt x="27" y="29"/>
                  </a:lnTo>
                  <a:lnTo>
                    <a:pt x="27" y="26"/>
                  </a:lnTo>
                  <a:lnTo>
                    <a:pt x="20" y="22"/>
                  </a:lnTo>
                  <a:lnTo>
                    <a:pt x="20" y="19"/>
                  </a:lnTo>
                  <a:lnTo>
                    <a:pt x="17" y="19"/>
                  </a:lnTo>
                  <a:lnTo>
                    <a:pt x="13" y="16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6" y="26"/>
                  </a:lnTo>
                  <a:lnTo>
                    <a:pt x="0" y="19"/>
                  </a:lnTo>
                  <a:lnTo>
                    <a:pt x="0" y="16"/>
                  </a:lnTo>
                  <a:lnTo>
                    <a:pt x="3" y="13"/>
                  </a:lnTo>
                  <a:lnTo>
                    <a:pt x="6" y="13"/>
                  </a:lnTo>
                  <a:lnTo>
                    <a:pt x="3" y="9"/>
                  </a:lnTo>
                  <a:lnTo>
                    <a:pt x="3" y="9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10" y="0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7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8" y="6"/>
                  </a:lnTo>
                  <a:lnTo>
                    <a:pt x="48" y="9"/>
                  </a:lnTo>
                  <a:lnTo>
                    <a:pt x="51" y="13"/>
                  </a:lnTo>
                  <a:lnTo>
                    <a:pt x="51" y="16"/>
                  </a:lnTo>
                  <a:lnTo>
                    <a:pt x="55" y="22"/>
                  </a:lnTo>
                  <a:lnTo>
                    <a:pt x="58" y="22"/>
                  </a:lnTo>
                  <a:lnTo>
                    <a:pt x="58" y="26"/>
                  </a:lnTo>
                  <a:lnTo>
                    <a:pt x="62" y="26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32"/>
                  </a:lnTo>
                  <a:lnTo>
                    <a:pt x="58" y="35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42"/>
                  </a:lnTo>
                  <a:lnTo>
                    <a:pt x="58" y="42"/>
                  </a:lnTo>
                  <a:lnTo>
                    <a:pt x="58" y="45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1" name="Freeform 172"/>
            <p:cNvSpPr>
              <a:spLocks/>
            </p:cNvSpPr>
            <p:nvPr/>
          </p:nvSpPr>
          <p:spPr bwMode="auto">
            <a:xfrm>
              <a:off x="3602038" y="4226580"/>
              <a:ext cx="141288" cy="117475"/>
            </a:xfrm>
            <a:custGeom>
              <a:avLst/>
              <a:gdLst>
                <a:gd name="T0" fmla="*/ 34 w 89"/>
                <a:gd name="T1" fmla="*/ 68 h 74"/>
                <a:gd name="T2" fmla="*/ 41 w 89"/>
                <a:gd name="T3" fmla="*/ 65 h 74"/>
                <a:gd name="T4" fmla="*/ 55 w 89"/>
                <a:gd name="T5" fmla="*/ 68 h 74"/>
                <a:gd name="T6" fmla="*/ 62 w 89"/>
                <a:gd name="T7" fmla="*/ 68 h 74"/>
                <a:gd name="T8" fmla="*/ 65 w 89"/>
                <a:gd name="T9" fmla="*/ 71 h 74"/>
                <a:gd name="T10" fmla="*/ 72 w 89"/>
                <a:gd name="T11" fmla="*/ 74 h 74"/>
                <a:gd name="T12" fmla="*/ 72 w 89"/>
                <a:gd name="T13" fmla="*/ 74 h 74"/>
                <a:gd name="T14" fmla="*/ 75 w 89"/>
                <a:gd name="T15" fmla="*/ 71 h 74"/>
                <a:gd name="T16" fmla="*/ 72 w 89"/>
                <a:gd name="T17" fmla="*/ 65 h 74"/>
                <a:gd name="T18" fmla="*/ 75 w 89"/>
                <a:gd name="T19" fmla="*/ 58 h 74"/>
                <a:gd name="T20" fmla="*/ 75 w 89"/>
                <a:gd name="T21" fmla="*/ 55 h 74"/>
                <a:gd name="T22" fmla="*/ 72 w 89"/>
                <a:gd name="T23" fmla="*/ 58 h 74"/>
                <a:gd name="T24" fmla="*/ 72 w 89"/>
                <a:gd name="T25" fmla="*/ 55 h 74"/>
                <a:gd name="T26" fmla="*/ 75 w 89"/>
                <a:gd name="T27" fmla="*/ 49 h 74"/>
                <a:gd name="T28" fmla="*/ 75 w 89"/>
                <a:gd name="T29" fmla="*/ 42 h 74"/>
                <a:gd name="T30" fmla="*/ 79 w 89"/>
                <a:gd name="T31" fmla="*/ 42 h 74"/>
                <a:gd name="T32" fmla="*/ 79 w 89"/>
                <a:gd name="T33" fmla="*/ 45 h 74"/>
                <a:gd name="T34" fmla="*/ 79 w 89"/>
                <a:gd name="T35" fmla="*/ 49 h 74"/>
                <a:gd name="T36" fmla="*/ 79 w 89"/>
                <a:gd name="T37" fmla="*/ 45 h 74"/>
                <a:gd name="T38" fmla="*/ 82 w 89"/>
                <a:gd name="T39" fmla="*/ 32 h 74"/>
                <a:gd name="T40" fmla="*/ 79 w 89"/>
                <a:gd name="T41" fmla="*/ 29 h 74"/>
                <a:gd name="T42" fmla="*/ 79 w 89"/>
                <a:gd name="T43" fmla="*/ 26 h 74"/>
                <a:gd name="T44" fmla="*/ 82 w 89"/>
                <a:gd name="T45" fmla="*/ 26 h 74"/>
                <a:gd name="T46" fmla="*/ 82 w 89"/>
                <a:gd name="T47" fmla="*/ 23 h 74"/>
                <a:gd name="T48" fmla="*/ 89 w 89"/>
                <a:gd name="T49" fmla="*/ 16 h 74"/>
                <a:gd name="T50" fmla="*/ 86 w 89"/>
                <a:gd name="T51" fmla="*/ 13 h 74"/>
                <a:gd name="T52" fmla="*/ 86 w 89"/>
                <a:gd name="T53" fmla="*/ 10 h 74"/>
                <a:gd name="T54" fmla="*/ 86 w 89"/>
                <a:gd name="T55" fmla="*/ 3 h 74"/>
                <a:gd name="T56" fmla="*/ 89 w 89"/>
                <a:gd name="T57" fmla="*/ 0 h 74"/>
                <a:gd name="T58" fmla="*/ 86 w 89"/>
                <a:gd name="T59" fmla="*/ 0 h 74"/>
                <a:gd name="T60" fmla="*/ 82 w 89"/>
                <a:gd name="T61" fmla="*/ 0 h 74"/>
                <a:gd name="T62" fmla="*/ 79 w 89"/>
                <a:gd name="T63" fmla="*/ 3 h 74"/>
                <a:gd name="T64" fmla="*/ 72 w 89"/>
                <a:gd name="T65" fmla="*/ 7 h 74"/>
                <a:gd name="T66" fmla="*/ 68 w 89"/>
                <a:gd name="T67" fmla="*/ 10 h 74"/>
                <a:gd name="T68" fmla="*/ 62 w 89"/>
                <a:gd name="T69" fmla="*/ 7 h 74"/>
                <a:gd name="T70" fmla="*/ 58 w 89"/>
                <a:gd name="T71" fmla="*/ 7 h 74"/>
                <a:gd name="T72" fmla="*/ 58 w 89"/>
                <a:gd name="T73" fmla="*/ 7 h 74"/>
                <a:gd name="T74" fmla="*/ 51 w 89"/>
                <a:gd name="T75" fmla="*/ 13 h 74"/>
                <a:gd name="T76" fmla="*/ 48 w 89"/>
                <a:gd name="T77" fmla="*/ 16 h 74"/>
                <a:gd name="T78" fmla="*/ 41 w 89"/>
                <a:gd name="T79" fmla="*/ 19 h 74"/>
                <a:gd name="T80" fmla="*/ 37 w 89"/>
                <a:gd name="T81" fmla="*/ 19 h 74"/>
                <a:gd name="T82" fmla="*/ 34 w 89"/>
                <a:gd name="T83" fmla="*/ 19 h 74"/>
                <a:gd name="T84" fmla="*/ 20 w 89"/>
                <a:gd name="T85" fmla="*/ 23 h 74"/>
                <a:gd name="T86" fmla="*/ 17 w 89"/>
                <a:gd name="T87" fmla="*/ 26 h 74"/>
                <a:gd name="T88" fmla="*/ 17 w 89"/>
                <a:gd name="T89" fmla="*/ 32 h 74"/>
                <a:gd name="T90" fmla="*/ 10 w 89"/>
                <a:gd name="T91" fmla="*/ 36 h 74"/>
                <a:gd name="T92" fmla="*/ 6 w 89"/>
                <a:gd name="T93" fmla="*/ 36 h 74"/>
                <a:gd name="T94" fmla="*/ 0 w 89"/>
                <a:gd name="T95" fmla="*/ 36 h 74"/>
                <a:gd name="T96" fmla="*/ 6 w 89"/>
                <a:gd name="T97" fmla="*/ 45 h 74"/>
                <a:gd name="T98" fmla="*/ 10 w 89"/>
                <a:gd name="T99" fmla="*/ 49 h 74"/>
                <a:gd name="T100" fmla="*/ 20 w 89"/>
                <a:gd name="T101" fmla="*/ 58 h 74"/>
                <a:gd name="T102" fmla="*/ 31 w 89"/>
                <a:gd name="T103" fmla="*/ 6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9" h="74">
                  <a:moveTo>
                    <a:pt x="34" y="68"/>
                  </a:moveTo>
                  <a:lnTo>
                    <a:pt x="34" y="68"/>
                  </a:lnTo>
                  <a:lnTo>
                    <a:pt x="34" y="65"/>
                  </a:lnTo>
                  <a:lnTo>
                    <a:pt x="41" y="65"/>
                  </a:lnTo>
                  <a:lnTo>
                    <a:pt x="51" y="68"/>
                  </a:lnTo>
                  <a:lnTo>
                    <a:pt x="55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8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2" y="68"/>
                  </a:lnTo>
                  <a:lnTo>
                    <a:pt x="72" y="65"/>
                  </a:lnTo>
                  <a:lnTo>
                    <a:pt x="75" y="61"/>
                  </a:lnTo>
                  <a:lnTo>
                    <a:pt x="75" y="58"/>
                  </a:lnTo>
                  <a:lnTo>
                    <a:pt x="75" y="55"/>
                  </a:lnTo>
                  <a:lnTo>
                    <a:pt x="75" y="55"/>
                  </a:lnTo>
                  <a:lnTo>
                    <a:pt x="75" y="58"/>
                  </a:lnTo>
                  <a:lnTo>
                    <a:pt x="72" y="58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5" y="45"/>
                  </a:lnTo>
                  <a:lnTo>
                    <a:pt x="75" y="42"/>
                  </a:lnTo>
                  <a:lnTo>
                    <a:pt x="79" y="42"/>
                  </a:lnTo>
                  <a:lnTo>
                    <a:pt x="79" y="42"/>
                  </a:lnTo>
                  <a:lnTo>
                    <a:pt x="79" y="42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9"/>
                  </a:lnTo>
                  <a:lnTo>
                    <a:pt x="79" y="49"/>
                  </a:lnTo>
                  <a:lnTo>
                    <a:pt x="79" y="45"/>
                  </a:lnTo>
                  <a:lnTo>
                    <a:pt x="82" y="39"/>
                  </a:lnTo>
                  <a:lnTo>
                    <a:pt x="82" y="32"/>
                  </a:lnTo>
                  <a:lnTo>
                    <a:pt x="82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3"/>
                  </a:lnTo>
                  <a:lnTo>
                    <a:pt x="86" y="19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6" y="10"/>
                  </a:lnTo>
                  <a:lnTo>
                    <a:pt x="86" y="7"/>
                  </a:lnTo>
                  <a:lnTo>
                    <a:pt x="86" y="3"/>
                  </a:lnTo>
                  <a:lnTo>
                    <a:pt x="89" y="3"/>
                  </a:lnTo>
                  <a:lnTo>
                    <a:pt x="89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79" y="0"/>
                  </a:lnTo>
                  <a:lnTo>
                    <a:pt x="79" y="3"/>
                  </a:lnTo>
                  <a:lnTo>
                    <a:pt x="75" y="3"/>
                  </a:lnTo>
                  <a:lnTo>
                    <a:pt x="72" y="7"/>
                  </a:lnTo>
                  <a:lnTo>
                    <a:pt x="68" y="7"/>
                  </a:lnTo>
                  <a:lnTo>
                    <a:pt x="68" y="10"/>
                  </a:lnTo>
                  <a:lnTo>
                    <a:pt x="65" y="7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5" y="7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48" y="16"/>
                  </a:lnTo>
                  <a:lnTo>
                    <a:pt x="44" y="19"/>
                  </a:lnTo>
                  <a:lnTo>
                    <a:pt x="41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27" y="19"/>
                  </a:lnTo>
                  <a:lnTo>
                    <a:pt x="20" y="23"/>
                  </a:lnTo>
                  <a:lnTo>
                    <a:pt x="17" y="23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32"/>
                  </a:lnTo>
                  <a:lnTo>
                    <a:pt x="13" y="32"/>
                  </a:lnTo>
                  <a:lnTo>
                    <a:pt x="10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3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6" y="45"/>
                  </a:lnTo>
                  <a:lnTo>
                    <a:pt x="10" y="45"/>
                  </a:lnTo>
                  <a:lnTo>
                    <a:pt x="10" y="49"/>
                  </a:lnTo>
                  <a:lnTo>
                    <a:pt x="17" y="52"/>
                  </a:lnTo>
                  <a:lnTo>
                    <a:pt x="20" y="58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4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2" name="Freeform 173"/>
            <p:cNvSpPr>
              <a:spLocks/>
            </p:cNvSpPr>
            <p:nvPr/>
          </p:nvSpPr>
          <p:spPr bwMode="auto">
            <a:xfrm>
              <a:off x="3541713" y="4196417"/>
              <a:ext cx="201613" cy="87312"/>
            </a:xfrm>
            <a:custGeom>
              <a:avLst/>
              <a:gdLst>
                <a:gd name="T0" fmla="*/ 48 w 127"/>
                <a:gd name="T1" fmla="*/ 55 h 55"/>
                <a:gd name="T2" fmla="*/ 55 w 127"/>
                <a:gd name="T3" fmla="*/ 51 h 55"/>
                <a:gd name="T4" fmla="*/ 55 w 127"/>
                <a:gd name="T5" fmla="*/ 45 h 55"/>
                <a:gd name="T6" fmla="*/ 58 w 127"/>
                <a:gd name="T7" fmla="*/ 42 h 55"/>
                <a:gd name="T8" fmla="*/ 72 w 127"/>
                <a:gd name="T9" fmla="*/ 38 h 55"/>
                <a:gd name="T10" fmla="*/ 75 w 127"/>
                <a:gd name="T11" fmla="*/ 38 h 55"/>
                <a:gd name="T12" fmla="*/ 79 w 127"/>
                <a:gd name="T13" fmla="*/ 38 h 55"/>
                <a:gd name="T14" fmla="*/ 86 w 127"/>
                <a:gd name="T15" fmla="*/ 35 h 55"/>
                <a:gd name="T16" fmla="*/ 89 w 127"/>
                <a:gd name="T17" fmla="*/ 32 h 55"/>
                <a:gd name="T18" fmla="*/ 96 w 127"/>
                <a:gd name="T19" fmla="*/ 26 h 55"/>
                <a:gd name="T20" fmla="*/ 96 w 127"/>
                <a:gd name="T21" fmla="*/ 26 h 55"/>
                <a:gd name="T22" fmla="*/ 100 w 127"/>
                <a:gd name="T23" fmla="*/ 26 h 55"/>
                <a:gd name="T24" fmla="*/ 106 w 127"/>
                <a:gd name="T25" fmla="*/ 29 h 55"/>
                <a:gd name="T26" fmla="*/ 110 w 127"/>
                <a:gd name="T27" fmla="*/ 26 h 55"/>
                <a:gd name="T28" fmla="*/ 117 w 127"/>
                <a:gd name="T29" fmla="*/ 22 h 55"/>
                <a:gd name="T30" fmla="*/ 120 w 127"/>
                <a:gd name="T31" fmla="*/ 19 h 55"/>
                <a:gd name="T32" fmla="*/ 124 w 127"/>
                <a:gd name="T33" fmla="*/ 19 h 55"/>
                <a:gd name="T34" fmla="*/ 127 w 127"/>
                <a:gd name="T35" fmla="*/ 19 h 55"/>
                <a:gd name="T36" fmla="*/ 127 w 127"/>
                <a:gd name="T37" fmla="*/ 16 h 55"/>
                <a:gd name="T38" fmla="*/ 120 w 127"/>
                <a:gd name="T39" fmla="*/ 13 h 55"/>
                <a:gd name="T40" fmla="*/ 120 w 127"/>
                <a:gd name="T41" fmla="*/ 16 h 55"/>
                <a:gd name="T42" fmla="*/ 110 w 127"/>
                <a:gd name="T43" fmla="*/ 16 h 55"/>
                <a:gd name="T44" fmla="*/ 106 w 127"/>
                <a:gd name="T45" fmla="*/ 13 h 55"/>
                <a:gd name="T46" fmla="*/ 103 w 127"/>
                <a:gd name="T47" fmla="*/ 13 h 55"/>
                <a:gd name="T48" fmla="*/ 106 w 127"/>
                <a:gd name="T49" fmla="*/ 9 h 55"/>
                <a:gd name="T50" fmla="*/ 110 w 127"/>
                <a:gd name="T51" fmla="*/ 9 h 55"/>
                <a:gd name="T52" fmla="*/ 117 w 127"/>
                <a:gd name="T53" fmla="*/ 13 h 55"/>
                <a:gd name="T54" fmla="*/ 106 w 127"/>
                <a:gd name="T55" fmla="*/ 6 h 55"/>
                <a:gd name="T56" fmla="*/ 100 w 127"/>
                <a:gd name="T57" fmla="*/ 6 h 55"/>
                <a:gd name="T58" fmla="*/ 100 w 127"/>
                <a:gd name="T59" fmla="*/ 9 h 55"/>
                <a:gd name="T60" fmla="*/ 86 w 127"/>
                <a:gd name="T61" fmla="*/ 6 h 55"/>
                <a:gd name="T62" fmla="*/ 75 w 127"/>
                <a:gd name="T63" fmla="*/ 3 h 55"/>
                <a:gd name="T64" fmla="*/ 69 w 127"/>
                <a:gd name="T65" fmla="*/ 3 h 55"/>
                <a:gd name="T66" fmla="*/ 69 w 127"/>
                <a:gd name="T67" fmla="*/ 6 h 55"/>
                <a:gd name="T68" fmla="*/ 62 w 127"/>
                <a:gd name="T69" fmla="*/ 6 h 55"/>
                <a:gd name="T70" fmla="*/ 48 w 127"/>
                <a:gd name="T71" fmla="*/ 6 h 55"/>
                <a:gd name="T72" fmla="*/ 31 w 127"/>
                <a:gd name="T73" fmla="*/ 9 h 55"/>
                <a:gd name="T74" fmla="*/ 27 w 127"/>
                <a:gd name="T75" fmla="*/ 9 h 55"/>
                <a:gd name="T76" fmla="*/ 24 w 127"/>
                <a:gd name="T77" fmla="*/ 13 h 55"/>
                <a:gd name="T78" fmla="*/ 17 w 127"/>
                <a:gd name="T79" fmla="*/ 16 h 55"/>
                <a:gd name="T80" fmla="*/ 7 w 127"/>
                <a:gd name="T81" fmla="*/ 22 h 55"/>
                <a:gd name="T82" fmla="*/ 7 w 127"/>
                <a:gd name="T83" fmla="*/ 29 h 55"/>
                <a:gd name="T84" fmla="*/ 3 w 127"/>
                <a:gd name="T85" fmla="*/ 32 h 55"/>
                <a:gd name="T86" fmla="*/ 0 w 127"/>
                <a:gd name="T87" fmla="*/ 35 h 55"/>
                <a:gd name="T88" fmla="*/ 3 w 127"/>
                <a:gd name="T89" fmla="*/ 48 h 55"/>
                <a:gd name="T90" fmla="*/ 10 w 127"/>
                <a:gd name="T91" fmla="*/ 48 h 55"/>
                <a:gd name="T92" fmla="*/ 17 w 127"/>
                <a:gd name="T93" fmla="*/ 51 h 55"/>
                <a:gd name="T94" fmla="*/ 17 w 127"/>
                <a:gd name="T95" fmla="*/ 48 h 55"/>
                <a:gd name="T96" fmla="*/ 24 w 127"/>
                <a:gd name="T97" fmla="*/ 51 h 55"/>
                <a:gd name="T98" fmla="*/ 34 w 127"/>
                <a:gd name="T99" fmla="*/ 55 h 55"/>
                <a:gd name="T100" fmla="*/ 34 w 127"/>
                <a:gd name="T101" fmla="*/ 48 h 55"/>
                <a:gd name="T102" fmla="*/ 38 w 127"/>
                <a:gd name="T103" fmla="*/ 48 h 55"/>
                <a:gd name="T104" fmla="*/ 41 w 127"/>
                <a:gd name="T105" fmla="*/ 51 h 55"/>
                <a:gd name="T106" fmla="*/ 44 w 127"/>
                <a:gd name="T107" fmla="*/ 51 h 55"/>
                <a:gd name="T108" fmla="*/ 44 w 127"/>
                <a:gd name="T10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7" h="55">
                  <a:moveTo>
                    <a:pt x="44" y="55"/>
                  </a:moveTo>
                  <a:lnTo>
                    <a:pt x="48" y="55"/>
                  </a:lnTo>
                  <a:lnTo>
                    <a:pt x="51" y="51"/>
                  </a:lnTo>
                  <a:lnTo>
                    <a:pt x="55" y="51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5" y="42"/>
                  </a:lnTo>
                  <a:lnTo>
                    <a:pt x="58" y="42"/>
                  </a:lnTo>
                  <a:lnTo>
                    <a:pt x="65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9" y="38"/>
                  </a:lnTo>
                  <a:lnTo>
                    <a:pt x="82" y="38"/>
                  </a:lnTo>
                  <a:lnTo>
                    <a:pt x="86" y="35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93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3" y="26"/>
                  </a:lnTo>
                  <a:lnTo>
                    <a:pt x="106" y="29"/>
                  </a:lnTo>
                  <a:lnTo>
                    <a:pt x="106" y="26"/>
                  </a:lnTo>
                  <a:lnTo>
                    <a:pt x="110" y="26"/>
                  </a:lnTo>
                  <a:lnTo>
                    <a:pt x="113" y="22"/>
                  </a:lnTo>
                  <a:lnTo>
                    <a:pt x="117" y="22"/>
                  </a:lnTo>
                  <a:lnTo>
                    <a:pt x="117" y="19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4" y="19"/>
                  </a:lnTo>
                  <a:lnTo>
                    <a:pt x="124" y="19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6"/>
                  </a:lnTo>
                  <a:lnTo>
                    <a:pt x="124" y="13"/>
                  </a:lnTo>
                  <a:lnTo>
                    <a:pt x="120" y="13"/>
                  </a:lnTo>
                  <a:lnTo>
                    <a:pt x="117" y="13"/>
                  </a:lnTo>
                  <a:lnTo>
                    <a:pt x="120" y="16"/>
                  </a:lnTo>
                  <a:lnTo>
                    <a:pt x="117" y="16"/>
                  </a:lnTo>
                  <a:lnTo>
                    <a:pt x="110" y="16"/>
                  </a:lnTo>
                  <a:lnTo>
                    <a:pt x="110" y="13"/>
                  </a:lnTo>
                  <a:lnTo>
                    <a:pt x="106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6" y="13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10" y="9"/>
                  </a:lnTo>
                  <a:lnTo>
                    <a:pt x="113" y="13"/>
                  </a:lnTo>
                  <a:lnTo>
                    <a:pt x="117" y="13"/>
                  </a:lnTo>
                  <a:lnTo>
                    <a:pt x="113" y="9"/>
                  </a:lnTo>
                  <a:lnTo>
                    <a:pt x="106" y="6"/>
                  </a:lnTo>
                  <a:lnTo>
                    <a:pt x="103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0" y="9"/>
                  </a:lnTo>
                  <a:lnTo>
                    <a:pt x="96" y="6"/>
                  </a:lnTo>
                  <a:lnTo>
                    <a:pt x="86" y="6"/>
                  </a:lnTo>
                  <a:lnTo>
                    <a:pt x="79" y="6"/>
                  </a:lnTo>
                  <a:lnTo>
                    <a:pt x="75" y="3"/>
                  </a:lnTo>
                  <a:lnTo>
                    <a:pt x="69" y="0"/>
                  </a:lnTo>
                  <a:lnTo>
                    <a:pt x="69" y="3"/>
                  </a:lnTo>
                  <a:lnTo>
                    <a:pt x="72" y="3"/>
                  </a:lnTo>
                  <a:lnTo>
                    <a:pt x="69" y="6"/>
                  </a:lnTo>
                  <a:lnTo>
                    <a:pt x="65" y="6"/>
                  </a:lnTo>
                  <a:lnTo>
                    <a:pt x="62" y="6"/>
                  </a:lnTo>
                  <a:lnTo>
                    <a:pt x="55" y="6"/>
                  </a:lnTo>
                  <a:lnTo>
                    <a:pt x="48" y="6"/>
                  </a:lnTo>
                  <a:lnTo>
                    <a:pt x="38" y="6"/>
                  </a:lnTo>
                  <a:lnTo>
                    <a:pt x="31" y="9"/>
                  </a:lnTo>
                  <a:lnTo>
                    <a:pt x="31" y="6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4" y="13"/>
                  </a:lnTo>
                  <a:lnTo>
                    <a:pt x="20" y="16"/>
                  </a:lnTo>
                  <a:lnTo>
                    <a:pt x="17" y="16"/>
                  </a:lnTo>
                  <a:lnTo>
                    <a:pt x="10" y="19"/>
                  </a:lnTo>
                  <a:lnTo>
                    <a:pt x="7" y="22"/>
                  </a:lnTo>
                  <a:lnTo>
                    <a:pt x="10" y="26"/>
                  </a:lnTo>
                  <a:lnTo>
                    <a:pt x="7" y="29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5"/>
                  </a:lnTo>
                  <a:lnTo>
                    <a:pt x="0" y="35"/>
                  </a:lnTo>
                  <a:lnTo>
                    <a:pt x="0" y="42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10" y="48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4" y="48"/>
                  </a:lnTo>
                  <a:lnTo>
                    <a:pt x="17" y="48"/>
                  </a:lnTo>
                  <a:lnTo>
                    <a:pt x="20" y="48"/>
                  </a:lnTo>
                  <a:lnTo>
                    <a:pt x="24" y="51"/>
                  </a:lnTo>
                  <a:lnTo>
                    <a:pt x="24" y="55"/>
                  </a:lnTo>
                  <a:lnTo>
                    <a:pt x="34" y="55"/>
                  </a:lnTo>
                  <a:lnTo>
                    <a:pt x="34" y="51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8" y="48"/>
                  </a:lnTo>
                  <a:lnTo>
                    <a:pt x="38" y="51"/>
                  </a:lnTo>
                  <a:lnTo>
                    <a:pt x="41" y="51"/>
                  </a:lnTo>
                  <a:lnTo>
                    <a:pt x="41" y="48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4" y="55"/>
                  </a:lnTo>
                  <a:lnTo>
                    <a:pt x="44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3" name="Freeform 174"/>
            <p:cNvSpPr>
              <a:spLocks/>
            </p:cNvSpPr>
            <p:nvPr/>
          </p:nvSpPr>
          <p:spPr bwMode="auto">
            <a:xfrm>
              <a:off x="3524251" y="4242455"/>
              <a:ext cx="77788" cy="41275"/>
            </a:xfrm>
            <a:custGeom>
              <a:avLst/>
              <a:gdLst>
                <a:gd name="T0" fmla="*/ 18 w 49"/>
                <a:gd name="T1" fmla="*/ 0 h 26"/>
                <a:gd name="T2" fmla="*/ 21 w 49"/>
                <a:gd name="T3" fmla="*/ 0 h 26"/>
                <a:gd name="T4" fmla="*/ 21 w 49"/>
                <a:gd name="T5" fmla="*/ 3 h 26"/>
                <a:gd name="T6" fmla="*/ 25 w 49"/>
                <a:gd name="T7" fmla="*/ 3 h 26"/>
                <a:gd name="T8" fmla="*/ 25 w 49"/>
                <a:gd name="T9" fmla="*/ 3 h 26"/>
                <a:gd name="T10" fmla="*/ 28 w 49"/>
                <a:gd name="T11" fmla="*/ 3 h 26"/>
                <a:gd name="T12" fmla="*/ 31 w 49"/>
                <a:gd name="T13" fmla="*/ 6 h 26"/>
                <a:gd name="T14" fmla="*/ 35 w 49"/>
                <a:gd name="T15" fmla="*/ 6 h 26"/>
                <a:gd name="T16" fmla="*/ 35 w 49"/>
                <a:gd name="T17" fmla="*/ 9 h 26"/>
                <a:gd name="T18" fmla="*/ 38 w 49"/>
                <a:gd name="T19" fmla="*/ 9 h 26"/>
                <a:gd name="T20" fmla="*/ 38 w 49"/>
                <a:gd name="T21" fmla="*/ 9 h 26"/>
                <a:gd name="T22" fmla="*/ 38 w 49"/>
                <a:gd name="T23" fmla="*/ 6 h 26"/>
                <a:gd name="T24" fmla="*/ 42 w 49"/>
                <a:gd name="T25" fmla="*/ 6 h 26"/>
                <a:gd name="T26" fmla="*/ 45 w 49"/>
                <a:gd name="T27" fmla="*/ 6 h 26"/>
                <a:gd name="T28" fmla="*/ 49 w 49"/>
                <a:gd name="T29" fmla="*/ 9 h 26"/>
                <a:gd name="T30" fmla="*/ 49 w 49"/>
                <a:gd name="T31" fmla="*/ 9 h 26"/>
                <a:gd name="T32" fmla="*/ 45 w 49"/>
                <a:gd name="T33" fmla="*/ 13 h 26"/>
                <a:gd name="T34" fmla="*/ 49 w 49"/>
                <a:gd name="T35" fmla="*/ 16 h 26"/>
                <a:gd name="T36" fmla="*/ 45 w 49"/>
                <a:gd name="T37" fmla="*/ 19 h 26"/>
                <a:gd name="T38" fmla="*/ 45 w 49"/>
                <a:gd name="T39" fmla="*/ 19 h 26"/>
                <a:gd name="T40" fmla="*/ 45 w 49"/>
                <a:gd name="T41" fmla="*/ 19 h 26"/>
                <a:gd name="T42" fmla="*/ 45 w 49"/>
                <a:gd name="T43" fmla="*/ 22 h 26"/>
                <a:gd name="T44" fmla="*/ 45 w 49"/>
                <a:gd name="T45" fmla="*/ 26 h 26"/>
                <a:gd name="T46" fmla="*/ 35 w 49"/>
                <a:gd name="T47" fmla="*/ 26 h 26"/>
                <a:gd name="T48" fmla="*/ 35 w 49"/>
                <a:gd name="T49" fmla="*/ 22 h 26"/>
                <a:gd name="T50" fmla="*/ 31 w 49"/>
                <a:gd name="T51" fmla="*/ 19 h 26"/>
                <a:gd name="T52" fmla="*/ 28 w 49"/>
                <a:gd name="T53" fmla="*/ 19 h 26"/>
                <a:gd name="T54" fmla="*/ 25 w 49"/>
                <a:gd name="T55" fmla="*/ 19 h 26"/>
                <a:gd name="T56" fmla="*/ 28 w 49"/>
                <a:gd name="T57" fmla="*/ 22 h 26"/>
                <a:gd name="T58" fmla="*/ 28 w 49"/>
                <a:gd name="T59" fmla="*/ 22 h 26"/>
                <a:gd name="T60" fmla="*/ 21 w 49"/>
                <a:gd name="T61" fmla="*/ 19 h 26"/>
                <a:gd name="T62" fmla="*/ 14 w 49"/>
                <a:gd name="T63" fmla="*/ 19 h 26"/>
                <a:gd name="T64" fmla="*/ 11 w 49"/>
                <a:gd name="T65" fmla="*/ 19 h 26"/>
                <a:gd name="T66" fmla="*/ 7 w 49"/>
                <a:gd name="T67" fmla="*/ 16 h 26"/>
                <a:gd name="T68" fmla="*/ 4 w 49"/>
                <a:gd name="T69" fmla="*/ 16 h 26"/>
                <a:gd name="T70" fmla="*/ 0 w 49"/>
                <a:gd name="T71" fmla="*/ 16 h 26"/>
                <a:gd name="T72" fmla="*/ 0 w 49"/>
                <a:gd name="T73" fmla="*/ 13 h 26"/>
                <a:gd name="T74" fmla="*/ 0 w 49"/>
                <a:gd name="T75" fmla="*/ 13 h 26"/>
                <a:gd name="T76" fmla="*/ 0 w 49"/>
                <a:gd name="T77" fmla="*/ 9 h 26"/>
                <a:gd name="T78" fmla="*/ 4 w 49"/>
                <a:gd name="T79" fmla="*/ 6 h 26"/>
                <a:gd name="T80" fmla="*/ 11 w 49"/>
                <a:gd name="T81" fmla="*/ 6 h 26"/>
                <a:gd name="T82" fmla="*/ 14 w 49"/>
                <a:gd name="T83" fmla="*/ 6 h 26"/>
                <a:gd name="T84" fmla="*/ 14 w 49"/>
                <a:gd name="T85" fmla="*/ 3 h 26"/>
                <a:gd name="T86" fmla="*/ 18 w 49"/>
                <a:gd name="T8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9" h="26">
                  <a:moveTo>
                    <a:pt x="18" y="0"/>
                  </a:moveTo>
                  <a:lnTo>
                    <a:pt x="21" y="0"/>
                  </a:lnTo>
                  <a:lnTo>
                    <a:pt x="21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8" y="3"/>
                  </a:lnTo>
                  <a:lnTo>
                    <a:pt x="31" y="6"/>
                  </a:lnTo>
                  <a:lnTo>
                    <a:pt x="35" y="6"/>
                  </a:lnTo>
                  <a:lnTo>
                    <a:pt x="35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6"/>
                  </a:lnTo>
                  <a:lnTo>
                    <a:pt x="42" y="6"/>
                  </a:lnTo>
                  <a:lnTo>
                    <a:pt x="45" y="6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5" y="13"/>
                  </a:lnTo>
                  <a:lnTo>
                    <a:pt x="49" y="16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2"/>
                  </a:lnTo>
                  <a:lnTo>
                    <a:pt x="45" y="26"/>
                  </a:lnTo>
                  <a:lnTo>
                    <a:pt x="35" y="26"/>
                  </a:lnTo>
                  <a:lnTo>
                    <a:pt x="35" y="22"/>
                  </a:lnTo>
                  <a:lnTo>
                    <a:pt x="31" y="19"/>
                  </a:lnTo>
                  <a:lnTo>
                    <a:pt x="28" y="19"/>
                  </a:lnTo>
                  <a:lnTo>
                    <a:pt x="25" y="19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1" y="19"/>
                  </a:lnTo>
                  <a:lnTo>
                    <a:pt x="14" y="19"/>
                  </a:lnTo>
                  <a:lnTo>
                    <a:pt x="11" y="19"/>
                  </a:lnTo>
                  <a:lnTo>
                    <a:pt x="7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4" name="Freeform 175"/>
            <p:cNvSpPr>
              <a:spLocks/>
            </p:cNvSpPr>
            <p:nvPr/>
          </p:nvSpPr>
          <p:spPr bwMode="auto">
            <a:xfrm>
              <a:off x="3557588" y="4134505"/>
              <a:ext cx="38100" cy="66675"/>
            </a:xfrm>
            <a:custGeom>
              <a:avLst/>
              <a:gdLst>
                <a:gd name="T0" fmla="*/ 0 w 24"/>
                <a:gd name="T1" fmla="*/ 13 h 42"/>
                <a:gd name="T2" fmla="*/ 0 w 24"/>
                <a:gd name="T3" fmla="*/ 13 h 42"/>
                <a:gd name="T4" fmla="*/ 0 w 24"/>
                <a:gd name="T5" fmla="*/ 10 h 42"/>
                <a:gd name="T6" fmla="*/ 4 w 24"/>
                <a:gd name="T7" fmla="*/ 6 h 42"/>
                <a:gd name="T8" fmla="*/ 7 w 24"/>
                <a:gd name="T9" fmla="*/ 6 h 42"/>
                <a:gd name="T10" fmla="*/ 7 w 24"/>
                <a:gd name="T11" fmla="*/ 10 h 42"/>
                <a:gd name="T12" fmla="*/ 7 w 24"/>
                <a:gd name="T13" fmla="*/ 10 h 42"/>
                <a:gd name="T14" fmla="*/ 7 w 24"/>
                <a:gd name="T15" fmla="*/ 10 h 42"/>
                <a:gd name="T16" fmla="*/ 10 w 24"/>
                <a:gd name="T17" fmla="*/ 10 h 42"/>
                <a:gd name="T18" fmla="*/ 10 w 24"/>
                <a:gd name="T19" fmla="*/ 6 h 42"/>
                <a:gd name="T20" fmla="*/ 10 w 24"/>
                <a:gd name="T21" fmla="*/ 6 h 42"/>
                <a:gd name="T22" fmla="*/ 14 w 24"/>
                <a:gd name="T23" fmla="*/ 3 h 42"/>
                <a:gd name="T24" fmla="*/ 14 w 24"/>
                <a:gd name="T25" fmla="*/ 0 h 42"/>
                <a:gd name="T26" fmla="*/ 14 w 24"/>
                <a:gd name="T27" fmla="*/ 0 h 42"/>
                <a:gd name="T28" fmla="*/ 17 w 24"/>
                <a:gd name="T29" fmla="*/ 0 h 42"/>
                <a:gd name="T30" fmla="*/ 17 w 24"/>
                <a:gd name="T31" fmla="*/ 3 h 42"/>
                <a:gd name="T32" fmla="*/ 21 w 24"/>
                <a:gd name="T33" fmla="*/ 0 h 42"/>
                <a:gd name="T34" fmla="*/ 21 w 24"/>
                <a:gd name="T35" fmla="*/ 0 h 42"/>
                <a:gd name="T36" fmla="*/ 24 w 24"/>
                <a:gd name="T37" fmla="*/ 3 h 42"/>
                <a:gd name="T38" fmla="*/ 21 w 24"/>
                <a:gd name="T39" fmla="*/ 3 h 42"/>
                <a:gd name="T40" fmla="*/ 21 w 24"/>
                <a:gd name="T41" fmla="*/ 13 h 42"/>
                <a:gd name="T42" fmla="*/ 21 w 24"/>
                <a:gd name="T43" fmla="*/ 16 h 42"/>
                <a:gd name="T44" fmla="*/ 17 w 24"/>
                <a:gd name="T45" fmla="*/ 19 h 42"/>
                <a:gd name="T46" fmla="*/ 21 w 24"/>
                <a:gd name="T47" fmla="*/ 23 h 42"/>
                <a:gd name="T48" fmla="*/ 21 w 24"/>
                <a:gd name="T49" fmla="*/ 26 h 42"/>
                <a:gd name="T50" fmla="*/ 17 w 24"/>
                <a:gd name="T51" fmla="*/ 32 h 42"/>
                <a:gd name="T52" fmla="*/ 14 w 24"/>
                <a:gd name="T53" fmla="*/ 39 h 42"/>
                <a:gd name="T54" fmla="*/ 10 w 24"/>
                <a:gd name="T55" fmla="*/ 35 h 42"/>
                <a:gd name="T56" fmla="*/ 7 w 24"/>
                <a:gd name="T57" fmla="*/ 39 h 42"/>
                <a:gd name="T58" fmla="*/ 7 w 24"/>
                <a:gd name="T59" fmla="*/ 42 h 42"/>
                <a:gd name="T60" fmla="*/ 7 w 24"/>
                <a:gd name="T61" fmla="*/ 42 h 42"/>
                <a:gd name="T62" fmla="*/ 4 w 24"/>
                <a:gd name="T63" fmla="*/ 42 h 42"/>
                <a:gd name="T64" fmla="*/ 4 w 24"/>
                <a:gd name="T65" fmla="*/ 42 h 42"/>
                <a:gd name="T66" fmla="*/ 0 w 24"/>
                <a:gd name="T67" fmla="*/ 42 h 42"/>
                <a:gd name="T68" fmla="*/ 0 w 24"/>
                <a:gd name="T69" fmla="*/ 13 h 42"/>
                <a:gd name="T70" fmla="*/ 0 w 24"/>
                <a:gd name="T71" fmla="*/ 1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" h="42">
                  <a:moveTo>
                    <a:pt x="0" y="13"/>
                  </a:moveTo>
                  <a:lnTo>
                    <a:pt x="0" y="13"/>
                  </a:lnTo>
                  <a:lnTo>
                    <a:pt x="0" y="10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10" y="10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17" y="3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21" y="13"/>
                  </a:lnTo>
                  <a:lnTo>
                    <a:pt x="21" y="16"/>
                  </a:lnTo>
                  <a:lnTo>
                    <a:pt x="17" y="19"/>
                  </a:lnTo>
                  <a:lnTo>
                    <a:pt x="21" y="23"/>
                  </a:lnTo>
                  <a:lnTo>
                    <a:pt x="21" y="26"/>
                  </a:lnTo>
                  <a:lnTo>
                    <a:pt x="17" y="32"/>
                  </a:lnTo>
                  <a:lnTo>
                    <a:pt x="14" y="39"/>
                  </a:lnTo>
                  <a:lnTo>
                    <a:pt x="10" y="35"/>
                  </a:lnTo>
                  <a:lnTo>
                    <a:pt x="7" y="39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0" y="42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5" name="Freeform 176"/>
            <p:cNvSpPr>
              <a:spLocks/>
            </p:cNvSpPr>
            <p:nvPr/>
          </p:nvSpPr>
          <p:spPr bwMode="auto">
            <a:xfrm>
              <a:off x="3459163" y="4150380"/>
              <a:ext cx="131763" cy="112712"/>
            </a:xfrm>
            <a:custGeom>
              <a:avLst/>
              <a:gdLst>
                <a:gd name="T0" fmla="*/ 41 w 83"/>
                <a:gd name="T1" fmla="*/ 71 h 71"/>
                <a:gd name="T2" fmla="*/ 41 w 83"/>
                <a:gd name="T3" fmla="*/ 71 h 71"/>
                <a:gd name="T4" fmla="*/ 41 w 83"/>
                <a:gd name="T5" fmla="*/ 67 h 71"/>
                <a:gd name="T6" fmla="*/ 45 w 83"/>
                <a:gd name="T7" fmla="*/ 64 h 71"/>
                <a:gd name="T8" fmla="*/ 52 w 83"/>
                <a:gd name="T9" fmla="*/ 64 h 71"/>
                <a:gd name="T10" fmla="*/ 55 w 83"/>
                <a:gd name="T11" fmla="*/ 64 h 71"/>
                <a:gd name="T12" fmla="*/ 55 w 83"/>
                <a:gd name="T13" fmla="*/ 61 h 71"/>
                <a:gd name="T14" fmla="*/ 59 w 83"/>
                <a:gd name="T15" fmla="*/ 58 h 71"/>
                <a:gd name="T16" fmla="*/ 62 w 83"/>
                <a:gd name="T17" fmla="*/ 55 h 71"/>
                <a:gd name="T18" fmla="*/ 59 w 83"/>
                <a:gd name="T19" fmla="*/ 51 h 71"/>
                <a:gd name="T20" fmla="*/ 62 w 83"/>
                <a:gd name="T21" fmla="*/ 48 h 71"/>
                <a:gd name="T22" fmla="*/ 69 w 83"/>
                <a:gd name="T23" fmla="*/ 45 h 71"/>
                <a:gd name="T24" fmla="*/ 72 w 83"/>
                <a:gd name="T25" fmla="*/ 45 h 71"/>
                <a:gd name="T26" fmla="*/ 76 w 83"/>
                <a:gd name="T27" fmla="*/ 42 h 71"/>
                <a:gd name="T28" fmla="*/ 79 w 83"/>
                <a:gd name="T29" fmla="*/ 38 h 71"/>
                <a:gd name="T30" fmla="*/ 79 w 83"/>
                <a:gd name="T31" fmla="*/ 38 h 71"/>
                <a:gd name="T32" fmla="*/ 83 w 83"/>
                <a:gd name="T33" fmla="*/ 35 h 71"/>
                <a:gd name="T34" fmla="*/ 79 w 83"/>
                <a:gd name="T35" fmla="*/ 35 h 71"/>
                <a:gd name="T36" fmla="*/ 76 w 83"/>
                <a:gd name="T37" fmla="*/ 35 h 71"/>
                <a:gd name="T38" fmla="*/ 76 w 83"/>
                <a:gd name="T39" fmla="*/ 35 h 71"/>
                <a:gd name="T40" fmla="*/ 72 w 83"/>
                <a:gd name="T41" fmla="*/ 35 h 71"/>
                <a:gd name="T42" fmla="*/ 69 w 83"/>
                <a:gd name="T43" fmla="*/ 35 h 71"/>
                <a:gd name="T44" fmla="*/ 69 w 83"/>
                <a:gd name="T45" fmla="*/ 32 h 71"/>
                <a:gd name="T46" fmla="*/ 66 w 83"/>
                <a:gd name="T47" fmla="*/ 32 h 71"/>
                <a:gd name="T48" fmla="*/ 66 w 83"/>
                <a:gd name="T49" fmla="*/ 32 h 71"/>
                <a:gd name="T50" fmla="*/ 62 w 83"/>
                <a:gd name="T51" fmla="*/ 32 h 71"/>
                <a:gd name="T52" fmla="*/ 62 w 83"/>
                <a:gd name="T53" fmla="*/ 3 h 71"/>
                <a:gd name="T54" fmla="*/ 62 w 83"/>
                <a:gd name="T55" fmla="*/ 3 h 71"/>
                <a:gd name="T56" fmla="*/ 28 w 83"/>
                <a:gd name="T57" fmla="*/ 0 h 71"/>
                <a:gd name="T58" fmla="*/ 28 w 83"/>
                <a:gd name="T59" fmla="*/ 9 h 71"/>
                <a:gd name="T60" fmla="*/ 21 w 83"/>
                <a:gd name="T61" fmla="*/ 9 h 71"/>
                <a:gd name="T62" fmla="*/ 24 w 83"/>
                <a:gd name="T63" fmla="*/ 13 h 71"/>
                <a:gd name="T64" fmla="*/ 24 w 83"/>
                <a:gd name="T65" fmla="*/ 13 h 71"/>
                <a:gd name="T66" fmla="*/ 28 w 83"/>
                <a:gd name="T67" fmla="*/ 16 h 71"/>
                <a:gd name="T68" fmla="*/ 31 w 83"/>
                <a:gd name="T69" fmla="*/ 19 h 71"/>
                <a:gd name="T70" fmla="*/ 31 w 83"/>
                <a:gd name="T71" fmla="*/ 19 h 71"/>
                <a:gd name="T72" fmla="*/ 35 w 83"/>
                <a:gd name="T73" fmla="*/ 22 h 71"/>
                <a:gd name="T74" fmla="*/ 35 w 83"/>
                <a:gd name="T75" fmla="*/ 22 h 71"/>
                <a:gd name="T76" fmla="*/ 35 w 83"/>
                <a:gd name="T77" fmla="*/ 25 h 71"/>
                <a:gd name="T78" fmla="*/ 38 w 83"/>
                <a:gd name="T79" fmla="*/ 25 h 71"/>
                <a:gd name="T80" fmla="*/ 41 w 83"/>
                <a:gd name="T81" fmla="*/ 25 h 71"/>
                <a:gd name="T82" fmla="*/ 41 w 83"/>
                <a:gd name="T83" fmla="*/ 29 h 71"/>
                <a:gd name="T84" fmla="*/ 38 w 83"/>
                <a:gd name="T85" fmla="*/ 29 h 71"/>
                <a:gd name="T86" fmla="*/ 14 w 83"/>
                <a:gd name="T87" fmla="*/ 29 h 71"/>
                <a:gd name="T88" fmla="*/ 4 w 83"/>
                <a:gd name="T89" fmla="*/ 45 h 71"/>
                <a:gd name="T90" fmla="*/ 4 w 83"/>
                <a:gd name="T91" fmla="*/ 48 h 71"/>
                <a:gd name="T92" fmla="*/ 4 w 83"/>
                <a:gd name="T93" fmla="*/ 48 h 71"/>
                <a:gd name="T94" fmla="*/ 4 w 83"/>
                <a:gd name="T95" fmla="*/ 51 h 71"/>
                <a:gd name="T96" fmla="*/ 4 w 83"/>
                <a:gd name="T97" fmla="*/ 51 h 71"/>
                <a:gd name="T98" fmla="*/ 4 w 83"/>
                <a:gd name="T99" fmla="*/ 51 h 71"/>
                <a:gd name="T100" fmla="*/ 4 w 83"/>
                <a:gd name="T101" fmla="*/ 55 h 71"/>
                <a:gd name="T102" fmla="*/ 4 w 83"/>
                <a:gd name="T103" fmla="*/ 55 h 71"/>
                <a:gd name="T104" fmla="*/ 0 w 83"/>
                <a:gd name="T105" fmla="*/ 58 h 71"/>
                <a:gd name="T106" fmla="*/ 0 w 83"/>
                <a:gd name="T107" fmla="*/ 58 h 71"/>
                <a:gd name="T108" fmla="*/ 4 w 83"/>
                <a:gd name="T109" fmla="*/ 61 h 71"/>
                <a:gd name="T110" fmla="*/ 7 w 83"/>
                <a:gd name="T111" fmla="*/ 64 h 71"/>
                <a:gd name="T112" fmla="*/ 10 w 83"/>
                <a:gd name="T113" fmla="*/ 64 h 71"/>
                <a:gd name="T114" fmla="*/ 10 w 83"/>
                <a:gd name="T115" fmla="*/ 67 h 71"/>
                <a:gd name="T116" fmla="*/ 21 w 83"/>
                <a:gd name="T117" fmla="*/ 71 h 71"/>
                <a:gd name="T118" fmla="*/ 28 w 83"/>
                <a:gd name="T119" fmla="*/ 71 h 71"/>
                <a:gd name="T120" fmla="*/ 35 w 83"/>
                <a:gd name="T121" fmla="*/ 71 h 71"/>
                <a:gd name="T122" fmla="*/ 41 w 83"/>
                <a:gd name="T12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3" h="71">
                  <a:moveTo>
                    <a:pt x="41" y="71"/>
                  </a:moveTo>
                  <a:lnTo>
                    <a:pt x="41" y="71"/>
                  </a:lnTo>
                  <a:lnTo>
                    <a:pt x="41" y="67"/>
                  </a:lnTo>
                  <a:lnTo>
                    <a:pt x="45" y="64"/>
                  </a:lnTo>
                  <a:lnTo>
                    <a:pt x="52" y="64"/>
                  </a:lnTo>
                  <a:lnTo>
                    <a:pt x="55" y="64"/>
                  </a:lnTo>
                  <a:lnTo>
                    <a:pt x="55" y="61"/>
                  </a:lnTo>
                  <a:lnTo>
                    <a:pt x="59" y="58"/>
                  </a:lnTo>
                  <a:lnTo>
                    <a:pt x="62" y="55"/>
                  </a:lnTo>
                  <a:lnTo>
                    <a:pt x="59" y="51"/>
                  </a:lnTo>
                  <a:lnTo>
                    <a:pt x="62" y="48"/>
                  </a:lnTo>
                  <a:lnTo>
                    <a:pt x="69" y="45"/>
                  </a:lnTo>
                  <a:lnTo>
                    <a:pt x="72" y="45"/>
                  </a:lnTo>
                  <a:lnTo>
                    <a:pt x="76" y="42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83" y="35"/>
                  </a:lnTo>
                  <a:lnTo>
                    <a:pt x="79" y="35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2" y="35"/>
                  </a:lnTo>
                  <a:lnTo>
                    <a:pt x="69" y="35"/>
                  </a:lnTo>
                  <a:lnTo>
                    <a:pt x="69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2" y="32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28" y="0"/>
                  </a:lnTo>
                  <a:lnTo>
                    <a:pt x="28" y="9"/>
                  </a:lnTo>
                  <a:lnTo>
                    <a:pt x="21" y="9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8" y="16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5"/>
                  </a:lnTo>
                  <a:lnTo>
                    <a:pt x="38" y="25"/>
                  </a:lnTo>
                  <a:lnTo>
                    <a:pt x="41" y="25"/>
                  </a:lnTo>
                  <a:lnTo>
                    <a:pt x="41" y="29"/>
                  </a:lnTo>
                  <a:lnTo>
                    <a:pt x="38" y="29"/>
                  </a:lnTo>
                  <a:lnTo>
                    <a:pt x="14" y="29"/>
                  </a:lnTo>
                  <a:lnTo>
                    <a:pt x="4" y="45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4" y="61"/>
                  </a:lnTo>
                  <a:lnTo>
                    <a:pt x="7" y="64"/>
                  </a:lnTo>
                  <a:lnTo>
                    <a:pt x="10" y="64"/>
                  </a:lnTo>
                  <a:lnTo>
                    <a:pt x="10" y="67"/>
                  </a:lnTo>
                  <a:lnTo>
                    <a:pt x="21" y="71"/>
                  </a:lnTo>
                  <a:lnTo>
                    <a:pt x="28" y="71"/>
                  </a:lnTo>
                  <a:lnTo>
                    <a:pt x="35" y="71"/>
                  </a:lnTo>
                  <a:lnTo>
                    <a:pt x="41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6" name="Freeform 177"/>
            <p:cNvSpPr>
              <a:spLocks noEditPoints="1"/>
            </p:cNvSpPr>
            <p:nvPr/>
          </p:nvSpPr>
          <p:spPr bwMode="auto">
            <a:xfrm>
              <a:off x="2765426" y="3688417"/>
              <a:ext cx="879475" cy="554037"/>
            </a:xfrm>
            <a:custGeom>
              <a:avLst/>
              <a:gdLst>
                <a:gd name="T0" fmla="*/ 210 w 554"/>
                <a:gd name="T1" fmla="*/ 32 h 349"/>
                <a:gd name="T2" fmla="*/ 224 w 554"/>
                <a:gd name="T3" fmla="*/ 48 h 349"/>
                <a:gd name="T4" fmla="*/ 234 w 554"/>
                <a:gd name="T5" fmla="*/ 68 h 349"/>
                <a:gd name="T6" fmla="*/ 248 w 554"/>
                <a:gd name="T7" fmla="*/ 77 h 349"/>
                <a:gd name="T8" fmla="*/ 265 w 554"/>
                <a:gd name="T9" fmla="*/ 74 h 349"/>
                <a:gd name="T10" fmla="*/ 289 w 554"/>
                <a:gd name="T11" fmla="*/ 65 h 349"/>
                <a:gd name="T12" fmla="*/ 310 w 554"/>
                <a:gd name="T13" fmla="*/ 87 h 349"/>
                <a:gd name="T14" fmla="*/ 324 w 554"/>
                <a:gd name="T15" fmla="*/ 116 h 349"/>
                <a:gd name="T16" fmla="*/ 348 w 554"/>
                <a:gd name="T17" fmla="*/ 142 h 349"/>
                <a:gd name="T18" fmla="*/ 361 w 554"/>
                <a:gd name="T19" fmla="*/ 145 h 349"/>
                <a:gd name="T20" fmla="*/ 351 w 554"/>
                <a:gd name="T21" fmla="*/ 161 h 349"/>
                <a:gd name="T22" fmla="*/ 344 w 554"/>
                <a:gd name="T23" fmla="*/ 207 h 349"/>
                <a:gd name="T24" fmla="*/ 348 w 554"/>
                <a:gd name="T25" fmla="*/ 232 h 349"/>
                <a:gd name="T26" fmla="*/ 379 w 554"/>
                <a:gd name="T27" fmla="*/ 274 h 349"/>
                <a:gd name="T28" fmla="*/ 423 w 554"/>
                <a:gd name="T29" fmla="*/ 281 h 349"/>
                <a:gd name="T30" fmla="*/ 454 w 554"/>
                <a:gd name="T31" fmla="*/ 284 h 349"/>
                <a:gd name="T32" fmla="*/ 475 w 554"/>
                <a:gd name="T33" fmla="*/ 258 h 349"/>
                <a:gd name="T34" fmla="*/ 523 w 554"/>
                <a:gd name="T35" fmla="*/ 226 h 349"/>
                <a:gd name="T36" fmla="*/ 547 w 554"/>
                <a:gd name="T37" fmla="*/ 242 h 349"/>
                <a:gd name="T38" fmla="*/ 533 w 554"/>
                <a:gd name="T39" fmla="*/ 268 h 349"/>
                <a:gd name="T40" fmla="*/ 527 w 554"/>
                <a:gd name="T41" fmla="*/ 274 h 349"/>
                <a:gd name="T42" fmla="*/ 506 w 554"/>
                <a:gd name="T43" fmla="*/ 291 h 349"/>
                <a:gd name="T44" fmla="*/ 461 w 554"/>
                <a:gd name="T45" fmla="*/ 304 h 349"/>
                <a:gd name="T46" fmla="*/ 451 w 554"/>
                <a:gd name="T47" fmla="*/ 320 h 349"/>
                <a:gd name="T48" fmla="*/ 434 w 554"/>
                <a:gd name="T49" fmla="*/ 346 h 349"/>
                <a:gd name="T50" fmla="*/ 396 w 554"/>
                <a:gd name="T51" fmla="*/ 320 h 349"/>
                <a:gd name="T52" fmla="*/ 396 w 554"/>
                <a:gd name="T53" fmla="*/ 320 h 349"/>
                <a:gd name="T54" fmla="*/ 389 w 554"/>
                <a:gd name="T55" fmla="*/ 323 h 349"/>
                <a:gd name="T56" fmla="*/ 324 w 554"/>
                <a:gd name="T57" fmla="*/ 320 h 349"/>
                <a:gd name="T58" fmla="*/ 282 w 554"/>
                <a:gd name="T59" fmla="*/ 307 h 349"/>
                <a:gd name="T60" fmla="*/ 234 w 554"/>
                <a:gd name="T61" fmla="*/ 284 h 349"/>
                <a:gd name="T62" fmla="*/ 203 w 554"/>
                <a:gd name="T63" fmla="*/ 268 h 349"/>
                <a:gd name="T64" fmla="*/ 193 w 554"/>
                <a:gd name="T65" fmla="*/ 242 h 349"/>
                <a:gd name="T66" fmla="*/ 189 w 554"/>
                <a:gd name="T67" fmla="*/ 207 h 349"/>
                <a:gd name="T68" fmla="*/ 152 w 554"/>
                <a:gd name="T69" fmla="*/ 165 h 349"/>
                <a:gd name="T70" fmla="*/ 131 w 554"/>
                <a:gd name="T71" fmla="*/ 145 h 349"/>
                <a:gd name="T72" fmla="*/ 131 w 554"/>
                <a:gd name="T73" fmla="*/ 129 h 349"/>
                <a:gd name="T74" fmla="*/ 110 w 554"/>
                <a:gd name="T75" fmla="*/ 103 h 349"/>
                <a:gd name="T76" fmla="*/ 90 w 554"/>
                <a:gd name="T77" fmla="*/ 87 h 349"/>
                <a:gd name="T78" fmla="*/ 76 w 554"/>
                <a:gd name="T79" fmla="*/ 58 h 349"/>
                <a:gd name="T80" fmla="*/ 66 w 554"/>
                <a:gd name="T81" fmla="*/ 29 h 349"/>
                <a:gd name="T82" fmla="*/ 42 w 554"/>
                <a:gd name="T83" fmla="*/ 32 h 349"/>
                <a:gd name="T84" fmla="*/ 55 w 554"/>
                <a:gd name="T85" fmla="*/ 74 h 349"/>
                <a:gd name="T86" fmla="*/ 76 w 554"/>
                <a:gd name="T87" fmla="*/ 103 h 349"/>
                <a:gd name="T88" fmla="*/ 86 w 554"/>
                <a:gd name="T89" fmla="*/ 119 h 349"/>
                <a:gd name="T90" fmla="*/ 97 w 554"/>
                <a:gd name="T91" fmla="*/ 152 h 349"/>
                <a:gd name="T92" fmla="*/ 107 w 554"/>
                <a:gd name="T93" fmla="*/ 168 h 349"/>
                <a:gd name="T94" fmla="*/ 110 w 554"/>
                <a:gd name="T95" fmla="*/ 197 h 349"/>
                <a:gd name="T96" fmla="*/ 83 w 554"/>
                <a:gd name="T97" fmla="*/ 168 h 349"/>
                <a:gd name="T98" fmla="*/ 69 w 554"/>
                <a:gd name="T99" fmla="*/ 129 h 349"/>
                <a:gd name="T100" fmla="*/ 48 w 554"/>
                <a:gd name="T101" fmla="*/ 116 h 349"/>
                <a:gd name="T102" fmla="*/ 31 w 554"/>
                <a:gd name="T103" fmla="*/ 100 h 349"/>
                <a:gd name="T104" fmla="*/ 45 w 554"/>
                <a:gd name="T105" fmla="*/ 90 h 349"/>
                <a:gd name="T106" fmla="*/ 21 w 554"/>
                <a:gd name="T107" fmla="*/ 61 h 349"/>
                <a:gd name="T108" fmla="*/ 14 w 554"/>
                <a:gd name="T109" fmla="*/ 32 h 349"/>
                <a:gd name="T110" fmla="*/ 103 w 554"/>
                <a:gd name="T111" fmla="*/ 158 h 349"/>
                <a:gd name="T112" fmla="*/ 107 w 554"/>
                <a:gd name="T113" fmla="*/ 165 h 349"/>
                <a:gd name="T114" fmla="*/ 351 w 554"/>
                <a:gd name="T115" fmla="*/ 161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4" h="349">
                  <a:moveTo>
                    <a:pt x="0" y="0"/>
                  </a:moveTo>
                  <a:lnTo>
                    <a:pt x="48" y="0"/>
                  </a:lnTo>
                  <a:lnTo>
                    <a:pt x="48" y="0"/>
                  </a:lnTo>
                  <a:lnTo>
                    <a:pt x="48" y="3"/>
                  </a:lnTo>
                  <a:lnTo>
                    <a:pt x="114" y="29"/>
                  </a:lnTo>
                  <a:lnTo>
                    <a:pt x="169" y="29"/>
                  </a:lnTo>
                  <a:lnTo>
                    <a:pt x="169" y="23"/>
                  </a:lnTo>
                  <a:lnTo>
                    <a:pt x="200" y="26"/>
                  </a:lnTo>
                  <a:lnTo>
                    <a:pt x="203" y="26"/>
                  </a:lnTo>
                  <a:lnTo>
                    <a:pt x="207" y="29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14" y="32"/>
                  </a:lnTo>
                  <a:lnTo>
                    <a:pt x="214" y="35"/>
                  </a:lnTo>
                  <a:lnTo>
                    <a:pt x="214" y="39"/>
                  </a:lnTo>
                  <a:lnTo>
                    <a:pt x="217" y="39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17" y="42"/>
                  </a:lnTo>
                  <a:lnTo>
                    <a:pt x="220" y="45"/>
                  </a:lnTo>
                  <a:lnTo>
                    <a:pt x="224" y="45"/>
                  </a:lnTo>
                  <a:lnTo>
                    <a:pt x="224" y="48"/>
                  </a:lnTo>
                  <a:lnTo>
                    <a:pt x="224" y="52"/>
                  </a:lnTo>
                  <a:lnTo>
                    <a:pt x="227" y="52"/>
                  </a:lnTo>
                  <a:lnTo>
                    <a:pt x="227" y="52"/>
                  </a:lnTo>
                  <a:lnTo>
                    <a:pt x="227" y="55"/>
                  </a:lnTo>
                  <a:lnTo>
                    <a:pt x="231" y="55"/>
                  </a:lnTo>
                  <a:lnTo>
                    <a:pt x="231" y="58"/>
                  </a:lnTo>
                  <a:lnTo>
                    <a:pt x="231" y="58"/>
                  </a:lnTo>
                  <a:lnTo>
                    <a:pt x="227" y="58"/>
                  </a:lnTo>
                  <a:lnTo>
                    <a:pt x="227" y="61"/>
                  </a:lnTo>
                  <a:lnTo>
                    <a:pt x="231" y="65"/>
                  </a:lnTo>
                  <a:lnTo>
                    <a:pt x="234" y="68"/>
                  </a:lnTo>
                  <a:lnTo>
                    <a:pt x="234" y="68"/>
                  </a:lnTo>
                  <a:lnTo>
                    <a:pt x="234" y="71"/>
                  </a:lnTo>
                  <a:lnTo>
                    <a:pt x="234" y="71"/>
                  </a:lnTo>
                  <a:lnTo>
                    <a:pt x="238" y="71"/>
                  </a:lnTo>
                  <a:lnTo>
                    <a:pt x="238" y="71"/>
                  </a:lnTo>
                  <a:lnTo>
                    <a:pt x="241" y="71"/>
                  </a:lnTo>
                  <a:lnTo>
                    <a:pt x="241" y="74"/>
                  </a:lnTo>
                  <a:lnTo>
                    <a:pt x="241" y="74"/>
                  </a:lnTo>
                  <a:lnTo>
                    <a:pt x="241" y="74"/>
                  </a:lnTo>
                  <a:lnTo>
                    <a:pt x="245" y="74"/>
                  </a:lnTo>
                  <a:lnTo>
                    <a:pt x="248" y="77"/>
                  </a:lnTo>
                  <a:lnTo>
                    <a:pt x="248" y="77"/>
                  </a:lnTo>
                  <a:lnTo>
                    <a:pt x="251" y="77"/>
                  </a:lnTo>
                  <a:lnTo>
                    <a:pt x="255" y="81"/>
                  </a:lnTo>
                  <a:lnTo>
                    <a:pt x="258" y="81"/>
                  </a:lnTo>
                  <a:lnTo>
                    <a:pt x="258" y="81"/>
                  </a:lnTo>
                  <a:lnTo>
                    <a:pt x="262" y="81"/>
                  </a:lnTo>
                  <a:lnTo>
                    <a:pt x="262" y="81"/>
                  </a:lnTo>
                  <a:lnTo>
                    <a:pt x="265" y="77"/>
                  </a:lnTo>
                  <a:lnTo>
                    <a:pt x="265" y="77"/>
                  </a:lnTo>
                  <a:lnTo>
                    <a:pt x="265" y="77"/>
                  </a:lnTo>
                  <a:lnTo>
                    <a:pt x="265" y="74"/>
                  </a:lnTo>
                  <a:lnTo>
                    <a:pt x="269" y="74"/>
                  </a:lnTo>
                  <a:lnTo>
                    <a:pt x="269" y="71"/>
                  </a:lnTo>
                  <a:lnTo>
                    <a:pt x="272" y="68"/>
                  </a:lnTo>
                  <a:lnTo>
                    <a:pt x="275" y="68"/>
                  </a:lnTo>
                  <a:lnTo>
                    <a:pt x="275" y="68"/>
                  </a:lnTo>
                  <a:lnTo>
                    <a:pt x="275" y="68"/>
                  </a:lnTo>
                  <a:lnTo>
                    <a:pt x="279" y="68"/>
                  </a:lnTo>
                  <a:lnTo>
                    <a:pt x="279" y="65"/>
                  </a:lnTo>
                  <a:lnTo>
                    <a:pt x="282" y="65"/>
                  </a:lnTo>
                  <a:lnTo>
                    <a:pt x="286" y="68"/>
                  </a:lnTo>
                  <a:lnTo>
                    <a:pt x="289" y="65"/>
                  </a:lnTo>
                  <a:lnTo>
                    <a:pt x="289" y="68"/>
                  </a:lnTo>
                  <a:lnTo>
                    <a:pt x="293" y="68"/>
                  </a:lnTo>
                  <a:lnTo>
                    <a:pt x="293" y="68"/>
                  </a:lnTo>
                  <a:lnTo>
                    <a:pt x="296" y="68"/>
                  </a:lnTo>
                  <a:lnTo>
                    <a:pt x="300" y="71"/>
                  </a:lnTo>
                  <a:lnTo>
                    <a:pt x="303" y="74"/>
                  </a:lnTo>
                  <a:lnTo>
                    <a:pt x="306" y="77"/>
                  </a:lnTo>
                  <a:lnTo>
                    <a:pt x="306" y="81"/>
                  </a:lnTo>
                  <a:lnTo>
                    <a:pt x="306" y="81"/>
                  </a:lnTo>
                  <a:lnTo>
                    <a:pt x="306" y="84"/>
                  </a:lnTo>
                  <a:lnTo>
                    <a:pt x="310" y="87"/>
                  </a:lnTo>
                  <a:lnTo>
                    <a:pt x="310" y="90"/>
                  </a:lnTo>
                  <a:lnTo>
                    <a:pt x="310" y="90"/>
                  </a:lnTo>
                  <a:lnTo>
                    <a:pt x="313" y="97"/>
                  </a:lnTo>
                  <a:lnTo>
                    <a:pt x="317" y="100"/>
                  </a:lnTo>
                  <a:lnTo>
                    <a:pt x="317" y="100"/>
                  </a:lnTo>
                  <a:lnTo>
                    <a:pt x="320" y="103"/>
                  </a:lnTo>
                  <a:lnTo>
                    <a:pt x="320" y="106"/>
                  </a:lnTo>
                  <a:lnTo>
                    <a:pt x="324" y="106"/>
                  </a:lnTo>
                  <a:lnTo>
                    <a:pt x="324" y="110"/>
                  </a:lnTo>
                  <a:lnTo>
                    <a:pt x="324" y="113"/>
                  </a:lnTo>
                  <a:lnTo>
                    <a:pt x="324" y="116"/>
                  </a:lnTo>
                  <a:lnTo>
                    <a:pt x="324" y="116"/>
                  </a:lnTo>
                  <a:lnTo>
                    <a:pt x="324" y="119"/>
                  </a:lnTo>
                  <a:lnTo>
                    <a:pt x="327" y="129"/>
                  </a:lnTo>
                  <a:lnTo>
                    <a:pt x="327" y="132"/>
                  </a:lnTo>
                  <a:lnTo>
                    <a:pt x="331" y="136"/>
                  </a:lnTo>
                  <a:lnTo>
                    <a:pt x="331" y="136"/>
                  </a:lnTo>
                  <a:lnTo>
                    <a:pt x="334" y="136"/>
                  </a:lnTo>
                  <a:lnTo>
                    <a:pt x="334" y="136"/>
                  </a:lnTo>
                  <a:lnTo>
                    <a:pt x="337" y="136"/>
                  </a:lnTo>
                  <a:lnTo>
                    <a:pt x="341" y="139"/>
                  </a:lnTo>
                  <a:lnTo>
                    <a:pt x="348" y="142"/>
                  </a:lnTo>
                  <a:lnTo>
                    <a:pt x="351" y="142"/>
                  </a:lnTo>
                  <a:lnTo>
                    <a:pt x="355" y="142"/>
                  </a:lnTo>
                  <a:lnTo>
                    <a:pt x="355" y="145"/>
                  </a:lnTo>
                  <a:lnTo>
                    <a:pt x="358" y="145"/>
                  </a:lnTo>
                  <a:lnTo>
                    <a:pt x="358" y="148"/>
                  </a:lnTo>
                  <a:lnTo>
                    <a:pt x="358" y="145"/>
                  </a:lnTo>
                  <a:lnTo>
                    <a:pt x="361" y="142"/>
                  </a:lnTo>
                  <a:lnTo>
                    <a:pt x="365" y="139"/>
                  </a:lnTo>
                  <a:lnTo>
                    <a:pt x="361" y="142"/>
                  </a:lnTo>
                  <a:lnTo>
                    <a:pt x="361" y="145"/>
                  </a:lnTo>
                  <a:lnTo>
                    <a:pt x="361" y="145"/>
                  </a:lnTo>
                  <a:lnTo>
                    <a:pt x="358" y="152"/>
                  </a:lnTo>
                  <a:lnTo>
                    <a:pt x="358" y="155"/>
                  </a:lnTo>
                  <a:lnTo>
                    <a:pt x="355" y="158"/>
                  </a:lnTo>
                  <a:lnTo>
                    <a:pt x="355" y="158"/>
                  </a:lnTo>
                  <a:lnTo>
                    <a:pt x="355" y="155"/>
                  </a:lnTo>
                  <a:lnTo>
                    <a:pt x="355" y="152"/>
                  </a:lnTo>
                  <a:lnTo>
                    <a:pt x="351" y="152"/>
                  </a:lnTo>
                  <a:lnTo>
                    <a:pt x="351" y="158"/>
                  </a:lnTo>
                  <a:lnTo>
                    <a:pt x="351" y="158"/>
                  </a:lnTo>
                  <a:lnTo>
                    <a:pt x="351" y="161"/>
                  </a:lnTo>
                  <a:lnTo>
                    <a:pt x="351" y="161"/>
                  </a:lnTo>
                  <a:lnTo>
                    <a:pt x="351" y="168"/>
                  </a:lnTo>
                  <a:lnTo>
                    <a:pt x="348" y="168"/>
                  </a:lnTo>
                  <a:lnTo>
                    <a:pt x="348" y="171"/>
                  </a:lnTo>
                  <a:lnTo>
                    <a:pt x="348" y="174"/>
                  </a:lnTo>
                  <a:lnTo>
                    <a:pt x="348" y="178"/>
                  </a:lnTo>
                  <a:lnTo>
                    <a:pt x="348" y="178"/>
                  </a:lnTo>
                  <a:lnTo>
                    <a:pt x="348" y="187"/>
                  </a:lnTo>
                  <a:lnTo>
                    <a:pt x="348" y="190"/>
                  </a:lnTo>
                  <a:lnTo>
                    <a:pt x="348" y="200"/>
                  </a:lnTo>
                  <a:lnTo>
                    <a:pt x="344" y="203"/>
                  </a:lnTo>
                  <a:lnTo>
                    <a:pt x="344" y="207"/>
                  </a:lnTo>
                  <a:lnTo>
                    <a:pt x="344" y="213"/>
                  </a:lnTo>
                  <a:lnTo>
                    <a:pt x="344" y="216"/>
                  </a:lnTo>
                  <a:lnTo>
                    <a:pt x="351" y="223"/>
                  </a:lnTo>
                  <a:lnTo>
                    <a:pt x="351" y="226"/>
                  </a:lnTo>
                  <a:lnTo>
                    <a:pt x="348" y="229"/>
                  </a:lnTo>
                  <a:lnTo>
                    <a:pt x="348" y="223"/>
                  </a:lnTo>
                  <a:lnTo>
                    <a:pt x="344" y="216"/>
                  </a:lnTo>
                  <a:lnTo>
                    <a:pt x="344" y="223"/>
                  </a:lnTo>
                  <a:lnTo>
                    <a:pt x="348" y="223"/>
                  </a:lnTo>
                  <a:lnTo>
                    <a:pt x="348" y="229"/>
                  </a:lnTo>
                  <a:lnTo>
                    <a:pt x="348" y="232"/>
                  </a:lnTo>
                  <a:lnTo>
                    <a:pt x="348" y="236"/>
                  </a:lnTo>
                  <a:lnTo>
                    <a:pt x="351" y="239"/>
                  </a:lnTo>
                  <a:lnTo>
                    <a:pt x="351" y="242"/>
                  </a:lnTo>
                  <a:lnTo>
                    <a:pt x="361" y="252"/>
                  </a:lnTo>
                  <a:lnTo>
                    <a:pt x="365" y="255"/>
                  </a:lnTo>
                  <a:lnTo>
                    <a:pt x="368" y="258"/>
                  </a:lnTo>
                  <a:lnTo>
                    <a:pt x="365" y="262"/>
                  </a:lnTo>
                  <a:lnTo>
                    <a:pt x="368" y="265"/>
                  </a:lnTo>
                  <a:lnTo>
                    <a:pt x="375" y="271"/>
                  </a:lnTo>
                  <a:lnTo>
                    <a:pt x="379" y="274"/>
                  </a:lnTo>
                  <a:lnTo>
                    <a:pt x="379" y="274"/>
                  </a:lnTo>
                  <a:lnTo>
                    <a:pt x="386" y="274"/>
                  </a:lnTo>
                  <a:lnTo>
                    <a:pt x="386" y="274"/>
                  </a:lnTo>
                  <a:lnTo>
                    <a:pt x="392" y="278"/>
                  </a:lnTo>
                  <a:lnTo>
                    <a:pt x="396" y="281"/>
                  </a:lnTo>
                  <a:lnTo>
                    <a:pt x="399" y="287"/>
                  </a:lnTo>
                  <a:lnTo>
                    <a:pt x="403" y="284"/>
                  </a:lnTo>
                  <a:lnTo>
                    <a:pt x="410" y="284"/>
                  </a:lnTo>
                  <a:lnTo>
                    <a:pt x="410" y="284"/>
                  </a:lnTo>
                  <a:lnTo>
                    <a:pt x="413" y="284"/>
                  </a:lnTo>
                  <a:lnTo>
                    <a:pt x="420" y="281"/>
                  </a:lnTo>
                  <a:lnTo>
                    <a:pt x="423" y="281"/>
                  </a:lnTo>
                  <a:lnTo>
                    <a:pt x="430" y="281"/>
                  </a:lnTo>
                  <a:lnTo>
                    <a:pt x="434" y="278"/>
                  </a:lnTo>
                  <a:lnTo>
                    <a:pt x="437" y="278"/>
                  </a:lnTo>
                  <a:lnTo>
                    <a:pt x="444" y="278"/>
                  </a:lnTo>
                  <a:lnTo>
                    <a:pt x="447" y="278"/>
                  </a:lnTo>
                  <a:lnTo>
                    <a:pt x="447" y="274"/>
                  </a:lnTo>
                  <a:lnTo>
                    <a:pt x="454" y="278"/>
                  </a:lnTo>
                  <a:lnTo>
                    <a:pt x="451" y="278"/>
                  </a:lnTo>
                  <a:lnTo>
                    <a:pt x="447" y="281"/>
                  </a:lnTo>
                  <a:lnTo>
                    <a:pt x="454" y="281"/>
                  </a:lnTo>
                  <a:lnTo>
                    <a:pt x="454" y="284"/>
                  </a:lnTo>
                  <a:lnTo>
                    <a:pt x="458" y="281"/>
                  </a:lnTo>
                  <a:lnTo>
                    <a:pt x="458" y="281"/>
                  </a:lnTo>
                  <a:lnTo>
                    <a:pt x="461" y="278"/>
                  </a:lnTo>
                  <a:lnTo>
                    <a:pt x="461" y="274"/>
                  </a:lnTo>
                  <a:lnTo>
                    <a:pt x="465" y="271"/>
                  </a:lnTo>
                  <a:lnTo>
                    <a:pt x="461" y="274"/>
                  </a:lnTo>
                  <a:lnTo>
                    <a:pt x="458" y="271"/>
                  </a:lnTo>
                  <a:lnTo>
                    <a:pt x="468" y="268"/>
                  </a:lnTo>
                  <a:lnTo>
                    <a:pt x="472" y="268"/>
                  </a:lnTo>
                  <a:lnTo>
                    <a:pt x="475" y="265"/>
                  </a:lnTo>
                  <a:lnTo>
                    <a:pt x="475" y="258"/>
                  </a:lnTo>
                  <a:lnTo>
                    <a:pt x="482" y="252"/>
                  </a:lnTo>
                  <a:lnTo>
                    <a:pt x="482" y="252"/>
                  </a:lnTo>
                  <a:lnTo>
                    <a:pt x="482" y="242"/>
                  </a:lnTo>
                  <a:lnTo>
                    <a:pt x="489" y="232"/>
                  </a:lnTo>
                  <a:lnTo>
                    <a:pt x="485" y="232"/>
                  </a:lnTo>
                  <a:lnTo>
                    <a:pt x="485" y="232"/>
                  </a:lnTo>
                  <a:lnTo>
                    <a:pt x="499" y="229"/>
                  </a:lnTo>
                  <a:lnTo>
                    <a:pt x="516" y="229"/>
                  </a:lnTo>
                  <a:lnTo>
                    <a:pt x="516" y="226"/>
                  </a:lnTo>
                  <a:lnTo>
                    <a:pt x="523" y="226"/>
                  </a:lnTo>
                  <a:lnTo>
                    <a:pt x="523" y="226"/>
                  </a:lnTo>
                  <a:lnTo>
                    <a:pt x="530" y="226"/>
                  </a:lnTo>
                  <a:lnTo>
                    <a:pt x="527" y="223"/>
                  </a:lnTo>
                  <a:lnTo>
                    <a:pt x="537" y="223"/>
                  </a:lnTo>
                  <a:lnTo>
                    <a:pt x="544" y="226"/>
                  </a:lnTo>
                  <a:lnTo>
                    <a:pt x="547" y="223"/>
                  </a:lnTo>
                  <a:lnTo>
                    <a:pt x="547" y="223"/>
                  </a:lnTo>
                  <a:lnTo>
                    <a:pt x="551" y="223"/>
                  </a:lnTo>
                  <a:lnTo>
                    <a:pt x="554" y="229"/>
                  </a:lnTo>
                  <a:lnTo>
                    <a:pt x="554" y="232"/>
                  </a:lnTo>
                  <a:lnTo>
                    <a:pt x="554" y="236"/>
                  </a:lnTo>
                  <a:lnTo>
                    <a:pt x="547" y="242"/>
                  </a:lnTo>
                  <a:lnTo>
                    <a:pt x="540" y="249"/>
                  </a:lnTo>
                  <a:lnTo>
                    <a:pt x="537" y="252"/>
                  </a:lnTo>
                  <a:lnTo>
                    <a:pt x="537" y="255"/>
                  </a:lnTo>
                  <a:lnTo>
                    <a:pt x="533" y="258"/>
                  </a:lnTo>
                  <a:lnTo>
                    <a:pt x="533" y="258"/>
                  </a:lnTo>
                  <a:lnTo>
                    <a:pt x="537" y="262"/>
                  </a:lnTo>
                  <a:lnTo>
                    <a:pt x="537" y="262"/>
                  </a:lnTo>
                  <a:lnTo>
                    <a:pt x="537" y="262"/>
                  </a:lnTo>
                  <a:lnTo>
                    <a:pt x="533" y="265"/>
                  </a:lnTo>
                  <a:lnTo>
                    <a:pt x="533" y="268"/>
                  </a:lnTo>
                  <a:lnTo>
                    <a:pt x="533" y="268"/>
                  </a:lnTo>
                  <a:lnTo>
                    <a:pt x="537" y="268"/>
                  </a:lnTo>
                  <a:lnTo>
                    <a:pt x="540" y="268"/>
                  </a:lnTo>
                  <a:lnTo>
                    <a:pt x="537" y="268"/>
                  </a:lnTo>
                  <a:lnTo>
                    <a:pt x="533" y="281"/>
                  </a:lnTo>
                  <a:lnTo>
                    <a:pt x="530" y="284"/>
                  </a:lnTo>
                  <a:lnTo>
                    <a:pt x="530" y="284"/>
                  </a:lnTo>
                  <a:lnTo>
                    <a:pt x="527" y="281"/>
                  </a:lnTo>
                  <a:lnTo>
                    <a:pt x="523" y="281"/>
                  </a:lnTo>
                  <a:lnTo>
                    <a:pt x="523" y="278"/>
                  </a:lnTo>
                  <a:lnTo>
                    <a:pt x="527" y="278"/>
                  </a:lnTo>
                  <a:lnTo>
                    <a:pt x="527" y="274"/>
                  </a:lnTo>
                  <a:lnTo>
                    <a:pt x="523" y="274"/>
                  </a:lnTo>
                  <a:lnTo>
                    <a:pt x="520" y="278"/>
                  </a:lnTo>
                  <a:lnTo>
                    <a:pt x="516" y="281"/>
                  </a:lnTo>
                  <a:lnTo>
                    <a:pt x="516" y="281"/>
                  </a:lnTo>
                  <a:lnTo>
                    <a:pt x="513" y="281"/>
                  </a:lnTo>
                  <a:lnTo>
                    <a:pt x="513" y="281"/>
                  </a:lnTo>
                  <a:lnTo>
                    <a:pt x="513" y="284"/>
                  </a:lnTo>
                  <a:lnTo>
                    <a:pt x="509" y="287"/>
                  </a:lnTo>
                  <a:lnTo>
                    <a:pt x="509" y="287"/>
                  </a:lnTo>
                  <a:lnTo>
                    <a:pt x="509" y="291"/>
                  </a:lnTo>
                  <a:lnTo>
                    <a:pt x="506" y="291"/>
                  </a:lnTo>
                  <a:lnTo>
                    <a:pt x="506" y="291"/>
                  </a:lnTo>
                  <a:lnTo>
                    <a:pt x="506" y="291"/>
                  </a:lnTo>
                  <a:lnTo>
                    <a:pt x="506" y="287"/>
                  </a:lnTo>
                  <a:lnTo>
                    <a:pt x="503" y="287"/>
                  </a:lnTo>
                  <a:lnTo>
                    <a:pt x="499" y="291"/>
                  </a:lnTo>
                  <a:lnTo>
                    <a:pt x="499" y="294"/>
                  </a:lnTo>
                  <a:lnTo>
                    <a:pt x="465" y="291"/>
                  </a:lnTo>
                  <a:lnTo>
                    <a:pt x="465" y="300"/>
                  </a:lnTo>
                  <a:lnTo>
                    <a:pt x="458" y="300"/>
                  </a:lnTo>
                  <a:lnTo>
                    <a:pt x="461" y="304"/>
                  </a:lnTo>
                  <a:lnTo>
                    <a:pt x="461" y="304"/>
                  </a:lnTo>
                  <a:lnTo>
                    <a:pt x="465" y="307"/>
                  </a:lnTo>
                  <a:lnTo>
                    <a:pt x="468" y="310"/>
                  </a:lnTo>
                  <a:lnTo>
                    <a:pt x="468" y="310"/>
                  </a:lnTo>
                  <a:lnTo>
                    <a:pt x="472" y="313"/>
                  </a:lnTo>
                  <a:lnTo>
                    <a:pt x="472" y="313"/>
                  </a:lnTo>
                  <a:lnTo>
                    <a:pt x="472" y="316"/>
                  </a:lnTo>
                  <a:lnTo>
                    <a:pt x="475" y="316"/>
                  </a:lnTo>
                  <a:lnTo>
                    <a:pt x="478" y="316"/>
                  </a:lnTo>
                  <a:lnTo>
                    <a:pt x="478" y="320"/>
                  </a:lnTo>
                  <a:lnTo>
                    <a:pt x="475" y="320"/>
                  </a:lnTo>
                  <a:lnTo>
                    <a:pt x="451" y="320"/>
                  </a:lnTo>
                  <a:lnTo>
                    <a:pt x="441" y="336"/>
                  </a:lnTo>
                  <a:lnTo>
                    <a:pt x="441" y="339"/>
                  </a:lnTo>
                  <a:lnTo>
                    <a:pt x="441" y="339"/>
                  </a:lnTo>
                  <a:lnTo>
                    <a:pt x="441" y="342"/>
                  </a:lnTo>
                  <a:lnTo>
                    <a:pt x="441" y="342"/>
                  </a:lnTo>
                  <a:lnTo>
                    <a:pt x="441" y="342"/>
                  </a:lnTo>
                  <a:lnTo>
                    <a:pt x="441" y="346"/>
                  </a:lnTo>
                  <a:lnTo>
                    <a:pt x="441" y="346"/>
                  </a:lnTo>
                  <a:lnTo>
                    <a:pt x="437" y="349"/>
                  </a:lnTo>
                  <a:lnTo>
                    <a:pt x="437" y="349"/>
                  </a:lnTo>
                  <a:lnTo>
                    <a:pt x="434" y="346"/>
                  </a:lnTo>
                  <a:lnTo>
                    <a:pt x="430" y="342"/>
                  </a:lnTo>
                  <a:lnTo>
                    <a:pt x="430" y="339"/>
                  </a:lnTo>
                  <a:lnTo>
                    <a:pt x="423" y="339"/>
                  </a:lnTo>
                  <a:lnTo>
                    <a:pt x="413" y="329"/>
                  </a:lnTo>
                  <a:lnTo>
                    <a:pt x="410" y="326"/>
                  </a:lnTo>
                  <a:lnTo>
                    <a:pt x="410" y="326"/>
                  </a:lnTo>
                  <a:lnTo>
                    <a:pt x="406" y="323"/>
                  </a:lnTo>
                  <a:lnTo>
                    <a:pt x="403" y="320"/>
                  </a:lnTo>
                  <a:lnTo>
                    <a:pt x="399" y="320"/>
                  </a:lnTo>
                  <a:lnTo>
                    <a:pt x="399" y="320"/>
                  </a:lnTo>
                  <a:lnTo>
                    <a:pt x="396" y="320"/>
                  </a:lnTo>
                  <a:lnTo>
                    <a:pt x="396" y="320"/>
                  </a:lnTo>
                  <a:lnTo>
                    <a:pt x="403" y="323"/>
                  </a:lnTo>
                  <a:lnTo>
                    <a:pt x="410" y="326"/>
                  </a:lnTo>
                  <a:lnTo>
                    <a:pt x="410" y="326"/>
                  </a:lnTo>
                  <a:lnTo>
                    <a:pt x="406" y="326"/>
                  </a:lnTo>
                  <a:lnTo>
                    <a:pt x="399" y="323"/>
                  </a:lnTo>
                  <a:lnTo>
                    <a:pt x="396" y="320"/>
                  </a:lnTo>
                  <a:lnTo>
                    <a:pt x="392" y="320"/>
                  </a:lnTo>
                  <a:lnTo>
                    <a:pt x="392" y="320"/>
                  </a:lnTo>
                  <a:lnTo>
                    <a:pt x="392" y="320"/>
                  </a:lnTo>
                  <a:lnTo>
                    <a:pt x="396" y="320"/>
                  </a:lnTo>
                  <a:lnTo>
                    <a:pt x="396" y="316"/>
                  </a:lnTo>
                  <a:lnTo>
                    <a:pt x="392" y="316"/>
                  </a:lnTo>
                  <a:lnTo>
                    <a:pt x="389" y="320"/>
                  </a:lnTo>
                  <a:lnTo>
                    <a:pt x="389" y="316"/>
                  </a:lnTo>
                  <a:lnTo>
                    <a:pt x="389" y="316"/>
                  </a:lnTo>
                  <a:lnTo>
                    <a:pt x="386" y="320"/>
                  </a:lnTo>
                  <a:lnTo>
                    <a:pt x="386" y="320"/>
                  </a:lnTo>
                  <a:lnTo>
                    <a:pt x="389" y="320"/>
                  </a:lnTo>
                  <a:lnTo>
                    <a:pt x="392" y="320"/>
                  </a:lnTo>
                  <a:lnTo>
                    <a:pt x="392" y="323"/>
                  </a:lnTo>
                  <a:lnTo>
                    <a:pt x="389" y="323"/>
                  </a:lnTo>
                  <a:lnTo>
                    <a:pt x="386" y="323"/>
                  </a:lnTo>
                  <a:lnTo>
                    <a:pt x="379" y="323"/>
                  </a:lnTo>
                  <a:lnTo>
                    <a:pt x="375" y="326"/>
                  </a:lnTo>
                  <a:lnTo>
                    <a:pt x="372" y="326"/>
                  </a:lnTo>
                  <a:lnTo>
                    <a:pt x="361" y="329"/>
                  </a:lnTo>
                  <a:lnTo>
                    <a:pt x="358" y="329"/>
                  </a:lnTo>
                  <a:lnTo>
                    <a:pt x="348" y="326"/>
                  </a:lnTo>
                  <a:lnTo>
                    <a:pt x="341" y="323"/>
                  </a:lnTo>
                  <a:lnTo>
                    <a:pt x="334" y="323"/>
                  </a:lnTo>
                  <a:lnTo>
                    <a:pt x="327" y="323"/>
                  </a:lnTo>
                  <a:lnTo>
                    <a:pt x="324" y="320"/>
                  </a:lnTo>
                  <a:lnTo>
                    <a:pt x="324" y="320"/>
                  </a:lnTo>
                  <a:lnTo>
                    <a:pt x="320" y="320"/>
                  </a:lnTo>
                  <a:lnTo>
                    <a:pt x="317" y="316"/>
                  </a:lnTo>
                  <a:lnTo>
                    <a:pt x="313" y="313"/>
                  </a:lnTo>
                  <a:lnTo>
                    <a:pt x="310" y="313"/>
                  </a:lnTo>
                  <a:lnTo>
                    <a:pt x="310" y="313"/>
                  </a:lnTo>
                  <a:lnTo>
                    <a:pt x="303" y="313"/>
                  </a:lnTo>
                  <a:lnTo>
                    <a:pt x="300" y="313"/>
                  </a:lnTo>
                  <a:lnTo>
                    <a:pt x="296" y="310"/>
                  </a:lnTo>
                  <a:lnTo>
                    <a:pt x="293" y="307"/>
                  </a:lnTo>
                  <a:lnTo>
                    <a:pt x="282" y="307"/>
                  </a:lnTo>
                  <a:lnTo>
                    <a:pt x="272" y="304"/>
                  </a:lnTo>
                  <a:lnTo>
                    <a:pt x="269" y="297"/>
                  </a:lnTo>
                  <a:lnTo>
                    <a:pt x="265" y="297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48" y="291"/>
                  </a:lnTo>
                  <a:lnTo>
                    <a:pt x="241" y="287"/>
                  </a:lnTo>
                  <a:lnTo>
                    <a:pt x="238" y="287"/>
                  </a:lnTo>
                  <a:lnTo>
                    <a:pt x="234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7" y="281"/>
                  </a:lnTo>
                  <a:lnTo>
                    <a:pt x="224" y="278"/>
                  </a:lnTo>
                  <a:lnTo>
                    <a:pt x="217" y="271"/>
                  </a:lnTo>
                  <a:lnTo>
                    <a:pt x="214" y="271"/>
                  </a:lnTo>
                  <a:lnTo>
                    <a:pt x="214" y="268"/>
                  </a:lnTo>
                  <a:lnTo>
                    <a:pt x="214" y="268"/>
                  </a:lnTo>
                  <a:lnTo>
                    <a:pt x="214" y="268"/>
                  </a:lnTo>
                  <a:lnTo>
                    <a:pt x="207" y="268"/>
                  </a:lnTo>
                  <a:lnTo>
                    <a:pt x="203" y="268"/>
                  </a:lnTo>
                  <a:lnTo>
                    <a:pt x="200" y="265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6" y="258"/>
                  </a:lnTo>
                  <a:lnTo>
                    <a:pt x="189" y="255"/>
                  </a:lnTo>
                  <a:lnTo>
                    <a:pt x="189" y="252"/>
                  </a:lnTo>
                  <a:lnTo>
                    <a:pt x="189" y="252"/>
                  </a:lnTo>
                  <a:lnTo>
                    <a:pt x="186" y="245"/>
                  </a:lnTo>
                  <a:lnTo>
                    <a:pt x="186" y="242"/>
                  </a:lnTo>
                  <a:lnTo>
                    <a:pt x="189" y="242"/>
                  </a:lnTo>
                  <a:lnTo>
                    <a:pt x="193" y="242"/>
                  </a:lnTo>
                  <a:lnTo>
                    <a:pt x="193" y="242"/>
                  </a:lnTo>
                  <a:lnTo>
                    <a:pt x="193" y="239"/>
                  </a:lnTo>
                  <a:lnTo>
                    <a:pt x="189" y="239"/>
                  </a:lnTo>
                  <a:lnTo>
                    <a:pt x="189" y="236"/>
                  </a:lnTo>
                  <a:lnTo>
                    <a:pt x="196" y="232"/>
                  </a:lnTo>
                  <a:lnTo>
                    <a:pt x="196" y="229"/>
                  </a:lnTo>
                  <a:lnTo>
                    <a:pt x="196" y="226"/>
                  </a:lnTo>
                  <a:lnTo>
                    <a:pt x="193" y="216"/>
                  </a:lnTo>
                  <a:lnTo>
                    <a:pt x="189" y="213"/>
                  </a:lnTo>
                  <a:lnTo>
                    <a:pt x="189" y="210"/>
                  </a:lnTo>
                  <a:lnTo>
                    <a:pt x="189" y="207"/>
                  </a:lnTo>
                  <a:lnTo>
                    <a:pt x="189" y="203"/>
                  </a:lnTo>
                  <a:lnTo>
                    <a:pt x="183" y="197"/>
                  </a:lnTo>
                  <a:lnTo>
                    <a:pt x="183" y="194"/>
                  </a:lnTo>
                  <a:lnTo>
                    <a:pt x="176" y="187"/>
                  </a:lnTo>
                  <a:lnTo>
                    <a:pt x="172" y="181"/>
                  </a:lnTo>
                  <a:lnTo>
                    <a:pt x="165" y="174"/>
                  </a:lnTo>
                  <a:lnTo>
                    <a:pt x="162" y="171"/>
                  </a:lnTo>
                  <a:lnTo>
                    <a:pt x="159" y="171"/>
                  </a:lnTo>
                  <a:lnTo>
                    <a:pt x="159" y="168"/>
                  </a:lnTo>
                  <a:lnTo>
                    <a:pt x="155" y="165"/>
                  </a:lnTo>
                  <a:lnTo>
                    <a:pt x="152" y="165"/>
                  </a:lnTo>
                  <a:lnTo>
                    <a:pt x="152" y="165"/>
                  </a:lnTo>
                  <a:lnTo>
                    <a:pt x="152" y="161"/>
                  </a:lnTo>
                  <a:lnTo>
                    <a:pt x="155" y="158"/>
                  </a:lnTo>
                  <a:lnTo>
                    <a:pt x="152" y="158"/>
                  </a:lnTo>
                  <a:lnTo>
                    <a:pt x="152" y="155"/>
                  </a:lnTo>
                  <a:lnTo>
                    <a:pt x="152" y="152"/>
                  </a:lnTo>
                  <a:lnTo>
                    <a:pt x="148" y="152"/>
                  </a:lnTo>
                  <a:lnTo>
                    <a:pt x="145" y="152"/>
                  </a:lnTo>
                  <a:lnTo>
                    <a:pt x="134" y="145"/>
                  </a:lnTo>
                  <a:lnTo>
                    <a:pt x="134" y="145"/>
                  </a:lnTo>
                  <a:lnTo>
                    <a:pt x="131" y="145"/>
                  </a:lnTo>
                  <a:lnTo>
                    <a:pt x="128" y="142"/>
                  </a:lnTo>
                  <a:lnTo>
                    <a:pt x="128" y="139"/>
                  </a:lnTo>
                  <a:lnTo>
                    <a:pt x="128" y="136"/>
                  </a:lnTo>
                  <a:lnTo>
                    <a:pt x="131" y="132"/>
                  </a:lnTo>
                  <a:lnTo>
                    <a:pt x="134" y="132"/>
                  </a:lnTo>
                  <a:lnTo>
                    <a:pt x="134" y="132"/>
                  </a:lnTo>
                  <a:lnTo>
                    <a:pt x="138" y="132"/>
                  </a:lnTo>
                  <a:lnTo>
                    <a:pt x="138" y="129"/>
                  </a:lnTo>
                  <a:lnTo>
                    <a:pt x="134" y="129"/>
                  </a:lnTo>
                  <a:lnTo>
                    <a:pt x="134" y="129"/>
                  </a:lnTo>
                  <a:lnTo>
                    <a:pt x="131" y="129"/>
                  </a:lnTo>
                  <a:lnTo>
                    <a:pt x="131" y="126"/>
                  </a:lnTo>
                  <a:lnTo>
                    <a:pt x="128" y="123"/>
                  </a:lnTo>
                  <a:lnTo>
                    <a:pt x="124" y="123"/>
                  </a:lnTo>
                  <a:lnTo>
                    <a:pt x="121" y="123"/>
                  </a:lnTo>
                  <a:lnTo>
                    <a:pt x="121" y="119"/>
                  </a:lnTo>
                  <a:lnTo>
                    <a:pt x="121" y="116"/>
                  </a:lnTo>
                  <a:lnTo>
                    <a:pt x="117" y="116"/>
                  </a:lnTo>
                  <a:lnTo>
                    <a:pt x="117" y="116"/>
                  </a:lnTo>
                  <a:lnTo>
                    <a:pt x="110" y="110"/>
                  </a:lnTo>
                  <a:lnTo>
                    <a:pt x="107" y="106"/>
                  </a:lnTo>
                  <a:lnTo>
                    <a:pt x="110" y="103"/>
                  </a:lnTo>
                  <a:lnTo>
                    <a:pt x="110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3" y="100"/>
                  </a:lnTo>
                  <a:lnTo>
                    <a:pt x="100" y="100"/>
                  </a:lnTo>
                  <a:lnTo>
                    <a:pt x="100" y="97"/>
                  </a:lnTo>
                  <a:lnTo>
                    <a:pt x="97" y="97"/>
                  </a:lnTo>
                  <a:lnTo>
                    <a:pt x="97" y="94"/>
                  </a:lnTo>
                  <a:lnTo>
                    <a:pt x="97" y="87"/>
                  </a:lnTo>
                  <a:lnTo>
                    <a:pt x="93" y="87"/>
                  </a:lnTo>
                  <a:lnTo>
                    <a:pt x="90" y="87"/>
                  </a:lnTo>
                  <a:lnTo>
                    <a:pt x="90" y="84"/>
                  </a:lnTo>
                  <a:lnTo>
                    <a:pt x="90" y="81"/>
                  </a:lnTo>
                  <a:lnTo>
                    <a:pt x="86" y="81"/>
                  </a:lnTo>
                  <a:lnTo>
                    <a:pt x="86" y="74"/>
                  </a:lnTo>
                  <a:lnTo>
                    <a:pt x="83" y="71"/>
                  </a:lnTo>
                  <a:lnTo>
                    <a:pt x="83" y="71"/>
                  </a:lnTo>
                  <a:lnTo>
                    <a:pt x="79" y="71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76" y="61"/>
                  </a:lnTo>
                  <a:lnTo>
                    <a:pt x="76" y="58"/>
                  </a:lnTo>
                  <a:lnTo>
                    <a:pt x="76" y="55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73" y="45"/>
                  </a:lnTo>
                  <a:lnTo>
                    <a:pt x="73" y="39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2"/>
                  </a:lnTo>
                  <a:lnTo>
                    <a:pt x="69" y="32"/>
                  </a:lnTo>
                  <a:lnTo>
                    <a:pt x="66" y="32"/>
                  </a:lnTo>
                  <a:lnTo>
                    <a:pt x="66" y="29"/>
                  </a:lnTo>
                  <a:lnTo>
                    <a:pt x="62" y="26"/>
                  </a:lnTo>
                  <a:lnTo>
                    <a:pt x="59" y="29"/>
                  </a:lnTo>
                  <a:lnTo>
                    <a:pt x="55" y="29"/>
                  </a:lnTo>
                  <a:lnTo>
                    <a:pt x="55" y="26"/>
                  </a:lnTo>
                  <a:lnTo>
                    <a:pt x="52" y="23"/>
                  </a:lnTo>
                  <a:lnTo>
                    <a:pt x="45" y="19"/>
                  </a:lnTo>
                  <a:lnTo>
                    <a:pt x="42" y="16"/>
                  </a:lnTo>
                  <a:lnTo>
                    <a:pt x="45" y="19"/>
                  </a:lnTo>
                  <a:lnTo>
                    <a:pt x="45" y="23"/>
                  </a:lnTo>
                  <a:lnTo>
                    <a:pt x="45" y="29"/>
                  </a:lnTo>
                  <a:lnTo>
                    <a:pt x="42" y="32"/>
                  </a:lnTo>
                  <a:lnTo>
                    <a:pt x="42" y="39"/>
                  </a:lnTo>
                  <a:lnTo>
                    <a:pt x="45" y="52"/>
                  </a:lnTo>
                  <a:lnTo>
                    <a:pt x="42" y="52"/>
                  </a:lnTo>
                  <a:lnTo>
                    <a:pt x="45" y="55"/>
                  </a:lnTo>
                  <a:lnTo>
                    <a:pt x="45" y="61"/>
                  </a:lnTo>
                  <a:lnTo>
                    <a:pt x="45" y="65"/>
                  </a:lnTo>
                  <a:lnTo>
                    <a:pt x="48" y="65"/>
                  </a:lnTo>
                  <a:lnTo>
                    <a:pt x="52" y="65"/>
                  </a:lnTo>
                  <a:lnTo>
                    <a:pt x="55" y="68"/>
                  </a:lnTo>
                  <a:lnTo>
                    <a:pt x="55" y="74"/>
                  </a:lnTo>
                  <a:lnTo>
                    <a:pt x="55" y="74"/>
                  </a:lnTo>
                  <a:lnTo>
                    <a:pt x="55" y="77"/>
                  </a:lnTo>
                  <a:lnTo>
                    <a:pt x="59" y="81"/>
                  </a:lnTo>
                  <a:lnTo>
                    <a:pt x="62" y="81"/>
                  </a:lnTo>
                  <a:lnTo>
                    <a:pt x="62" y="84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9" y="90"/>
                  </a:lnTo>
                  <a:lnTo>
                    <a:pt x="69" y="94"/>
                  </a:lnTo>
                  <a:lnTo>
                    <a:pt x="69" y="100"/>
                  </a:lnTo>
                  <a:lnTo>
                    <a:pt x="73" y="100"/>
                  </a:lnTo>
                  <a:lnTo>
                    <a:pt x="76" y="103"/>
                  </a:lnTo>
                  <a:lnTo>
                    <a:pt x="79" y="106"/>
                  </a:lnTo>
                  <a:lnTo>
                    <a:pt x="79" y="113"/>
                  </a:lnTo>
                  <a:lnTo>
                    <a:pt x="83" y="113"/>
                  </a:lnTo>
                  <a:lnTo>
                    <a:pt x="83" y="116"/>
                  </a:lnTo>
                  <a:lnTo>
                    <a:pt x="79" y="116"/>
                  </a:lnTo>
                  <a:lnTo>
                    <a:pt x="83" y="119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90" y="123"/>
                  </a:lnTo>
                  <a:lnTo>
                    <a:pt x="90" y="126"/>
                  </a:lnTo>
                  <a:lnTo>
                    <a:pt x="93" y="132"/>
                  </a:lnTo>
                  <a:lnTo>
                    <a:pt x="90" y="132"/>
                  </a:lnTo>
                  <a:lnTo>
                    <a:pt x="93" y="139"/>
                  </a:lnTo>
                  <a:lnTo>
                    <a:pt x="93" y="139"/>
                  </a:lnTo>
                  <a:lnTo>
                    <a:pt x="93" y="142"/>
                  </a:lnTo>
                  <a:lnTo>
                    <a:pt x="97" y="145"/>
                  </a:lnTo>
                  <a:lnTo>
                    <a:pt x="97" y="148"/>
                  </a:lnTo>
                  <a:lnTo>
                    <a:pt x="97" y="148"/>
                  </a:lnTo>
                  <a:lnTo>
                    <a:pt x="97" y="152"/>
                  </a:lnTo>
                  <a:lnTo>
                    <a:pt x="97" y="152"/>
                  </a:lnTo>
                  <a:lnTo>
                    <a:pt x="100" y="158"/>
                  </a:lnTo>
                  <a:lnTo>
                    <a:pt x="100" y="161"/>
                  </a:lnTo>
                  <a:lnTo>
                    <a:pt x="97" y="165"/>
                  </a:lnTo>
                  <a:lnTo>
                    <a:pt x="97" y="165"/>
                  </a:lnTo>
                  <a:lnTo>
                    <a:pt x="100" y="168"/>
                  </a:lnTo>
                  <a:lnTo>
                    <a:pt x="103" y="171"/>
                  </a:lnTo>
                  <a:lnTo>
                    <a:pt x="103" y="174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07" y="168"/>
                  </a:lnTo>
                  <a:lnTo>
                    <a:pt x="110" y="171"/>
                  </a:lnTo>
                  <a:lnTo>
                    <a:pt x="110" y="171"/>
                  </a:lnTo>
                  <a:lnTo>
                    <a:pt x="114" y="174"/>
                  </a:lnTo>
                  <a:lnTo>
                    <a:pt x="114" y="174"/>
                  </a:lnTo>
                  <a:lnTo>
                    <a:pt x="117" y="178"/>
                  </a:lnTo>
                  <a:lnTo>
                    <a:pt x="117" y="181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7"/>
                  </a:lnTo>
                  <a:lnTo>
                    <a:pt x="117" y="194"/>
                  </a:lnTo>
                  <a:lnTo>
                    <a:pt x="110" y="197"/>
                  </a:lnTo>
                  <a:lnTo>
                    <a:pt x="110" y="194"/>
                  </a:lnTo>
                  <a:lnTo>
                    <a:pt x="107" y="190"/>
                  </a:lnTo>
                  <a:lnTo>
                    <a:pt x="107" y="190"/>
                  </a:lnTo>
                  <a:lnTo>
                    <a:pt x="107" y="187"/>
                  </a:lnTo>
                  <a:lnTo>
                    <a:pt x="103" y="184"/>
                  </a:lnTo>
                  <a:lnTo>
                    <a:pt x="103" y="181"/>
                  </a:lnTo>
                  <a:lnTo>
                    <a:pt x="100" y="181"/>
                  </a:lnTo>
                  <a:lnTo>
                    <a:pt x="97" y="178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83" y="168"/>
                  </a:lnTo>
                  <a:lnTo>
                    <a:pt x="83" y="165"/>
                  </a:lnTo>
                  <a:lnTo>
                    <a:pt x="79" y="161"/>
                  </a:lnTo>
                  <a:lnTo>
                    <a:pt x="76" y="161"/>
                  </a:lnTo>
                  <a:lnTo>
                    <a:pt x="76" y="161"/>
                  </a:lnTo>
                  <a:lnTo>
                    <a:pt x="73" y="158"/>
                  </a:lnTo>
                  <a:lnTo>
                    <a:pt x="73" y="155"/>
                  </a:lnTo>
                  <a:lnTo>
                    <a:pt x="73" y="152"/>
                  </a:lnTo>
                  <a:lnTo>
                    <a:pt x="76" y="145"/>
                  </a:lnTo>
                  <a:lnTo>
                    <a:pt x="76" y="139"/>
                  </a:lnTo>
                  <a:lnTo>
                    <a:pt x="73" y="132"/>
                  </a:lnTo>
                  <a:lnTo>
                    <a:pt x="69" y="129"/>
                  </a:lnTo>
                  <a:lnTo>
                    <a:pt x="69" y="132"/>
                  </a:lnTo>
                  <a:lnTo>
                    <a:pt x="66" y="129"/>
                  </a:lnTo>
                  <a:lnTo>
                    <a:pt x="59" y="126"/>
                  </a:lnTo>
                  <a:lnTo>
                    <a:pt x="59" y="119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55" y="119"/>
                  </a:lnTo>
                  <a:lnTo>
                    <a:pt x="52" y="119"/>
                  </a:lnTo>
                  <a:lnTo>
                    <a:pt x="48" y="119"/>
                  </a:lnTo>
                  <a:lnTo>
                    <a:pt x="48" y="119"/>
                  </a:lnTo>
                  <a:lnTo>
                    <a:pt x="48" y="116"/>
                  </a:lnTo>
                  <a:lnTo>
                    <a:pt x="45" y="116"/>
                  </a:lnTo>
                  <a:lnTo>
                    <a:pt x="45" y="116"/>
                  </a:lnTo>
                  <a:lnTo>
                    <a:pt x="45" y="113"/>
                  </a:lnTo>
                  <a:lnTo>
                    <a:pt x="38" y="113"/>
                  </a:lnTo>
                  <a:lnTo>
                    <a:pt x="35" y="113"/>
                  </a:lnTo>
                  <a:lnTo>
                    <a:pt x="35" y="110"/>
                  </a:lnTo>
                  <a:lnTo>
                    <a:pt x="35" y="106"/>
                  </a:lnTo>
                  <a:lnTo>
                    <a:pt x="31" y="103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31" y="100"/>
                  </a:lnTo>
                  <a:lnTo>
                    <a:pt x="35" y="100"/>
                  </a:lnTo>
                  <a:lnTo>
                    <a:pt x="42" y="100"/>
                  </a:lnTo>
                  <a:lnTo>
                    <a:pt x="42" y="103"/>
                  </a:lnTo>
                  <a:lnTo>
                    <a:pt x="45" y="100"/>
                  </a:lnTo>
                  <a:lnTo>
                    <a:pt x="45" y="97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2" y="94"/>
                  </a:lnTo>
                  <a:lnTo>
                    <a:pt x="45" y="97"/>
                  </a:lnTo>
                  <a:lnTo>
                    <a:pt x="45" y="94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8" y="87"/>
                  </a:lnTo>
                  <a:lnTo>
                    <a:pt x="45" y="84"/>
                  </a:lnTo>
                  <a:lnTo>
                    <a:pt x="42" y="84"/>
                  </a:lnTo>
                  <a:lnTo>
                    <a:pt x="42" y="77"/>
                  </a:lnTo>
                  <a:lnTo>
                    <a:pt x="35" y="74"/>
                  </a:lnTo>
                  <a:lnTo>
                    <a:pt x="35" y="71"/>
                  </a:lnTo>
                  <a:lnTo>
                    <a:pt x="31" y="68"/>
                  </a:lnTo>
                  <a:lnTo>
                    <a:pt x="28" y="65"/>
                  </a:lnTo>
                  <a:lnTo>
                    <a:pt x="24" y="65"/>
                  </a:lnTo>
                  <a:lnTo>
                    <a:pt x="21" y="61"/>
                  </a:lnTo>
                  <a:lnTo>
                    <a:pt x="21" y="55"/>
                  </a:lnTo>
                  <a:lnTo>
                    <a:pt x="21" y="52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5"/>
                  </a:lnTo>
                  <a:lnTo>
                    <a:pt x="17" y="42"/>
                  </a:lnTo>
                  <a:lnTo>
                    <a:pt x="17" y="39"/>
                  </a:lnTo>
                  <a:lnTo>
                    <a:pt x="14" y="35"/>
                  </a:lnTo>
                  <a:lnTo>
                    <a:pt x="11" y="35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7" y="26"/>
                  </a:lnTo>
                  <a:lnTo>
                    <a:pt x="7" y="23"/>
                  </a:lnTo>
                  <a:lnTo>
                    <a:pt x="7" y="19"/>
                  </a:lnTo>
                  <a:lnTo>
                    <a:pt x="11" y="19"/>
                  </a:lnTo>
                  <a:lnTo>
                    <a:pt x="7" y="16"/>
                  </a:lnTo>
                  <a:lnTo>
                    <a:pt x="4" y="13"/>
                  </a:lnTo>
                  <a:lnTo>
                    <a:pt x="4" y="6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103" y="158"/>
                  </a:moveTo>
                  <a:lnTo>
                    <a:pt x="103" y="158"/>
                  </a:lnTo>
                  <a:lnTo>
                    <a:pt x="103" y="155"/>
                  </a:lnTo>
                  <a:lnTo>
                    <a:pt x="100" y="152"/>
                  </a:lnTo>
                  <a:lnTo>
                    <a:pt x="100" y="155"/>
                  </a:lnTo>
                  <a:lnTo>
                    <a:pt x="100" y="155"/>
                  </a:lnTo>
                  <a:lnTo>
                    <a:pt x="103" y="158"/>
                  </a:lnTo>
                  <a:lnTo>
                    <a:pt x="103" y="158"/>
                  </a:lnTo>
                  <a:close/>
                  <a:moveTo>
                    <a:pt x="107" y="165"/>
                  </a:moveTo>
                  <a:lnTo>
                    <a:pt x="103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5"/>
                  </a:lnTo>
                  <a:lnTo>
                    <a:pt x="107" y="165"/>
                  </a:lnTo>
                  <a:close/>
                  <a:moveTo>
                    <a:pt x="355" y="161"/>
                  </a:moveTo>
                  <a:lnTo>
                    <a:pt x="355" y="161"/>
                  </a:lnTo>
                  <a:lnTo>
                    <a:pt x="355" y="158"/>
                  </a:lnTo>
                  <a:lnTo>
                    <a:pt x="355" y="158"/>
                  </a:lnTo>
                  <a:lnTo>
                    <a:pt x="355" y="161"/>
                  </a:lnTo>
                  <a:lnTo>
                    <a:pt x="355" y="161"/>
                  </a:lnTo>
                  <a:close/>
                  <a:moveTo>
                    <a:pt x="351" y="165"/>
                  </a:moveTo>
                  <a:lnTo>
                    <a:pt x="351" y="165"/>
                  </a:lnTo>
                  <a:lnTo>
                    <a:pt x="355" y="161"/>
                  </a:lnTo>
                  <a:lnTo>
                    <a:pt x="351" y="161"/>
                  </a:lnTo>
                  <a:lnTo>
                    <a:pt x="351" y="165"/>
                  </a:lnTo>
                  <a:lnTo>
                    <a:pt x="351" y="165"/>
                  </a:lnTo>
                  <a:close/>
                  <a:moveTo>
                    <a:pt x="351" y="171"/>
                  </a:moveTo>
                  <a:lnTo>
                    <a:pt x="351" y="168"/>
                  </a:lnTo>
                  <a:lnTo>
                    <a:pt x="351" y="168"/>
                  </a:lnTo>
                  <a:lnTo>
                    <a:pt x="351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7" name="Freeform 178"/>
            <p:cNvSpPr>
              <a:spLocks noEditPoints="1"/>
            </p:cNvSpPr>
            <p:nvPr/>
          </p:nvSpPr>
          <p:spPr bwMode="auto">
            <a:xfrm>
              <a:off x="4016376" y="4488517"/>
              <a:ext cx="1206500" cy="1071562"/>
            </a:xfrm>
            <a:custGeom>
              <a:avLst/>
              <a:gdLst>
                <a:gd name="T0" fmla="*/ 451 w 760"/>
                <a:gd name="T1" fmla="*/ 94 h 675"/>
                <a:gd name="T2" fmla="*/ 458 w 760"/>
                <a:gd name="T3" fmla="*/ 87 h 675"/>
                <a:gd name="T4" fmla="*/ 461 w 760"/>
                <a:gd name="T5" fmla="*/ 87 h 675"/>
                <a:gd name="T6" fmla="*/ 478 w 760"/>
                <a:gd name="T7" fmla="*/ 90 h 675"/>
                <a:gd name="T8" fmla="*/ 458 w 760"/>
                <a:gd name="T9" fmla="*/ 58 h 675"/>
                <a:gd name="T10" fmla="*/ 416 w 760"/>
                <a:gd name="T11" fmla="*/ 39 h 675"/>
                <a:gd name="T12" fmla="*/ 389 w 760"/>
                <a:gd name="T13" fmla="*/ 58 h 675"/>
                <a:gd name="T14" fmla="*/ 348 w 760"/>
                <a:gd name="T15" fmla="*/ 48 h 675"/>
                <a:gd name="T16" fmla="*/ 323 w 760"/>
                <a:gd name="T17" fmla="*/ 55 h 675"/>
                <a:gd name="T18" fmla="*/ 279 w 760"/>
                <a:gd name="T19" fmla="*/ 58 h 675"/>
                <a:gd name="T20" fmla="*/ 275 w 760"/>
                <a:gd name="T21" fmla="*/ 19 h 675"/>
                <a:gd name="T22" fmla="*/ 244 w 760"/>
                <a:gd name="T23" fmla="*/ 13 h 675"/>
                <a:gd name="T24" fmla="*/ 182 w 760"/>
                <a:gd name="T25" fmla="*/ 22 h 675"/>
                <a:gd name="T26" fmla="*/ 176 w 760"/>
                <a:gd name="T27" fmla="*/ 68 h 675"/>
                <a:gd name="T28" fmla="*/ 114 w 760"/>
                <a:gd name="T29" fmla="*/ 61 h 675"/>
                <a:gd name="T30" fmla="*/ 76 w 760"/>
                <a:gd name="T31" fmla="*/ 84 h 675"/>
                <a:gd name="T32" fmla="*/ 65 w 760"/>
                <a:gd name="T33" fmla="*/ 161 h 675"/>
                <a:gd name="T34" fmla="*/ 10 w 760"/>
                <a:gd name="T35" fmla="*/ 190 h 675"/>
                <a:gd name="T36" fmla="*/ 17 w 760"/>
                <a:gd name="T37" fmla="*/ 242 h 675"/>
                <a:gd name="T38" fmla="*/ 69 w 760"/>
                <a:gd name="T39" fmla="*/ 271 h 675"/>
                <a:gd name="T40" fmla="*/ 117 w 760"/>
                <a:gd name="T41" fmla="*/ 271 h 675"/>
                <a:gd name="T42" fmla="*/ 169 w 760"/>
                <a:gd name="T43" fmla="*/ 278 h 675"/>
                <a:gd name="T44" fmla="*/ 231 w 760"/>
                <a:gd name="T45" fmla="*/ 310 h 675"/>
                <a:gd name="T46" fmla="*/ 310 w 760"/>
                <a:gd name="T47" fmla="*/ 371 h 675"/>
                <a:gd name="T48" fmla="*/ 327 w 760"/>
                <a:gd name="T49" fmla="*/ 459 h 675"/>
                <a:gd name="T50" fmla="*/ 389 w 760"/>
                <a:gd name="T51" fmla="*/ 494 h 675"/>
                <a:gd name="T52" fmla="*/ 409 w 760"/>
                <a:gd name="T53" fmla="*/ 533 h 675"/>
                <a:gd name="T54" fmla="*/ 375 w 760"/>
                <a:gd name="T55" fmla="*/ 572 h 675"/>
                <a:gd name="T56" fmla="*/ 344 w 760"/>
                <a:gd name="T57" fmla="*/ 610 h 675"/>
                <a:gd name="T58" fmla="*/ 403 w 760"/>
                <a:gd name="T59" fmla="*/ 633 h 675"/>
                <a:gd name="T60" fmla="*/ 434 w 760"/>
                <a:gd name="T61" fmla="*/ 675 h 675"/>
                <a:gd name="T62" fmla="*/ 458 w 760"/>
                <a:gd name="T63" fmla="*/ 630 h 675"/>
                <a:gd name="T64" fmla="*/ 471 w 760"/>
                <a:gd name="T65" fmla="*/ 610 h 675"/>
                <a:gd name="T66" fmla="*/ 454 w 760"/>
                <a:gd name="T67" fmla="*/ 639 h 675"/>
                <a:gd name="T68" fmla="*/ 506 w 760"/>
                <a:gd name="T69" fmla="*/ 572 h 675"/>
                <a:gd name="T70" fmla="*/ 502 w 760"/>
                <a:gd name="T71" fmla="*/ 536 h 675"/>
                <a:gd name="T72" fmla="*/ 530 w 760"/>
                <a:gd name="T73" fmla="*/ 510 h 675"/>
                <a:gd name="T74" fmla="*/ 581 w 760"/>
                <a:gd name="T75" fmla="*/ 478 h 675"/>
                <a:gd name="T76" fmla="*/ 595 w 760"/>
                <a:gd name="T77" fmla="*/ 478 h 675"/>
                <a:gd name="T78" fmla="*/ 633 w 760"/>
                <a:gd name="T79" fmla="*/ 471 h 675"/>
                <a:gd name="T80" fmla="*/ 657 w 760"/>
                <a:gd name="T81" fmla="*/ 433 h 675"/>
                <a:gd name="T82" fmla="*/ 681 w 760"/>
                <a:gd name="T83" fmla="*/ 368 h 675"/>
                <a:gd name="T84" fmla="*/ 681 w 760"/>
                <a:gd name="T85" fmla="*/ 310 h 675"/>
                <a:gd name="T86" fmla="*/ 685 w 760"/>
                <a:gd name="T87" fmla="*/ 303 h 675"/>
                <a:gd name="T88" fmla="*/ 733 w 760"/>
                <a:gd name="T89" fmla="*/ 258 h 675"/>
                <a:gd name="T90" fmla="*/ 750 w 760"/>
                <a:gd name="T91" fmla="*/ 187 h 675"/>
                <a:gd name="T92" fmla="*/ 678 w 760"/>
                <a:gd name="T93" fmla="*/ 142 h 675"/>
                <a:gd name="T94" fmla="*/ 619 w 760"/>
                <a:gd name="T95" fmla="*/ 136 h 675"/>
                <a:gd name="T96" fmla="*/ 588 w 760"/>
                <a:gd name="T97" fmla="*/ 132 h 675"/>
                <a:gd name="T98" fmla="*/ 571 w 760"/>
                <a:gd name="T99" fmla="*/ 139 h 675"/>
                <a:gd name="T100" fmla="*/ 547 w 760"/>
                <a:gd name="T101" fmla="*/ 116 h 675"/>
                <a:gd name="T102" fmla="*/ 520 w 760"/>
                <a:gd name="T103" fmla="*/ 103 h 675"/>
                <a:gd name="T104" fmla="*/ 478 w 760"/>
                <a:gd name="T105" fmla="*/ 126 h 675"/>
                <a:gd name="T106" fmla="*/ 475 w 760"/>
                <a:gd name="T107" fmla="*/ 123 h 675"/>
                <a:gd name="T108" fmla="*/ 478 w 760"/>
                <a:gd name="T109" fmla="*/ 116 h 675"/>
                <a:gd name="T110" fmla="*/ 464 w 760"/>
                <a:gd name="T111" fmla="*/ 94 h 675"/>
                <a:gd name="T112" fmla="*/ 437 w 760"/>
                <a:gd name="T113" fmla="*/ 110 h 675"/>
                <a:gd name="T114" fmla="*/ 444 w 760"/>
                <a:gd name="T115" fmla="*/ 87 h 675"/>
                <a:gd name="T116" fmla="*/ 454 w 760"/>
                <a:gd name="T117" fmla="*/ 5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60" h="675">
                  <a:moveTo>
                    <a:pt x="444" y="100"/>
                  </a:moveTo>
                  <a:lnTo>
                    <a:pt x="444" y="100"/>
                  </a:lnTo>
                  <a:lnTo>
                    <a:pt x="447" y="97"/>
                  </a:lnTo>
                  <a:lnTo>
                    <a:pt x="451" y="97"/>
                  </a:lnTo>
                  <a:lnTo>
                    <a:pt x="447" y="100"/>
                  </a:lnTo>
                  <a:lnTo>
                    <a:pt x="444" y="100"/>
                  </a:lnTo>
                  <a:lnTo>
                    <a:pt x="444" y="100"/>
                  </a:lnTo>
                  <a:lnTo>
                    <a:pt x="444" y="100"/>
                  </a:lnTo>
                  <a:close/>
                  <a:moveTo>
                    <a:pt x="440" y="100"/>
                  </a:moveTo>
                  <a:lnTo>
                    <a:pt x="440" y="100"/>
                  </a:lnTo>
                  <a:lnTo>
                    <a:pt x="444" y="100"/>
                  </a:lnTo>
                  <a:lnTo>
                    <a:pt x="447" y="94"/>
                  </a:lnTo>
                  <a:lnTo>
                    <a:pt x="447" y="94"/>
                  </a:lnTo>
                  <a:lnTo>
                    <a:pt x="451" y="94"/>
                  </a:lnTo>
                  <a:lnTo>
                    <a:pt x="451" y="90"/>
                  </a:lnTo>
                  <a:lnTo>
                    <a:pt x="451" y="90"/>
                  </a:lnTo>
                  <a:lnTo>
                    <a:pt x="447" y="90"/>
                  </a:lnTo>
                  <a:lnTo>
                    <a:pt x="447" y="90"/>
                  </a:lnTo>
                  <a:lnTo>
                    <a:pt x="444" y="94"/>
                  </a:lnTo>
                  <a:lnTo>
                    <a:pt x="440" y="100"/>
                  </a:lnTo>
                  <a:lnTo>
                    <a:pt x="440" y="100"/>
                  </a:lnTo>
                  <a:close/>
                  <a:moveTo>
                    <a:pt x="458" y="87"/>
                  </a:moveTo>
                  <a:lnTo>
                    <a:pt x="458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4" y="90"/>
                  </a:lnTo>
                  <a:lnTo>
                    <a:pt x="458" y="90"/>
                  </a:lnTo>
                  <a:lnTo>
                    <a:pt x="458" y="87"/>
                  </a:lnTo>
                  <a:lnTo>
                    <a:pt x="458" y="87"/>
                  </a:lnTo>
                  <a:close/>
                  <a:moveTo>
                    <a:pt x="458" y="84"/>
                  </a:moveTo>
                  <a:lnTo>
                    <a:pt x="458" y="81"/>
                  </a:lnTo>
                  <a:lnTo>
                    <a:pt x="458" y="81"/>
                  </a:lnTo>
                  <a:lnTo>
                    <a:pt x="461" y="81"/>
                  </a:lnTo>
                  <a:lnTo>
                    <a:pt x="464" y="77"/>
                  </a:lnTo>
                  <a:lnTo>
                    <a:pt x="464" y="77"/>
                  </a:lnTo>
                  <a:lnTo>
                    <a:pt x="464" y="81"/>
                  </a:lnTo>
                  <a:lnTo>
                    <a:pt x="461" y="81"/>
                  </a:lnTo>
                  <a:lnTo>
                    <a:pt x="461" y="84"/>
                  </a:lnTo>
                  <a:lnTo>
                    <a:pt x="458" y="84"/>
                  </a:lnTo>
                  <a:lnTo>
                    <a:pt x="458" y="84"/>
                  </a:lnTo>
                  <a:close/>
                  <a:moveTo>
                    <a:pt x="458" y="87"/>
                  </a:moveTo>
                  <a:lnTo>
                    <a:pt x="461" y="87"/>
                  </a:lnTo>
                  <a:lnTo>
                    <a:pt x="464" y="87"/>
                  </a:lnTo>
                  <a:lnTo>
                    <a:pt x="468" y="90"/>
                  </a:lnTo>
                  <a:lnTo>
                    <a:pt x="468" y="87"/>
                  </a:lnTo>
                  <a:lnTo>
                    <a:pt x="471" y="87"/>
                  </a:lnTo>
                  <a:lnTo>
                    <a:pt x="468" y="84"/>
                  </a:lnTo>
                  <a:lnTo>
                    <a:pt x="461" y="87"/>
                  </a:lnTo>
                  <a:lnTo>
                    <a:pt x="461" y="87"/>
                  </a:lnTo>
                  <a:lnTo>
                    <a:pt x="458" y="87"/>
                  </a:lnTo>
                  <a:lnTo>
                    <a:pt x="458" y="87"/>
                  </a:lnTo>
                  <a:close/>
                  <a:moveTo>
                    <a:pt x="468" y="90"/>
                  </a:moveTo>
                  <a:lnTo>
                    <a:pt x="471" y="90"/>
                  </a:lnTo>
                  <a:lnTo>
                    <a:pt x="475" y="87"/>
                  </a:lnTo>
                  <a:lnTo>
                    <a:pt x="475" y="87"/>
                  </a:lnTo>
                  <a:lnTo>
                    <a:pt x="478" y="90"/>
                  </a:lnTo>
                  <a:lnTo>
                    <a:pt x="478" y="90"/>
                  </a:lnTo>
                  <a:lnTo>
                    <a:pt x="471" y="94"/>
                  </a:lnTo>
                  <a:lnTo>
                    <a:pt x="468" y="90"/>
                  </a:lnTo>
                  <a:lnTo>
                    <a:pt x="468" y="90"/>
                  </a:lnTo>
                  <a:close/>
                  <a:moveTo>
                    <a:pt x="458" y="58"/>
                  </a:moveTo>
                  <a:lnTo>
                    <a:pt x="454" y="55"/>
                  </a:lnTo>
                  <a:lnTo>
                    <a:pt x="454" y="52"/>
                  </a:lnTo>
                  <a:lnTo>
                    <a:pt x="454" y="48"/>
                  </a:lnTo>
                  <a:lnTo>
                    <a:pt x="458" y="52"/>
                  </a:lnTo>
                  <a:lnTo>
                    <a:pt x="461" y="55"/>
                  </a:lnTo>
                  <a:lnTo>
                    <a:pt x="461" y="58"/>
                  </a:lnTo>
                  <a:lnTo>
                    <a:pt x="461" y="58"/>
                  </a:lnTo>
                  <a:lnTo>
                    <a:pt x="458" y="58"/>
                  </a:lnTo>
                  <a:lnTo>
                    <a:pt x="458" y="58"/>
                  </a:lnTo>
                  <a:close/>
                  <a:moveTo>
                    <a:pt x="440" y="26"/>
                  </a:moveTo>
                  <a:lnTo>
                    <a:pt x="437" y="22"/>
                  </a:lnTo>
                  <a:lnTo>
                    <a:pt x="437" y="19"/>
                  </a:lnTo>
                  <a:lnTo>
                    <a:pt x="437" y="16"/>
                  </a:lnTo>
                  <a:lnTo>
                    <a:pt x="434" y="16"/>
                  </a:lnTo>
                  <a:lnTo>
                    <a:pt x="434" y="19"/>
                  </a:lnTo>
                  <a:lnTo>
                    <a:pt x="434" y="22"/>
                  </a:lnTo>
                  <a:lnTo>
                    <a:pt x="430" y="22"/>
                  </a:lnTo>
                  <a:lnTo>
                    <a:pt x="430" y="22"/>
                  </a:lnTo>
                  <a:lnTo>
                    <a:pt x="430" y="22"/>
                  </a:lnTo>
                  <a:lnTo>
                    <a:pt x="427" y="26"/>
                  </a:lnTo>
                  <a:lnTo>
                    <a:pt x="423" y="32"/>
                  </a:lnTo>
                  <a:lnTo>
                    <a:pt x="416" y="35"/>
                  </a:lnTo>
                  <a:lnTo>
                    <a:pt x="416" y="39"/>
                  </a:lnTo>
                  <a:lnTo>
                    <a:pt x="413" y="45"/>
                  </a:lnTo>
                  <a:lnTo>
                    <a:pt x="409" y="52"/>
                  </a:lnTo>
                  <a:lnTo>
                    <a:pt x="409" y="55"/>
                  </a:lnTo>
                  <a:lnTo>
                    <a:pt x="406" y="55"/>
                  </a:lnTo>
                  <a:lnTo>
                    <a:pt x="403" y="55"/>
                  </a:lnTo>
                  <a:lnTo>
                    <a:pt x="403" y="58"/>
                  </a:lnTo>
                  <a:lnTo>
                    <a:pt x="399" y="61"/>
                  </a:lnTo>
                  <a:lnTo>
                    <a:pt x="396" y="61"/>
                  </a:lnTo>
                  <a:lnTo>
                    <a:pt x="396" y="55"/>
                  </a:lnTo>
                  <a:lnTo>
                    <a:pt x="396" y="55"/>
                  </a:lnTo>
                  <a:lnTo>
                    <a:pt x="396" y="55"/>
                  </a:lnTo>
                  <a:lnTo>
                    <a:pt x="392" y="55"/>
                  </a:lnTo>
                  <a:lnTo>
                    <a:pt x="389" y="55"/>
                  </a:lnTo>
                  <a:lnTo>
                    <a:pt x="389" y="58"/>
                  </a:lnTo>
                  <a:lnTo>
                    <a:pt x="385" y="55"/>
                  </a:lnTo>
                  <a:lnTo>
                    <a:pt x="382" y="55"/>
                  </a:lnTo>
                  <a:lnTo>
                    <a:pt x="382" y="52"/>
                  </a:lnTo>
                  <a:lnTo>
                    <a:pt x="382" y="52"/>
                  </a:lnTo>
                  <a:lnTo>
                    <a:pt x="378" y="48"/>
                  </a:lnTo>
                  <a:lnTo>
                    <a:pt x="378" y="48"/>
                  </a:lnTo>
                  <a:lnTo>
                    <a:pt x="375" y="45"/>
                  </a:lnTo>
                  <a:lnTo>
                    <a:pt x="372" y="42"/>
                  </a:lnTo>
                  <a:lnTo>
                    <a:pt x="368" y="42"/>
                  </a:lnTo>
                  <a:lnTo>
                    <a:pt x="365" y="45"/>
                  </a:lnTo>
                  <a:lnTo>
                    <a:pt x="354" y="45"/>
                  </a:lnTo>
                  <a:lnTo>
                    <a:pt x="351" y="45"/>
                  </a:lnTo>
                  <a:lnTo>
                    <a:pt x="348" y="45"/>
                  </a:lnTo>
                  <a:lnTo>
                    <a:pt x="348" y="48"/>
                  </a:lnTo>
                  <a:lnTo>
                    <a:pt x="351" y="52"/>
                  </a:lnTo>
                  <a:lnTo>
                    <a:pt x="351" y="55"/>
                  </a:lnTo>
                  <a:lnTo>
                    <a:pt x="354" y="58"/>
                  </a:lnTo>
                  <a:lnTo>
                    <a:pt x="351" y="58"/>
                  </a:lnTo>
                  <a:lnTo>
                    <a:pt x="348" y="58"/>
                  </a:lnTo>
                  <a:lnTo>
                    <a:pt x="344" y="58"/>
                  </a:lnTo>
                  <a:lnTo>
                    <a:pt x="344" y="58"/>
                  </a:lnTo>
                  <a:lnTo>
                    <a:pt x="341" y="58"/>
                  </a:lnTo>
                  <a:lnTo>
                    <a:pt x="341" y="58"/>
                  </a:lnTo>
                  <a:lnTo>
                    <a:pt x="341" y="58"/>
                  </a:lnTo>
                  <a:lnTo>
                    <a:pt x="334" y="58"/>
                  </a:lnTo>
                  <a:lnTo>
                    <a:pt x="330" y="58"/>
                  </a:lnTo>
                  <a:lnTo>
                    <a:pt x="330" y="55"/>
                  </a:lnTo>
                  <a:lnTo>
                    <a:pt x="323" y="55"/>
                  </a:lnTo>
                  <a:lnTo>
                    <a:pt x="320" y="58"/>
                  </a:lnTo>
                  <a:lnTo>
                    <a:pt x="317" y="61"/>
                  </a:lnTo>
                  <a:lnTo>
                    <a:pt x="310" y="61"/>
                  </a:lnTo>
                  <a:lnTo>
                    <a:pt x="306" y="64"/>
                  </a:lnTo>
                  <a:lnTo>
                    <a:pt x="306" y="64"/>
                  </a:lnTo>
                  <a:lnTo>
                    <a:pt x="303" y="68"/>
                  </a:lnTo>
                  <a:lnTo>
                    <a:pt x="299" y="68"/>
                  </a:lnTo>
                  <a:lnTo>
                    <a:pt x="296" y="68"/>
                  </a:lnTo>
                  <a:lnTo>
                    <a:pt x="296" y="68"/>
                  </a:lnTo>
                  <a:lnTo>
                    <a:pt x="292" y="71"/>
                  </a:lnTo>
                  <a:lnTo>
                    <a:pt x="289" y="71"/>
                  </a:lnTo>
                  <a:lnTo>
                    <a:pt x="282" y="64"/>
                  </a:lnTo>
                  <a:lnTo>
                    <a:pt x="279" y="61"/>
                  </a:lnTo>
                  <a:lnTo>
                    <a:pt x="279" y="58"/>
                  </a:lnTo>
                  <a:lnTo>
                    <a:pt x="275" y="55"/>
                  </a:lnTo>
                  <a:lnTo>
                    <a:pt x="272" y="52"/>
                  </a:lnTo>
                  <a:lnTo>
                    <a:pt x="272" y="48"/>
                  </a:lnTo>
                  <a:lnTo>
                    <a:pt x="272" y="45"/>
                  </a:lnTo>
                  <a:lnTo>
                    <a:pt x="272" y="45"/>
                  </a:lnTo>
                  <a:lnTo>
                    <a:pt x="272" y="42"/>
                  </a:lnTo>
                  <a:lnTo>
                    <a:pt x="272" y="39"/>
                  </a:lnTo>
                  <a:lnTo>
                    <a:pt x="272" y="35"/>
                  </a:lnTo>
                  <a:lnTo>
                    <a:pt x="275" y="29"/>
                  </a:lnTo>
                  <a:lnTo>
                    <a:pt x="279" y="26"/>
                  </a:lnTo>
                  <a:lnTo>
                    <a:pt x="282" y="22"/>
                  </a:lnTo>
                  <a:lnTo>
                    <a:pt x="282" y="19"/>
                  </a:lnTo>
                  <a:lnTo>
                    <a:pt x="275" y="19"/>
                  </a:lnTo>
                  <a:lnTo>
                    <a:pt x="275" y="19"/>
                  </a:lnTo>
                  <a:lnTo>
                    <a:pt x="275" y="16"/>
                  </a:lnTo>
                  <a:lnTo>
                    <a:pt x="268" y="16"/>
                  </a:lnTo>
                  <a:lnTo>
                    <a:pt x="265" y="16"/>
                  </a:lnTo>
                  <a:lnTo>
                    <a:pt x="268" y="13"/>
                  </a:lnTo>
                  <a:lnTo>
                    <a:pt x="272" y="10"/>
                  </a:lnTo>
                  <a:lnTo>
                    <a:pt x="272" y="6"/>
                  </a:lnTo>
                  <a:lnTo>
                    <a:pt x="268" y="3"/>
                  </a:lnTo>
                  <a:lnTo>
                    <a:pt x="262" y="0"/>
                  </a:lnTo>
                  <a:lnTo>
                    <a:pt x="262" y="3"/>
                  </a:lnTo>
                  <a:lnTo>
                    <a:pt x="258" y="0"/>
                  </a:lnTo>
                  <a:lnTo>
                    <a:pt x="258" y="0"/>
                  </a:lnTo>
                  <a:lnTo>
                    <a:pt x="258" y="3"/>
                  </a:lnTo>
                  <a:lnTo>
                    <a:pt x="255" y="10"/>
                  </a:lnTo>
                  <a:lnTo>
                    <a:pt x="244" y="13"/>
                  </a:lnTo>
                  <a:lnTo>
                    <a:pt x="241" y="16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4" y="16"/>
                  </a:lnTo>
                  <a:lnTo>
                    <a:pt x="217" y="22"/>
                  </a:lnTo>
                  <a:lnTo>
                    <a:pt x="210" y="22"/>
                  </a:lnTo>
                  <a:lnTo>
                    <a:pt x="206" y="22"/>
                  </a:lnTo>
                  <a:lnTo>
                    <a:pt x="200" y="22"/>
                  </a:lnTo>
                  <a:lnTo>
                    <a:pt x="193" y="22"/>
                  </a:lnTo>
                  <a:lnTo>
                    <a:pt x="186" y="19"/>
                  </a:lnTo>
                  <a:lnTo>
                    <a:pt x="179" y="19"/>
                  </a:lnTo>
                  <a:lnTo>
                    <a:pt x="176" y="19"/>
                  </a:lnTo>
                  <a:lnTo>
                    <a:pt x="179" y="22"/>
                  </a:lnTo>
                  <a:lnTo>
                    <a:pt x="182" y="22"/>
                  </a:lnTo>
                  <a:lnTo>
                    <a:pt x="186" y="26"/>
                  </a:lnTo>
                  <a:lnTo>
                    <a:pt x="186" y="29"/>
                  </a:lnTo>
                  <a:lnTo>
                    <a:pt x="182" y="39"/>
                  </a:lnTo>
                  <a:lnTo>
                    <a:pt x="182" y="42"/>
                  </a:lnTo>
                  <a:lnTo>
                    <a:pt x="182" y="45"/>
                  </a:lnTo>
                  <a:lnTo>
                    <a:pt x="193" y="48"/>
                  </a:lnTo>
                  <a:lnTo>
                    <a:pt x="196" y="48"/>
                  </a:lnTo>
                  <a:lnTo>
                    <a:pt x="203" y="48"/>
                  </a:lnTo>
                  <a:lnTo>
                    <a:pt x="203" y="52"/>
                  </a:lnTo>
                  <a:lnTo>
                    <a:pt x="200" y="55"/>
                  </a:lnTo>
                  <a:lnTo>
                    <a:pt x="189" y="55"/>
                  </a:lnTo>
                  <a:lnTo>
                    <a:pt x="186" y="58"/>
                  </a:lnTo>
                  <a:lnTo>
                    <a:pt x="186" y="61"/>
                  </a:lnTo>
                  <a:lnTo>
                    <a:pt x="176" y="68"/>
                  </a:lnTo>
                  <a:lnTo>
                    <a:pt x="172" y="71"/>
                  </a:lnTo>
                  <a:lnTo>
                    <a:pt x="165" y="74"/>
                  </a:lnTo>
                  <a:lnTo>
                    <a:pt x="162" y="77"/>
                  </a:lnTo>
                  <a:lnTo>
                    <a:pt x="155" y="77"/>
                  </a:lnTo>
                  <a:lnTo>
                    <a:pt x="148" y="77"/>
                  </a:lnTo>
                  <a:lnTo>
                    <a:pt x="141" y="74"/>
                  </a:lnTo>
                  <a:lnTo>
                    <a:pt x="134" y="68"/>
                  </a:lnTo>
                  <a:lnTo>
                    <a:pt x="127" y="71"/>
                  </a:lnTo>
                  <a:lnTo>
                    <a:pt x="127" y="64"/>
                  </a:lnTo>
                  <a:lnTo>
                    <a:pt x="127" y="61"/>
                  </a:lnTo>
                  <a:lnTo>
                    <a:pt x="124" y="58"/>
                  </a:lnTo>
                  <a:lnTo>
                    <a:pt x="124" y="55"/>
                  </a:lnTo>
                  <a:lnTo>
                    <a:pt x="117" y="58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0" y="58"/>
                  </a:lnTo>
                  <a:lnTo>
                    <a:pt x="107" y="58"/>
                  </a:lnTo>
                  <a:lnTo>
                    <a:pt x="103" y="61"/>
                  </a:lnTo>
                  <a:lnTo>
                    <a:pt x="83" y="61"/>
                  </a:lnTo>
                  <a:lnTo>
                    <a:pt x="79" y="68"/>
                  </a:lnTo>
                  <a:lnTo>
                    <a:pt x="83" y="71"/>
                  </a:lnTo>
                  <a:lnTo>
                    <a:pt x="90" y="71"/>
                  </a:lnTo>
                  <a:lnTo>
                    <a:pt x="93" y="77"/>
                  </a:lnTo>
                  <a:lnTo>
                    <a:pt x="90" y="77"/>
                  </a:lnTo>
                  <a:lnTo>
                    <a:pt x="93" y="81"/>
                  </a:lnTo>
                  <a:lnTo>
                    <a:pt x="93" y="84"/>
                  </a:lnTo>
                  <a:lnTo>
                    <a:pt x="86" y="81"/>
                  </a:lnTo>
                  <a:lnTo>
                    <a:pt x="76" y="84"/>
                  </a:lnTo>
                  <a:lnTo>
                    <a:pt x="76" y="94"/>
                  </a:lnTo>
                  <a:lnTo>
                    <a:pt x="79" y="97"/>
                  </a:lnTo>
                  <a:lnTo>
                    <a:pt x="86" y="103"/>
                  </a:lnTo>
                  <a:lnTo>
                    <a:pt x="90" y="110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79" y="152"/>
                  </a:lnTo>
                  <a:lnTo>
                    <a:pt x="76" y="161"/>
                  </a:lnTo>
                  <a:lnTo>
                    <a:pt x="76" y="161"/>
                  </a:lnTo>
                  <a:lnTo>
                    <a:pt x="76" y="165"/>
                  </a:lnTo>
                  <a:lnTo>
                    <a:pt x="69" y="165"/>
                  </a:lnTo>
                  <a:lnTo>
                    <a:pt x="72" y="161"/>
                  </a:lnTo>
                  <a:lnTo>
                    <a:pt x="65" y="161"/>
                  </a:lnTo>
                  <a:lnTo>
                    <a:pt x="65" y="161"/>
                  </a:lnTo>
                  <a:lnTo>
                    <a:pt x="62" y="161"/>
                  </a:lnTo>
                  <a:lnTo>
                    <a:pt x="59" y="161"/>
                  </a:lnTo>
                  <a:lnTo>
                    <a:pt x="59" y="161"/>
                  </a:lnTo>
                  <a:lnTo>
                    <a:pt x="45" y="165"/>
                  </a:lnTo>
                  <a:lnTo>
                    <a:pt x="34" y="168"/>
                  </a:lnTo>
                  <a:lnTo>
                    <a:pt x="31" y="171"/>
                  </a:lnTo>
                  <a:lnTo>
                    <a:pt x="31" y="171"/>
                  </a:lnTo>
                  <a:lnTo>
                    <a:pt x="28" y="174"/>
                  </a:lnTo>
                  <a:lnTo>
                    <a:pt x="21" y="178"/>
                  </a:lnTo>
                  <a:lnTo>
                    <a:pt x="17" y="178"/>
                  </a:lnTo>
                  <a:lnTo>
                    <a:pt x="17" y="181"/>
                  </a:lnTo>
                  <a:lnTo>
                    <a:pt x="17" y="184"/>
                  </a:lnTo>
                  <a:lnTo>
                    <a:pt x="17" y="187"/>
                  </a:lnTo>
                  <a:lnTo>
                    <a:pt x="10" y="190"/>
                  </a:lnTo>
                  <a:lnTo>
                    <a:pt x="14" y="197"/>
                  </a:lnTo>
                  <a:lnTo>
                    <a:pt x="17" y="200"/>
                  </a:lnTo>
                  <a:lnTo>
                    <a:pt x="14" y="203"/>
                  </a:lnTo>
                  <a:lnTo>
                    <a:pt x="10" y="203"/>
                  </a:lnTo>
                  <a:lnTo>
                    <a:pt x="4" y="207"/>
                  </a:lnTo>
                  <a:lnTo>
                    <a:pt x="4" y="210"/>
                  </a:lnTo>
                  <a:lnTo>
                    <a:pt x="4" y="210"/>
                  </a:lnTo>
                  <a:lnTo>
                    <a:pt x="4" y="213"/>
                  </a:lnTo>
                  <a:lnTo>
                    <a:pt x="4" y="216"/>
                  </a:lnTo>
                  <a:lnTo>
                    <a:pt x="0" y="219"/>
                  </a:lnTo>
                  <a:lnTo>
                    <a:pt x="4" y="223"/>
                  </a:lnTo>
                  <a:lnTo>
                    <a:pt x="0" y="226"/>
                  </a:lnTo>
                  <a:lnTo>
                    <a:pt x="7" y="229"/>
                  </a:lnTo>
                  <a:lnTo>
                    <a:pt x="17" y="242"/>
                  </a:lnTo>
                  <a:lnTo>
                    <a:pt x="10" y="249"/>
                  </a:lnTo>
                  <a:lnTo>
                    <a:pt x="24" y="245"/>
                  </a:lnTo>
                  <a:lnTo>
                    <a:pt x="28" y="249"/>
                  </a:lnTo>
                  <a:lnTo>
                    <a:pt x="34" y="252"/>
                  </a:lnTo>
                  <a:lnTo>
                    <a:pt x="34" y="258"/>
                  </a:lnTo>
                  <a:lnTo>
                    <a:pt x="41" y="258"/>
                  </a:lnTo>
                  <a:lnTo>
                    <a:pt x="52" y="258"/>
                  </a:lnTo>
                  <a:lnTo>
                    <a:pt x="62" y="252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61"/>
                  </a:lnTo>
                  <a:lnTo>
                    <a:pt x="69" y="271"/>
                  </a:lnTo>
                  <a:lnTo>
                    <a:pt x="69" y="274"/>
                  </a:lnTo>
                  <a:lnTo>
                    <a:pt x="72" y="278"/>
                  </a:lnTo>
                  <a:lnTo>
                    <a:pt x="76" y="274"/>
                  </a:lnTo>
                  <a:lnTo>
                    <a:pt x="79" y="274"/>
                  </a:lnTo>
                  <a:lnTo>
                    <a:pt x="83" y="274"/>
                  </a:lnTo>
                  <a:lnTo>
                    <a:pt x="86" y="274"/>
                  </a:lnTo>
                  <a:lnTo>
                    <a:pt x="86" y="274"/>
                  </a:lnTo>
                  <a:lnTo>
                    <a:pt x="86" y="274"/>
                  </a:lnTo>
                  <a:lnTo>
                    <a:pt x="86" y="274"/>
                  </a:lnTo>
                  <a:lnTo>
                    <a:pt x="100" y="274"/>
                  </a:lnTo>
                  <a:lnTo>
                    <a:pt x="107" y="274"/>
                  </a:lnTo>
                  <a:lnTo>
                    <a:pt x="110" y="274"/>
                  </a:lnTo>
                  <a:lnTo>
                    <a:pt x="114" y="274"/>
                  </a:lnTo>
                  <a:lnTo>
                    <a:pt x="117" y="271"/>
                  </a:lnTo>
                  <a:lnTo>
                    <a:pt x="124" y="271"/>
                  </a:lnTo>
                  <a:lnTo>
                    <a:pt x="127" y="268"/>
                  </a:lnTo>
                  <a:lnTo>
                    <a:pt x="131" y="261"/>
                  </a:lnTo>
                  <a:lnTo>
                    <a:pt x="141" y="255"/>
                  </a:lnTo>
                  <a:lnTo>
                    <a:pt x="148" y="255"/>
                  </a:lnTo>
                  <a:lnTo>
                    <a:pt x="155" y="252"/>
                  </a:lnTo>
                  <a:lnTo>
                    <a:pt x="158" y="252"/>
                  </a:lnTo>
                  <a:lnTo>
                    <a:pt x="162" y="255"/>
                  </a:lnTo>
                  <a:lnTo>
                    <a:pt x="165" y="252"/>
                  </a:lnTo>
                  <a:lnTo>
                    <a:pt x="169" y="255"/>
                  </a:lnTo>
                  <a:lnTo>
                    <a:pt x="169" y="258"/>
                  </a:lnTo>
                  <a:lnTo>
                    <a:pt x="169" y="265"/>
                  </a:lnTo>
                  <a:lnTo>
                    <a:pt x="165" y="268"/>
                  </a:lnTo>
                  <a:lnTo>
                    <a:pt x="169" y="278"/>
                  </a:lnTo>
                  <a:lnTo>
                    <a:pt x="169" y="281"/>
                  </a:lnTo>
                  <a:lnTo>
                    <a:pt x="172" y="287"/>
                  </a:lnTo>
                  <a:lnTo>
                    <a:pt x="176" y="287"/>
                  </a:lnTo>
                  <a:lnTo>
                    <a:pt x="176" y="294"/>
                  </a:lnTo>
                  <a:lnTo>
                    <a:pt x="182" y="294"/>
                  </a:lnTo>
                  <a:lnTo>
                    <a:pt x="186" y="297"/>
                  </a:lnTo>
                  <a:lnTo>
                    <a:pt x="193" y="300"/>
                  </a:lnTo>
                  <a:lnTo>
                    <a:pt x="193" y="300"/>
                  </a:lnTo>
                  <a:lnTo>
                    <a:pt x="203" y="297"/>
                  </a:lnTo>
                  <a:lnTo>
                    <a:pt x="210" y="303"/>
                  </a:lnTo>
                  <a:lnTo>
                    <a:pt x="213" y="303"/>
                  </a:lnTo>
                  <a:lnTo>
                    <a:pt x="220" y="310"/>
                  </a:lnTo>
                  <a:lnTo>
                    <a:pt x="224" y="310"/>
                  </a:lnTo>
                  <a:lnTo>
                    <a:pt x="231" y="310"/>
                  </a:lnTo>
                  <a:lnTo>
                    <a:pt x="237" y="313"/>
                  </a:lnTo>
                  <a:lnTo>
                    <a:pt x="237" y="316"/>
                  </a:lnTo>
                  <a:lnTo>
                    <a:pt x="241" y="320"/>
                  </a:lnTo>
                  <a:lnTo>
                    <a:pt x="248" y="320"/>
                  </a:lnTo>
                  <a:lnTo>
                    <a:pt x="258" y="320"/>
                  </a:lnTo>
                  <a:lnTo>
                    <a:pt x="265" y="323"/>
                  </a:lnTo>
                  <a:lnTo>
                    <a:pt x="268" y="326"/>
                  </a:lnTo>
                  <a:lnTo>
                    <a:pt x="265" y="333"/>
                  </a:lnTo>
                  <a:lnTo>
                    <a:pt x="268" y="339"/>
                  </a:lnTo>
                  <a:lnTo>
                    <a:pt x="265" y="345"/>
                  </a:lnTo>
                  <a:lnTo>
                    <a:pt x="272" y="355"/>
                  </a:lnTo>
                  <a:lnTo>
                    <a:pt x="272" y="362"/>
                  </a:lnTo>
                  <a:lnTo>
                    <a:pt x="306" y="362"/>
                  </a:lnTo>
                  <a:lnTo>
                    <a:pt x="310" y="371"/>
                  </a:lnTo>
                  <a:lnTo>
                    <a:pt x="306" y="381"/>
                  </a:lnTo>
                  <a:lnTo>
                    <a:pt x="317" y="381"/>
                  </a:lnTo>
                  <a:lnTo>
                    <a:pt x="327" y="397"/>
                  </a:lnTo>
                  <a:lnTo>
                    <a:pt x="330" y="404"/>
                  </a:lnTo>
                  <a:lnTo>
                    <a:pt x="320" y="420"/>
                  </a:lnTo>
                  <a:lnTo>
                    <a:pt x="320" y="423"/>
                  </a:lnTo>
                  <a:lnTo>
                    <a:pt x="317" y="426"/>
                  </a:lnTo>
                  <a:lnTo>
                    <a:pt x="320" y="426"/>
                  </a:lnTo>
                  <a:lnTo>
                    <a:pt x="317" y="433"/>
                  </a:lnTo>
                  <a:lnTo>
                    <a:pt x="323" y="436"/>
                  </a:lnTo>
                  <a:lnTo>
                    <a:pt x="323" y="439"/>
                  </a:lnTo>
                  <a:lnTo>
                    <a:pt x="327" y="446"/>
                  </a:lnTo>
                  <a:lnTo>
                    <a:pt x="323" y="455"/>
                  </a:lnTo>
                  <a:lnTo>
                    <a:pt x="327" y="459"/>
                  </a:lnTo>
                  <a:lnTo>
                    <a:pt x="323" y="462"/>
                  </a:lnTo>
                  <a:lnTo>
                    <a:pt x="327" y="465"/>
                  </a:lnTo>
                  <a:lnTo>
                    <a:pt x="334" y="465"/>
                  </a:lnTo>
                  <a:lnTo>
                    <a:pt x="337" y="465"/>
                  </a:lnTo>
                  <a:lnTo>
                    <a:pt x="344" y="465"/>
                  </a:lnTo>
                  <a:lnTo>
                    <a:pt x="351" y="468"/>
                  </a:lnTo>
                  <a:lnTo>
                    <a:pt x="361" y="465"/>
                  </a:lnTo>
                  <a:lnTo>
                    <a:pt x="365" y="468"/>
                  </a:lnTo>
                  <a:lnTo>
                    <a:pt x="368" y="468"/>
                  </a:lnTo>
                  <a:lnTo>
                    <a:pt x="368" y="471"/>
                  </a:lnTo>
                  <a:lnTo>
                    <a:pt x="375" y="491"/>
                  </a:lnTo>
                  <a:lnTo>
                    <a:pt x="378" y="497"/>
                  </a:lnTo>
                  <a:lnTo>
                    <a:pt x="382" y="497"/>
                  </a:lnTo>
                  <a:lnTo>
                    <a:pt x="389" y="494"/>
                  </a:lnTo>
                  <a:lnTo>
                    <a:pt x="392" y="494"/>
                  </a:lnTo>
                  <a:lnTo>
                    <a:pt x="396" y="497"/>
                  </a:lnTo>
                  <a:lnTo>
                    <a:pt x="399" y="497"/>
                  </a:lnTo>
                  <a:lnTo>
                    <a:pt x="396" y="501"/>
                  </a:lnTo>
                  <a:lnTo>
                    <a:pt x="396" y="517"/>
                  </a:lnTo>
                  <a:lnTo>
                    <a:pt x="396" y="517"/>
                  </a:lnTo>
                  <a:lnTo>
                    <a:pt x="396" y="517"/>
                  </a:lnTo>
                  <a:lnTo>
                    <a:pt x="396" y="520"/>
                  </a:lnTo>
                  <a:lnTo>
                    <a:pt x="396" y="523"/>
                  </a:lnTo>
                  <a:lnTo>
                    <a:pt x="396" y="523"/>
                  </a:lnTo>
                  <a:lnTo>
                    <a:pt x="399" y="523"/>
                  </a:lnTo>
                  <a:lnTo>
                    <a:pt x="406" y="523"/>
                  </a:lnTo>
                  <a:lnTo>
                    <a:pt x="406" y="526"/>
                  </a:lnTo>
                  <a:lnTo>
                    <a:pt x="409" y="533"/>
                  </a:lnTo>
                  <a:lnTo>
                    <a:pt x="409" y="539"/>
                  </a:lnTo>
                  <a:lnTo>
                    <a:pt x="413" y="546"/>
                  </a:lnTo>
                  <a:lnTo>
                    <a:pt x="413" y="552"/>
                  </a:lnTo>
                  <a:lnTo>
                    <a:pt x="409" y="552"/>
                  </a:lnTo>
                  <a:lnTo>
                    <a:pt x="406" y="552"/>
                  </a:lnTo>
                  <a:lnTo>
                    <a:pt x="403" y="555"/>
                  </a:lnTo>
                  <a:lnTo>
                    <a:pt x="403" y="555"/>
                  </a:lnTo>
                  <a:lnTo>
                    <a:pt x="399" y="559"/>
                  </a:lnTo>
                  <a:lnTo>
                    <a:pt x="399" y="559"/>
                  </a:lnTo>
                  <a:lnTo>
                    <a:pt x="389" y="562"/>
                  </a:lnTo>
                  <a:lnTo>
                    <a:pt x="389" y="565"/>
                  </a:lnTo>
                  <a:lnTo>
                    <a:pt x="385" y="565"/>
                  </a:lnTo>
                  <a:lnTo>
                    <a:pt x="378" y="572"/>
                  </a:lnTo>
                  <a:lnTo>
                    <a:pt x="375" y="572"/>
                  </a:lnTo>
                  <a:lnTo>
                    <a:pt x="375" y="575"/>
                  </a:lnTo>
                  <a:lnTo>
                    <a:pt x="372" y="575"/>
                  </a:lnTo>
                  <a:lnTo>
                    <a:pt x="372" y="575"/>
                  </a:lnTo>
                  <a:lnTo>
                    <a:pt x="365" y="581"/>
                  </a:lnTo>
                  <a:lnTo>
                    <a:pt x="361" y="585"/>
                  </a:lnTo>
                  <a:lnTo>
                    <a:pt x="361" y="588"/>
                  </a:lnTo>
                  <a:lnTo>
                    <a:pt x="361" y="588"/>
                  </a:lnTo>
                  <a:lnTo>
                    <a:pt x="358" y="591"/>
                  </a:lnTo>
                  <a:lnTo>
                    <a:pt x="354" y="597"/>
                  </a:lnTo>
                  <a:lnTo>
                    <a:pt x="351" y="601"/>
                  </a:lnTo>
                  <a:lnTo>
                    <a:pt x="348" y="604"/>
                  </a:lnTo>
                  <a:lnTo>
                    <a:pt x="348" y="607"/>
                  </a:lnTo>
                  <a:lnTo>
                    <a:pt x="344" y="607"/>
                  </a:lnTo>
                  <a:lnTo>
                    <a:pt x="344" y="610"/>
                  </a:lnTo>
                  <a:lnTo>
                    <a:pt x="348" y="610"/>
                  </a:lnTo>
                  <a:lnTo>
                    <a:pt x="351" y="610"/>
                  </a:lnTo>
                  <a:lnTo>
                    <a:pt x="358" y="607"/>
                  </a:lnTo>
                  <a:lnTo>
                    <a:pt x="365" y="610"/>
                  </a:lnTo>
                  <a:lnTo>
                    <a:pt x="368" y="614"/>
                  </a:lnTo>
                  <a:lnTo>
                    <a:pt x="372" y="617"/>
                  </a:lnTo>
                  <a:lnTo>
                    <a:pt x="375" y="620"/>
                  </a:lnTo>
                  <a:lnTo>
                    <a:pt x="378" y="627"/>
                  </a:lnTo>
                  <a:lnTo>
                    <a:pt x="382" y="627"/>
                  </a:lnTo>
                  <a:lnTo>
                    <a:pt x="385" y="623"/>
                  </a:lnTo>
                  <a:lnTo>
                    <a:pt x="385" y="623"/>
                  </a:lnTo>
                  <a:lnTo>
                    <a:pt x="392" y="630"/>
                  </a:lnTo>
                  <a:lnTo>
                    <a:pt x="396" y="633"/>
                  </a:lnTo>
                  <a:lnTo>
                    <a:pt x="403" y="633"/>
                  </a:lnTo>
                  <a:lnTo>
                    <a:pt x="406" y="636"/>
                  </a:lnTo>
                  <a:lnTo>
                    <a:pt x="406" y="643"/>
                  </a:lnTo>
                  <a:lnTo>
                    <a:pt x="409" y="639"/>
                  </a:lnTo>
                  <a:lnTo>
                    <a:pt x="416" y="643"/>
                  </a:lnTo>
                  <a:lnTo>
                    <a:pt x="420" y="649"/>
                  </a:lnTo>
                  <a:lnTo>
                    <a:pt x="427" y="656"/>
                  </a:lnTo>
                  <a:lnTo>
                    <a:pt x="430" y="656"/>
                  </a:lnTo>
                  <a:lnTo>
                    <a:pt x="430" y="662"/>
                  </a:lnTo>
                  <a:lnTo>
                    <a:pt x="427" y="665"/>
                  </a:lnTo>
                  <a:lnTo>
                    <a:pt x="427" y="672"/>
                  </a:lnTo>
                  <a:lnTo>
                    <a:pt x="430" y="672"/>
                  </a:lnTo>
                  <a:lnTo>
                    <a:pt x="430" y="672"/>
                  </a:lnTo>
                  <a:lnTo>
                    <a:pt x="430" y="675"/>
                  </a:lnTo>
                  <a:lnTo>
                    <a:pt x="434" y="675"/>
                  </a:lnTo>
                  <a:lnTo>
                    <a:pt x="440" y="672"/>
                  </a:lnTo>
                  <a:lnTo>
                    <a:pt x="444" y="665"/>
                  </a:lnTo>
                  <a:lnTo>
                    <a:pt x="444" y="656"/>
                  </a:lnTo>
                  <a:lnTo>
                    <a:pt x="447" y="646"/>
                  </a:lnTo>
                  <a:lnTo>
                    <a:pt x="451" y="646"/>
                  </a:lnTo>
                  <a:lnTo>
                    <a:pt x="447" y="643"/>
                  </a:lnTo>
                  <a:lnTo>
                    <a:pt x="444" y="639"/>
                  </a:lnTo>
                  <a:lnTo>
                    <a:pt x="447" y="636"/>
                  </a:lnTo>
                  <a:lnTo>
                    <a:pt x="451" y="636"/>
                  </a:lnTo>
                  <a:lnTo>
                    <a:pt x="451" y="633"/>
                  </a:lnTo>
                  <a:lnTo>
                    <a:pt x="454" y="630"/>
                  </a:lnTo>
                  <a:lnTo>
                    <a:pt x="454" y="627"/>
                  </a:lnTo>
                  <a:lnTo>
                    <a:pt x="454" y="630"/>
                  </a:lnTo>
                  <a:lnTo>
                    <a:pt x="458" y="630"/>
                  </a:lnTo>
                  <a:lnTo>
                    <a:pt x="461" y="627"/>
                  </a:lnTo>
                  <a:lnTo>
                    <a:pt x="461" y="623"/>
                  </a:lnTo>
                  <a:lnTo>
                    <a:pt x="461" y="620"/>
                  </a:lnTo>
                  <a:lnTo>
                    <a:pt x="461" y="617"/>
                  </a:lnTo>
                  <a:lnTo>
                    <a:pt x="464" y="617"/>
                  </a:lnTo>
                  <a:lnTo>
                    <a:pt x="464" y="617"/>
                  </a:lnTo>
                  <a:lnTo>
                    <a:pt x="468" y="614"/>
                  </a:lnTo>
                  <a:lnTo>
                    <a:pt x="464" y="610"/>
                  </a:lnTo>
                  <a:lnTo>
                    <a:pt x="464" y="610"/>
                  </a:lnTo>
                  <a:lnTo>
                    <a:pt x="464" y="604"/>
                  </a:lnTo>
                  <a:lnTo>
                    <a:pt x="461" y="604"/>
                  </a:lnTo>
                  <a:lnTo>
                    <a:pt x="464" y="604"/>
                  </a:lnTo>
                  <a:lnTo>
                    <a:pt x="468" y="607"/>
                  </a:lnTo>
                  <a:lnTo>
                    <a:pt x="471" y="610"/>
                  </a:lnTo>
                  <a:lnTo>
                    <a:pt x="475" y="610"/>
                  </a:lnTo>
                  <a:lnTo>
                    <a:pt x="475" y="610"/>
                  </a:lnTo>
                  <a:lnTo>
                    <a:pt x="478" y="610"/>
                  </a:lnTo>
                  <a:lnTo>
                    <a:pt x="478" y="614"/>
                  </a:lnTo>
                  <a:lnTo>
                    <a:pt x="475" y="614"/>
                  </a:lnTo>
                  <a:lnTo>
                    <a:pt x="475" y="620"/>
                  </a:lnTo>
                  <a:lnTo>
                    <a:pt x="468" y="627"/>
                  </a:lnTo>
                  <a:lnTo>
                    <a:pt x="464" y="627"/>
                  </a:lnTo>
                  <a:lnTo>
                    <a:pt x="464" y="630"/>
                  </a:lnTo>
                  <a:lnTo>
                    <a:pt x="464" y="633"/>
                  </a:lnTo>
                  <a:lnTo>
                    <a:pt x="461" y="633"/>
                  </a:lnTo>
                  <a:lnTo>
                    <a:pt x="458" y="636"/>
                  </a:lnTo>
                  <a:lnTo>
                    <a:pt x="454" y="636"/>
                  </a:lnTo>
                  <a:lnTo>
                    <a:pt x="454" y="639"/>
                  </a:lnTo>
                  <a:lnTo>
                    <a:pt x="451" y="639"/>
                  </a:lnTo>
                  <a:lnTo>
                    <a:pt x="451" y="639"/>
                  </a:lnTo>
                  <a:lnTo>
                    <a:pt x="451" y="643"/>
                  </a:lnTo>
                  <a:lnTo>
                    <a:pt x="454" y="643"/>
                  </a:lnTo>
                  <a:lnTo>
                    <a:pt x="464" y="636"/>
                  </a:lnTo>
                  <a:lnTo>
                    <a:pt x="471" y="630"/>
                  </a:lnTo>
                  <a:lnTo>
                    <a:pt x="482" y="617"/>
                  </a:lnTo>
                  <a:lnTo>
                    <a:pt x="485" y="610"/>
                  </a:lnTo>
                  <a:lnTo>
                    <a:pt x="489" y="601"/>
                  </a:lnTo>
                  <a:lnTo>
                    <a:pt x="499" y="588"/>
                  </a:lnTo>
                  <a:lnTo>
                    <a:pt x="506" y="578"/>
                  </a:lnTo>
                  <a:lnTo>
                    <a:pt x="506" y="575"/>
                  </a:lnTo>
                  <a:lnTo>
                    <a:pt x="506" y="575"/>
                  </a:lnTo>
                  <a:lnTo>
                    <a:pt x="506" y="572"/>
                  </a:lnTo>
                  <a:lnTo>
                    <a:pt x="509" y="572"/>
                  </a:lnTo>
                  <a:lnTo>
                    <a:pt x="509" y="568"/>
                  </a:lnTo>
                  <a:lnTo>
                    <a:pt x="513" y="565"/>
                  </a:lnTo>
                  <a:lnTo>
                    <a:pt x="513" y="562"/>
                  </a:lnTo>
                  <a:lnTo>
                    <a:pt x="513" y="562"/>
                  </a:lnTo>
                  <a:lnTo>
                    <a:pt x="513" y="562"/>
                  </a:lnTo>
                  <a:lnTo>
                    <a:pt x="509" y="559"/>
                  </a:lnTo>
                  <a:lnTo>
                    <a:pt x="509" y="555"/>
                  </a:lnTo>
                  <a:lnTo>
                    <a:pt x="506" y="552"/>
                  </a:lnTo>
                  <a:lnTo>
                    <a:pt x="506" y="549"/>
                  </a:lnTo>
                  <a:lnTo>
                    <a:pt x="506" y="549"/>
                  </a:lnTo>
                  <a:lnTo>
                    <a:pt x="506" y="546"/>
                  </a:lnTo>
                  <a:lnTo>
                    <a:pt x="506" y="539"/>
                  </a:lnTo>
                  <a:lnTo>
                    <a:pt x="502" y="536"/>
                  </a:lnTo>
                  <a:lnTo>
                    <a:pt x="506" y="536"/>
                  </a:lnTo>
                  <a:lnTo>
                    <a:pt x="509" y="533"/>
                  </a:lnTo>
                  <a:lnTo>
                    <a:pt x="509" y="530"/>
                  </a:lnTo>
                  <a:lnTo>
                    <a:pt x="506" y="530"/>
                  </a:lnTo>
                  <a:lnTo>
                    <a:pt x="509" y="530"/>
                  </a:lnTo>
                  <a:lnTo>
                    <a:pt x="513" y="526"/>
                  </a:lnTo>
                  <a:lnTo>
                    <a:pt x="506" y="523"/>
                  </a:lnTo>
                  <a:lnTo>
                    <a:pt x="509" y="523"/>
                  </a:lnTo>
                  <a:lnTo>
                    <a:pt x="513" y="520"/>
                  </a:lnTo>
                  <a:lnTo>
                    <a:pt x="516" y="520"/>
                  </a:lnTo>
                  <a:lnTo>
                    <a:pt x="520" y="517"/>
                  </a:lnTo>
                  <a:lnTo>
                    <a:pt x="523" y="513"/>
                  </a:lnTo>
                  <a:lnTo>
                    <a:pt x="523" y="513"/>
                  </a:lnTo>
                  <a:lnTo>
                    <a:pt x="530" y="510"/>
                  </a:lnTo>
                  <a:lnTo>
                    <a:pt x="537" y="507"/>
                  </a:lnTo>
                  <a:lnTo>
                    <a:pt x="544" y="497"/>
                  </a:lnTo>
                  <a:lnTo>
                    <a:pt x="550" y="497"/>
                  </a:lnTo>
                  <a:lnTo>
                    <a:pt x="554" y="494"/>
                  </a:lnTo>
                  <a:lnTo>
                    <a:pt x="557" y="491"/>
                  </a:lnTo>
                  <a:lnTo>
                    <a:pt x="561" y="491"/>
                  </a:lnTo>
                  <a:lnTo>
                    <a:pt x="564" y="494"/>
                  </a:lnTo>
                  <a:lnTo>
                    <a:pt x="568" y="494"/>
                  </a:lnTo>
                  <a:lnTo>
                    <a:pt x="568" y="491"/>
                  </a:lnTo>
                  <a:lnTo>
                    <a:pt x="571" y="488"/>
                  </a:lnTo>
                  <a:lnTo>
                    <a:pt x="578" y="481"/>
                  </a:lnTo>
                  <a:lnTo>
                    <a:pt x="581" y="481"/>
                  </a:lnTo>
                  <a:lnTo>
                    <a:pt x="581" y="481"/>
                  </a:lnTo>
                  <a:lnTo>
                    <a:pt x="581" y="478"/>
                  </a:lnTo>
                  <a:lnTo>
                    <a:pt x="578" y="478"/>
                  </a:lnTo>
                  <a:lnTo>
                    <a:pt x="575" y="478"/>
                  </a:lnTo>
                  <a:lnTo>
                    <a:pt x="578" y="475"/>
                  </a:lnTo>
                  <a:lnTo>
                    <a:pt x="585" y="475"/>
                  </a:lnTo>
                  <a:lnTo>
                    <a:pt x="588" y="475"/>
                  </a:lnTo>
                  <a:lnTo>
                    <a:pt x="592" y="475"/>
                  </a:lnTo>
                  <a:lnTo>
                    <a:pt x="592" y="471"/>
                  </a:lnTo>
                  <a:lnTo>
                    <a:pt x="595" y="471"/>
                  </a:lnTo>
                  <a:lnTo>
                    <a:pt x="595" y="475"/>
                  </a:lnTo>
                  <a:lnTo>
                    <a:pt x="592" y="475"/>
                  </a:lnTo>
                  <a:lnTo>
                    <a:pt x="585" y="478"/>
                  </a:lnTo>
                  <a:lnTo>
                    <a:pt x="585" y="478"/>
                  </a:lnTo>
                  <a:lnTo>
                    <a:pt x="588" y="478"/>
                  </a:lnTo>
                  <a:lnTo>
                    <a:pt x="595" y="478"/>
                  </a:lnTo>
                  <a:lnTo>
                    <a:pt x="602" y="475"/>
                  </a:lnTo>
                  <a:lnTo>
                    <a:pt x="602" y="471"/>
                  </a:lnTo>
                  <a:lnTo>
                    <a:pt x="606" y="471"/>
                  </a:lnTo>
                  <a:lnTo>
                    <a:pt x="609" y="471"/>
                  </a:lnTo>
                  <a:lnTo>
                    <a:pt x="606" y="471"/>
                  </a:lnTo>
                  <a:lnTo>
                    <a:pt x="606" y="471"/>
                  </a:lnTo>
                  <a:lnTo>
                    <a:pt x="606" y="475"/>
                  </a:lnTo>
                  <a:lnTo>
                    <a:pt x="606" y="475"/>
                  </a:lnTo>
                  <a:lnTo>
                    <a:pt x="612" y="478"/>
                  </a:lnTo>
                  <a:lnTo>
                    <a:pt x="616" y="475"/>
                  </a:lnTo>
                  <a:lnTo>
                    <a:pt x="623" y="475"/>
                  </a:lnTo>
                  <a:lnTo>
                    <a:pt x="626" y="475"/>
                  </a:lnTo>
                  <a:lnTo>
                    <a:pt x="633" y="475"/>
                  </a:lnTo>
                  <a:lnTo>
                    <a:pt x="633" y="471"/>
                  </a:lnTo>
                  <a:lnTo>
                    <a:pt x="630" y="471"/>
                  </a:lnTo>
                  <a:lnTo>
                    <a:pt x="630" y="468"/>
                  </a:lnTo>
                  <a:lnTo>
                    <a:pt x="640" y="465"/>
                  </a:lnTo>
                  <a:lnTo>
                    <a:pt x="647" y="462"/>
                  </a:lnTo>
                  <a:lnTo>
                    <a:pt x="650" y="459"/>
                  </a:lnTo>
                  <a:lnTo>
                    <a:pt x="654" y="459"/>
                  </a:lnTo>
                  <a:lnTo>
                    <a:pt x="650" y="455"/>
                  </a:lnTo>
                  <a:lnTo>
                    <a:pt x="647" y="449"/>
                  </a:lnTo>
                  <a:lnTo>
                    <a:pt x="650" y="446"/>
                  </a:lnTo>
                  <a:lnTo>
                    <a:pt x="654" y="442"/>
                  </a:lnTo>
                  <a:lnTo>
                    <a:pt x="654" y="439"/>
                  </a:lnTo>
                  <a:lnTo>
                    <a:pt x="654" y="439"/>
                  </a:lnTo>
                  <a:lnTo>
                    <a:pt x="657" y="436"/>
                  </a:lnTo>
                  <a:lnTo>
                    <a:pt x="657" y="433"/>
                  </a:lnTo>
                  <a:lnTo>
                    <a:pt x="657" y="433"/>
                  </a:lnTo>
                  <a:lnTo>
                    <a:pt x="664" y="426"/>
                  </a:lnTo>
                  <a:lnTo>
                    <a:pt x="671" y="420"/>
                  </a:lnTo>
                  <a:lnTo>
                    <a:pt x="671" y="413"/>
                  </a:lnTo>
                  <a:lnTo>
                    <a:pt x="671" y="404"/>
                  </a:lnTo>
                  <a:lnTo>
                    <a:pt x="667" y="404"/>
                  </a:lnTo>
                  <a:lnTo>
                    <a:pt x="671" y="397"/>
                  </a:lnTo>
                  <a:lnTo>
                    <a:pt x="671" y="394"/>
                  </a:lnTo>
                  <a:lnTo>
                    <a:pt x="674" y="391"/>
                  </a:lnTo>
                  <a:lnTo>
                    <a:pt x="678" y="387"/>
                  </a:lnTo>
                  <a:lnTo>
                    <a:pt x="678" y="384"/>
                  </a:lnTo>
                  <a:lnTo>
                    <a:pt x="678" y="381"/>
                  </a:lnTo>
                  <a:lnTo>
                    <a:pt x="681" y="371"/>
                  </a:lnTo>
                  <a:lnTo>
                    <a:pt x="681" y="368"/>
                  </a:lnTo>
                  <a:lnTo>
                    <a:pt x="681" y="362"/>
                  </a:lnTo>
                  <a:lnTo>
                    <a:pt x="681" y="362"/>
                  </a:lnTo>
                  <a:lnTo>
                    <a:pt x="681" y="355"/>
                  </a:lnTo>
                  <a:lnTo>
                    <a:pt x="681" y="333"/>
                  </a:lnTo>
                  <a:lnTo>
                    <a:pt x="681" y="326"/>
                  </a:lnTo>
                  <a:lnTo>
                    <a:pt x="681" y="323"/>
                  </a:lnTo>
                  <a:lnTo>
                    <a:pt x="681" y="323"/>
                  </a:lnTo>
                  <a:lnTo>
                    <a:pt x="681" y="323"/>
                  </a:lnTo>
                  <a:lnTo>
                    <a:pt x="678" y="320"/>
                  </a:lnTo>
                  <a:lnTo>
                    <a:pt x="678" y="320"/>
                  </a:lnTo>
                  <a:lnTo>
                    <a:pt x="681" y="316"/>
                  </a:lnTo>
                  <a:lnTo>
                    <a:pt x="678" y="313"/>
                  </a:lnTo>
                  <a:lnTo>
                    <a:pt x="681" y="310"/>
                  </a:lnTo>
                  <a:lnTo>
                    <a:pt x="681" y="310"/>
                  </a:lnTo>
                  <a:lnTo>
                    <a:pt x="685" y="303"/>
                  </a:lnTo>
                  <a:lnTo>
                    <a:pt x="681" y="300"/>
                  </a:lnTo>
                  <a:lnTo>
                    <a:pt x="674" y="300"/>
                  </a:lnTo>
                  <a:lnTo>
                    <a:pt x="678" y="300"/>
                  </a:lnTo>
                  <a:lnTo>
                    <a:pt x="678" y="297"/>
                  </a:lnTo>
                  <a:lnTo>
                    <a:pt x="678" y="300"/>
                  </a:lnTo>
                  <a:lnTo>
                    <a:pt x="681" y="300"/>
                  </a:lnTo>
                  <a:lnTo>
                    <a:pt x="685" y="300"/>
                  </a:lnTo>
                  <a:lnTo>
                    <a:pt x="685" y="297"/>
                  </a:lnTo>
                  <a:lnTo>
                    <a:pt x="688" y="297"/>
                  </a:lnTo>
                  <a:lnTo>
                    <a:pt x="688" y="300"/>
                  </a:lnTo>
                  <a:lnTo>
                    <a:pt x="692" y="300"/>
                  </a:lnTo>
                  <a:lnTo>
                    <a:pt x="688" y="303"/>
                  </a:lnTo>
                  <a:lnTo>
                    <a:pt x="685" y="303"/>
                  </a:lnTo>
                  <a:lnTo>
                    <a:pt x="685" y="307"/>
                  </a:lnTo>
                  <a:lnTo>
                    <a:pt x="688" y="307"/>
                  </a:lnTo>
                  <a:lnTo>
                    <a:pt x="692" y="303"/>
                  </a:lnTo>
                  <a:lnTo>
                    <a:pt x="695" y="303"/>
                  </a:lnTo>
                  <a:lnTo>
                    <a:pt x="702" y="294"/>
                  </a:lnTo>
                  <a:lnTo>
                    <a:pt x="705" y="287"/>
                  </a:lnTo>
                  <a:lnTo>
                    <a:pt x="705" y="284"/>
                  </a:lnTo>
                  <a:lnTo>
                    <a:pt x="709" y="281"/>
                  </a:lnTo>
                  <a:lnTo>
                    <a:pt x="712" y="274"/>
                  </a:lnTo>
                  <a:lnTo>
                    <a:pt x="716" y="271"/>
                  </a:lnTo>
                  <a:lnTo>
                    <a:pt x="726" y="265"/>
                  </a:lnTo>
                  <a:lnTo>
                    <a:pt x="726" y="261"/>
                  </a:lnTo>
                  <a:lnTo>
                    <a:pt x="729" y="261"/>
                  </a:lnTo>
                  <a:lnTo>
                    <a:pt x="733" y="258"/>
                  </a:lnTo>
                  <a:lnTo>
                    <a:pt x="740" y="252"/>
                  </a:lnTo>
                  <a:lnTo>
                    <a:pt x="747" y="242"/>
                  </a:lnTo>
                  <a:lnTo>
                    <a:pt x="750" y="242"/>
                  </a:lnTo>
                  <a:lnTo>
                    <a:pt x="753" y="232"/>
                  </a:lnTo>
                  <a:lnTo>
                    <a:pt x="757" y="229"/>
                  </a:lnTo>
                  <a:lnTo>
                    <a:pt x="757" y="226"/>
                  </a:lnTo>
                  <a:lnTo>
                    <a:pt x="757" y="223"/>
                  </a:lnTo>
                  <a:lnTo>
                    <a:pt x="757" y="219"/>
                  </a:lnTo>
                  <a:lnTo>
                    <a:pt x="757" y="216"/>
                  </a:lnTo>
                  <a:lnTo>
                    <a:pt x="760" y="213"/>
                  </a:lnTo>
                  <a:lnTo>
                    <a:pt x="757" y="207"/>
                  </a:lnTo>
                  <a:lnTo>
                    <a:pt x="757" y="203"/>
                  </a:lnTo>
                  <a:lnTo>
                    <a:pt x="753" y="200"/>
                  </a:lnTo>
                  <a:lnTo>
                    <a:pt x="750" y="187"/>
                  </a:lnTo>
                  <a:lnTo>
                    <a:pt x="750" y="184"/>
                  </a:lnTo>
                  <a:lnTo>
                    <a:pt x="747" y="178"/>
                  </a:lnTo>
                  <a:lnTo>
                    <a:pt x="736" y="174"/>
                  </a:lnTo>
                  <a:lnTo>
                    <a:pt x="726" y="174"/>
                  </a:lnTo>
                  <a:lnTo>
                    <a:pt x="722" y="174"/>
                  </a:lnTo>
                  <a:lnTo>
                    <a:pt x="719" y="171"/>
                  </a:lnTo>
                  <a:lnTo>
                    <a:pt x="716" y="171"/>
                  </a:lnTo>
                  <a:lnTo>
                    <a:pt x="709" y="168"/>
                  </a:lnTo>
                  <a:lnTo>
                    <a:pt x="705" y="165"/>
                  </a:lnTo>
                  <a:lnTo>
                    <a:pt x="702" y="165"/>
                  </a:lnTo>
                  <a:lnTo>
                    <a:pt x="692" y="155"/>
                  </a:lnTo>
                  <a:lnTo>
                    <a:pt x="685" y="148"/>
                  </a:lnTo>
                  <a:lnTo>
                    <a:pt x="681" y="148"/>
                  </a:lnTo>
                  <a:lnTo>
                    <a:pt x="678" y="142"/>
                  </a:lnTo>
                  <a:lnTo>
                    <a:pt x="674" y="142"/>
                  </a:lnTo>
                  <a:lnTo>
                    <a:pt x="661" y="136"/>
                  </a:lnTo>
                  <a:lnTo>
                    <a:pt x="657" y="136"/>
                  </a:lnTo>
                  <a:lnTo>
                    <a:pt x="650" y="136"/>
                  </a:lnTo>
                  <a:lnTo>
                    <a:pt x="647" y="136"/>
                  </a:lnTo>
                  <a:lnTo>
                    <a:pt x="640" y="136"/>
                  </a:lnTo>
                  <a:lnTo>
                    <a:pt x="636" y="136"/>
                  </a:lnTo>
                  <a:lnTo>
                    <a:pt x="633" y="136"/>
                  </a:lnTo>
                  <a:lnTo>
                    <a:pt x="633" y="139"/>
                  </a:lnTo>
                  <a:lnTo>
                    <a:pt x="630" y="136"/>
                  </a:lnTo>
                  <a:lnTo>
                    <a:pt x="623" y="132"/>
                  </a:lnTo>
                  <a:lnTo>
                    <a:pt x="623" y="136"/>
                  </a:lnTo>
                  <a:lnTo>
                    <a:pt x="623" y="132"/>
                  </a:lnTo>
                  <a:lnTo>
                    <a:pt x="619" y="136"/>
                  </a:lnTo>
                  <a:lnTo>
                    <a:pt x="619" y="136"/>
                  </a:lnTo>
                  <a:lnTo>
                    <a:pt x="616" y="136"/>
                  </a:lnTo>
                  <a:lnTo>
                    <a:pt x="616" y="132"/>
                  </a:lnTo>
                  <a:lnTo>
                    <a:pt x="616" y="132"/>
                  </a:lnTo>
                  <a:lnTo>
                    <a:pt x="616" y="132"/>
                  </a:lnTo>
                  <a:lnTo>
                    <a:pt x="616" y="136"/>
                  </a:lnTo>
                  <a:lnTo>
                    <a:pt x="609" y="132"/>
                  </a:lnTo>
                  <a:lnTo>
                    <a:pt x="606" y="132"/>
                  </a:lnTo>
                  <a:lnTo>
                    <a:pt x="602" y="132"/>
                  </a:lnTo>
                  <a:lnTo>
                    <a:pt x="592" y="129"/>
                  </a:lnTo>
                  <a:lnTo>
                    <a:pt x="588" y="129"/>
                  </a:lnTo>
                  <a:lnTo>
                    <a:pt x="588" y="129"/>
                  </a:lnTo>
                  <a:lnTo>
                    <a:pt x="588" y="132"/>
                  </a:lnTo>
                  <a:lnTo>
                    <a:pt x="588" y="132"/>
                  </a:lnTo>
                  <a:lnTo>
                    <a:pt x="585" y="132"/>
                  </a:lnTo>
                  <a:lnTo>
                    <a:pt x="585" y="132"/>
                  </a:lnTo>
                  <a:lnTo>
                    <a:pt x="581" y="132"/>
                  </a:lnTo>
                  <a:lnTo>
                    <a:pt x="578" y="136"/>
                  </a:lnTo>
                  <a:lnTo>
                    <a:pt x="578" y="136"/>
                  </a:lnTo>
                  <a:lnTo>
                    <a:pt x="578" y="139"/>
                  </a:lnTo>
                  <a:lnTo>
                    <a:pt x="575" y="136"/>
                  </a:lnTo>
                  <a:lnTo>
                    <a:pt x="575" y="136"/>
                  </a:lnTo>
                  <a:lnTo>
                    <a:pt x="571" y="136"/>
                  </a:lnTo>
                  <a:lnTo>
                    <a:pt x="571" y="139"/>
                  </a:lnTo>
                  <a:lnTo>
                    <a:pt x="571" y="142"/>
                  </a:lnTo>
                  <a:lnTo>
                    <a:pt x="571" y="148"/>
                  </a:lnTo>
                  <a:lnTo>
                    <a:pt x="568" y="142"/>
                  </a:lnTo>
                  <a:lnTo>
                    <a:pt x="571" y="139"/>
                  </a:lnTo>
                  <a:lnTo>
                    <a:pt x="568" y="136"/>
                  </a:lnTo>
                  <a:lnTo>
                    <a:pt x="571" y="129"/>
                  </a:lnTo>
                  <a:lnTo>
                    <a:pt x="571" y="129"/>
                  </a:lnTo>
                  <a:lnTo>
                    <a:pt x="571" y="129"/>
                  </a:lnTo>
                  <a:lnTo>
                    <a:pt x="568" y="129"/>
                  </a:lnTo>
                  <a:lnTo>
                    <a:pt x="571" y="123"/>
                  </a:lnTo>
                  <a:lnTo>
                    <a:pt x="568" y="119"/>
                  </a:lnTo>
                  <a:lnTo>
                    <a:pt x="564" y="116"/>
                  </a:lnTo>
                  <a:lnTo>
                    <a:pt x="561" y="116"/>
                  </a:lnTo>
                  <a:lnTo>
                    <a:pt x="557" y="116"/>
                  </a:lnTo>
                  <a:lnTo>
                    <a:pt x="554" y="116"/>
                  </a:lnTo>
                  <a:lnTo>
                    <a:pt x="550" y="119"/>
                  </a:lnTo>
                  <a:lnTo>
                    <a:pt x="550" y="116"/>
                  </a:lnTo>
                  <a:lnTo>
                    <a:pt x="547" y="116"/>
                  </a:lnTo>
                  <a:lnTo>
                    <a:pt x="547" y="113"/>
                  </a:lnTo>
                  <a:lnTo>
                    <a:pt x="547" y="110"/>
                  </a:lnTo>
                  <a:lnTo>
                    <a:pt x="544" y="110"/>
                  </a:lnTo>
                  <a:lnTo>
                    <a:pt x="540" y="110"/>
                  </a:lnTo>
                  <a:lnTo>
                    <a:pt x="537" y="110"/>
                  </a:lnTo>
                  <a:lnTo>
                    <a:pt x="537" y="110"/>
                  </a:lnTo>
                  <a:lnTo>
                    <a:pt x="537" y="110"/>
                  </a:lnTo>
                  <a:lnTo>
                    <a:pt x="533" y="106"/>
                  </a:lnTo>
                  <a:lnTo>
                    <a:pt x="533" y="106"/>
                  </a:lnTo>
                  <a:lnTo>
                    <a:pt x="530" y="106"/>
                  </a:lnTo>
                  <a:lnTo>
                    <a:pt x="526" y="106"/>
                  </a:lnTo>
                  <a:lnTo>
                    <a:pt x="520" y="103"/>
                  </a:lnTo>
                  <a:lnTo>
                    <a:pt x="520" y="103"/>
                  </a:lnTo>
                  <a:lnTo>
                    <a:pt x="520" y="103"/>
                  </a:lnTo>
                  <a:lnTo>
                    <a:pt x="516" y="103"/>
                  </a:lnTo>
                  <a:lnTo>
                    <a:pt x="513" y="103"/>
                  </a:lnTo>
                  <a:lnTo>
                    <a:pt x="513" y="103"/>
                  </a:lnTo>
                  <a:lnTo>
                    <a:pt x="509" y="103"/>
                  </a:lnTo>
                  <a:lnTo>
                    <a:pt x="509" y="103"/>
                  </a:lnTo>
                  <a:lnTo>
                    <a:pt x="506" y="103"/>
                  </a:lnTo>
                  <a:lnTo>
                    <a:pt x="499" y="103"/>
                  </a:lnTo>
                  <a:lnTo>
                    <a:pt x="499" y="106"/>
                  </a:lnTo>
                  <a:lnTo>
                    <a:pt x="499" y="110"/>
                  </a:lnTo>
                  <a:lnTo>
                    <a:pt x="495" y="113"/>
                  </a:lnTo>
                  <a:lnTo>
                    <a:pt x="489" y="116"/>
                  </a:lnTo>
                  <a:lnTo>
                    <a:pt x="482" y="119"/>
                  </a:lnTo>
                  <a:lnTo>
                    <a:pt x="478" y="123"/>
                  </a:lnTo>
                  <a:lnTo>
                    <a:pt x="478" y="126"/>
                  </a:lnTo>
                  <a:lnTo>
                    <a:pt x="475" y="132"/>
                  </a:lnTo>
                  <a:lnTo>
                    <a:pt x="475" y="132"/>
                  </a:lnTo>
                  <a:lnTo>
                    <a:pt x="471" y="136"/>
                  </a:lnTo>
                  <a:lnTo>
                    <a:pt x="471" y="139"/>
                  </a:lnTo>
                  <a:lnTo>
                    <a:pt x="471" y="142"/>
                  </a:lnTo>
                  <a:lnTo>
                    <a:pt x="471" y="148"/>
                  </a:lnTo>
                  <a:lnTo>
                    <a:pt x="471" y="145"/>
                  </a:lnTo>
                  <a:lnTo>
                    <a:pt x="468" y="139"/>
                  </a:lnTo>
                  <a:lnTo>
                    <a:pt x="468" y="139"/>
                  </a:lnTo>
                  <a:lnTo>
                    <a:pt x="471" y="136"/>
                  </a:lnTo>
                  <a:lnTo>
                    <a:pt x="471" y="132"/>
                  </a:lnTo>
                  <a:lnTo>
                    <a:pt x="471" y="129"/>
                  </a:lnTo>
                  <a:lnTo>
                    <a:pt x="475" y="123"/>
                  </a:lnTo>
                  <a:lnTo>
                    <a:pt x="475" y="123"/>
                  </a:lnTo>
                  <a:lnTo>
                    <a:pt x="471" y="123"/>
                  </a:lnTo>
                  <a:lnTo>
                    <a:pt x="468" y="123"/>
                  </a:lnTo>
                  <a:lnTo>
                    <a:pt x="461" y="123"/>
                  </a:lnTo>
                  <a:lnTo>
                    <a:pt x="458" y="123"/>
                  </a:lnTo>
                  <a:lnTo>
                    <a:pt x="454" y="123"/>
                  </a:lnTo>
                  <a:lnTo>
                    <a:pt x="451" y="123"/>
                  </a:lnTo>
                  <a:lnTo>
                    <a:pt x="454" y="123"/>
                  </a:lnTo>
                  <a:lnTo>
                    <a:pt x="458" y="119"/>
                  </a:lnTo>
                  <a:lnTo>
                    <a:pt x="461" y="119"/>
                  </a:lnTo>
                  <a:lnTo>
                    <a:pt x="468" y="119"/>
                  </a:lnTo>
                  <a:lnTo>
                    <a:pt x="471" y="119"/>
                  </a:lnTo>
                  <a:lnTo>
                    <a:pt x="475" y="116"/>
                  </a:lnTo>
                  <a:lnTo>
                    <a:pt x="475" y="116"/>
                  </a:lnTo>
                  <a:lnTo>
                    <a:pt x="478" y="116"/>
                  </a:lnTo>
                  <a:lnTo>
                    <a:pt x="478" y="116"/>
                  </a:lnTo>
                  <a:lnTo>
                    <a:pt x="482" y="116"/>
                  </a:lnTo>
                  <a:lnTo>
                    <a:pt x="489" y="113"/>
                  </a:lnTo>
                  <a:lnTo>
                    <a:pt x="489" y="110"/>
                  </a:lnTo>
                  <a:lnTo>
                    <a:pt x="492" y="103"/>
                  </a:lnTo>
                  <a:lnTo>
                    <a:pt x="492" y="100"/>
                  </a:lnTo>
                  <a:lnTo>
                    <a:pt x="495" y="100"/>
                  </a:lnTo>
                  <a:lnTo>
                    <a:pt x="495" y="97"/>
                  </a:lnTo>
                  <a:lnTo>
                    <a:pt x="489" y="94"/>
                  </a:lnTo>
                  <a:lnTo>
                    <a:pt x="485" y="90"/>
                  </a:lnTo>
                  <a:lnTo>
                    <a:pt x="482" y="90"/>
                  </a:lnTo>
                  <a:lnTo>
                    <a:pt x="475" y="94"/>
                  </a:lnTo>
                  <a:lnTo>
                    <a:pt x="471" y="94"/>
                  </a:lnTo>
                  <a:lnTo>
                    <a:pt x="464" y="94"/>
                  </a:lnTo>
                  <a:lnTo>
                    <a:pt x="458" y="94"/>
                  </a:lnTo>
                  <a:lnTo>
                    <a:pt x="451" y="97"/>
                  </a:lnTo>
                  <a:lnTo>
                    <a:pt x="451" y="100"/>
                  </a:lnTo>
                  <a:lnTo>
                    <a:pt x="454" y="100"/>
                  </a:lnTo>
                  <a:lnTo>
                    <a:pt x="454" y="100"/>
                  </a:lnTo>
                  <a:lnTo>
                    <a:pt x="451" y="103"/>
                  </a:lnTo>
                  <a:lnTo>
                    <a:pt x="451" y="103"/>
                  </a:lnTo>
                  <a:lnTo>
                    <a:pt x="451" y="106"/>
                  </a:lnTo>
                  <a:lnTo>
                    <a:pt x="447" y="103"/>
                  </a:lnTo>
                  <a:lnTo>
                    <a:pt x="447" y="103"/>
                  </a:lnTo>
                  <a:lnTo>
                    <a:pt x="444" y="103"/>
                  </a:lnTo>
                  <a:lnTo>
                    <a:pt x="437" y="110"/>
                  </a:lnTo>
                  <a:lnTo>
                    <a:pt x="434" y="116"/>
                  </a:lnTo>
                  <a:lnTo>
                    <a:pt x="437" y="110"/>
                  </a:lnTo>
                  <a:lnTo>
                    <a:pt x="437" y="106"/>
                  </a:lnTo>
                  <a:lnTo>
                    <a:pt x="437" y="103"/>
                  </a:lnTo>
                  <a:lnTo>
                    <a:pt x="437" y="103"/>
                  </a:lnTo>
                  <a:lnTo>
                    <a:pt x="437" y="103"/>
                  </a:lnTo>
                  <a:lnTo>
                    <a:pt x="434" y="103"/>
                  </a:lnTo>
                  <a:lnTo>
                    <a:pt x="430" y="110"/>
                  </a:lnTo>
                  <a:lnTo>
                    <a:pt x="427" y="113"/>
                  </a:lnTo>
                  <a:lnTo>
                    <a:pt x="423" y="113"/>
                  </a:lnTo>
                  <a:lnTo>
                    <a:pt x="427" y="110"/>
                  </a:lnTo>
                  <a:lnTo>
                    <a:pt x="430" y="106"/>
                  </a:lnTo>
                  <a:lnTo>
                    <a:pt x="437" y="97"/>
                  </a:lnTo>
                  <a:lnTo>
                    <a:pt x="437" y="94"/>
                  </a:lnTo>
                  <a:lnTo>
                    <a:pt x="440" y="90"/>
                  </a:lnTo>
                  <a:lnTo>
                    <a:pt x="444" y="87"/>
                  </a:lnTo>
                  <a:lnTo>
                    <a:pt x="447" y="87"/>
                  </a:lnTo>
                  <a:lnTo>
                    <a:pt x="451" y="84"/>
                  </a:lnTo>
                  <a:lnTo>
                    <a:pt x="454" y="81"/>
                  </a:lnTo>
                  <a:lnTo>
                    <a:pt x="464" y="71"/>
                  </a:lnTo>
                  <a:lnTo>
                    <a:pt x="464" y="71"/>
                  </a:lnTo>
                  <a:lnTo>
                    <a:pt x="464" y="71"/>
                  </a:lnTo>
                  <a:lnTo>
                    <a:pt x="464" y="68"/>
                  </a:lnTo>
                  <a:lnTo>
                    <a:pt x="464" y="64"/>
                  </a:lnTo>
                  <a:lnTo>
                    <a:pt x="464" y="64"/>
                  </a:lnTo>
                  <a:lnTo>
                    <a:pt x="464" y="61"/>
                  </a:lnTo>
                  <a:lnTo>
                    <a:pt x="461" y="58"/>
                  </a:lnTo>
                  <a:lnTo>
                    <a:pt x="458" y="58"/>
                  </a:lnTo>
                  <a:lnTo>
                    <a:pt x="458" y="61"/>
                  </a:lnTo>
                  <a:lnTo>
                    <a:pt x="454" y="58"/>
                  </a:lnTo>
                  <a:lnTo>
                    <a:pt x="451" y="52"/>
                  </a:lnTo>
                  <a:lnTo>
                    <a:pt x="447" y="42"/>
                  </a:lnTo>
                  <a:lnTo>
                    <a:pt x="444" y="39"/>
                  </a:lnTo>
                  <a:lnTo>
                    <a:pt x="440" y="32"/>
                  </a:lnTo>
                  <a:lnTo>
                    <a:pt x="440" y="29"/>
                  </a:lnTo>
                  <a:lnTo>
                    <a:pt x="44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8" name="Freeform 179"/>
            <p:cNvSpPr>
              <a:spLocks/>
            </p:cNvSpPr>
            <p:nvPr/>
          </p:nvSpPr>
          <p:spPr bwMode="auto">
            <a:xfrm>
              <a:off x="4616451" y="4477405"/>
              <a:ext cx="88900" cy="107950"/>
            </a:xfrm>
            <a:custGeom>
              <a:avLst/>
              <a:gdLst>
                <a:gd name="T0" fmla="*/ 0 w 56"/>
                <a:gd name="T1" fmla="*/ 55 h 68"/>
                <a:gd name="T2" fmla="*/ 0 w 56"/>
                <a:gd name="T3" fmla="*/ 55 h 68"/>
                <a:gd name="T4" fmla="*/ 4 w 56"/>
                <a:gd name="T5" fmla="*/ 59 h 68"/>
                <a:gd name="T6" fmla="*/ 4 w 56"/>
                <a:gd name="T7" fmla="*/ 59 h 68"/>
                <a:gd name="T8" fmla="*/ 4 w 56"/>
                <a:gd name="T9" fmla="*/ 62 h 68"/>
                <a:gd name="T10" fmla="*/ 7 w 56"/>
                <a:gd name="T11" fmla="*/ 62 h 68"/>
                <a:gd name="T12" fmla="*/ 11 w 56"/>
                <a:gd name="T13" fmla="*/ 65 h 68"/>
                <a:gd name="T14" fmla="*/ 11 w 56"/>
                <a:gd name="T15" fmla="*/ 62 h 68"/>
                <a:gd name="T16" fmla="*/ 14 w 56"/>
                <a:gd name="T17" fmla="*/ 62 h 68"/>
                <a:gd name="T18" fmla="*/ 18 w 56"/>
                <a:gd name="T19" fmla="*/ 62 h 68"/>
                <a:gd name="T20" fmla="*/ 18 w 56"/>
                <a:gd name="T21" fmla="*/ 62 h 68"/>
                <a:gd name="T22" fmla="*/ 18 w 56"/>
                <a:gd name="T23" fmla="*/ 62 h 68"/>
                <a:gd name="T24" fmla="*/ 18 w 56"/>
                <a:gd name="T25" fmla="*/ 68 h 68"/>
                <a:gd name="T26" fmla="*/ 21 w 56"/>
                <a:gd name="T27" fmla="*/ 68 h 68"/>
                <a:gd name="T28" fmla="*/ 25 w 56"/>
                <a:gd name="T29" fmla="*/ 65 h 68"/>
                <a:gd name="T30" fmla="*/ 25 w 56"/>
                <a:gd name="T31" fmla="*/ 62 h 68"/>
                <a:gd name="T32" fmla="*/ 28 w 56"/>
                <a:gd name="T33" fmla="*/ 62 h 68"/>
                <a:gd name="T34" fmla="*/ 31 w 56"/>
                <a:gd name="T35" fmla="*/ 62 h 68"/>
                <a:gd name="T36" fmla="*/ 31 w 56"/>
                <a:gd name="T37" fmla="*/ 59 h 68"/>
                <a:gd name="T38" fmla="*/ 35 w 56"/>
                <a:gd name="T39" fmla="*/ 52 h 68"/>
                <a:gd name="T40" fmla="*/ 38 w 56"/>
                <a:gd name="T41" fmla="*/ 46 h 68"/>
                <a:gd name="T42" fmla="*/ 38 w 56"/>
                <a:gd name="T43" fmla="*/ 42 h 68"/>
                <a:gd name="T44" fmla="*/ 45 w 56"/>
                <a:gd name="T45" fmla="*/ 39 h 68"/>
                <a:gd name="T46" fmla="*/ 49 w 56"/>
                <a:gd name="T47" fmla="*/ 33 h 68"/>
                <a:gd name="T48" fmla="*/ 52 w 56"/>
                <a:gd name="T49" fmla="*/ 29 h 68"/>
                <a:gd name="T50" fmla="*/ 52 w 56"/>
                <a:gd name="T51" fmla="*/ 29 h 68"/>
                <a:gd name="T52" fmla="*/ 56 w 56"/>
                <a:gd name="T53" fmla="*/ 26 h 68"/>
                <a:gd name="T54" fmla="*/ 56 w 56"/>
                <a:gd name="T55" fmla="*/ 23 h 68"/>
                <a:gd name="T56" fmla="*/ 52 w 56"/>
                <a:gd name="T57" fmla="*/ 20 h 68"/>
                <a:gd name="T58" fmla="*/ 49 w 56"/>
                <a:gd name="T59" fmla="*/ 20 h 68"/>
                <a:gd name="T60" fmla="*/ 45 w 56"/>
                <a:gd name="T61" fmla="*/ 20 h 68"/>
                <a:gd name="T62" fmla="*/ 45 w 56"/>
                <a:gd name="T63" fmla="*/ 17 h 68"/>
                <a:gd name="T64" fmla="*/ 38 w 56"/>
                <a:gd name="T65" fmla="*/ 10 h 68"/>
                <a:gd name="T66" fmla="*/ 38 w 56"/>
                <a:gd name="T67" fmla="*/ 10 h 68"/>
                <a:gd name="T68" fmla="*/ 31 w 56"/>
                <a:gd name="T69" fmla="*/ 7 h 68"/>
                <a:gd name="T70" fmla="*/ 21 w 56"/>
                <a:gd name="T71" fmla="*/ 4 h 68"/>
                <a:gd name="T72" fmla="*/ 18 w 56"/>
                <a:gd name="T73" fmla="*/ 0 h 68"/>
                <a:gd name="T74" fmla="*/ 11 w 56"/>
                <a:gd name="T75" fmla="*/ 0 h 68"/>
                <a:gd name="T76" fmla="*/ 7 w 56"/>
                <a:gd name="T77" fmla="*/ 4 h 68"/>
                <a:gd name="T78" fmla="*/ 4 w 56"/>
                <a:gd name="T79" fmla="*/ 4 h 68"/>
                <a:gd name="T80" fmla="*/ 4 w 56"/>
                <a:gd name="T81" fmla="*/ 4 h 68"/>
                <a:gd name="T82" fmla="*/ 4 w 56"/>
                <a:gd name="T83" fmla="*/ 4 h 68"/>
                <a:gd name="T84" fmla="*/ 4 w 56"/>
                <a:gd name="T85" fmla="*/ 7 h 68"/>
                <a:gd name="T86" fmla="*/ 0 w 56"/>
                <a:gd name="T87" fmla="*/ 10 h 68"/>
                <a:gd name="T88" fmla="*/ 0 w 56"/>
                <a:gd name="T89" fmla="*/ 13 h 68"/>
                <a:gd name="T90" fmla="*/ 0 w 56"/>
                <a:gd name="T91" fmla="*/ 17 h 68"/>
                <a:gd name="T92" fmla="*/ 0 w 56"/>
                <a:gd name="T93" fmla="*/ 20 h 68"/>
                <a:gd name="T94" fmla="*/ 0 w 56"/>
                <a:gd name="T95" fmla="*/ 23 h 68"/>
                <a:gd name="T96" fmla="*/ 4 w 56"/>
                <a:gd name="T97" fmla="*/ 26 h 68"/>
                <a:gd name="T98" fmla="*/ 7 w 56"/>
                <a:gd name="T99" fmla="*/ 29 h 68"/>
                <a:gd name="T100" fmla="*/ 7 w 56"/>
                <a:gd name="T101" fmla="*/ 33 h 68"/>
                <a:gd name="T102" fmla="*/ 11 w 56"/>
                <a:gd name="T103" fmla="*/ 36 h 68"/>
                <a:gd name="T104" fmla="*/ 11 w 56"/>
                <a:gd name="T105" fmla="*/ 36 h 68"/>
                <a:gd name="T106" fmla="*/ 11 w 56"/>
                <a:gd name="T107" fmla="*/ 39 h 68"/>
                <a:gd name="T108" fmla="*/ 7 w 56"/>
                <a:gd name="T109" fmla="*/ 42 h 68"/>
                <a:gd name="T110" fmla="*/ 7 w 56"/>
                <a:gd name="T111" fmla="*/ 46 h 68"/>
                <a:gd name="T112" fmla="*/ 7 w 56"/>
                <a:gd name="T113" fmla="*/ 49 h 68"/>
                <a:gd name="T114" fmla="*/ 7 w 56"/>
                <a:gd name="T115" fmla="*/ 52 h 68"/>
                <a:gd name="T116" fmla="*/ 0 w 56"/>
                <a:gd name="T117" fmla="*/ 55 h 68"/>
                <a:gd name="T118" fmla="*/ 0 w 56"/>
                <a:gd name="T119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" h="68">
                  <a:moveTo>
                    <a:pt x="0" y="55"/>
                  </a:moveTo>
                  <a:lnTo>
                    <a:pt x="0" y="55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62"/>
                  </a:lnTo>
                  <a:lnTo>
                    <a:pt x="7" y="62"/>
                  </a:lnTo>
                  <a:lnTo>
                    <a:pt x="11" y="65"/>
                  </a:lnTo>
                  <a:lnTo>
                    <a:pt x="11" y="62"/>
                  </a:lnTo>
                  <a:lnTo>
                    <a:pt x="14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8"/>
                  </a:lnTo>
                  <a:lnTo>
                    <a:pt x="21" y="68"/>
                  </a:lnTo>
                  <a:lnTo>
                    <a:pt x="25" y="65"/>
                  </a:lnTo>
                  <a:lnTo>
                    <a:pt x="25" y="62"/>
                  </a:lnTo>
                  <a:lnTo>
                    <a:pt x="28" y="62"/>
                  </a:lnTo>
                  <a:lnTo>
                    <a:pt x="31" y="62"/>
                  </a:lnTo>
                  <a:lnTo>
                    <a:pt x="31" y="59"/>
                  </a:lnTo>
                  <a:lnTo>
                    <a:pt x="35" y="52"/>
                  </a:lnTo>
                  <a:lnTo>
                    <a:pt x="38" y="46"/>
                  </a:lnTo>
                  <a:lnTo>
                    <a:pt x="38" y="42"/>
                  </a:lnTo>
                  <a:lnTo>
                    <a:pt x="45" y="39"/>
                  </a:lnTo>
                  <a:lnTo>
                    <a:pt x="49" y="33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6" y="26"/>
                  </a:lnTo>
                  <a:lnTo>
                    <a:pt x="56" y="23"/>
                  </a:lnTo>
                  <a:lnTo>
                    <a:pt x="52" y="20"/>
                  </a:lnTo>
                  <a:lnTo>
                    <a:pt x="49" y="20"/>
                  </a:lnTo>
                  <a:lnTo>
                    <a:pt x="45" y="20"/>
                  </a:lnTo>
                  <a:lnTo>
                    <a:pt x="45" y="17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1" y="7"/>
                  </a:lnTo>
                  <a:lnTo>
                    <a:pt x="21" y="4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7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7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4" y="26"/>
                  </a:lnTo>
                  <a:lnTo>
                    <a:pt x="7" y="29"/>
                  </a:lnTo>
                  <a:lnTo>
                    <a:pt x="7" y="33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9"/>
                  </a:lnTo>
                  <a:lnTo>
                    <a:pt x="7" y="42"/>
                  </a:lnTo>
                  <a:lnTo>
                    <a:pt x="7" y="46"/>
                  </a:lnTo>
                  <a:lnTo>
                    <a:pt x="7" y="49"/>
                  </a:lnTo>
                  <a:lnTo>
                    <a:pt x="7" y="52"/>
                  </a:lnTo>
                  <a:lnTo>
                    <a:pt x="0" y="55"/>
                  </a:lnTo>
                  <a:lnTo>
                    <a:pt x="0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9" name="Freeform 180"/>
            <p:cNvSpPr>
              <a:spLocks/>
            </p:cNvSpPr>
            <p:nvPr/>
          </p:nvSpPr>
          <p:spPr bwMode="auto">
            <a:xfrm>
              <a:off x="4508501" y="4467880"/>
              <a:ext cx="125413" cy="112712"/>
            </a:xfrm>
            <a:custGeom>
              <a:avLst/>
              <a:gdLst>
                <a:gd name="T0" fmla="*/ 31 w 79"/>
                <a:gd name="T1" fmla="*/ 71 h 71"/>
                <a:gd name="T2" fmla="*/ 34 w 79"/>
                <a:gd name="T3" fmla="*/ 71 h 71"/>
                <a:gd name="T4" fmla="*/ 41 w 79"/>
                <a:gd name="T5" fmla="*/ 71 h 71"/>
                <a:gd name="T6" fmla="*/ 41 w 79"/>
                <a:gd name="T7" fmla="*/ 68 h 71"/>
                <a:gd name="T8" fmla="*/ 38 w 79"/>
                <a:gd name="T9" fmla="*/ 61 h 71"/>
                <a:gd name="T10" fmla="*/ 41 w 79"/>
                <a:gd name="T11" fmla="*/ 58 h 71"/>
                <a:gd name="T12" fmla="*/ 55 w 79"/>
                <a:gd name="T13" fmla="*/ 58 h 71"/>
                <a:gd name="T14" fmla="*/ 62 w 79"/>
                <a:gd name="T15" fmla="*/ 55 h 71"/>
                <a:gd name="T16" fmla="*/ 68 w 79"/>
                <a:gd name="T17" fmla="*/ 61 h 71"/>
                <a:gd name="T18" fmla="*/ 75 w 79"/>
                <a:gd name="T19" fmla="*/ 55 h 71"/>
                <a:gd name="T20" fmla="*/ 75 w 79"/>
                <a:gd name="T21" fmla="*/ 48 h 71"/>
                <a:gd name="T22" fmla="*/ 79 w 79"/>
                <a:gd name="T23" fmla="*/ 42 h 71"/>
                <a:gd name="T24" fmla="*/ 75 w 79"/>
                <a:gd name="T25" fmla="*/ 39 h 71"/>
                <a:gd name="T26" fmla="*/ 72 w 79"/>
                <a:gd name="T27" fmla="*/ 32 h 71"/>
                <a:gd name="T28" fmla="*/ 68 w 79"/>
                <a:gd name="T29" fmla="*/ 26 h 71"/>
                <a:gd name="T30" fmla="*/ 68 w 79"/>
                <a:gd name="T31" fmla="*/ 19 h 71"/>
                <a:gd name="T32" fmla="*/ 72 w 79"/>
                <a:gd name="T33" fmla="*/ 13 h 71"/>
                <a:gd name="T34" fmla="*/ 72 w 79"/>
                <a:gd name="T35" fmla="*/ 10 h 71"/>
                <a:gd name="T36" fmla="*/ 75 w 79"/>
                <a:gd name="T37" fmla="*/ 3 h 71"/>
                <a:gd name="T38" fmla="*/ 65 w 79"/>
                <a:gd name="T39" fmla="*/ 3 h 71"/>
                <a:gd name="T40" fmla="*/ 55 w 79"/>
                <a:gd name="T41" fmla="*/ 0 h 71"/>
                <a:gd name="T42" fmla="*/ 44 w 79"/>
                <a:gd name="T43" fmla="*/ 0 h 71"/>
                <a:gd name="T44" fmla="*/ 31 w 79"/>
                <a:gd name="T45" fmla="*/ 0 h 71"/>
                <a:gd name="T46" fmla="*/ 17 w 79"/>
                <a:gd name="T47" fmla="*/ 3 h 71"/>
                <a:gd name="T48" fmla="*/ 17 w 79"/>
                <a:gd name="T49" fmla="*/ 6 h 71"/>
                <a:gd name="T50" fmla="*/ 17 w 79"/>
                <a:gd name="T51" fmla="*/ 13 h 71"/>
                <a:gd name="T52" fmla="*/ 10 w 79"/>
                <a:gd name="T53" fmla="*/ 16 h 71"/>
                <a:gd name="T54" fmla="*/ 3 w 79"/>
                <a:gd name="T55" fmla="*/ 19 h 71"/>
                <a:gd name="T56" fmla="*/ 0 w 79"/>
                <a:gd name="T57" fmla="*/ 29 h 71"/>
                <a:gd name="T58" fmla="*/ 3 w 79"/>
                <a:gd name="T59" fmla="*/ 35 h 71"/>
                <a:gd name="T60" fmla="*/ 7 w 79"/>
                <a:gd name="T61" fmla="*/ 39 h 71"/>
                <a:gd name="T62" fmla="*/ 10 w 79"/>
                <a:gd name="T63" fmla="*/ 42 h 71"/>
                <a:gd name="T64" fmla="*/ 13 w 79"/>
                <a:gd name="T65" fmla="*/ 45 h 71"/>
                <a:gd name="T66" fmla="*/ 17 w 79"/>
                <a:gd name="T67" fmla="*/ 48 h 71"/>
                <a:gd name="T68" fmla="*/ 17 w 79"/>
                <a:gd name="T69" fmla="*/ 55 h 71"/>
                <a:gd name="T70" fmla="*/ 24 w 79"/>
                <a:gd name="T71" fmla="*/ 61 h 71"/>
                <a:gd name="T72" fmla="*/ 27 w 79"/>
                <a:gd name="T73" fmla="*/ 65 h 71"/>
                <a:gd name="T74" fmla="*/ 27 w 79"/>
                <a:gd name="T75" fmla="*/ 68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9" h="71">
                  <a:moveTo>
                    <a:pt x="31" y="71"/>
                  </a:moveTo>
                  <a:lnTo>
                    <a:pt x="31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8" y="71"/>
                  </a:lnTo>
                  <a:lnTo>
                    <a:pt x="41" y="71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41" y="65"/>
                  </a:lnTo>
                  <a:lnTo>
                    <a:pt x="38" y="61"/>
                  </a:lnTo>
                  <a:lnTo>
                    <a:pt x="38" y="58"/>
                  </a:lnTo>
                  <a:lnTo>
                    <a:pt x="41" y="58"/>
                  </a:lnTo>
                  <a:lnTo>
                    <a:pt x="44" y="58"/>
                  </a:lnTo>
                  <a:lnTo>
                    <a:pt x="55" y="58"/>
                  </a:lnTo>
                  <a:lnTo>
                    <a:pt x="58" y="55"/>
                  </a:lnTo>
                  <a:lnTo>
                    <a:pt x="62" y="55"/>
                  </a:lnTo>
                  <a:lnTo>
                    <a:pt x="65" y="58"/>
                  </a:lnTo>
                  <a:lnTo>
                    <a:pt x="68" y="61"/>
                  </a:lnTo>
                  <a:lnTo>
                    <a:pt x="75" y="58"/>
                  </a:lnTo>
                  <a:lnTo>
                    <a:pt x="75" y="55"/>
                  </a:lnTo>
                  <a:lnTo>
                    <a:pt x="75" y="52"/>
                  </a:lnTo>
                  <a:lnTo>
                    <a:pt x="75" y="48"/>
                  </a:lnTo>
                  <a:lnTo>
                    <a:pt x="79" y="45"/>
                  </a:lnTo>
                  <a:lnTo>
                    <a:pt x="79" y="42"/>
                  </a:lnTo>
                  <a:lnTo>
                    <a:pt x="79" y="42"/>
                  </a:lnTo>
                  <a:lnTo>
                    <a:pt x="75" y="39"/>
                  </a:lnTo>
                  <a:lnTo>
                    <a:pt x="75" y="35"/>
                  </a:lnTo>
                  <a:lnTo>
                    <a:pt x="72" y="32"/>
                  </a:lnTo>
                  <a:lnTo>
                    <a:pt x="68" y="29"/>
                  </a:lnTo>
                  <a:lnTo>
                    <a:pt x="68" y="26"/>
                  </a:lnTo>
                  <a:lnTo>
                    <a:pt x="68" y="23"/>
                  </a:lnTo>
                  <a:lnTo>
                    <a:pt x="68" y="19"/>
                  </a:lnTo>
                  <a:lnTo>
                    <a:pt x="68" y="16"/>
                  </a:lnTo>
                  <a:lnTo>
                    <a:pt x="72" y="13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5" y="6"/>
                  </a:lnTo>
                  <a:lnTo>
                    <a:pt x="75" y="3"/>
                  </a:lnTo>
                  <a:lnTo>
                    <a:pt x="72" y="3"/>
                  </a:lnTo>
                  <a:lnTo>
                    <a:pt x="65" y="3"/>
                  </a:lnTo>
                  <a:lnTo>
                    <a:pt x="58" y="0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4" y="0"/>
                  </a:lnTo>
                  <a:lnTo>
                    <a:pt x="38" y="3"/>
                  </a:lnTo>
                  <a:lnTo>
                    <a:pt x="31" y="0"/>
                  </a:lnTo>
                  <a:lnTo>
                    <a:pt x="24" y="0"/>
                  </a:lnTo>
                  <a:lnTo>
                    <a:pt x="17" y="3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10"/>
                  </a:lnTo>
                  <a:lnTo>
                    <a:pt x="17" y="13"/>
                  </a:lnTo>
                  <a:lnTo>
                    <a:pt x="13" y="13"/>
                  </a:lnTo>
                  <a:lnTo>
                    <a:pt x="10" y="16"/>
                  </a:lnTo>
                  <a:lnTo>
                    <a:pt x="7" y="16"/>
                  </a:lnTo>
                  <a:lnTo>
                    <a:pt x="3" y="19"/>
                  </a:lnTo>
                  <a:lnTo>
                    <a:pt x="3" y="23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35"/>
                  </a:lnTo>
                  <a:lnTo>
                    <a:pt x="7" y="35"/>
                  </a:lnTo>
                  <a:lnTo>
                    <a:pt x="7" y="39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5"/>
                  </a:lnTo>
                  <a:lnTo>
                    <a:pt x="13" y="45"/>
                  </a:lnTo>
                  <a:lnTo>
                    <a:pt x="17" y="45"/>
                  </a:lnTo>
                  <a:lnTo>
                    <a:pt x="17" y="48"/>
                  </a:lnTo>
                  <a:lnTo>
                    <a:pt x="17" y="52"/>
                  </a:lnTo>
                  <a:lnTo>
                    <a:pt x="17" y="55"/>
                  </a:lnTo>
                  <a:lnTo>
                    <a:pt x="20" y="58"/>
                  </a:lnTo>
                  <a:lnTo>
                    <a:pt x="24" y="61"/>
                  </a:lnTo>
                  <a:lnTo>
                    <a:pt x="24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8"/>
                  </a:lnTo>
                  <a:lnTo>
                    <a:pt x="31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0" name="Freeform 181"/>
            <p:cNvSpPr>
              <a:spLocks/>
            </p:cNvSpPr>
            <p:nvPr/>
          </p:nvSpPr>
          <p:spPr bwMode="auto">
            <a:xfrm>
              <a:off x="4403726" y="4401205"/>
              <a:ext cx="153988" cy="200025"/>
            </a:xfrm>
            <a:custGeom>
              <a:avLst/>
              <a:gdLst>
                <a:gd name="T0" fmla="*/ 14 w 97"/>
                <a:gd name="T1" fmla="*/ 55 h 126"/>
                <a:gd name="T2" fmla="*/ 18 w 97"/>
                <a:gd name="T3" fmla="*/ 55 h 126"/>
                <a:gd name="T4" fmla="*/ 28 w 97"/>
                <a:gd name="T5" fmla="*/ 61 h 126"/>
                <a:gd name="T6" fmla="*/ 24 w 97"/>
                <a:gd name="T7" fmla="*/ 68 h 126"/>
                <a:gd name="T8" fmla="*/ 24 w 97"/>
                <a:gd name="T9" fmla="*/ 71 h 126"/>
                <a:gd name="T10" fmla="*/ 31 w 97"/>
                <a:gd name="T11" fmla="*/ 74 h 126"/>
                <a:gd name="T12" fmla="*/ 38 w 97"/>
                <a:gd name="T13" fmla="*/ 74 h 126"/>
                <a:gd name="T14" fmla="*/ 35 w 97"/>
                <a:gd name="T15" fmla="*/ 81 h 126"/>
                <a:gd name="T16" fmla="*/ 28 w 97"/>
                <a:gd name="T17" fmla="*/ 90 h 126"/>
                <a:gd name="T18" fmla="*/ 28 w 97"/>
                <a:gd name="T19" fmla="*/ 97 h 126"/>
                <a:gd name="T20" fmla="*/ 28 w 97"/>
                <a:gd name="T21" fmla="*/ 100 h 126"/>
                <a:gd name="T22" fmla="*/ 28 w 97"/>
                <a:gd name="T23" fmla="*/ 107 h 126"/>
                <a:gd name="T24" fmla="*/ 35 w 97"/>
                <a:gd name="T25" fmla="*/ 113 h 126"/>
                <a:gd name="T26" fmla="*/ 38 w 97"/>
                <a:gd name="T27" fmla="*/ 119 h 126"/>
                <a:gd name="T28" fmla="*/ 48 w 97"/>
                <a:gd name="T29" fmla="*/ 126 h 126"/>
                <a:gd name="T30" fmla="*/ 52 w 97"/>
                <a:gd name="T31" fmla="*/ 123 h 126"/>
                <a:gd name="T32" fmla="*/ 59 w 97"/>
                <a:gd name="T33" fmla="*/ 123 h 126"/>
                <a:gd name="T34" fmla="*/ 62 w 97"/>
                <a:gd name="T35" fmla="*/ 119 h 126"/>
                <a:gd name="T36" fmla="*/ 73 w 97"/>
                <a:gd name="T37" fmla="*/ 116 h 126"/>
                <a:gd name="T38" fmla="*/ 79 w 97"/>
                <a:gd name="T39" fmla="*/ 110 h 126"/>
                <a:gd name="T40" fmla="*/ 86 w 97"/>
                <a:gd name="T41" fmla="*/ 113 h 126"/>
                <a:gd name="T42" fmla="*/ 97 w 97"/>
                <a:gd name="T43" fmla="*/ 113 h 126"/>
                <a:gd name="T44" fmla="*/ 93 w 97"/>
                <a:gd name="T45" fmla="*/ 107 h 126"/>
                <a:gd name="T46" fmla="*/ 90 w 97"/>
                <a:gd name="T47" fmla="*/ 107 h 126"/>
                <a:gd name="T48" fmla="*/ 86 w 97"/>
                <a:gd name="T49" fmla="*/ 100 h 126"/>
                <a:gd name="T50" fmla="*/ 83 w 97"/>
                <a:gd name="T51" fmla="*/ 94 h 126"/>
                <a:gd name="T52" fmla="*/ 83 w 97"/>
                <a:gd name="T53" fmla="*/ 87 h 126"/>
                <a:gd name="T54" fmla="*/ 76 w 97"/>
                <a:gd name="T55" fmla="*/ 87 h 126"/>
                <a:gd name="T56" fmla="*/ 76 w 97"/>
                <a:gd name="T57" fmla="*/ 84 h 126"/>
                <a:gd name="T58" fmla="*/ 73 w 97"/>
                <a:gd name="T59" fmla="*/ 77 h 126"/>
                <a:gd name="T60" fmla="*/ 66 w 97"/>
                <a:gd name="T61" fmla="*/ 74 h 126"/>
                <a:gd name="T62" fmla="*/ 69 w 97"/>
                <a:gd name="T63" fmla="*/ 65 h 126"/>
                <a:gd name="T64" fmla="*/ 73 w 97"/>
                <a:gd name="T65" fmla="*/ 58 h 126"/>
                <a:gd name="T66" fmla="*/ 79 w 97"/>
                <a:gd name="T67" fmla="*/ 55 h 126"/>
                <a:gd name="T68" fmla="*/ 83 w 97"/>
                <a:gd name="T69" fmla="*/ 52 h 126"/>
                <a:gd name="T70" fmla="*/ 83 w 97"/>
                <a:gd name="T71" fmla="*/ 48 h 126"/>
                <a:gd name="T72" fmla="*/ 83 w 97"/>
                <a:gd name="T73" fmla="*/ 45 h 126"/>
                <a:gd name="T74" fmla="*/ 83 w 97"/>
                <a:gd name="T75" fmla="*/ 39 h 126"/>
                <a:gd name="T76" fmla="*/ 69 w 97"/>
                <a:gd name="T77" fmla="*/ 32 h 126"/>
                <a:gd name="T78" fmla="*/ 62 w 97"/>
                <a:gd name="T79" fmla="*/ 29 h 126"/>
                <a:gd name="T80" fmla="*/ 55 w 97"/>
                <a:gd name="T81" fmla="*/ 32 h 126"/>
                <a:gd name="T82" fmla="*/ 55 w 97"/>
                <a:gd name="T83" fmla="*/ 32 h 126"/>
                <a:gd name="T84" fmla="*/ 55 w 97"/>
                <a:gd name="T85" fmla="*/ 23 h 126"/>
                <a:gd name="T86" fmla="*/ 52 w 97"/>
                <a:gd name="T87" fmla="*/ 16 h 126"/>
                <a:gd name="T88" fmla="*/ 38 w 97"/>
                <a:gd name="T89" fmla="*/ 6 h 126"/>
                <a:gd name="T90" fmla="*/ 35 w 97"/>
                <a:gd name="T91" fmla="*/ 3 h 126"/>
                <a:gd name="T92" fmla="*/ 28 w 97"/>
                <a:gd name="T93" fmla="*/ 0 h 126"/>
                <a:gd name="T94" fmla="*/ 24 w 97"/>
                <a:gd name="T95" fmla="*/ 10 h 126"/>
                <a:gd name="T96" fmla="*/ 18 w 97"/>
                <a:gd name="T97" fmla="*/ 10 h 126"/>
                <a:gd name="T98" fmla="*/ 11 w 97"/>
                <a:gd name="T99" fmla="*/ 19 h 126"/>
                <a:gd name="T100" fmla="*/ 18 w 97"/>
                <a:gd name="T101" fmla="*/ 23 h 126"/>
                <a:gd name="T102" fmla="*/ 21 w 97"/>
                <a:gd name="T103" fmla="*/ 29 h 126"/>
                <a:gd name="T104" fmla="*/ 14 w 97"/>
                <a:gd name="T105" fmla="*/ 29 h 126"/>
                <a:gd name="T106" fmla="*/ 7 w 97"/>
                <a:gd name="T107" fmla="*/ 29 h 126"/>
                <a:gd name="T108" fmla="*/ 4 w 97"/>
                <a:gd name="T109" fmla="*/ 35 h 126"/>
                <a:gd name="T110" fmla="*/ 0 w 97"/>
                <a:gd name="T111" fmla="*/ 45 h 126"/>
                <a:gd name="T112" fmla="*/ 14 w 97"/>
                <a:gd name="T113" fmla="*/ 5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7" h="126">
                  <a:moveTo>
                    <a:pt x="14" y="55"/>
                  </a:moveTo>
                  <a:lnTo>
                    <a:pt x="14" y="55"/>
                  </a:lnTo>
                  <a:lnTo>
                    <a:pt x="18" y="58"/>
                  </a:lnTo>
                  <a:lnTo>
                    <a:pt x="18" y="55"/>
                  </a:lnTo>
                  <a:lnTo>
                    <a:pt x="24" y="58"/>
                  </a:lnTo>
                  <a:lnTo>
                    <a:pt x="28" y="61"/>
                  </a:lnTo>
                  <a:lnTo>
                    <a:pt x="28" y="65"/>
                  </a:lnTo>
                  <a:lnTo>
                    <a:pt x="24" y="68"/>
                  </a:lnTo>
                  <a:lnTo>
                    <a:pt x="21" y="71"/>
                  </a:lnTo>
                  <a:lnTo>
                    <a:pt x="24" y="71"/>
                  </a:lnTo>
                  <a:lnTo>
                    <a:pt x="31" y="71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8" y="74"/>
                  </a:lnTo>
                  <a:lnTo>
                    <a:pt x="38" y="77"/>
                  </a:lnTo>
                  <a:lnTo>
                    <a:pt x="35" y="81"/>
                  </a:lnTo>
                  <a:lnTo>
                    <a:pt x="31" y="84"/>
                  </a:lnTo>
                  <a:lnTo>
                    <a:pt x="28" y="90"/>
                  </a:lnTo>
                  <a:lnTo>
                    <a:pt x="28" y="94"/>
                  </a:lnTo>
                  <a:lnTo>
                    <a:pt x="28" y="97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31" y="110"/>
                  </a:lnTo>
                  <a:lnTo>
                    <a:pt x="35" y="113"/>
                  </a:lnTo>
                  <a:lnTo>
                    <a:pt x="35" y="116"/>
                  </a:lnTo>
                  <a:lnTo>
                    <a:pt x="38" y="119"/>
                  </a:lnTo>
                  <a:lnTo>
                    <a:pt x="45" y="126"/>
                  </a:lnTo>
                  <a:lnTo>
                    <a:pt x="48" y="126"/>
                  </a:lnTo>
                  <a:lnTo>
                    <a:pt x="52" y="123"/>
                  </a:lnTo>
                  <a:lnTo>
                    <a:pt x="52" y="123"/>
                  </a:lnTo>
                  <a:lnTo>
                    <a:pt x="55" y="123"/>
                  </a:lnTo>
                  <a:lnTo>
                    <a:pt x="59" y="123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6" y="116"/>
                  </a:lnTo>
                  <a:lnTo>
                    <a:pt x="73" y="116"/>
                  </a:lnTo>
                  <a:lnTo>
                    <a:pt x="76" y="113"/>
                  </a:lnTo>
                  <a:lnTo>
                    <a:pt x="79" y="110"/>
                  </a:lnTo>
                  <a:lnTo>
                    <a:pt x="86" y="110"/>
                  </a:lnTo>
                  <a:lnTo>
                    <a:pt x="86" y="113"/>
                  </a:lnTo>
                  <a:lnTo>
                    <a:pt x="90" y="113"/>
                  </a:lnTo>
                  <a:lnTo>
                    <a:pt x="97" y="113"/>
                  </a:lnTo>
                  <a:lnTo>
                    <a:pt x="93" y="110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0" y="107"/>
                  </a:lnTo>
                  <a:lnTo>
                    <a:pt x="90" y="103"/>
                  </a:lnTo>
                  <a:lnTo>
                    <a:pt x="86" y="100"/>
                  </a:lnTo>
                  <a:lnTo>
                    <a:pt x="83" y="97"/>
                  </a:lnTo>
                  <a:lnTo>
                    <a:pt x="83" y="94"/>
                  </a:lnTo>
                  <a:lnTo>
                    <a:pt x="83" y="90"/>
                  </a:lnTo>
                  <a:lnTo>
                    <a:pt x="83" y="87"/>
                  </a:lnTo>
                  <a:lnTo>
                    <a:pt x="79" y="87"/>
                  </a:lnTo>
                  <a:lnTo>
                    <a:pt x="76" y="87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3" y="81"/>
                  </a:lnTo>
                  <a:lnTo>
                    <a:pt x="73" y="77"/>
                  </a:lnTo>
                  <a:lnTo>
                    <a:pt x="69" y="77"/>
                  </a:lnTo>
                  <a:lnTo>
                    <a:pt x="66" y="74"/>
                  </a:lnTo>
                  <a:lnTo>
                    <a:pt x="66" y="71"/>
                  </a:lnTo>
                  <a:lnTo>
                    <a:pt x="69" y="65"/>
                  </a:lnTo>
                  <a:lnTo>
                    <a:pt x="69" y="61"/>
                  </a:lnTo>
                  <a:lnTo>
                    <a:pt x="73" y="58"/>
                  </a:lnTo>
                  <a:lnTo>
                    <a:pt x="76" y="58"/>
                  </a:lnTo>
                  <a:lnTo>
                    <a:pt x="79" y="55"/>
                  </a:lnTo>
                  <a:lnTo>
                    <a:pt x="83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8"/>
                  </a:lnTo>
                  <a:lnTo>
                    <a:pt x="83" y="48"/>
                  </a:lnTo>
                  <a:lnTo>
                    <a:pt x="83" y="45"/>
                  </a:lnTo>
                  <a:lnTo>
                    <a:pt x="83" y="42"/>
                  </a:lnTo>
                  <a:lnTo>
                    <a:pt x="83" y="39"/>
                  </a:lnTo>
                  <a:lnTo>
                    <a:pt x="73" y="35"/>
                  </a:lnTo>
                  <a:lnTo>
                    <a:pt x="69" y="32"/>
                  </a:lnTo>
                  <a:lnTo>
                    <a:pt x="66" y="29"/>
                  </a:lnTo>
                  <a:lnTo>
                    <a:pt x="62" y="29"/>
                  </a:lnTo>
                  <a:lnTo>
                    <a:pt x="59" y="29"/>
                  </a:lnTo>
                  <a:lnTo>
                    <a:pt x="55" y="32"/>
                  </a:lnTo>
                  <a:lnTo>
                    <a:pt x="55" y="35"/>
                  </a:lnTo>
                  <a:lnTo>
                    <a:pt x="55" y="32"/>
                  </a:lnTo>
                  <a:lnTo>
                    <a:pt x="55" y="26"/>
                  </a:lnTo>
                  <a:lnTo>
                    <a:pt x="55" y="23"/>
                  </a:lnTo>
                  <a:lnTo>
                    <a:pt x="55" y="19"/>
                  </a:lnTo>
                  <a:lnTo>
                    <a:pt x="52" y="16"/>
                  </a:lnTo>
                  <a:lnTo>
                    <a:pt x="42" y="13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5" y="3"/>
                  </a:lnTo>
                  <a:lnTo>
                    <a:pt x="31" y="3"/>
                  </a:lnTo>
                  <a:lnTo>
                    <a:pt x="28" y="0"/>
                  </a:lnTo>
                  <a:lnTo>
                    <a:pt x="28" y="3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1" y="16"/>
                  </a:lnTo>
                  <a:lnTo>
                    <a:pt x="11" y="19"/>
                  </a:lnTo>
                  <a:lnTo>
                    <a:pt x="14" y="23"/>
                  </a:lnTo>
                  <a:lnTo>
                    <a:pt x="18" y="23"/>
                  </a:lnTo>
                  <a:lnTo>
                    <a:pt x="21" y="26"/>
                  </a:lnTo>
                  <a:lnTo>
                    <a:pt x="21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1" y="32"/>
                  </a:lnTo>
                  <a:lnTo>
                    <a:pt x="7" y="29"/>
                  </a:lnTo>
                  <a:lnTo>
                    <a:pt x="4" y="32"/>
                  </a:lnTo>
                  <a:lnTo>
                    <a:pt x="4" y="35"/>
                  </a:lnTo>
                  <a:lnTo>
                    <a:pt x="0" y="39"/>
                  </a:lnTo>
                  <a:lnTo>
                    <a:pt x="0" y="45"/>
                  </a:lnTo>
                  <a:lnTo>
                    <a:pt x="7" y="52"/>
                  </a:lnTo>
                  <a:lnTo>
                    <a:pt x="14" y="55"/>
                  </a:lnTo>
                  <a:lnTo>
                    <a:pt x="14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1" name="Freeform 182"/>
            <p:cNvSpPr>
              <a:spLocks noEditPoints="1"/>
            </p:cNvSpPr>
            <p:nvPr/>
          </p:nvSpPr>
          <p:spPr bwMode="auto">
            <a:xfrm>
              <a:off x="4038601" y="4293255"/>
              <a:ext cx="409575" cy="317500"/>
            </a:xfrm>
            <a:custGeom>
              <a:avLst/>
              <a:gdLst>
                <a:gd name="T0" fmla="*/ 148 w 258"/>
                <a:gd name="T1" fmla="*/ 200 h 200"/>
                <a:gd name="T2" fmla="*/ 172 w 258"/>
                <a:gd name="T3" fmla="*/ 181 h 200"/>
                <a:gd name="T4" fmla="*/ 182 w 258"/>
                <a:gd name="T5" fmla="*/ 171 h 200"/>
                <a:gd name="T6" fmla="*/ 172 w 258"/>
                <a:gd name="T7" fmla="*/ 152 h 200"/>
                <a:gd name="T8" fmla="*/ 165 w 258"/>
                <a:gd name="T9" fmla="*/ 142 h 200"/>
                <a:gd name="T10" fmla="*/ 196 w 258"/>
                <a:gd name="T11" fmla="*/ 145 h 200"/>
                <a:gd name="T12" fmla="*/ 227 w 258"/>
                <a:gd name="T13" fmla="*/ 139 h 200"/>
                <a:gd name="T14" fmla="*/ 237 w 258"/>
                <a:gd name="T15" fmla="*/ 120 h 200"/>
                <a:gd name="T16" fmla="*/ 237 w 258"/>
                <a:gd name="T17" fmla="*/ 97 h 200"/>
                <a:gd name="T18" fmla="*/ 251 w 258"/>
                <a:gd name="T19" fmla="*/ 94 h 200"/>
                <a:gd name="T20" fmla="*/ 248 w 258"/>
                <a:gd name="T21" fmla="*/ 78 h 200"/>
                <a:gd name="T22" fmla="*/ 258 w 258"/>
                <a:gd name="T23" fmla="*/ 68 h 200"/>
                <a:gd name="T24" fmla="*/ 241 w 258"/>
                <a:gd name="T25" fmla="*/ 65 h 200"/>
                <a:gd name="T26" fmla="*/ 227 w 258"/>
                <a:gd name="T27" fmla="*/ 68 h 200"/>
                <a:gd name="T28" fmla="*/ 241 w 258"/>
                <a:gd name="T29" fmla="*/ 58 h 200"/>
                <a:gd name="T30" fmla="*/ 223 w 258"/>
                <a:gd name="T31" fmla="*/ 49 h 200"/>
                <a:gd name="T32" fmla="*/ 210 w 258"/>
                <a:gd name="T33" fmla="*/ 42 h 200"/>
                <a:gd name="T34" fmla="*/ 199 w 258"/>
                <a:gd name="T35" fmla="*/ 39 h 200"/>
                <a:gd name="T36" fmla="*/ 220 w 258"/>
                <a:gd name="T37" fmla="*/ 32 h 200"/>
                <a:gd name="T38" fmla="*/ 196 w 258"/>
                <a:gd name="T39" fmla="*/ 29 h 200"/>
                <a:gd name="T40" fmla="*/ 168 w 258"/>
                <a:gd name="T41" fmla="*/ 36 h 200"/>
                <a:gd name="T42" fmla="*/ 155 w 258"/>
                <a:gd name="T43" fmla="*/ 42 h 200"/>
                <a:gd name="T44" fmla="*/ 113 w 258"/>
                <a:gd name="T45" fmla="*/ 36 h 200"/>
                <a:gd name="T46" fmla="*/ 100 w 258"/>
                <a:gd name="T47" fmla="*/ 29 h 200"/>
                <a:gd name="T48" fmla="*/ 79 w 258"/>
                <a:gd name="T49" fmla="*/ 19 h 200"/>
                <a:gd name="T50" fmla="*/ 69 w 258"/>
                <a:gd name="T51" fmla="*/ 7 h 200"/>
                <a:gd name="T52" fmla="*/ 62 w 258"/>
                <a:gd name="T53" fmla="*/ 16 h 200"/>
                <a:gd name="T54" fmla="*/ 65 w 258"/>
                <a:gd name="T55" fmla="*/ 23 h 200"/>
                <a:gd name="T56" fmla="*/ 55 w 258"/>
                <a:gd name="T57" fmla="*/ 23 h 200"/>
                <a:gd name="T58" fmla="*/ 38 w 258"/>
                <a:gd name="T59" fmla="*/ 36 h 200"/>
                <a:gd name="T60" fmla="*/ 31 w 258"/>
                <a:gd name="T61" fmla="*/ 61 h 200"/>
                <a:gd name="T62" fmla="*/ 27 w 258"/>
                <a:gd name="T63" fmla="*/ 45 h 200"/>
                <a:gd name="T64" fmla="*/ 31 w 258"/>
                <a:gd name="T65" fmla="*/ 26 h 200"/>
                <a:gd name="T66" fmla="*/ 31 w 258"/>
                <a:gd name="T67" fmla="*/ 16 h 200"/>
                <a:gd name="T68" fmla="*/ 27 w 258"/>
                <a:gd name="T69" fmla="*/ 16 h 200"/>
                <a:gd name="T70" fmla="*/ 10 w 258"/>
                <a:gd name="T71" fmla="*/ 32 h 200"/>
                <a:gd name="T72" fmla="*/ 0 w 258"/>
                <a:gd name="T73" fmla="*/ 55 h 200"/>
                <a:gd name="T74" fmla="*/ 17 w 258"/>
                <a:gd name="T75" fmla="*/ 74 h 200"/>
                <a:gd name="T76" fmla="*/ 17 w 258"/>
                <a:gd name="T77" fmla="*/ 87 h 200"/>
                <a:gd name="T78" fmla="*/ 38 w 258"/>
                <a:gd name="T79" fmla="*/ 94 h 200"/>
                <a:gd name="T80" fmla="*/ 58 w 258"/>
                <a:gd name="T81" fmla="*/ 94 h 200"/>
                <a:gd name="T82" fmla="*/ 86 w 258"/>
                <a:gd name="T83" fmla="*/ 107 h 200"/>
                <a:gd name="T84" fmla="*/ 106 w 258"/>
                <a:gd name="T85" fmla="*/ 107 h 200"/>
                <a:gd name="T86" fmla="*/ 113 w 258"/>
                <a:gd name="T87" fmla="*/ 116 h 200"/>
                <a:gd name="T88" fmla="*/ 106 w 258"/>
                <a:gd name="T89" fmla="*/ 129 h 200"/>
                <a:gd name="T90" fmla="*/ 106 w 258"/>
                <a:gd name="T91" fmla="*/ 145 h 200"/>
                <a:gd name="T92" fmla="*/ 110 w 258"/>
                <a:gd name="T93" fmla="*/ 168 h 200"/>
                <a:gd name="T94" fmla="*/ 113 w 258"/>
                <a:gd name="T95" fmla="*/ 178 h 200"/>
                <a:gd name="T96" fmla="*/ 120 w 258"/>
                <a:gd name="T97" fmla="*/ 191 h 200"/>
                <a:gd name="T98" fmla="*/ 100 w 258"/>
                <a:gd name="T99" fmla="*/ 7 h 200"/>
                <a:gd name="T100" fmla="*/ 86 w 258"/>
                <a:gd name="T101" fmla="*/ 7 h 200"/>
                <a:gd name="T102" fmla="*/ 82 w 258"/>
                <a:gd name="T103" fmla="*/ 3 h 200"/>
                <a:gd name="T104" fmla="*/ 65 w 258"/>
                <a:gd name="T105" fmla="*/ 0 h 200"/>
                <a:gd name="T106" fmla="*/ 179 w 258"/>
                <a:gd name="T107" fmla="*/ 26 h 200"/>
                <a:gd name="T108" fmla="*/ 175 w 258"/>
                <a:gd name="T109" fmla="*/ 2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8" h="200">
                  <a:moveTo>
                    <a:pt x="120" y="191"/>
                  </a:moveTo>
                  <a:lnTo>
                    <a:pt x="127" y="197"/>
                  </a:lnTo>
                  <a:lnTo>
                    <a:pt x="134" y="200"/>
                  </a:lnTo>
                  <a:lnTo>
                    <a:pt x="141" y="200"/>
                  </a:lnTo>
                  <a:lnTo>
                    <a:pt x="148" y="200"/>
                  </a:lnTo>
                  <a:lnTo>
                    <a:pt x="151" y="197"/>
                  </a:lnTo>
                  <a:lnTo>
                    <a:pt x="158" y="194"/>
                  </a:lnTo>
                  <a:lnTo>
                    <a:pt x="162" y="191"/>
                  </a:lnTo>
                  <a:lnTo>
                    <a:pt x="172" y="184"/>
                  </a:lnTo>
                  <a:lnTo>
                    <a:pt x="172" y="181"/>
                  </a:lnTo>
                  <a:lnTo>
                    <a:pt x="175" y="178"/>
                  </a:lnTo>
                  <a:lnTo>
                    <a:pt x="186" y="178"/>
                  </a:lnTo>
                  <a:lnTo>
                    <a:pt x="189" y="175"/>
                  </a:lnTo>
                  <a:lnTo>
                    <a:pt x="189" y="171"/>
                  </a:lnTo>
                  <a:lnTo>
                    <a:pt x="182" y="171"/>
                  </a:lnTo>
                  <a:lnTo>
                    <a:pt x="179" y="171"/>
                  </a:lnTo>
                  <a:lnTo>
                    <a:pt x="168" y="168"/>
                  </a:lnTo>
                  <a:lnTo>
                    <a:pt x="168" y="165"/>
                  </a:lnTo>
                  <a:lnTo>
                    <a:pt x="168" y="162"/>
                  </a:lnTo>
                  <a:lnTo>
                    <a:pt x="172" y="152"/>
                  </a:lnTo>
                  <a:lnTo>
                    <a:pt x="172" y="149"/>
                  </a:lnTo>
                  <a:lnTo>
                    <a:pt x="168" y="145"/>
                  </a:lnTo>
                  <a:lnTo>
                    <a:pt x="165" y="145"/>
                  </a:lnTo>
                  <a:lnTo>
                    <a:pt x="162" y="142"/>
                  </a:lnTo>
                  <a:lnTo>
                    <a:pt x="165" y="142"/>
                  </a:lnTo>
                  <a:lnTo>
                    <a:pt x="172" y="142"/>
                  </a:lnTo>
                  <a:lnTo>
                    <a:pt x="179" y="145"/>
                  </a:lnTo>
                  <a:lnTo>
                    <a:pt x="186" y="145"/>
                  </a:lnTo>
                  <a:lnTo>
                    <a:pt x="192" y="145"/>
                  </a:lnTo>
                  <a:lnTo>
                    <a:pt x="196" y="145"/>
                  </a:lnTo>
                  <a:lnTo>
                    <a:pt x="203" y="145"/>
                  </a:lnTo>
                  <a:lnTo>
                    <a:pt x="210" y="139"/>
                  </a:lnTo>
                  <a:lnTo>
                    <a:pt x="213" y="139"/>
                  </a:lnTo>
                  <a:lnTo>
                    <a:pt x="217" y="139"/>
                  </a:lnTo>
                  <a:lnTo>
                    <a:pt x="227" y="139"/>
                  </a:lnTo>
                  <a:lnTo>
                    <a:pt x="230" y="136"/>
                  </a:lnTo>
                  <a:lnTo>
                    <a:pt x="241" y="133"/>
                  </a:lnTo>
                  <a:lnTo>
                    <a:pt x="244" y="126"/>
                  </a:lnTo>
                  <a:lnTo>
                    <a:pt x="244" y="123"/>
                  </a:lnTo>
                  <a:lnTo>
                    <a:pt x="237" y="120"/>
                  </a:lnTo>
                  <a:lnTo>
                    <a:pt x="230" y="113"/>
                  </a:lnTo>
                  <a:lnTo>
                    <a:pt x="230" y="107"/>
                  </a:lnTo>
                  <a:lnTo>
                    <a:pt x="234" y="103"/>
                  </a:lnTo>
                  <a:lnTo>
                    <a:pt x="234" y="100"/>
                  </a:lnTo>
                  <a:lnTo>
                    <a:pt x="237" y="97"/>
                  </a:lnTo>
                  <a:lnTo>
                    <a:pt x="241" y="100"/>
                  </a:lnTo>
                  <a:lnTo>
                    <a:pt x="244" y="97"/>
                  </a:lnTo>
                  <a:lnTo>
                    <a:pt x="244" y="97"/>
                  </a:lnTo>
                  <a:lnTo>
                    <a:pt x="251" y="97"/>
                  </a:lnTo>
                  <a:lnTo>
                    <a:pt x="251" y="94"/>
                  </a:lnTo>
                  <a:lnTo>
                    <a:pt x="248" y="91"/>
                  </a:lnTo>
                  <a:lnTo>
                    <a:pt x="244" y="91"/>
                  </a:lnTo>
                  <a:lnTo>
                    <a:pt x="241" y="87"/>
                  </a:lnTo>
                  <a:lnTo>
                    <a:pt x="241" y="84"/>
                  </a:lnTo>
                  <a:lnTo>
                    <a:pt x="248" y="78"/>
                  </a:lnTo>
                  <a:lnTo>
                    <a:pt x="248" y="78"/>
                  </a:lnTo>
                  <a:lnTo>
                    <a:pt x="254" y="78"/>
                  </a:lnTo>
                  <a:lnTo>
                    <a:pt x="258" y="71"/>
                  </a:lnTo>
                  <a:lnTo>
                    <a:pt x="258" y="68"/>
                  </a:lnTo>
                  <a:lnTo>
                    <a:pt x="258" y="68"/>
                  </a:lnTo>
                  <a:lnTo>
                    <a:pt x="251" y="65"/>
                  </a:lnTo>
                  <a:lnTo>
                    <a:pt x="248" y="65"/>
                  </a:lnTo>
                  <a:lnTo>
                    <a:pt x="244" y="68"/>
                  </a:lnTo>
                  <a:lnTo>
                    <a:pt x="241" y="65"/>
                  </a:lnTo>
                  <a:lnTo>
                    <a:pt x="241" y="65"/>
                  </a:lnTo>
                  <a:lnTo>
                    <a:pt x="237" y="68"/>
                  </a:lnTo>
                  <a:lnTo>
                    <a:pt x="230" y="68"/>
                  </a:lnTo>
                  <a:lnTo>
                    <a:pt x="227" y="68"/>
                  </a:lnTo>
                  <a:lnTo>
                    <a:pt x="223" y="68"/>
                  </a:lnTo>
                  <a:lnTo>
                    <a:pt x="227" y="68"/>
                  </a:lnTo>
                  <a:lnTo>
                    <a:pt x="230" y="68"/>
                  </a:lnTo>
                  <a:lnTo>
                    <a:pt x="234" y="65"/>
                  </a:lnTo>
                  <a:lnTo>
                    <a:pt x="234" y="61"/>
                  </a:lnTo>
                  <a:lnTo>
                    <a:pt x="237" y="61"/>
                  </a:lnTo>
                  <a:lnTo>
                    <a:pt x="241" y="58"/>
                  </a:lnTo>
                  <a:lnTo>
                    <a:pt x="237" y="58"/>
                  </a:lnTo>
                  <a:lnTo>
                    <a:pt x="237" y="55"/>
                  </a:lnTo>
                  <a:lnTo>
                    <a:pt x="237" y="52"/>
                  </a:lnTo>
                  <a:lnTo>
                    <a:pt x="230" y="52"/>
                  </a:lnTo>
                  <a:lnTo>
                    <a:pt x="223" y="49"/>
                  </a:lnTo>
                  <a:lnTo>
                    <a:pt x="223" y="49"/>
                  </a:lnTo>
                  <a:lnTo>
                    <a:pt x="220" y="45"/>
                  </a:lnTo>
                  <a:lnTo>
                    <a:pt x="217" y="45"/>
                  </a:lnTo>
                  <a:lnTo>
                    <a:pt x="213" y="45"/>
                  </a:lnTo>
                  <a:lnTo>
                    <a:pt x="210" y="42"/>
                  </a:lnTo>
                  <a:lnTo>
                    <a:pt x="210" y="42"/>
                  </a:lnTo>
                  <a:lnTo>
                    <a:pt x="210" y="45"/>
                  </a:lnTo>
                  <a:lnTo>
                    <a:pt x="206" y="42"/>
                  </a:lnTo>
                  <a:lnTo>
                    <a:pt x="206" y="39"/>
                  </a:lnTo>
                  <a:lnTo>
                    <a:pt x="199" y="39"/>
                  </a:lnTo>
                  <a:lnTo>
                    <a:pt x="199" y="36"/>
                  </a:lnTo>
                  <a:lnTo>
                    <a:pt x="203" y="36"/>
                  </a:lnTo>
                  <a:lnTo>
                    <a:pt x="210" y="36"/>
                  </a:lnTo>
                  <a:lnTo>
                    <a:pt x="213" y="32"/>
                  </a:lnTo>
                  <a:lnTo>
                    <a:pt x="220" y="32"/>
                  </a:lnTo>
                  <a:lnTo>
                    <a:pt x="220" y="29"/>
                  </a:lnTo>
                  <a:lnTo>
                    <a:pt x="213" y="32"/>
                  </a:lnTo>
                  <a:lnTo>
                    <a:pt x="206" y="29"/>
                  </a:lnTo>
                  <a:lnTo>
                    <a:pt x="199" y="29"/>
                  </a:lnTo>
                  <a:lnTo>
                    <a:pt x="196" y="29"/>
                  </a:lnTo>
                  <a:lnTo>
                    <a:pt x="186" y="32"/>
                  </a:lnTo>
                  <a:lnTo>
                    <a:pt x="186" y="32"/>
                  </a:lnTo>
                  <a:lnTo>
                    <a:pt x="179" y="32"/>
                  </a:lnTo>
                  <a:lnTo>
                    <a:pt x="172" y="36"/>
                  </a:lnTo>
                  <a:lnTo>
                    <a:pt x="168" y="36"/>
                  </a:lnTo>
                  <a:lnTo>
                    <a:pt x="165" y="39"/>
                  </a:lnTo>
                  <a:lnTo>
                    <a:pt x="165" y="42"/>
                  </a:lnTo>
                  <a:lnTo>
                    <a:pt x="158" y="42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44" y="36"/>
                  </a:lnTo>
                  <a:lnTo>
                    <a:pt x="144" y="32"/>
                  </a:lnTo>
                  <a:lnTo>
                    <a:pt x="141" y="32"/>
                  </a:lnTo>
                  <a:lnTo>
                    <a:pt x="131" y="36"/>
                  </a:lnTo>
                  <a:lnTo>
                    <a:pt x="113" y="36"/>
                  </a:lnTo>
                  <a:lnTo>
                    <a:pt x="103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9"/>
                  </a:lnTo>
                  <a:lnTo>
                    <a:pt x="100" y="29"/>
                  </a:lnTo>
                  <a:lnTo>
                    <a:pt x="100" y="26"/>
                  </a:lnTo>
                  <a:lnTo>
                    <a:pt x="96" y="23"/>
                  </a:lnTo>
                  <a:lnTo>
                    <a:pt x="93" y="23"/>
                  </a:lnTo>
                  <a:lnTo>
                    <a:pt x="82" y="23"/>
                  </a:lnTo>
                  <a:lnTo>
                    <a:pt x="79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2" y="16"/>
                  </a:lnTo>
                  <a:lnTo>
                    <a:pt x="72" y="13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2" y="7"/>
                  </a:lnTo>
                  <a:lnTo>
                    <a:pt x="58" y="13"/>
                  </a:lnTo>
                  <a:lnTo>
                    <a:pt x="58" y="16"/>
                  </a:lnTo>
                  <a:lnTo>
                    <a:pt x="62" y="16"/>
                  </a:lnTo>
                  <a:lnTo>
                    <a:pt x="65" y="16"/>
                  </a:lnTo>
                  <a:lnTo>
                    <a:pt x="69" y="16"/>
                  </a:lnTo>
                  <a:lnTo>
                    <a:pt x="69" y="19"/>
                  </a:lnTo>
                  <a:lnTo>
                    <a:pt x="69" y="23"/>
                  </a:lnTo>
                  <a:lnTo>
                    <a:pt x="65" y="23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58" y="19"/>
                  </a:lnTo>
                  <a:lnTo>
                    <a:pt x="58" y="23"/>
                  </a:lnTo>
                  <a:lnTo>
                    <a:pt x="55" y="23"/>
                  </a:lnTo>
                  <a:lnTo>
                    <a:pt x="48" y="26"/>
                  </a:lnTo>
                  <a:lnTo>
                    <a:pt x="38" y="29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8" y="36"/>
                  </a:lnTo>
                  <a:lnTo>
                    <a:pt x="38" y="42"/>
                  </a:lnTo>
                  <a:lnTo>
                    <a:pt x="38" y="49"/>
                  </a:lnTo>
                  <a:lnTo>
                    <a:pt x="41" y="52"/>
                  </a:lnTo>
                  <a:lnTo>
                    <a:pt x="38" y="58"/>
                  </a:lnTo>
                  <a:lnTo>
                    <a:pt x="31" y="61"/>
                  </a:lnTo>
                  <a:lnTo>
                    <a:pt x="27" y="58"/>
                  </a:lnTo>
                  <a:lnTo>
                    <a:pt x="27" y="55"/>
                  </a:lnTo>
                  <a:lnTo>
                    <a:pt x="24" y="52"/>
                  </a:lnTo>
                  <a:lnTo>
                    <a:pt x="24" y="49"/>
                  </a:lnTo>
                  <a:lnTo>
                    <a:pt x="27" y="45"/>
                  </a:lnTo>
                  <a:lnTo>
                    <a:pt x="27" y="42"/>
                  </a:lnTo>
                  <a:lnTo>
                    <a:pt x="34" y="36"/>
                  </a:lnTo>
                  <a:lnTo>
                    <a:pt x="34" y="32"/>
                  </a:lnTo>
                  <a:lnTo>
                    <a:pt x="31" y="29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27" y="23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31" y="16"/>
                  </a:lnTo>
                  <a:lnTo>
                    <a:pt x="38" y="16"/>
                  </a:lnTo>
                  <a:lnTo>
                    <a:pt x="41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27" y="16"/>
                  </a:lnTo>
                  <a:lnTo>
                    <a:pt x="20" y="23"/>
                  </a:lnTo>
                  <a:lnTo>
                    <a:pt x="20" y="26"/>
                  </a:lnTo>
                  <a:lnTo>
                    <a:pt x="17" y="26"/>
                  </a:lnTo>
                  <a:lnTo>
                    <a:pt x="14" y="29"/>
                  </a:lnTo>
                  <a:lnTo>
                    <a:pt x="10" y="32"/>
                  </a:lnTo>
                  <a:lnTo>
                    <a:pt x="3" y="39"/>
                  </a:lnTo>
                  <a:lnTo>
                    <a:pt x="3" y="42"/>
                  </a:lnTo>
                  <a:lnTo>
                    <a:pt x="3" y="45"/>
                  </a:lnTo>
                  <a:lnTo>
                    <a:pt x="3" y="52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3" y="58"/>
                  </a:lnTo>
                  <a:lnTo>
                    <a:pt x="7" y="58"/>
                  </a:lnTo>
                  <a:lnTo>
                    <a:pt x="14" y="68"/>
                  </a:lnTo>
                  <a:lnTo>
                    <a:pt x="17" y="74"/>
                  </a:lnTo>
                  <a:lnTo>
                    <a:pt x="20" y="78"/>
                  </a:lnTo>
                  <a:lnTo>
                    <a:pt x="17" y="81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7"/>
                  </a:lnTo>
                  <a:lnTo>
                    <a:pt x="20" y="91"/>
                  </a:lnTo>
                  <a:lnTo>
                    <a:pt x="27" y="94"/>
                  </a:lnTo>
                  <a:lnTo>
                    <a:pt x="31" y="94"/>
                  </a:lnTo>
                  <a:lnTo>
                    <a:pt x="34" y="94"/>
                  </a:lnTo>
                  <a:lnTo>
                    <a:pt x="38" y="94"/>
                  </a:lnTo>
                  <a:lnTo>
                    <a:pt x="41" y="94"/>
                  </a:lnTo>
                  <a:lnTo>
                    <a:pt x="45" y="94"/>
                  </a:lnTo>
                  <a:lnTo>
                    <a:pt x="48" y="94"/>
                  </a:lnTo>
                  <a:lnTo>
                    <a:pt x="55" y="94"/>
                  </a:lnTo>
                  <a:lnTo>
                    <a:pt x="58" y="94"/>
                  </a:lnTo>
                  <a:lnTo>
                    <a:pt x="62" y="94"/>
                  </a:lnTo>
                  <a:lnTo>
                    <a:pt x="79" y="107"/>
                  </a:lnTo>
                  <a:lnTo>
                    <a:pt x="82" y="107"/>
                  </a:lnTo>
                  <a:lnTo>
                    <a:pt x="86" y="107"/>
                  </a:lnTo>
                  <a:lnTo>
                    <a:pt x="86" y="107"/>
                  </a:lnTo>
                  <a:lnTo>
                    <a:pt x="89" y="107"/>
                  </a:lnTo>
                  <a:lnTo>
                    <a:pt x="93" y="110"/>
                  </a:lnTo>
                  <a:lnTo>
                    <a:pt x="96" y="107"/>
                  </a:lnTo>
                  <a:lnTo>
                    <a:pt x="100" y="107"/>
                  </a:lnTo>
                  <a:lnTo>
                    <a:pt x="106" y="107"/>
                  </a:lnTo>
                  <a:lnTo>
                    <a:pt x="106" y="107"/>
                  </a:lnTo>
                  <a:lnTo>
                    <a:pt x="110" y="107"/>
                  </a:lnTo>
                  <a:lnTo>
                    <a:pt x="113" y="107"/>
                  </a:lnTo>
                  <a:lnTo>
                    <a:pt x="113" y="113"/>
                  </a:lnTo>
                  <a:lnTo>
                    <a:pt x="113" y="116"/>
                  </a:lnTo>
                  <a:lnTo>
                    <a:pt x="113" y="120"/>
                  </a:lnTo>
                  <a:lnTo>
                    <a:pt x="110" y="123"/>
                  </a:lnTo>
                  <a:lnTo>
                    <a:pt x="106" y="123"/>
                  </a:lnTo>
                  <a:lnTo>
                    <a:pt x="103" y="126"/>
                  </a:lnTo>
                  <a:lnTo>
                    <a:pt x="106" y="129"/>
                  </a:lnTo>
                  <a:lnTo>
                    <a:pt x="106" y="133"/>
                  </a:lnTo>
                  <a:lnTo>
                    <a:pt x="103" y="136"/>
                  </a:lnTo>
                  <a:lnTo>
                    <a:pt x="103" y="142"/>
                  </a:lnTo>
                  <a:lnTo>
                    <a:pt x="106" y="145"/>
                  </a:lnTo>
                  <a:lnTo>
                    <a:pt x="106" y="145"/>
                  </a:lnTo>
                  <a:lnTo>
                    <a:pt x="110" y="155"/>
                  </a:lnTo>
                  <a:lnTo>
                    <a:pt x="103" y="165"/>
                  </a:lnTo>
                  <a:lnTo>
                    <a:pt x="106" y="168"/>
                  </a:lnTo>
                  <a:lnTo>
                    <a:pt x="106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71"/>
                  </a:lnTo>
                  <a:lnTo>
                    <a:pt x="113" y="171"/>
                  </a:lnTo>
                  <a:lnTo>
                    <a:pt x="113" y="175"/>
                  </a:lnTo>
                  <a:lnTo>
                    <a:pt x="113" y="178"/>
                  </a:lnTo>
                  <a:lnTo>
                    <a:pt x="117" y="181"/>
                  </a:lnTo>
                  <a:lnTo>
                    <a:pt x="120" y="187"/>
                  </a:lnTo>
                  <a:lnTo>
                    <a:pt x="120" y="191"/>
                  </a:lnTo>
                  <a:lnTo>
                    <a:pt x="120" y="191"/>
                  </a:lnTo>
                  <a:lnTo>
                    <a:pt x="120" y="191"/>
                  </a:lnTo>
                  <a:close/>
                  <a:moveTo>
                    <a:pt x="93" y="3"/>
                  </a:moveTo>
                  <a:lnTo>
                    <a:pt x="96" y="3"/>
                  </a:lnTo>
                  <a:lnTo>
                    <a:pt x="103" y="7"/>
                  </a:lnTo>
                  <a:lnTo>
                    <a:pt x="100" y="10"/>
                  </a:lnTo>
                  <a:lnTo>
                    <a:pt x="100" y="7"/>
                  </a:lnTo>
                  <a:lnTo>
                    <a:pt x="96" y="7"/>
                  </a:lnTo>
                  <a:lnTo>
                    <a:pt x="93" y="3"/>
                  </a:lnTo>
                  <a:lnTo>
                    <a:pt x="93" y="3"/>
                  </a:lnTo>
                  <a:close/>
                  <a:moveTo>
                    <a:pt x="82" y="3"/>
                  </a:moveTo>
                  <a:lnTo>
                    <a:pt x="86" y="7"/>
                  </a:lnTo>
                  <a:lnTo>
                    <a:pt x="89" y="7"/>
                  </a:lnTo>
                  <a:lnTo>
                    <a:pt x="86" y="10"/>
                  </a:lnTo>
                  <a:lnTo>
                    <a:pt x="82" y="7"/>
                  </a:lnTo>
                  <a:lnTo>
                    <a:pt x="79" y="3"/>
                  </a:lnTo>
                  <a:lnTo>
                    <a:pt x="82" y="3"/>
                  </a:lnTo>
                  <a:lnTo>
                    <a:pt x="82" y="3"/>
                  </a:lnTo>
                  <a:close/>
                  <a:moveTo>
                    <a:pt x="62" y="0"/>
                  </a:moveTo>
                  <a:lnTo>
                    <a:pt x="65" y="3"/>
                  </a:lnTo>
                  <a:lnTo>
                    <a:pt x="69" y="3"/>
                  </a:lnTo>
                  <a:lnTo>
                    <a:pt x="65" y="0"/>
                  </a:lnTo>
                  <a:lnTo>
                    <a:pt x="62" y="0"/>
                  </a:lnTo>
                  <a:lnTo>
                    <a:pt x="62" y="0"/>
                  </a:lnTo>
                  <a:close/>
                  <a:moveTo>
                    <a:pt x="172" y="29"/>
                  </a:moveTo>
                  <a:lnTo>
                    <a:pt x="175" y="26"/>
                  </a:lnTo>
                  <a:lnTo>
                    <a:pt x="179" y="26"/>
                  </a:lnTo>
                  <a:lnTo>
                    <a:pt x="182" y="23"/>
                  </a:lnTo>
                  <a:lnTo>
                    <a:pt x="186" y="26"/>
                  </a:lnTo>
                  <a:lnTo>
                    <a:pt x="182" y="29"/>
                  </a:lnTo>
                  <a:lnTo>
                    <a:pt x="179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2" y="29"/>
                  </a:lnTo>
                  <a:lnTo>
                    <a:pt x="17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2" name="Freeform 183"/>
            <p:cNvSpPr>
              <a:spLocks/>
            </p:cNvSpPr>
            <p:nvPr/>
          </p:nvSpPr>
          <p:spPr bwMode="auto">
            <a:xfrm>
              <a:off x="3857626" y="4298017"/>
              <a:ext cx="371475" cy="446087"/>
            </a:xfrm>
            <a:custGeom>
              <a:avLst/>
              <a:gdLst>
                <a:gd name="T0" fmla="*/ 190 w 234"/>
                <a:gd name="T1" fmla="*/ 230 h 281"/>
                <a:gd name="T2" fmla="*/ 186 w 234"/>
                <a:gd name="T3" fmla="*/ 201 h 281"/>
                <a:gd name="T4" fmla="*/ 190 w 234"/>
                <a:gd name="T5" fmla="*/ 191 h 281"/>
                <a:gd name="T6" fmla="*/ 207 w 234"/>
                <a:gd name="T7" fmla="*/ 178 h 281"/>
                <a:gd name="T8" fmla="*/ 224 w 234"/>
                <a:gd name="T9" fmla="*/ 175 h 281"/>
                <a:gd name="T10" fmla="*/ 234 w 234"/>
                <a:gd name="T11" fmla="*/ 188 h 281"/>
                <a:gd name="T12" fmla="*/ 227 w 234"/>
                <a:gd name="T13" fmla="*/ 168 h 281"/>
                <a:gd name="T14" fmla="*/ 220 w 234"/>
                <a:gd name="T15" fmla="*/ 165 h 281"/>
                <a:gd name="T16" fmla="*/ 217 w 234"/>
                <a:gd name="T17" fmla="*/ 139 h 281"/>
                <a:gd name="T18" fmla="*/ 220 w 234"/>
                <a:gd name="T19" fmla="*/ 120 h 281"/>
                <a:gd name="T20" fmla="*/ 227 w 234"/>
                <a:gd name="T21" fmla="*/ 104 h 281"/>
                <a:gd name="T22" fmla="*/ 210 w 234"/>
                <a:gd name="T23" fmla="*/ 104 h 281"/>
                <a:gd name="T24" fmla="*/ 196 w 234"/>
                <a:gd name="T25" fmla="*/ 104 h 281"/>
                <a:gd name="T26" fmla="*/ 162 w 234"/>
                <a:gd name="T27" fmla="*/ 91 h 281"/>
                <a:gd name="T28" fmla="*/ 145 w 234"/>
                <a:gd name="T29" fmla="*/ 91 h 281"/>
                <a:gd name="T30" fmla="*/ 131 w 234"/>
                <a:gd name="T31" fmla="*/ 81 h 281"/>
                <a:gd name="T32" fmla="*/ 121 w 234"/>
                <a:gd name="T33" fmla="*/ 55 h 281"/>
                <a:gd name="T34" fmla="*/ 117 w 234"/>
                <a:gd name="T35" fmla="*/ 42 h 281"/>
                <a:gd name="T36" fmla="*/ 131 w 234"/>
                <a:gd name="T37" fmla="*/ 23 h 281"/>
                <a:gd name="T38" fmla="*/ 152 w 234"/>
                <a:gd name="T39" fmla="*/ 10 h 281"/>
                <a:gd name="T40" fmla="*/ 155 w 234"/>
                <a:gd name="T41" fmla="*/ 4 h 281"/>
                <a:gd name="T42" fmla="*/ 141 w 234"/>
                <a:gd name="T43" fmla="*/ 4 h 281"/>
                <a:gd name="T44" fmla="*/ 134 w 234"/>
                <a:gd name="T45" fmla="*/ 7 h 281"/>
                <a:gd name="T46" fmla="*/ 114 w 234"/>
                <a:gd name="T47" fmla="*/ 16 h 281"/>
                <a:gd name="T48" fmla="*/ 97 w 234"/>
                <a:gd name="T49" fmla="*/ 23 h 281"/>
                <a:gd name="T50" fmla="*/ 93 w 234"/>
                <a:gd name="T51" fmla="*/ 26 h 281"/>
                <a:gd name="T52" fmla="*/ 79 w 234"/>
                <a:gd name="T53" fmla="*/ 26 h 281"/>
                <a:gd name="T54" fmla="*/ 69 w 234"/>
                <a:gd name="T55" fmla="*/ 42 h 281"/>
                <a:gd name="T56" fmla="*/ 62 w 234"/>
                <a:gd name="T57" fmla="*/ 49 h 281"/>
                <a:gd name="T58" fmla="*/ 45 w 234"/>
                <a:gd name="T59" fmla="*/ 62 h 281"/>
                <a:gd name="T60" fmla="*/ 45 w 234"/>
                <a:gd name="T61" fmla="*/ 75 h 281"/>
                <a:gd name="T62" fmla="*/ 38 w 234"/>
                <a:gd name="T63" fmla="*/ 68 h 281"/>
                <a:gd name="T64" fmla="*/ 35 w 234"/>
                <a:gd name="T65" fmla="*/ 71 h 281"/>
                <a:gd name="T66" fmla="*/ 24 w 234"/>
                <a:gd name="T67" fmla="*/ 88 h 281"/>
                <a:gd name="T68" fmla="*/ 31 w 234"/>
                <a:gd name="T69" fmla="*/ 97 h 281"/>
                <a:gd name="T70" fmla="*/ 31 w 234"/>
                <a:gd name="T71" fmla="*/ 107 h 281"/>
                <a:gd name="T72" fmla="*/ 31 w 234"/>
                <a:gd name="T73" fmla="*/ 117 h 281"/>
                <a:gd name="T74" fmla="*/ 31 w 234"/>
                <a:gd name="T75" fmla="*/ 139 h 281"/>
                <a:gd name="T76" fmla="*/ 38 w 234"/>
                <a:gd name="T77" fmla="*/ 146 h 281"/>
                <a:gd name="T78" fmla="*/ 28 w 234"/>
                <a:gd name="T79" fmla="*/ 162 h 281"/>
                <a:gd name="T80" fmla="*/ 4 w 234"/>
                <a:gd name="T81" fmla="*/ 184 h 281"/>
                <a:gd name="T82" fmla="*/ 24 w 234"/>
                <a:gd name="T83" fmla="*/ 197 h 281"/>
                <a:gd name="T84" fmla="*/ 42 w 234"/>
                <a:gd name="T85" fmla="*/ 207 h 281"/>
                <a:gd name="T86" fmla="*/ 55 w 234"/>
                <a:gd name="T87" fmla="*/ 204 h 281"/>
                <a:gd name="T88" fmla="*/ 69 w 234"/>
                <a:gd name="T89" fmla="*/ 210 h 281"/>
                <a:gd name="T90" fmla="*/ 86 w 234"/>
                <a:gd name="T91" fmla="*/ 214 h 281"/>
                <a:gd name="T92" fmla="*/ 97 w 234"/>
                <a:gd name="T93" fmla="*/ 230 h 281"/>
                <a:gd name="T94" fmla="*/ 114 w 234"/>
                <a:gd name="T95" fmla="*/ 243 h 281"/>
                <a:gd name="T96" fmla="*/ 124 w 234"/>
                <a:gd name="T97" fmla="*/ 252 h 281"/>
                <a:gd name="T98" fmla="*/ 145 w 234"/>
                <a:gd name="T99" fmla="*/ 249 h 281"/>
                <a:gd name="T100" fmla="*/ 165 w 234"/>
                <a:gd name="T101" fmla="*/ 249 h 281"/>
                <a:gd name="T102" fmla="*/ 162 w 234"/>
                <a:gd name="T103" fmla="*/ 272 h 281"/>
                <a:gd name="T104" fmla="*/ 176 w 234"/>
                <a:gd name="T105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4" h="281">
                  <a:moveTo>
                    <a:pt x="176" y="281"/>
                  </a:moveTo>
                  <a:lnTo>
                    <a:pt x="179" y="272"/>
                  </a:lnTo>
                  <a:lnTo>
                    <a:pt x="190" y="236"/>
                  </a:lnTo>
                  <a:lnTo>
                    <a:pt x="190" y="236"/>
                  </a:lnTo>
                  <a:lnTo>
                    <a:pt x="190" y="230"/>
                  </a:lnTo>
                  <a:lnTo>
                    <a:pt x="186" y="223"/>
                  </a:lnTo>
                  <a:lnTo>
                    <a:pt x="179" y="217"/>
                  </a:lnTo>
                  <a:lnTo>
                    <a:pt x="176" y="214"/>
                  </a:lnTo>
                  <a:lnTo>
                    <a:pt x="176" y="204"/>
                  </a:lnTo>
                  <a:lnTo>
                    <a:pt x="186" y="201"/>
                  </a:lnTo>
                  <a:lnTo>
                    <a:pt x="193" y="204"/>
                  </a:lnTo>
                  <a:lnTo>
                    <a:pt x="193" y="201"/>
                  </a:lnTo>
                  <a:lnTo>
                    <a:pt x="190" y="197"/>
                  </a:lnTo>
                  <a:lnTo>
                    <a:pt x="193" y="197"/>
                  </a:lnTo>
                  <a:lnTo>
                    <a:pt x="190" y="191"/>
                  </a:lnTo>
                  <a:lnTo>
                    <a:pt x="183" y="191"/>
                  </a:lnTo>
                  <a:lnTo>
                    <a:pt x="179" y="188"/>
                  </a:lnTo>
                  <a:lnTo>
                    <a:pt x="183" y="181"/>
                  </a:lnTo>
                  <a:lnTo>
                    <a:pt x="203" y="181"/>
                  </a:lnTo>
                  <a:lnTo>
                    <a:pt x="207" y="178"/>
                  </a:lnTo>
                  <a:lnTo>
                    <a:pt x="210" y="178"/>
                  </a:lnTo>
                  <a:lnTo>
                    <a:pt x="214" y="181"/>
                  </a:lnTo>
                  <a:lnTo>
                    <a:pt x="214" y="181"/>
                  </a:lnTo>
                  <a:lnTo>
                    <a:pt x="217" y="178"/>
                  </a:lnTo>
                  <a:lnTo>
                    <a:pt x="224" y="175"/>
                  </a:lnTo>
                  <a:lnTo>
                    <a:pt x="224" y="178"/>
                  </a:lnTo>
                  <a:lnTo>
                    <a:pt x="227" y="181"/>
                  </a:lnTo>
                  <a:lnTo>
                    <a:pt x="227" y="184"/>
                  </a:lnTo>
                  <a:lnTo>
                    <a:pt x="227" y="191"/>
                  </a:lnTo>
                  <a:lnTo>
                    <a:pt x="234" y="188"/>
                  </a:lnTo>
                  <a:lnTo>
                    <a:pt x="234" y="184"/>
                  </a:lnTo>
                  <a:lnTo>
                    <a:pt x="231" y="178"/>
                  </a:lnTo>
                  <a:lnTo>
                    <a:pt x="227" y="175"/>
                  </a:lnTo>
                  <a:lnTo>
                    <a:pt x="227" y="172"/>
                  </a:lnTo>
                  <a:lnTo>
                    <a:pt x="227" y="168"/>
                  </a:lnTo>
                  <a:lnTo>
                    <a:pt x="224" y="168"/>
                  </a:lnTo>
                  <a:lnTo>
                    <a:pt x="224" y="165"/>
                  </a:lnTo>
                  <a:lnTo>
                    <a:pt x="224" y="165"/>
                  </a:lnTo>
                  <a:lnTo>
                    <a:pt x="220" y="165"/>
                  </a:lnTo>
                  <a:lnTo>
                    <a:pt x="220" y="165"/>
                  </a:lnTo>
                  <a:lnTo>
                    <a:pt x="217" y="162"/>
                  </a:lnTo>
                  <a:lnTo>
                    <a:pt x="224" y="152"/>
                  </a:lnTo>
                  <a:lnTo>
                    <a:pt x="220" y="142"/>
                  </a:lnTo>
                  <a:lnTo>
                    <a:pt x="220" y="142"/>
                  </a:lnTo>
                  <a:lnTo>
                    <a:pt x="217" y="139"/>
                  </a:lnTo>
                  <a:lnTo>
                    <a:pt x="217" y="133"/>
                  </a:lnTo>
                  <a:lnTo>
                    <a:pt x="220" y="130"/>
                  </a:lnTo>
                  <a:lnTo>
                    <a:pt x="220" y="126"/>
                  </a:lnTo>
                  <a:lnTo>
                    <a:pt x="217" y="123"/>
                  </a:lnTo>
                  <a:lnTo>
                    <a:pt x="220" y="120"/>
                  </a:lnTo>
                  <a:lnTo>
                    <a:pt x="224" y="120"/>
                  </a:lnTo>
                  <a:lnTo>
                    <a:pt x="227" y="117"/>
                  </a:lnTo>
                  <a:lnTo>
                    <a:pt x="227" y="113"/>
                  </a:lnTo>
                  <a:lnTo>
                    <a:pt x="227" y="110"/>
                  </a:lnTo>
                  <a:lnTo>
                    <a:pt x="227" y="104"/>
                  </a:lnTo>
                  <a:lnTo>
                    <a:pt x="224" y="104"/>
                  </a:lnTo>
                  <a:lnTo>
                    <a:pt x="220" y="104"/>
                  </a:lnTo>
                  <a:lnTo>
                    <a:pt x="220" y="104"/>
                  </a:lnTo>
                  <a:lnTo>
                    <a:pt x="214" y="104"/>
                  </a:lnTo>
                  <a:lnTo>
                    <a:pt x="210" y="104"/>
                  </a:lnTo>
                  <a:lnTo>
                    <a:pt x="207" y="107"/>
                  </a:lnTo>
                  <a:lnTo>
                    <a:pt x="203" y="104"/>
                  </a:lnTo>
                  <a:lnTo>
                    <a:pt x="200" y="104"/>
                  </a:lnTo>
                  <a:lnTo>
                    <a:pt x="200" y="104"/>
                  </a:lnTo>
                  <a:lnTo>
                    <a:pt x="196" y="104"/>
                  </a:lnTo>
                  <a:lnTo>
                    <a:pt x="193" y="104"/>
                  </a:lnTo>
                  <a:lnTo>
                    <a:pt x="176" y="91"/>
                  </a:lnTo>
                  <a:lnTo>
                    <a:pt x="172" y="91"/>
                  </a:lnTo>
                  <a:lnTo>
                    <a:pt x="169" y="91"/>
                  </a:lnTo>
                  <a:lnTo>
                    <a:pt x="162" y="91"/>
                  </a:lnTo>
                  <a:lnTo>
                    <a:pt x="159" y="91"/>
                  </a:lnTo>
                  <a:lnTo>
                    <a:pt x="155" y="91"/>
                  </a:lnTo>
                  <a:lnTo>
                    <a:pt x="152" y="91"/>
                  </a:lnTo>
                  <a:lnTo>
                    <a:pt x="148" y="91"/>
                  </a:lnTo>
                  <a:lnTo>
                    <a:pt x="145" y="91"/>
                  </a:lnTo>
                  <a:lnTo>
                    <a:pt x="141" y="91"/>
                  </a:lnTo>
                  <a:lnTo>
                    <a:pt x="134" y="88"/>
                  </a:lnTo>
                  <a:lnTo>
                    <a:pt x="131" y="84"/>
                  </a:lnTo>
                  <a:lnTo>
                    <a:pt x="131" y="81"/>
                  </a:lnTo>
                  <a:lnTo>
                    <a:pt x="131" y="81"/>
                  </a:lnTo>
                  <a:lnTo>
                    <a:pt x="131" y="78"/>
                  </a:lnTo>
                  <a:lnTo>
                    <a:pt x="134" y="75"/>
                  </a:lnTo>
                  <a:lnTo>
                    <a:pt x="131" y="71"/>
                  </a:lnTo>
                  <a:lnTo>
                    <a:pt x="128" y="65"/>
                  </a:lnTo>
                  <a:lnTo>
                    <a:pt x="121" y="55"/>
                  </a:lnTo>
                  <a:lnTo>
                    <a:pt x="117" y="55"/>
                  </a:lnTo>
                  <a:lnTo>
                    <a:pt x="114" y="55"/>
                  </a:lnTo>
                  <a:lnTo>
                    <a:pt x="114" y="52"/>
                  </a:lnTo>
                  <a:lnTo>
                    <a:pt x="117" y="49"/>
                  </a:lnTo>
                  <a:lnTo>
                    <a:pt x="117" y="42"/>
                  </a:lnTo>
                  <a:lnTo>
                    <a:pt x="117" y="39"/>
                  </a:lnTo>
                  <a:lnTo>
                    <a:pt x="117" y="36"/>
                  </a:lnTo>
                  <a:lnTo>
                    <a:pt x="124" y="29"/>
                  </a:lnTo>
                  <a:lnTo>
                    <a:pt x="128" y="26"/>
                  </a:lnTo>
                  <a:lnTo>
                    <a:pt x="131" y="23"/>
                  </a:lnTo>
                  <a:lnTo>
                    <a:pt x="134" y="23"/>
                  </a:lnTo>
                  <a:lnTo>
                    <a:pt x="134" y="20"/>
                  </a:lnTo>
                  <a:lnTo>
                    <a:pt x="141" y="13"/>
                  </a:lnTo>
                  <a:lnTo>
                    <a:pt x="152" y="10"/>
                  </a:lnTo>
                  <a:lnTo>
                    <a:pt x="152" y="10"/>
                  </a:lnTo>
                  <a:lnTo>
                    <a:pt x="155" y="10"/>
                  </a:lnTo>
                  <a:lnTo>
                    <a:pt x="155" y="7"/>
                  </a:lnTo>
                  <a:lnTo>
                    <a:pt x="159" y="7"/>
                  </a:lnTo>
                  <a:lnTo>
                    <a:pt x="159" y="4"/>
                  </a:lnTo>
                  <a:lnTo>
                    <a:pt x="155" y="4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38" y="4"/>
                  </a:lnTo>
                  <a:lnTo>
                    <a:pt x="134" y="4"/>
                  </a:lnTo>
                  <a:lnTo>
                    <a:pt x="134" y="7"/>
                  </a:lnTo>
                  <a:lnTo>
                    <a:pt x="134" y="7"/>
                  </a:lnTo>
                  <a:lnTo>
                    <a:pt x="134" y="10"/>
                  </a:lnTo>
                  <a:lnTo>
                    <a:pt x="128" y="10"/>
                  </a:lnTo>
                  <a:lnTo>
                    <a:pt x="121" y="13"/>
                  </a:lnTo>
                  <a:lnTo>
                    <a:pt x="117" y="16"/>
                  </a:lnTo>
                  <a:lnTo>
                    <a:pt x="114" y="16"/>
                  </a:lnTo>
                  <a:lnTo>
                    <a:pt x="107" y="20"/>
                  </a:lnTo>
                  <a:lnTo>
                    <a:pt x="100" y="16"/>
                  </a:lnTo>
                  <a:lnTo>
                    <a:pt x="97" y="20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6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7" y="23"/>
                  </a:lnTo>
                  <a:lnTo>
                    <a:pt x="93" y="23"/>
                  </a:lnTo>
                  <a:lnTo>
                    <a:pt x="86" y="23"/>
                  </a:lnTo>
                  <a:lnTo>
                    <a:pt x="83" y="23"/>
                  </a:lnTo>
                  <a:lnTo>
                    <a:pt x="79" y="26"/>
                  </a:lnTo>
                  <a:lnTo>
                    <a:pt x="76" y="26"/>
                  </a:lnTo>
                  <a:lnTo>
                    <a:pt x="73" y="33"/>
                  </a:lnTo>
                  <a:lnTo>
                    <a:pt x="66" y="39"/>
                  </a:lnTo>
                  <a:lnTo>
                    <a:pt x="66" y="42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69" y="46"/>
                  </a:lnTo>
                  <a:lnTo>
                    <a:pt x="69" y="49"/>
                  </a:lnTo>
                  <a:lnTo>
                    <a:pt x="66" y="49"/>
                  </a:lnTo>
                  <a:lnTo>
                    <a:pt x="62" y="49"/>
                  </a:lnTo>
                  <a:lnTo>
                    <a:pt x="59" y="52"/>
                  </a:lnTo>
                  <a:lnTo>
                    <a:pt x="55" y="55"/>
                  </a:lnTo>
                  <a:lnTo>
                    <a:pt x="52" y="55"/>
                  </a:lnTo>
                  <a:lnTo>
                    <a:pt x="48" y="62"/>
                  </a:lnTo>
                  <a:lnTo>
                    <a:pt x="45" y="62"/>
                  </a:lnTo>
                  <a:lnTo>
                    <a:pt x="42" y="62"/>
                  </a:lnTo>
                  <a:lnTo>
                    <a:pt x="45" y="65"/>
                  </a:lnTo>
                  <a:lnTo>
                    <a:pt x="48" y="68"/>
                  </a:lnTo>
                  <a:lnTo>
                    <a:pt x="48" y="71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42" y="71"/>
                  </a:lnTo>
                  <a:lnTo>
                    <a:pt x="42" y="71"/>
                  </a:lnTo>
                  <a:lnTo>
                    <a:pt x="42" y="71"/>
                  </a:lnTo>
                  <a:lnTo>
                    <a:pt x="38" y="68"/>
                  </a:lnTo>
                  <a:lnTo>
                    <a:pt x="38" y="65"/>
                  </a:lnTo>
                  <a:lnTo>
                    <a:pt x="35" y="62"/>
                  </a:lnTo>
                  <a:lnTo>
                    <a:pt x="31" y="65"/>
                  </a:lnTo>
                  <a:lnTo>
                    <a:pt x="35" y="68"/>
                  </a:lnTo>
                  <a:lnTo>
                    <a:pt x="35" y="71"/>
                  </a:lnTo>
                  <a:lnTo>
                    <a:pt x="31" y="75"/>
                  </a:lnTo>
                  <a:lnTo>
                    <a:pt x="31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91"/>
                  </a:lnTo>
                  <a:lnTo>
                    <a:pt x="24" y="94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5" y="97"/>
                  </a:lnTo>
                  <a:lnTo>
                    <a:pt x="35" y="100"/>
                  </a:lnTo>
                  <a:lnTo>
                    <a:pt x="35" y="104"/>
                  </a:lnTo>
                  <a:lnTo>
                    <a:pt x="31" y="104"/>
                  </a:lnTo>
                  <a:lnTo>
                    <a:pt x="31" y="107"/>
                  </a:lnTo>
                  <a:lnTo>
                    <a:pt x="35" y="110"/>
                  </a:lnTo>
                  <a:lnTo>
                    <a:pt x="35" y="113"/>
                  </a:lnTo>
                  <a:lnTo>
                    <a:pt x="31" y="113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5" y="120"/>
                  </a:lnTo>
                  <a:lnTo>
                    <a:pt x="35" y="126"/>
                  </a:lnTo>
                  <a:lnTo>
                    <a:pt x="35" y="133"/>
                  </a:lnTo>
                  <a:lnTo>
                    <a:pt x="31" y="136"/>
                  </a:lnTo>
                  <a:lnTo>
                    <a:pt x="31" y="139"/>
                  </a:lnTo>
                  <a:lnTo>
                    <a:pt x="31" y="142"/>
                  </a:lnTo>
                  <a:lnTo>
                    <a:pt x="35" y="139"/>
                  </a:lnTo>
                  <a:lnTo>
                    <a:pt x="35" y="142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9"/>
                  </a:lnTo>
                  <a:lnTo>
                    <a:pt x="35" y="152"/>
                  </a:lnTo>
                  <a:lnTo>
                    <a:pt x="28" y="159"/>
                  </a:lnTo>
                  <a:lnTo>
                    <a:pt x="28" y="162"/>
                  </a:lnTo>
                  <a:lnTo>
                    <a:pt x="21" y="165"/>
                  </a:lnTo>
                  <a:lnTo>
                    <a:pt x="14" y="168"/>
                  </a:lnTo>
                  <a:lnTo>
                    <a:pt x="7" y="172"/>
                  </a:lnTo>
                  <a:lnTo>
                    <a:pt x="4" y="178"/>
                  </a:lnTo>
                  <a:lnTo>
                    <a:pt x="4" y="184"/>
                  </a:lnTo>
                  <a:lnTo>
                    <a:pt x="0" y="188"/>
                  </a:lnTo>
                  <a:lnTo>
                    <a:pt x="7" y="188"/>
                  </a:lnTo>
                  <a:lnTo>
                    <a:pt x="14" y="191"/>
                  </a:lnTo>
                  <a:lnTo>
                    <a:pt x="21" y="197"/>
                  </a:lnTo>
                  <a:lnTo>
                    <a:pt x="24" y="197"/>
                  </a:lnTo>
                  <a:lnTo>
                    <a:pt x="31" y="201"/>
                  </a:lnTo>
                  <a:lnTo>
                    <a:pt x="28" y="204"/>
                  </a:lnTo>
                  <a:lnTo>
                    <a:pt x="31" y="204"/>
                  </a:lnTo>
                  <a:lnTo>
                    <a:pt x="35" y="207"/>
                  </a:lnTo>
                  <a:lnTo>
                    <a:pt x="42" y="207"/>
                  </a:lnTo>
                  <a:lnTo>
                    <a:pt x="45" y="210"/>
                  </a:lnTo>
                  <a:lnTo>
                    <a:pt x="52" y="210"/>
                  </a:lnTo>
                  <a:lnTo>
                    <a:pt x="55" y="210"/>
                  </a:lnTo>
                  <a:lnTo>
                    <a:pt x="52" y="207"/>
                  </a:lnTo>
                  <a:lnTo>
                    <a:pt x="55" y="204"/>
                  </a:lnTo>
                  <a:lnTo>
                    <a:pt x="59" y="204"/>
                  </a:lnTo>
                  <a:lnTo>
                    <a:pt x="62" y="207"/>
                  </a:lnTo>
                  <a:lnTo>
                    <a:pt x="66" y="207"/>
                  </a:lnTo>
                  <a:lnTo>
                    <a:pt x="69" y="210"/>
                  </a:lnTo>
                  <a:lnTo>
                    <a:pt x="69" y="210"/>
                  </a:lnTo>
                  <a:lnTo>
                    <a:pt x="69" y="210"/>
                  </a:lnTo>
                  <a:lnTo>
                    <a:pt x="73" y="210"/>
                  </a:lnTo>
                  <a:lnTo>
                    <a:pt x="73" y="214"/>
                  </a:lnTo>
                  <a:lnTo>
                    <a:pt x="79" y="214"/>
                  </a:lnTo>
                  <a:lnTo>
                    <a:pt x="86" y="214"/>
                  </a:lnTo>
                  <a:lnTo>
                    <a:pt x="86" y="217"/>
                  </a:lnTo>
                  <a:lnTo>
                    <a:pt x="90" y="220"/>
                  </a:lnTo>
                  <a:lnTo>
                    <a:pt x="93" y="223"/>
                  </a:lnTo>
                  <a:lnTo>
                    <a:pt x="93" y="230"/>
                  </a:lnTo>
                  <a:lnTo>
                    <a:pt x="97" y="230"/>
                  </a:lnTo>
                  <a:lnTo>
                    <a:pt x="107" y="233"/>
                  </a:lnTo>
                  <a:lnTo>
                    <a:pt x="110" y="236"/>
                  </a:lnTo>
                  <a:lnTo>
                    <a:pt x="110" y="239"/>
                  </a:lnTo>
                  <a:lnTo>
                    <a:pt x="110" y="239"/>
                  </a:lnTo>
                  <a:lnTo>
                    <a:pt x="114" y="243"/>
                  </a:lnTo>
                  <a:lnTo>
                    <a:pt x="117" y="246"/>
                  </a:lnTo>
                  <a:lnTo>
                    <a:pt x="114" y="249"/>
                  </a:lnTo>
                  <a:lnTo>
                    <a:pt x="117" y="249"/>
                  </a:lnTo>
                  <a:lnTo>
                    <a:pt x="121" y="252"/>
                  </a:lnTo>
                  <a:lnTo>
                    <a:pt x="124" y="252"/>
                  </a:lnTo>
                  <a:lnTo>
                    <a:pt x="128" y="252"/>
                  </a:lnTo>
                  <a:lnTo>
                    <a:pt x="131" y="252"/>
                  </a:lnTo>
                  <a:lnTo>
                    <a:pt x="134" y="249"/>
                  </a:lnTo>
                  <a:lnTo>
                    <a:pt x="141" y="249"/>
                  </a:lnTo>
                  <a:lnTo>
                    <a:pt x="145" y="249"/>
                  </a:lnTo>
                  <a:lnTo>
                    <a:pt x="152" y="249"/>
                  </a:lnTo>
                  <a:lnTo>
                    <a:pt x="159" y="249"/>
                  </a:lnTo>
                  <a:lnTo>
                    <a:pt x="162" y="249"/>
                  </a:lnTo>
                  <a:lnTo>
                    <a:pt x="162" y="249"/>
                  </a:lnTo>
                  <a:lnTo>
                    <a:pt x="165" y="249"/>
                  </a:lnTo>
                  <a:lnTo>
                    <a:pt x="169" y="252"/>
                  </a:lnTo>
                  <a:lnTo>
                    <a:pt x="169" y="252"/>
                  </a:lnTo>
                  <a:lnTo>
                    <a:pt x="176" y="252"/>
                  </a:lnTo>
                  <a:lnTo>
                    <a:pt x="176" y="256"/>
                  </a:lnTo>
                  <a:lnTo>
                    <a:pt x="162" y="272"/>
                  </a:lnTo>
                  <a:lnTo>
                    <a:pt x="162" y="275"/>
                  </a:lnTo>
                  <a:lnTo>
                    <a:pt x="165" y="275"/>
                  </a:lnTo>
                  <a:lnTo>
                    <a:pt x="172" y="275"/>
                  </a:lnTo>
                  <a:lnTo>
                    <a:pt x="176" y="278"/>
                  </a:lnTo>
                  <a:lnTo>
                    <a:pt x="176" y="2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3" name="Freeform 184"/>
            <p:cNvSpPr>
              <a:spLocks noEditPoints="1"/>
            </p:cNvSpPr>
            <p:nvPr/>
          </p:nvSpPr>
          <p:spPr bwMode="auto">
            <a:xfrm>
              <a:off x="3797301" y="4596467"/>
              <a:ext cx="180975" cy="168275"/>
            </a:xfrm>
            <a:custGeom>
              <a:avLst/>
              <a:gdLst>
                <a:gd name="T0" fmla="*/ 107 w 114"/>
                <a:gd name="T1" fmla="*/ 22 h 106"/>
                <a:gd name="T2" fmla="*/ 104 w 114"/>
                <a:gd name="T3" fmla="*/ 19 h 106"/>
                <a:gd name="T4" fmla="*/ 97 w 114"/>
                <a:gd name="T5" fmla="*/ 16 h 106"/>
                <a:gd name="T6" fmla="*/ 90 w 114"/>
                <a:gd name="T7" fmla="*/ 19 h 106"/>
                <a:gd name="T8" fmla="*/ 90 w 114"/>
                <a:gd name="T9" fmla="*/ 22 h 106"/>
                <a:gd name="T10" fmla="*/ 80 w 114"/>
                <a:gd name="T11" fmla="*/ 19 h 106"/>
                <a:gd name="T12" fmla="*/ 69 w 114"/>
                <a:gd name="T13" fmla="*/ 16 h 106"/>
                <a:gd name="T14" fmla="*/ 69 w 114"/>
                <a:gd name="T15" fmla="*/ 13 h 106"/>
                <a:gd name="T16" fmla="*/ 59 w 114"/>
                <a:gd name="T17" fmla="*/ 9 h 106"/>
                <a:gd name="T18" fmla="*/ 45 w 114"/>
                <a:gd name="T19" fmla="*/ 0 h 106"/>
                <a:gd name="T20" fmla="*/ 38 w 114"/>
                <a:gd name="T21" fmla="*/ 3 h 106"/>
                <a:gd name="T22" fmla="*/ 25 w 114"/>
                <a:gd name="T23" fmla="*/ 6 h 106"/>
                <a:gd name="T24" fmla="*/ 14 w 114"/>
                <a:gd name="T25" fmla="*/ 9 h 106"/>
                <a:gd name="T26" fmla="*/ 18 w 114"/>
                <a:gd name="T27" fmla="*/ 16 h 106"/>
                <a:gd name="T28" fmla="*/ 18 w 114"/>
                <a:gd name="T29" fmla="*/ 22 h 106"/>
                <a:gd name="T30" fmla="*/ 11 w 114"/>
                <a:gd name="T31" fmla="*/ 32 h 106"/>
                <a:gd name="T32" fmla="*/ 7 w 114"/>
                <a:gd name="T33" fmla="*/ 38 h 106"/>
                <a:gd name="T34" fmla="*/ 0 w 114"/>
                <a:gd name="T35" fmla="*/ 45 h 106"/>
                <a:gd name="T36" fmla="*/ 4 w 114"/>
                <a:gd name="T37" fmla="*/ 48 h 106"/>
                <a:gd name="T38" fmla="*/ 4 w 114"/>
                <a:gd name="T39" fmla="*/ 58 h 106"/>
                <a:gd name="T40" fmla="*/ 0 w 114"/>
                <a:gd name="T41" fmla="*/ 61 h 106"/>
                <a:gd name="T42" fmla="*/ 4 w 114"/>
                <a:gd name="T43" fmla="*/ 64 h 106"/>
                <a:gd name="T44" fmla="*/ 11 w 114"/>
                <a:gd name="T45" fmla="*/ 71 h 106"/>
                <a:gd name="T46" fmla="*/ 14 w 114"/>
                <a:gd name="T47" fmla="*/ 64 h 106"/>
                <a:gd name="T48" fmla="*/ 21 w 114"/>
                <a:gd name="T49" fmla="*/ 61 h 106"/>
                <a:gd name="T50" fmla="*/ 21 w 114"/>
                <a:gd name="T51" fmla="*/ 68 h 106"/>
                <a:gd name="T52" fmla="*/ 21 w 114"/>
                <a:gd name="T53" fmla="*/ 61 h 106"/>
                <a:gd name="T54" fmla="*/ 25 w 114"/>
                <a:gd name="T55" fmla="*/ 68 h 106"/>
                <a:gd name="T56" fmla="*/ 21 w 114"/>
                <a:gd name="T57" fmla="*/ 74 h 106"/>
                <a:gd name="T58" fmla="*/ 14 w 114"/>
                <a:gd name="T59" fmla="*/ 80 h 106"/>
                <a:gd name="T60" fmla="*/ 18 w 114"/>
                <a:gd name="T61" fmla="*/ 87 h 106"/>
                <a:gd name="T62" fmla="*/ 11 w 114"/>
                <a:gd name="T63" fmla="*/ 93 h 106"/>
                <a:gd name="T64" fmla="*/ 18 w 114"/>
                <a:gd name="T65" fmla="*/ 97 h 106"/>
                <a:gd name="T66" fmla="*/ 21 w 114"/>
                <a:gd name="T67" fmla="*/ 97 h 106"/>
                <a:gd name="T68" fmla="*/ 31 w 114"/>
                <a:gd name="T69" fmla="*/ 100 h 106"/>
                <a:gd name="T70" fmla="*/ 38 w 114"/>
                <a:gd name="T71" fmla="*/ 106 h 106"/>
                <a:gd name="T72" fmla="*/ 59 w 114"/>
                <a:gd name="T73" fmla="*/ 74 h 106"/>
                <a:gd name="T74" fmla="*/ 83 w 114"/>
                <a:gd name="T75" fmla="*/ 68 h 106"/>
                <a:gd name="T76" fmla="*/ 104 w 114"/>
                <a:gd name="T77" fmla="*/ 51 h 106"/>
                <a:gd name="T78" fmla="*/ 111 w 114"/>
                <a:gd name="T79" fmla="*/ 42 h 106"/>
                <a:gd name="T80" fmla="*/ 114 w 114"/>
                <a:gd name="T81" fmla="*/ 35 h 106"/>
                <a:gd name="T82" fmla="*/ 111 w 114"/>
                <a:gd name="T83" fmla="*/ 26 h 106"/>
                <a:gd name="T84" fmla="*/ 107 w 114"/>
                <a:gd name="T85" fmla="*/ 22 h 106"/>
                <a:gd name="T86" fmla="*/ 107 w 114"/>
                <a:gd name="T87" fmla="*/ 22 h 106"/>
                <a:gd name="T88" fmla="*/ 11 w 114"/>
                <a:gd name="T89" fmla="*/ 74 h 106"/>
                <a:gd name="T90" fmla="*/ 18 w 114"/>
                <a:gd name="T91" fmla="*/ 68 h 106"/>
                <a:gd name="T92" fmla="*/ 18 w 114"/>
                <a:gd name="T93" fmla="*/ 71 h 106"/>
                <a:gd name="T94" fmla="*/ 18 w 114"/>
                <a:gd name="T95" fmla="*/ 77 h 106"/>
                <a:gd name="T96" fmla="*/ 14 w 114"/>
                <a:gd name="T97" fmla="*/ 77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4" h="106">
                  <a:moveTo>
                    <a:pt x="107" y="22"/>
                  </a:moveTo>
                  <a:lnTo>
                    <a:pt x="107" y="22"/>
                  </a:lnTo>
                  <a:lnTo>
                    <a:pt x="107" y="22"/>
                  </a:lnTo>
                  <a:lnTo>
                    <a:pt x="104" y="19"/>
                  </a:lnTo>
                  <a:lnTo>
                    <a:pt x="100" y="19"/>
                  </a:lnTo>
                  <a:lnTo>
                    <a:pt x="97" y="16"/>
                  </a:lnTo>
                  <a:lnTo>
                    <a:pt x="93" y="16"/>
                  </a:lnTo>
                  <a:lnTo>
                    <a:pt x="90" y="19"/>
                  </a:lnTo>
                  <a:lnTo>
                    <a:pt x="93" y="22"/>
                  </a:lnTo>
                  <a:lnTo>
                    <a:pt x="90" y="22"/>
                  </a:lnTo>
                  <a:lnTo>
                    <a:pt x="83" y="22"/>
                  </a:lnTo>
                  <a:lnTo>
                    <a:pt x="80" y="19"/>
                  </a:lnTo>
                  <a:lnTo>
                    <a:pt x="73" y="19"/>
                  </a:lnTo>
                  <a:lnTo>
                    <a:pt x="69" y="16"/>
                  </a:lnTo>
                  <a:lnTo>
                    <a:pt x="66" y="16"/>
                  </a:lnTo>
                  <a:lnTo>
                    <a:pt x="69" y="13"/>
                  </a:lnTo>
                  <a:lnTo>
                    <a:pt x="62" y="9"/>
                  </a:lnTo>
                  <a:lnTo>
                    <a:pt x="59" y="9"/>
                  </a:lnTo>
                  <a:lnTo>
                    <a:pt x="52" y="3"/>
                  </a:lnTo>
                  <a:lnTo>
                    <a:pt x="45" y="0"/>
                  </a:lnTo>
                  <a:lnTo>
                    <a:pt x="38" y="0"/>
                  </a:lnTo>
                  <a:lnTo>
                    <a:pt x="38" y="3"/>
                  </a:lnTo>
                  <a:lnTo>
                    <a:pt x="31" y="3"/>
                  </a:lnTo>
                  <a:lnTo>
                    <a:pt x="25" y="6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18" y="13"/>
                  </a:lnTo>
                  <a:lnTo>
                    <a:pt x="18" y="16"/>
                  </a:lnTo>
                  <a:lnTo>
                    <a:pt x="18" y="19"/>
                  </a:lnTo>
                  <a:lnTo>
                    <a:pt x="18" y="22"/>
                  </a:lnTo>
                  <a:lnTo>
                    <a:pt x="11" y="29"/>
                  </a:lnTo>
                  <a:lnTo>
                    <a:pt x="11" y="32"/>
                  </a:lnTo>
                  <a:lnTo>
                    <a:pt x="11" y="35"/>
                  </a:lnTo>
                  <a:lnTo>
                    <a:pt x="7" y="38"/>
                  </a:lnTo>
                  <a:lnTo>
                    <a:pt x="4" y="38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4" y="48"/>
                  </a:lnTo>
                  <a:lnTo>
                    <a:pt x="4" y="51"/>
                  </a:lnTo>
                  <a:lnTo>
                    <a:pt x="4" y="58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11" y="68"/>
                  </a:lnTo>
                  <a:lnTo>
                    <a:pt x="11" y="71"/>
                  </a:lnTo>
                  <a:lnTo>
                    <a:pt x="14" y="71"/>
                  </a:lnTo>
                  <a:lnTo>
                    <a:pt x="14" y="64"/>
                  </a:lnTo>
                  <a:lnTo>
                    <a:pt x="18" y="64"/>
                  </a:lnTo>
                  <a:lnTo>
                    <a:pt x="21" y="61"/>
                  </a:lnTo>
                  <a:lnTo>
                    <a:pt x="21" y="64"/>
                  </a:lnTo>
                  <a:lnTo>
                    <a:pt x="21" y="68"/>
                  </a:lnTo>
                  <a:lnTo>
                    <a:pt x="21" y="64"/>
                  </a:lnTo>
                  <a:lnTo>
                    <a:pt x="21" y="61"/>
                  </a:lnTo>
                  <a:lnTo>
                    <a:pt x="21" y="64"/>
                  </a:lnTo>
                  <a:lnTo>
                    <a:pt x="25" y="68"/>
                  </a:lnTo>
                  <a:lnTo>
                    <a:pt x="21" y="71"/>
                  </a:lnTo>
                  <a:lnTo>
                    <a:pt x="21" y="74"/>
                  </a:lnTo>
                  <a:lnTo>
                    <a:pt x="21" y="77"/>
                  </a:lnTo>
                  <a:lnTo>
                    <a:pt x="14" y="80"/>
                  </a:lnTo>
                  <a:lnTo>
                    <a:pt x="18" y="84"/>
                  </a:lnTo>
                  <a:lnTo>
                    <a:pt x="18" y="87"/>
                  </a:lnTo>
                  <a:lnTo>
                    <a:pt x="14" y="90"/>
                  </a:lnTo>
                  <a:lnTo>
                    <a:pt x="11" y="93"/>
                  </a:lnTo>
                  <a:lnTo>
                    <a:pt x="14" y="97"/>
                  </a:lnTo>
                  <a:lnTo>
                    <a:pt x="18" y="97"/>
                  </a:lnTo>
                  <a:lnTo>
                    <a:pt x="21" y="93"/>
                  </a:lnTo>
                  <a:lnTo>
                    <a:pt x="21" y="97"/>
                  </a:lnTo>
                  <a:lnTo>
                    <a:pt x="28" y="97"/>
                  </a:lnTo>
                  <a:lnTo>
                    <a:pt x="31" y="100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45" y="103"/>
                  </a:lnTo>
                  <a:lnTo>
                    <a:pt x="59" y="74"/>
                  </a:lnTo>
                  <a:lnTo>
                    <a:pt x="62" y="74"/>
                  </a:lnTo>
                  <a:lnTo>
                    <a:pt x="83" y="68"/>
                  </a:lnTo>
                  <a:lnTo>
                    <a:pt x="90" y="64"/>
                  </a:lnTo>
                  <a:lnTo>
                    <a:pt x="104" y="51"/>
                  </a:lnTo>
                  <a:lnTo>
                    <a:pt x="107" y="42"/>
                  </a:lnTo>
                  <a:lnTo>
                    <a:pt x="111" y="42"/>
                  </a:lnTo>
                  <a:lnTo>
                    <a:pt x="114" y="42"/>
                  </a:lnTo>
                  <a:lnTo>
                    <a:pt x="114" y="35"/>
                  </a:lnTo>
                  <a:lnTo>
                    <a:pt x="114" y="3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7" y="22"/>
                  </a:lnTo>
                  <a:lnTo>
                    <a:pt x="107" y="22"/>
                  </a:lnTo>
                  <a:lnTo>
                    <a:pt x="107" y="22"/>
                  </a:lnTo>
                  <a:close/>
                  <a:moveTo>
                    <a:pt x="14" y="77"/>
                  </a:moveTo>
                  <a:lnTo>
                    <a:pt x="11" y="74"/>
                  </a:lnTo>
                  <a:lnTo>
                    <a:pt x="14" y="71"/>
                  </a:lnTo>
                  <a:lnTo>
                    <a:pt x="18" y="68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4"/>
                  </a:lnTo>
                  <a:lnTo>
                    <a:pt x="18" y="77"/>
                  </a:lnTo>
                  <a:lnTo>
                    <a:pt x="14" y="77"/>
                  </a:lnTo>
                  <a:lnTo>
                    <a:pt x="14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4" name="Freeform 185"/>
            <p:cNvSpPr>
              <a:spLocks/>
            </p:cNvSpPr>
            <p:nvPr/>
          </p:nvSpPr>
          <p:spPr bwMode="auto">
            <a:xfrm>
              <a:off x="3787776" y="4631392"/>
              <a:ext cx="398463" cy="498475"/>
            </a:xfrm>
            <a:custGeom>
              <a:avLst/>
              <a:gdLst>
                <a:gd name="T0" fmla="*/ 227 w 251"/>
                <a:gd name="T1" fmla="*/ 184 h 314"/>
                <a:gd name="T2" fmla="*/ 213 w 251"/>
                <a:gd name="T3" fmla="*/ 184 h 314"/>
                <a:gd name="T4" fmla="*/ 213 w 251"/>
                <a:gd name="T5" fmla="*/ 165 h 314"/>
                <a:gd name="T6" fmla="*/ 196 w 251"/>
                <a:gd name="T7" fmla="*/ 168 h 314"/>
                <a:gd name="T8" fmla="*/ 172 w 251"/>
                <a:gd name="T9" fmla="*/ 159 h 314"/>
                <a:gd name="T10" fmla="*/ 151 w 251"/>
                <a:gd name="T11" fmla="*/ 139 h 314"/>
                <a:gd name="T12" fmla="*/ 148 w 251"/>
                <a:gd name="T13" fmla="*/ 126 h 314"/>
                <a:gd name="T14" fmla="*/ 148 w 251"/>
                <a:gd name="T15" fmla="*/ 117 h 314"/>
                <a:gd name="T16" fmla="*/ 158 w 251"/>
                <a:gd name="T17" fmla="*/ 107 h 314"/>
                <a:gd name="T18" fmla="*/ 161 w 251"/>
                <a:gd name="T19" fmla="*/ 91 h 314"/>
                <a:gd name="T20" fmla="*/ 175 w 251"/>
                <a:gd name="T21" fmla="*/ 81 h 314"/>
                <a:gd name="T22" fmla="*/ 203 w 251"/>
                <a:gd name="T23" fmla="*/ 71 h 314"/>
                <a:gd name="T24" fmla="*/ 209 w 251"/>
                <a:gd name="T25" fmla="*/ 71 h 314"/>
                <a:gd name="T26" fmla="*/ 220 w 251"/>
                <a:gd name="T27" fmla="*/ 71 h 314"/>
                <a:gd name="T28" fmla="*/ 206 w 251"/>
                <a:gd name="T29" fmla="*/ 65 h 314"/>
                <a:gd name="T30" fmla="*/ 213 w 251"/>
                <a:gd name="T31" fmla="*/ 42 h 314"/>
                <a:gd name="T32" fmla="*/ 206 w 251"/>
                <a:gd name="T33" fmla="*/ 39 h 314"/>
                <a:gd name="T34" fmla="*/ 185 w 251"/>
                <a:gd name="T35" fmla="*/ 39 h 314"/>
                <a:gd name="T36" fmla="*/ 168 w 251"/>
                <a:gd name="T37" fmla="*/ 42 h 314"/>
                <a:gd name="T38" fmla="*/ 161 w 251"/>
                <a:gd name="T39" fmla="*/ 36 h 314"/>
                <a:gd name="T40" fmla="*/ 154 w 251"/>
                <a:gd name="T41" fmla="*/ 26 h 314"/>
                <a:gd name="T42" fmla="*/ 137 w 251"/>
                <a:gd name="T43" fmla="*/ 13 h 314"/>
                <a:gd name="T44" fmla="*/ 123 w 251"/>
                <a:gd name="T45" fmla="*/ 4 h 314"/>
                <a:gd name="T46" fmla="*/ 117 w 251"/>
                <a:gd name="T47" fmla="*/ 4 h 314"/>
                <a:gd name="T48" fmla="*/ 120 w 251"/>
                <a:gd name="T49" fmla="*/ 20 h 314"/>
                <a:gd name="T50" fmla="*/ 96 w 251"/>
                <a:gd name="T51" fmla="*/ 42 h 314"/>
                <a:gd name="T52" fmla="*/ 51 w 251"/>
                <a:gd name="T53" fmla="*/ 81 h 314"/>
                <a:gd name="T54" fmla="*/ 34 w 251"/>
                <a:gd name="T55" fmla="*/ 75 h 314"/>
                <a:gd name="T56" fmla="*/ 20 w 251"/>
                <a:gd name="T57" fmla="*/ 75 h 314"/>
                <a:gd name="T58" fmla="*/ 24 w 251"/>
                <a:gd name="T59" fmla="*/ 62 h 314"/>
                <a:gd name="T60" fmla="*/ 10 w 251"/>
                <a:gd name="T61" fmla="*/ 65 h 314"/>
                <a:gd name="T62" fmla="*/ 0 w 251"/>
                <a:gd name="T63" fmla="*/ 81 h 314"/>
                <a:gd name="T64" fmla="*/ 0 w 251"/>
                <a:gd name="T65" fmla="*/ 88 h 314"/>
                <a:gd name="T66" fmla="*/ 3 w 251"/>
                <a:gd name="T67" fmla="*/ 100 h 314"/>
                <a:gd name="T68" fmla="*/ 6 w 251"/>
                <a:gd name="T69" fmla="*/ 107 h 314"/>
                <a:gd name="T70" fmla="*/ 31 w 251"/>
                <a:gd name="T71" fmla="*/ 117 h 314"/>
                <a:gd name="T72" fmla="*/ 37 w 251"/>
                <a:gd name="T73" fmla="*/ 133 h 314"/>
                <a:gd name="T74" fmla="*/ 51 w 251"/>
                <a:gd name="T75" fmla="*/ 149 h 314"/>
                <a:gd name="T76" fmla="*/ 62 w 251"/>
                <a:gd name="T77" fmla="*/ 165 h 314"/>
                <a:gd name="T78" fmla="*/ 72 w 251"/>
                <a:gd name="T79" fmla="*/ 181 h 314"/>
                <a:gd name="T80" fmla="*/ 75 w 251"/>
                <a:gd name="T81" fmla="*/ 191 h 314"/>
                <a:gd name="T82" fmla="*/ 86 w 251"/>
                <a:gd name="T83" fmla="*/ 207 h 314"/>
                <a:gd name="T84" fmla="*/ 99 w 251"/>
                <a:gd name="T85" fmla="*/ 223 h 314"/>
                <a:gd name="T86" fmla="*/ 103 w 251"/>
                <a:gd name="T87" fmla="*/ 233 h 314"/>
                <a:gd name="T88" fmla="*/ 106 w 251"/>
                <a:gd name="T89" fmla="*/ 239 h 314"/>
                <a:gd name="T90" fmla="*/ 113 w 251"/>
                <a:gd name="T91" fmla="*/ 249 h 314"/>
                <a:gd name="T92" fmla="*/ 127 w 251"/>
                <a:gd name="T93" fmla="*/ 255 h 314"/>
                <a:gd name="T94" fmla="*/ 137 w 251"/>
                <a:gd name="T95" fmla="*/ 262 h 314"/>
                <a:gd name="T96" fmla="*/ 148 w 251"/>
                <a:gd name="T97" fmla="*/ 268 h 314"/>
                <a:gd name="T98" fmla="*/ 158 w 251"/>
                <a:gd name="T99" fmla="*/ 278 h 314"/>
                <a:gd name="T100" fmla="*/ 175 w 251"/>
                <a:gd name="T101" fmla="*/ 281 h 314"/>
                <a:gd name="T102" fmla="*/ 189 w 251"/>
                <a:gd name="T103" fmla="*/ 288 h 314"/>
                <a:gd name="T104" fmla="*/ 199 w 251"/>
                <a:gd name="T105" fmla="*/ 297 h 314"/>
                <a:gd name="T106" fmla="*/ 209 w 251"/>
                <a:gd name="T107" fmla="*/ 304 h 314"/>
                <a:gd name="T108" fmla="*/ 223 w 251"/>
                <a:gd name="T109" fmla="*/ 314 h 314"/>
                <a:gd name="T110" fmla="*/ 237 w 251"/>
                <a:gd name="T111" fmla="*/ 307 h 314"/>
                <a:gd name="T112" fmla="*/ 240 w 251"/>
                <a:gd name="T113" fmla="*/ 297 h 314"/>
                <a:gd name="T114" fmla="*/ 237 w 251"/>
                <a:gd name="T115" fmla="*/ 294 h 314"/>
                <a:gd name="T116" fmla="*/ 247 w 251"/>
                <a:gd name="T117" fmla="*/ 278 h 314"/>
                <a:gd name="T118" fmla="*/ 244 w 251"/>
                <a:gd name="T119" fmla="*/ 255 h 314"/>
                <a:gd name="T120" fmla="*/ 247 w 251"/>
                <a:gd name="T121" fmla="*/ 236 h 314"/>
                <a:gd name="T122" fmla="*/ 251 w 251"/>
                <a:gd name="T123" fmla="*/ 21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1" h="314">
                  <a:moveTo>
                    <a:pt x="230" y="184"/>
                  </a:moveTo>
                  <a:lnTo>
                    <a:pt x="230" y="184"/>
                  </a:lnTo>
                  <a:lnTo>
                    <a:pt x="230" y="184"/>
                  </a:lnTo>
                  <a:lnTo>
                    <a:pt x="227" y="184"/>
                  </a:lnTo>
                  <a:lnTo>
                    <a:pt x="223" y="184"/>
                  </a:lnTo>
                  <a:lnTo>
                    <a:pt x="220" y="184"/>
                  </a:lnTo>
                  <a:lnTo>
                    <a:pt x="216" y="188"/>
                  </a:lnTo>
                  <a:lnTo>
                    <a:pt x="213" y="184"/>
                  </a:lnTo>
                  <a:lnTo>
                    <a:pt x="213" y="181"/>
                  </a:lnTo>
                  <a:lnTo>
                    <a:pt x="213" y="171"/>
                  </a:lnTo>
                  <a:lnTo>
                    <a:pt x="213" y="165"/>
                  </a:lnTo>
                  <a:lnTo>
                    <a:pt x="213" y="165"/>
                  </a:lnTo>
                  <a:lnTo>
                    <a:pt x="213" y="159"/>
                  </a:lnTo>
                  <a:lnTo>
                    <a:pt x="213" y="159"/>
                  </a:lnTo>
                  <a:lnTo>
                    <a:pt x="206" y="162"/>
                  </a:lnTo>
                  <a:lnTo>
                    <a:pt x="196" y="168"/>
                  </a:lnTo>
                  <a:lnTo>
                    <a:pt x="185" y="168"/>
                  </a:lnTo>
                  <a:lnTo>
                    <a:pt x="178" y="168"/>
                  </a:lnTo>
                  <a:lnTo>
                    <a:pt x="178" y="162"/>
                  </a:lnTo>
                  <a:lnTo>
                    <a:pt x="172" y="159"/>
                  </a:lnTo>
                  <a:lnTo>
                    <a:pt x="168" y="155"/>
                  </a:lnTo>
                  <a:lnTo>
                    <a:pt x="154" y="159"/>
                  </a:lnTo>
                  <a:lnTo>
                    <a:pt x="161" y="152"/>
                  </a:lnTo>
                  <a:lnTo>
                    <a:pt x="151" y="139"/>
                  </a:lnTo>
                  <a:lnTo>
                    <a:pt x="144" y="136"/>
                  </a:lnTo>
                  <a:lnTo>
                    <a:pt x="148" y="133"/>
                  </a:lnTo>
                  <a:lnTo>
                    <a:pt x="144" y="129"/>
                  </a:lnTo>
                  <a:lnTo>
                    <a:pt x="148" y="126"/>
                  </a:lnTo>
                  <a:lnTo>
                    <a:pt x="148" y="123"/>
                  </a:lnTo>
                  <a:lnTo>
                    <a:pt x="148" y="120"/>
                  </a:lnTo>
                  <a:lnTo>
                    <a:pt x="148" y="120"/>
                  </a:lnTo>
                  <a:lnTo>
                    <a:pt x="148" y="117"/>
                  </a:lnTo>
                  <a:lnTo>
                    <a:pt x="154" y="113"/>
                  </a:lnTo>
                  <a:lnTo>
                    <a:pt x="158" y="113"/>
                  </a:lnTo>
                  <a:lnTo>
                    <a:pt x="161" y="110"/>
                  </a:lnTo>
                  <a:lnTo>
                    <a:pt x="158" y="107"/>
                  </a:lnTo>
                  <a:lnTo>
                    <a:pt x="154" y="100"/>
                  </a:lnTo>
                  <a:lnTo>
                    <a:pt x="161" y="97"/>
                  </a:lnTo>
                  <a:lnTo>
                    <a:pt x="161" y="94"/>
                  </a:lnTo>
                  <a:lnTo>
                    <a:pt x="161" y="91"/>
                  </a:lnTo>
                  <a:lnTo>
                    <a:pt x="161" y="88"/>
                  </a:lnTo>
                  <a:lnTo>
                    <a:pt x="165" y="88"/>
                  </a:lnTo>
                  <a:lnTo>
                    <a:pt x="172" y="84"/>
                  </a:lnTo>
                  <a:lnTo>
                    <a:pt x="175" y="81"/>
                  </a:lnTo>
                  <a:lnTo>
                    <a:pt x="175" y="81"/>
                  </a:lnTo>
                  <a:lnTo>
                    <a:pt x="178" y="78"/>
                  </a:lnTo>
                  <a:lnTo>
                    <a:pt x="189" y="75"/>
                  </a:lnTo>
                  <a:lnTo>
                    <a:pt x="203" y="71"/>
                  </a:lnTo>
                  <a:lnTo>
                    <a:pt x="203" y="71"/>
                  </a:lnTo>
                  <a:lnTo>
                    <a:pt x="206" y="71"/>
                  </a:lnTo>
                  <a:lnTo>
                    <a:pt x="209" y="71"/>
                  </a:lnTo>
                  <a:lnTo>
                    <a:pt x="209" y="71"/>
                  </a:lnTo>
                  <a:lnTo>
                    <a:pt x="216" y="71"/>
                  </a:lnTo>
                  <a:lnTo>
                    <a:pt x="213" y="75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0" y="68"/>
                  </a:lnTo>
                  <a:lnTo>
                    <a:pt x="216" y="65"/>
                  </a:lnTo>
                  <a:lnTo>
                    <a:pt x="209" y="65"/>
                  </a:lnTo>
                  <a:lnTo>
                    <a:pt x="206" y="65"/>
                  </a:lnTo>
                  <a:lnTo>
                    <a:pt x="206" y="62"/>
                  </a:lnTo>
                  <a:lnTo>
                    <a:pt x="220" y="46"/>
                  </a:lnTo>
                  <a:lnTo>
                    <a:pt x="220" y="42"/>
                  </a:lnTo>
                  <a:lnTo>
                    <a:pt x="213" y="42"/>
                  </a:lnTo>
                  <a:lnTo>
                    <a:pt x="213" y="42"/>
                  </a:lnTo>
                  <a:lnTo>
                    <a:pt x="209" y="39"/>
                  </a:lnTo>
                  <a:lnTo>
                    <a:pt x="206" y="39"/>
                  </a:lnTo>
                  <a:lnTo>
                    <a:pt x="206" y="39"/>
                  </a:lnTo>
                  <a:lnTo>
                    <a:pt x="203" y="39"/>
                  </a:lnTo>
                  <a:lnTo>
                    <a:pt x="196" y="39"/>
                  </a:lnTo>
                  <a:lnTo>
                    <a:pt x="189" y="39"/>
                  </a:lnTo>
                  <a:lnTo>
                    <a:pt x="185" y="39"/>
                  </a:lnTo>
                  <a:lnTo>
                    <a:pt x="178" y="39"/>
                  </a:lnTo>
                  <a:lnTo>
                    <a:pt x="175" y="42"/>
                  </a:lnTo>
                  <a:lnTo>
                    <a:pt x="172" y="42"/>
                  </a:lnTo>
                  <a:lnTo>
                    <a:pt x="168" y="42"/>
                  </a:lnTo>
                  <a:lnTo>
                    <a:pt x="165" y="42"/>
                  </a:lnTo>
                  <a:lnTo>
                    <a:pt x="161" y="39"/>
                  </a:lnTo>
                  <a:lnTo>
                    <a:pt x="158" y="39"/>
                  </a:lnTo>
                  <a:lnTo>
                    <a:pt x="161" y="36"/>
                  </a:lnTo>
                  <a:lnTo>
                    <a:pt x="158" y="33"/>
                  </a:lnTo>
                  <a:lnTo>
                    <a:pt x="154" y="29"/>
                  </a:lnTo>
                  <a:lnTo>
                    <a:pt x="154" y="29"/>
                  </a:lnTo>
                  <a:lnTo>
                    <a:pt x="154" y="26"/>
                  </a:lnTo>
                  <a:lnTo>
                    <a:pt x="151" y="23"/>
                  </a:lnTo>
                  <a:lnTo>
                    <a:pt x="141" y="20"/>
                  </a:lnTo>
                  <a:lnTo>
                    <a:pt x="137" y="20"/>
                  </a:lnTo>
                  <a:lnTo>
                    <a:pt x="137" y="13"/>
                  </a:lnTo>
                  <a:lnTo>
                    <a:pt x="134" y="10"/>
                  </a:lnTo>
                  <a:lnTo>
                    <a:pt x="130" y="7"/>
                  </a:lnTo>
                  <a:lnTo>
                    <a:pt x="130" y="4"/>
                  </a:lnTo>
                  <a:lnTo>
                    <a:pt x="123" y="4"/>
                  </a:lnTo>
                  <a:lnTo>
                    <a:pt x="117" y="4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7" y="4"/>
                  </a:lnTo>
                  <a:lnTo>
                    <a:pt x="117" y="4"/>
                  </a:lnTo>
                  <a:lnTo>
                    <a:pt x="120" y="10"/>
                  </a:lnTo>
                  <a:lnTo>
                    <a:pt x="120" y="13"/>
                  </a:lnTo>
                  <a:lnTo>
                    <a:pt x="120" y="20"/>
                  </a:lnTo>
                  <a:lnTo>
                    <a:pt x="117" y="20"/>
                  </a:lnTo>
                  <a:lnTo>
                    <a:pt x="113" y="20"/>
                  </a:lnTo>
                  <a:lnTo>
                    <a:pt x="110" y="29"/>
                  </a:lnTo>
                  <a:lnTo>
                    <a:pt x="96" y="42"/>
                  </a:lnTo>
                  <a:lnTo>
                    <a:pt x="89" y="46"/>
                  </a:lnTo>
                  <a:lnTo>
                    <a:pt x="68" y="52"/>
                  </a:lnTo>
                  <a:lnTo>
                    <a:pt x="65" y="52"/>
                  </a:lnTo>
                  <a:lnTo>
                    <a:pt x="51" y="81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37" y="78"/>
                  </a:lnTo>
                  <a:lnTo>
                    <a:pt x="34" y="75"/>
                  </a:lnTo>
                  <a:lnTo>
                    <a:pt x="27" y="75"/>
                  </a:lnTo>
                  <a:lnTo>
                    <a:pt x="27" y="71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17" y="71"/>
                  </a:lnTo>
                  <a:lnTo>
                    <a:pt x="20" y="68"/>
                  </a:lnTo>
                  <a:lnTo>
                    <a:pt x="24" y="65"/>
                  </a:lnTo>
                  <a:lnTo>
                    <a:pt x="24" y="62"/>
                  </a:lnTo>
                  <a:lnTo>
                    <a:pt x="20" y="58"/>
                  </a:lnTo>
                  <a:lnTo>
                    <a:pt x="20" y="62"/>
                  </a:lnTo>
                  <a:lnTo>
                    <a:pt x="13" y="65"/>
                  </a:lnTo>
                  <a:lnTo>
                    <a:pt x="10" y="65"/>
                  </a:lnTo>
                  <a:lnTo>
                    <a:pt x="3" y="71"/>
                  </a:lnTo>
                  <a:lnTo>
                    <a:pt x="0" y="75"/>
                  </a:lnTo>
                  <a:lnTo>
                    <a:pt x="0" y="78"/>
                  </a:lnTo>
                  <a:lnTo>
                    <a:pt x="0" y="81"/>
                  </a:lnTo>
                  <a:lnTo>
                    <a:pt x="3" y="84"/>
                  </a:lnTo>
                  <a:lnTo>
                    <a:pt x="3" y="84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3" y="91"/>
                  </a:lnTo>
                  <a:lnTo>
                    <a:pt x="6" y="97"/>
                  </a:lnTo>
                  <a:lnTo>
                    <a:pt x="6" y="100"/>
                  </a:lnTo>
                  <a:lnTo>
                    <a:pt x="3" y="100"/>
                  </a:lnTo>
                  <a:lnTo>
                    <a:pt x="0" y="100"/>
                  </a:lnTo>
                  <a:lnTo>
                    <a:pt x="0" y="104"/>
                  </a:lnTo>
                  <a:lnTo>
                    <a:pt x="3" y="107"/>
                  </a:lnTo>
                  <a:lnTo>
                    <a:pt x="6" y="107"/>
                  </a:lnTo>
                  <a:lnTo>
                    <a:pt x="13" y="110"/>
                  </a:lnTo>
                  <a:lnTo>
                    <a:pt x="17" y="110"/>
                  </a:lnTo>
                  <a:lnTo>
                    <a:pt x="27" y="117"/>
                  </a:lnTo>
                  <a:lnTo>
                    <a:pt x="31" y="117"/>
                  </a:lnTo>
                  <a:lnTo>
                    <a:pt x="31" y="120"/>
                  </a:lnTo>
                  <a:lnTo>
                    <a:pt x="34" y="126"/>
                  </a:lnTo>
                  <a:lnTo>
                    <a:pt x="34" y="129"/>
                  </a:lnTo>
                  <a:lnTo>
                    <a:pt x="37" y="133"/>
                  </a:lnTo>
                  <a:lnTo>
                    <a:pt x="44" y="136"/>
                  </a:lnTo>
                  <a:lnTo>
                    <a:pt x="48" y="142"/>
                  </a:lnTo>
                  <a:lnTo>
                    <a:pt x="51" y="146"/>
                  </a:lnTo>
                  <a:lnTo>
                    <a:pt x="51" y="149"/>
                  </a:lnTo>
                  <a:lnTo>
                    <a:pt x="55" y="155"/>
                  </a:lnTo>
                  <a:lnTo>
                    <a:pt x="55" y="159"/>
                  </a:lnTo>
                  <a:lnTo>
                    <a:pt x="58" y="159"/>
                  </a:lnTo>
                  <a:lnTo>
                    <a:pt x="62" y="165"/>
                  </a:lnTo>
                  <a:lnTo>
                    <a:pt x="62" y="168"/>
                  </a:lnTo>
                  <a:lnTo>
                    <a:pt x="62" y="171"/>
                  </a:lnTo>
                  <a:lnTo>
                    <a:pt x="65" y="175"/>
                  </a:lnTo>
                  <a:lnTo>
                    <a:pt x="72" y="181"/>
                  </a:lnTo>
                  <a:lnTo>
                    <a:pt x="72" y="184"/>
                  </a:lnTo>
                  <a:lnTo>
                    <a:pt x="72" y="188"/>
                  </a:lnTo>
                  <a:lnTo>
                    <a:pt x="72" y="191"/>
                  </a:lnTo>
                  <a:lnTo>
                    <a:pt x="75" y="191"/>
                  </a:lnTo>
                  <a:lnTo>
                    <a:pt x="82" y="197"/>
                  </a:lnTo>
                  <a:lnTo>
                    <a:pt x="86" y="201"/>
                  </a:lnTo>
                  <a:lnTo>
                    <a:pt x="86" y="204"/>
                  </a:lnTo>
                  <a:lnTo>
                    <a:pt x="86" y="207"/>
                  </a:lnTo>
                  <a:lnTo>
                    <a:pt x="92" y="207"/>
                  </a:lnTo>
                  <a:lnTo>
                    <a:pt x="92" y="210"/>
                  </a:lnTo>
                  <a:lnTo>
                    <a:pt x="99" y="220"/>
                  </a:lnTo>
                  <a:lnTo>
                    <a:pt x="99" y="223"/>
                  </a:lnTo>
                  <a:lnTo>
                    <a:pt x="106" y="230"/>
                  </a:lnTo>
                  <a:lnTo>
                    <a:pt x="106" y="233"/>
                  </a:lnTo>
                  <a:lnTo>
                    <a:pt x="103" y="233"/>
                  </a:lnTo>
                  <a:lnTo>
                    <a:pt x="103" y="233"/>
                  </a:lnTo>
                  <a:lnTo>
                    <a:pt x="103" y="236"/>
                  </a:lnTo>
                  <a:lnTo>
                    <a:pt x="103" y="236"/>
                  </a:lnTo>
                  <a:lnTo>
                    <a:pt x="103" y="239"/>
                  </a:lnTo>
                  <a:lnTo>
                    <a:pt x="106" y="239"/>
                  </a:lnTo>
                  <a:lnTo>
                    <a:pt x="106" y="243"/>
                  </a:lnTo>
                  <a:lnTo>
                    <a:pt x="110" y="243"/>
                  </a:lnTo>
                  <a:lnTo>
                    <a:pt x="106" y="246"/>
                  </a:lnTo>
                  <a:lnTo>
                    <a:pt x="113" y="249"/>
                  </a:lnTo>
                  <a:lnTo>
                    <a:pt x="120" y="252"/>
                  </a:lnTo>
                  <a:lnTo>
                    <a:pt x="120" y="252"/>
                  </a:lnTo>
                  <a:lnTo>
                    <a:pt x="123" y="255"/>
                  </a:lnTo>
                  <a:lnTo>
                    <a:pt x="127" y="255"/>
                  </a:lnTo>
                  <a:lnTo>
                    <a:pt x="127" y="259"/>
                  </a:lnTo>
                  <a:lnTo>
                    <a:pt x="130" y="262"/>
                  </a:lnTo>
                  <a:lnTo>
                    <a:pt x="134" y="262"/>
                  </a:lnTo>
                  <a:lnTo>
                    <a:pt x="137" y="262"/>
                  </a:lnTo>
                  <a:lnTo>
                    <a:pt x="141" y="262"/>
                  </a:lnTo>
                  <a:lnTo>
                    <a:pt x="137" y="262"/>
                  </a:lnTo>
                  <a:lnTo>
                    <a:pt x="141" y="265"/>
                  </a:lnTo>
                  <a:lnTo>
                    <a:pt x="148" y="268"/>
                  </a:lnTo>
                  <a:lnTo>
                    <a:pt x="151" y="272"/>
                  </a:lnTo>
                  <a:lnTo>
                    <a:pt x="151" y="275"/>
                  </a:lnTo>
                  <a:lnTo>
                    <a:pt x="154" y="275"/>
                  </a:lnTo>
                  <a:lnTo>
                    <a:pt x="158" y="278"/>
                  </a:lnTo>
                  <a:lnTo>
                    <a:pt x="161" y="275"/>
                  </a:lnTo>
                  <a:lnTo>
                    <a:pt x="165" y="278"/>
                  </a:lnTo>
                  <a:lnTo>
                    <a:pt x="172" y="281"/>
                  </a:lnTo>
                  <a:lnTo>
                    <a:pt x="175" y="281"/>
                  </a:lnTo>
                  <a:lnTo>
                    <a:pt x="182" y="281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9" y="288"/>
                  </a:lnTo>
                  <a:lnTo>
                    <a:pt x="192" y="291"/>
                  </a:lnTo>
                  <a:lnTo>
                    <a:pt x="196" y="294"/>
                  </a:lnTo>
                  <a:lnTo>
                    <a:pt x="199" y="294"/>
                  </a:lnTo>
                  <a:lnTo>
                    <a:pt x="199" y="297"/>
                  </a:lnTo>
                  <a:lnTo>
                    <a:pt x="199" y="297"/>
                  </a:lnTo>
                  <a:lnTo>
                    <a:pt x="199" y="301"/>
                  </a:lnTo>
                  <a:lnTo>
                    <a:pt x="203" y="301"/>
                  </a:lnTo>
                  <a:lnTo>
                    <a:pt x="209" y="304"/>
                  </a:lnTo>
                  <a:lnTo>
                    <a:pt x="213" y="307"/>
                  </a:lnTo>
                  <a:lnTo>
                    <a:pt x="220" y="310"/>
                  </a:lnTo>
                  <a:lnTo>
                    <a:pt x="223" y="314"/>
                  </a:lnTo>
                  <a:lnTo>
                    <a:pt x="223" y="314"/>
                  </a:lnTo>
                  <a:lnTo>
                    <a:pt x="227" y="310"/>
                  </a:lnTo>
                  <a:lnTo>
                    <a:pt x="230" y="310"/>
                  </a:lnTo>
                  <a:lnTo>
                    <a:pt x="234" y="310"/>
                  </a:lnTo>
                  <a:lnTo>
                    <a:pt x="237" y="307"/>
                  </a:lnTo>
                  <a:lnTo>
                    <a:pt x="240" y="304"/>
                  </a:lnTo>
                  <a:lnTo>
                    <a:pt x="237" y="301"/>
                  </a:lnTo>
                  <a:lnTo>
                    <a:pt x="237" y="297"/>
                  </a:lnTo>
                  <a:lnTo>
                    <a:pt x="240" y="297"/>
                  </a:lnTo>
                  <a:lnTo>
                    <a:pt x="240" y="297"/>
                  </a:lnTo>
                  <a:lnTo>
                    <a:pt x="240" y="294"/>
                  </a:lnTo>
                  <a:lnTo>
                    <a:pt x="237" y="294"/>
                  </a:lnTo>
                  <a:lnTo>
                    <a:pt x="237" y="294"/>
                  </a:lnTo>
                  <a:lnTo>
                    <a:pt x="240" y="288"/>
                  </a:lnTo>
                  <a:lnTo>
                    <a:pt x="244" y="285"/>
                  </a:lnTo>
                  <a:lnTo>
                    <a:pt x="247" y="281"/>
                  </a:lnTo>
                  <a:lnTo>
                    <a:pt x="247" y="278"/>
                  </a:lnTo>
                  <a:lnTo>
                    <a:pt x="244" y="265"/>
                  </a:lnTo>
                  <a:lnTo>
                    <a:pt x="244" y="262"/>
                  </a:lnTo>
                  <a:lnTo>
                    <a:pt x="244" y="259"/>
                  </a:lnTo>
                  <a:lnTo>
                    <a:pt x="244" y="255"/>
                  </a:lnTo>
                  <a:lnTo>
                    <a:pt x="244" y="252"/>
                  </a:lnTo>
                  <a:lnTo>
                    <a:pt x="244" y="252"/>
                  </a:lnTo>
                  <a:lnTo>
                    <a:pt x="247" y="246"/>
                  </a:lnTo>
                  <a:lnTo>
                    <a:pt x="247" y="236"/>
                  </a:lnTo>
                  <a:lnTo>
                    <a:pt x="244" y="230"/>
                  </a:lnTo>
                  <a:lnTo>
                    <a:pt x="247" y="226"/>
                  </a:lnTo>
                  <a:lnTo>
                    <a:pt x="247" y="213"/>
                  </a:lnTo>
                  <a:lnTo>
                    <a:pt x="251" y="210"/>
                  </a:lnTo>
                  <a:lnTo>
                    <a:pt x="251" y="207"/>
                  </a:lnTo>
                  <a:lnTo>
                    <a:pt x="230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5" name="Freeform 186"/>
            <p:cNvSpPr>
              <a:spLocks/>
            </p:cNvSpPr>
            <p:nvPr/>
          </p:nvSpPr>
          <p:spPr bwMode="auto">
            <a:xfrm>
              <a:off x="4152901" y="4888567"/>
              <a:ext cx="387350" cy="363537"/>
            </a:xfrm>
            <a:custGeom>
              <a:avLst/>
              <a:gdLst>
                <a:gd name="T0" fmla="*/ 234 w 244"/>
                <a:gd name="T1" fmla="*/ 168 h 229"/>
                <a:gd name="T2" fmla="*/ 231 w 244"/>
                <a:gd name="T3" fmla="*/ 129 h 229"/>
                <a:gd name="T4" fmla="*/ 220 w 244"/>
                <a:gd name="T5" fmla="*/ 110 h 229"/>
                <a:gd name="T6" fmla="*/ 179 w 244"/>
                <a:gd name="T7" fmla="*/ 93 h 229"/>
                <a:gd name="T8" fmla="*/ 182 w 244"/>
                <a:gd name="T9" fmla="*/ 74 h 229"/>
                <a:gd name="T10" fmla="*/ 162 w 244"/>
                <a:gd name="T11" fmla="*/ 68 h 229"/>
                <a:gd name="T12" fmla="*/ 151 w 244"/>
                <a:gd name="T13" fmla="*/ 61 h 229"/>
                <a:gd name="T14" fmla="*/ 134 w 244"/>
                <a:gd name="T15" fmla="*/ 58 h 229"/>
                <a:gd name="T16" fmla="*/ 117 w 244"/>
                <a:gd name="T17" fmla="*/ 45 h 229"/>
                <a:gd name="T18" fmla="*/ 100 w 244"/>
                <a:gd name="T19" fmla="*/ 45 h 229"/>
                <a:gd name="T20" fmla="*/ 90 w 244"/>
                <a:gd name="T21" fmla="*/ 35 h 229"/>
                <a:gd name="T22" fmla="*/ 83 w 244"/>
                <a:gd name="T23" fmla="*/ 26 h 229"/>
                <a:gd name="T24" fmla="*/ 83 w 244"/>
                <a:gd name="T25" fmla="*/ 6 h 229"/>
                <a:gd name="T26" fmla="*/ 76 w 244"/>
                <a:gd name="T27" fmla="*/ 3 h 229"/>
                <a:gd name="T28" fmla="*/ 62 w 244"/>
                <a:gd name="T29" fmla="*/ 3 h 229"/>
                <a:gd name="T30" fmla="*/ 41 w 244"/>
                <a:gd name="T31" fmla="*/ 16 h 229"/>
                <a:gd name="T32" fmla="*/ 28 w 244"/>
                <a:gd name="T33" fmla="*/ 22 h 229"/>
                <a:gd name="T34" fmla="*/ 14 w 244"/>
                <a:gd name="T35" fmla="*/ 22 h 229"/>
                <a:gd name="T36" fmla="*/ 21 w 244"/>
                <a:gd name="T37" fmla="*/ 48 h 229"/>
                <a:gd name="T38" fmla="*/ 14 w 244"/>
                <a:gd name="T39" fmla="*/ 68 h 229"/>
                <a:gd name="T40" fmla="*/ 14 w 244"/>
                <a:gd name="T41" fmla="*/ 90 h 229"/>
                <a:gd name="T42" fmla="*/ 14 w 244"/>
                <a:gd name="T43" fmla="*/ 97 h 229"/>
                <a:gd name="T44" fmla="*/ 17 w 244"/>
                <a:gd name="T45" fmla="*/ 116 h 229"/>
                <a:gd name="T46" fmla="*/ 10 w 244"/>
                <a:gd name="T47" fmla="*/ 126 h 229"/>
                <a:gd name="T48" fmla="*/ 10 w 244"/>
                <a:gd name="T49" fmla="*/ 132 h 229"/>
                <a:gd name="T50" fmla="*/ 14 w 244"/>
                <a:gd name="T51" fmla="*/ 139 h 229"/>
                <a:gd name="T52" fmla="*/ 21 w 244"/>
                <a:gd name="T53" fmla="*/ 148 h 229"/>
                <a:gd name="T54" fmla="*/ 21 w 244"/>
                <a:gd name="T55" fmla="*/ 158 h 229"/>
                <a:gd name="T56" fmla="*/ 34 w 244"/>
                <a:gd name="T57" fmla="*/ 171 h 229"/>
                <a:gd name="T58" fmla="*/ 28 w 244"/>
                <a:gd name="T59" fmla="*/ 187 h 229"/>
                <a:gd name="T60" fmla="*/ 55 w 244"/>
                <a:gd name="T61" fmla="*/ 229 h 229"/>
                <a:gd name="T62" fmla="*/ 62 w 244"/>
                <a:gd name="T63" fmla="*/ 226 h 229"/>
                <a:gd name="T64" fmla="*/ 69 w 244"/>
                <a:gd name="T65" fmla="*/ 219 h 229"/>
                <a:gd name="T66" fmla="*/ 86 w 244"/>
                <a:gd name="T67" fmla="*/ 213 h 229"/>
                <a:gd name="T68" fmla="*/ 100 w 244"/>
                <a:gd name="T69" fmla="*/ 213 h 229"/>
                <a:gd name="T70" fmla="*/ 110 w 244"/>
                <a:gd name="T71" fmla="*/ 216 h 229"/>
                <a:gd name="T72" fmla="*/ 117 w 244"/>
                <a:gd name="T73" fmla="*/ 226 h 229"/>
                <a:gd name="T74" fmla="*/ 120 w 244"/>
                <a:gd name="T75" fmla="*/ 216 h 229"/>
                <a:gd name="T76" fmla="*/ 145 w 244"/>
                <a:gd name="T77" fmla="*/ 213 h 229"/>
                <a:gd name="T78" fmla="*/ 155 w 244"/>
                <a:gd name="T79" fmla="*/ 200 h 229"/>
                <a:gd name="T80" fmla="*/ 151 w 244"/>
                <a:gd name="T81" fmla="*/ 187 h 229"/>
                <a:gd name="T82" fmla="*/ 158 w 244"/>
                <a:gd name="T83" fmla="*/ 171 h 229"/>
                <a:gd name="T84" fmla="*/ 213 w 244"/>
                <a:gd name="T85" fmla="*/ 165 h 229"/>
                <a:gd name="T86" fmla="*/ 231 w 244"/>
                <a:gd name="T87" fmla="*/ 174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4" h="229">
                  <a:moveTo>
                    <a:pt x="231" y="174"/>
                  </a:moveTo>
                  <a:lnTo>
                    <a:pt x="234" y="171"/>
                  </a:lnTo>
                  <a:lnTo>
                    <a:pt x="234" y="168"/>
                  </a:lnTo>
                  <a:lnTo>
                    <a:pt x="244" y="152"/>
                  </a:lnTo>
                  <a:lnTo>
                    <a:pt x="241" y="145"/>
                  </a:lnTo>
                  <a:lnTo>
                    <a:pt x="231" y="129"/>
                  </a:lnTo>
                  <a:lnTo>
                    <a:pt x="220" y="129"/>
                  </a:lnTo>
                  <a:lnTo>
                    <a:pt x="224" y="119"/>
                  </a:lnTo>
                  <a:lnTo>
                    <a:pt x="220" y="110"/>
                  </a:lnTo>
                  <a:lnTo>
                    <a:pt x="186" y="110"/>
                  </a:lnTo>
                  <a:lnTo>
                    <a:pt x="186" y="103"/>
                  </a:lnTo>
                  <a:lnTo>
                    <a:pt x="179" y="93"/>
                  </a:lnTo>
                  <a:lnTo>
                    <a:pt x="182" y="87"/>
                  </a:lnTo>
                  <a:lnTo>
                    <a:pt x="179" y="81"/>
                  </a:lnTo>
                  <a:lnTo>
                    <a:pt x="182" y="74"/>
                  </a:lnTo>
                  <a:lnTo>
                    <a:pt x="179" y="71"/>
                  </a:lnTo>
                  <a:lnTo>
                    <a:pt x="172" y="68"/>
                  </a:lnTo>
                  <a:lnTo>
                    <a:pt x="162" y="68"/>
                  </a:lnTo>
                  <a:lnTo>
                    <a:pt x="155" y="68"/>
                  </a:lnTo>
                  <a:lnTo>
                    <a:pt x="151" y="64"/>
                  </a:lnTo>
                  <a:lnTo>
                    <a:pt x="151" y="61"/>
                  </a:lnTo>
                  <a:lnTo>
                    <a:pt x="145" y="58"/>
                  </a:lnTo>
                  <a:lnTo>
                    <a:pt x="138" y="58"/>
                  </a:lnTo>
                  <a:lnTo>
                    <a:pt x="134" y="58"/>
                  </a:lnTo>
                  <a:lnTo>
                    <a:pt x="127" y="51"/>
                  </a:lnTo>
                  <a:lnTo>
                    <a:pt x="124" y="51"/>
                  </a:lnTo>
                  <a:lnTo>
                    <a:pt x="117" y="45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0" y="45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35"/>
                  </a:lnTo>
                  <a:lnTo>
                    <a:pt x="86" y="35"/>
                  </a:lnTo>
                  <a:lnTo>
                    <a:pt x="83" y="29"/>
                  </a:lnTo>
                  <a:lnTo>
                    <a:pt x="83" y="26"/>
                  </a:lnTo>
                  <a:lnTo>
                    <a:pt x="79" y="16"/>
                  </a:lnTo>
                  <a:lnTo>
                    <a:pt x="83" y="13"/>
                  </a:lnTo>
                  <a:lnTo>
                    <a:pt x="83" y="6"/>
                  </a:lnTo>
                  <a:lnTo>
                    <a:pt x="83" y="3"/>
                  </a:lnTo>
                  <a:lnTo>
                    <a:pt x="79" y="0"/>
                  </a:lnTo>
                  <a:lnTo>
                    <a:pt x="76" y="3"/>
                  </a:lnTo>
                  <a:lnTo>
                    <a:pt x="72" y="0"/>
                  </a:lnTo>
                  <a:lnTo>
                    <a:pt x="69" y="0"/>
                  </a:lnTo>
                  <a:lnTo>
                    <a:pt x="62" y="3"/>
                  </a:lnTo>
                  <a:lnTo>
                    <a:pt x="55" y="3"/>
                  </a:lnTo>
                  <a:lnTo>
                    <a:pt x="45" y="9"/>
                  </a:lnTo>
                  <a:lnTo>
                    <a:pt x="41" y="16"/>
                  </a:lnTo>
                  <a:lnTo>
                    <a:pt x="38" y="19"/>
                  </a:lnTo>
                  <a:lnTo>
                    <a:pt x="31" y="19"/>
                  </a:lnTo>
                  <a:lnTo>
                    <a:pt x="28" y="22"/>
                  </a:lnTo>
                  <a:lnTo>
                    <a:pt x="24" y="22"/>
                  </a:lnTo>
                  <a:lnTo>
                    <a:pt x="21" y="22"/>
                  </a:lnTo>
                  <a:lnTo>
                    <a:pt x="14" y="22"/>
                  </a:lnTo>
                  <a:lnTo>
                    <a:pt x="0" y="22"/>
                  </a:lnTo>
                  <a:lnTo>
                    <a:pt x="21" y="45"/>
                  </a:lnTo>
                  <a:lnTo>
                    <a:pt x="21" y="48"/>
                  </a:lnTo>
                  <a:lnTo>
                    <a:pt x="17" y="51"/>
                  </a:lnTo>
                  <a:lnTo>
                    <a:pt x="17" y="64"/>
                  </a:lnTo>
                  <a:lnTo>
                    <a:pt x="14" y="68"/>
                  </a:lnTo>
                  <a:lnTo>
                    <a:pt x="17" y="74"/>
                  </a:lnTo>
                  <a:lnTo>
                    <a:pt x="17" y="84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3"/>
                  </a:lnTo>
                  <a:lnTo>
                    <a:pt x="14" y="97"/>
                  </a:lnTo>
                  <a:lnTo>
                    <a:pt x="14" y="100"/>
                  </a:lnTo>
                  <a:lnTo>
                    <a:pt x="14" y="103"/>
                  </a:lnTo>
                  <a:lnTo>
                    <a:pt x="17" y="116"/>
                  </a:lnTo>
                  <a:lnTo>
                    <a:pt x="17" y="119"/>
                  </a:lnTo>
                  <a:lnTo>
                    <a:pt x="14" y="123"/>
                  </a:lnTo>
                  <a:lnTo>
                    <a:pt x="10" y="126"/>
                  </a:lnTo>
                  <a:lnTo>
                    <a:pt x="7" y="132"/>
                  </a:lnTo>
                  <a:lnTo>
                    <a:pt x="7" y="132"/>
                  </a:lnTo>
                  <a:lnTo>
                    <a:pt x="10" y="132"/>
                  </a:lnTo>
                  <a:lnTo>
                    <a:pt x="10" y="135"/>
                  </a:lnTo>
                  <a:lnTo>
                    <a:pt x="14" y="135"/>
                  </a:lnTo>
                  <a:lnTo>
                    <a:pt x="14" y="139"/>
                  </a:lnTo>
                  <a:lnTo>
                    <a:pt x="17" y="142"/>
                  </a:lnTo>
                  <a:lnTo>
                    <a:pt x="17" y="145"/>
                  </a:lnTo>
                  <a:lnTo>
                    <a:pt x="21" y="148"/>
                  </a:lnTo>
                  <a:lnTo>
                    <a:pt x="17" y="152"/>
                  </a:lnTo>
                  <a:lnTo>
                    <a:pt x="21" y="152"/>
                  </a:lnTo>
                  <a:lnTo>
                    <a:pt x="21" y="158"/>
                  </a:lnTo>
                  <a:lnTo>
                    <a:pt x="24" y="161"/>
                  </a:lnTo>
                  <a:lnTo>
                    <a:pt x="31" y="168"/>
                  </a:lnTo>
                  <a:lnTo>
                    <a:pt x="34" y="171"/>
                  </a:lnTo>
                  <a:lnTo>
                    <a:pt x="31" y="174"/>
                  </a:lnTo>
                  <a:lnTo>
                    <a:pt x="31" y="177"/>
                  </a:lnTo>
                  <a:lnTo>
                    <a:pt x="28" y="187"/>
                  </a:lnTo>
                  <a:lnTo>
                    <a:pt x="31" y="190"/>
                  </a:lnTo>
                  <a:lnTo>
                    <a:pt x="38" y="197"/>
                  </a:lnTo>
                  <a:lnTo>
                    <a:pt x="55" y="229"/>
                  </a:lnTo>
                  <a:lnTo>
                    <a:pt x="59" y="229"/>
                  </a:lnTo>
                  <a:lnTo>
                    <a:pt x="62" y="229"/>
                  </a:lnTo>
                  <a:lnTo>
                    <a:pt x="62" y="226"/>
                  </a:lnTo>
                  <a:lnTo>
                    <a:pt x="62" y="226"/>
                  </a:lnTo>
                  <a:lnTo>
                    <a:pt x="65" y="226"/>
                  </a:lnTo>
                  <a:lnTo>
                    <a:pt x="69" y="219"/>
                  </a:lnTo>
                  <a:lnTo>
                    <a:pt x="76" y="213"/>
                  </a:lnTo>
                  <a:lnTo>
                    <a:pt x="83" y="210"/>
                  </a:lnTo>
                  <a:lnTo>
                    <a:pt x="86" y="213"/>
                  </a:lnTo>
                  <a:lnTo>
                    <a:pt x="93" y="213"/>
                  </a:lnTo>
                  <a:lnTo>
                    <a:pt x="96" y="213"/>
                  </a:lnTo>
                  <a:lnTo>
                    <a:pt x="100" y="213"/>
                  </a:lnTo>
                  <a:lnTo>
                    <a:pt x="107" y="213"/>
                  </a:lnTo>
                  <a:lnTo>
                    <a:pt x="110" y="213"/>
                  </a:lnTo>
                  <a:lnTo>
                    <a:pt x="110" y="216"/>
                  </a:lnTo>
                  <a:lnTo>
                    <a:pt x="114" y="226"/>
                  </a:lnTo>
                  <a:lnTo>
                    <a:pt x="117" y="226"/>
                  </a:lnTo>
                  <a:lnTo>
                    <a:pt x="117" y="226"/>
                  </a:lnTo>
                  <a:lnTo>
                    <a:pt x="117" y="223"/>
                  </a:lnTo>
                  <a:lnTo>
                    <a:pt x="120" y="219"/>
                  </a:lnTo>
                  <a:lnTo>
                    <a:pt x="120" y="216"/>
                  </a:lnTo>
                  <a:lnTo>
                    <a:pt x="124" y="210"/>
                  </a:lnTo>
                  <a:lnTo>
                    <a:pt x="134" y="210"/>
                  </a:lnTo>
                  <a:lnTo>
                    <a:pt x="145" y="213"/>
                  </a:lnTo>
                  <a:lnTo>
                    <a:pt x="148" y="213"/>
                  </a:lnTo>
                  <a:lnTo>
                    <a:pt x="148" y="210"/>
                  </a:lnTo>
                  <a:lnTo>
                    <a:pt x="155" y="200"/>
                  </a:lnTo>
                  <a:lnTo>
                    <a:pt x="155" y="197"/>
                  </a:lnTo>
                  <a:lnTo>
                    <a:pt x="155" y="190"/>
                  </a:lnTo>
                  <a:lnTo>
                    <a:pt x="151" y="187"/>
                  </a:lnTo>
                  <a:lnTo>
                    <a:pt x="158" y="181"/>
                  </a:lnTo>
                  <a:lnTo>
                    <a:pt x="158" y="174"/>
                  </a:lnTo>
                  <a:lnTo>
                    <a:pt x="158" y="171"/>
                  </a:lnTo>
                  <a:lnTo>
                    <a:pt x="165" y="171"/>
                  </a:lnTo>
                  <a:lnTo>
                    <a:pt x="189" y="165"/>
                  </a:lnTo>
                  <a:lnTo>
                    <a:pt x="213" y="165"/>
                  </a:lnTo>
                  <a:lnTo>
                    <a:pt x="227" y="171"/>
                  </a:lnTo>
                  <a:lnTo>
                    <a:pt x="231" y="171"/>
                  </a:lnTo>
                  <a:lnTo>
                    <a:pt x="23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6" name="Freeform 187"/>
            <p:cNvSpPr>
              <a:spLocks/>
            </p:cNvSpPr>
            <p:nvPr/>
          </p:nvSpPr>
          <p:spPr bwMode="auto">
            <a:xfrm>
              <a:off x="4387851" y="5150505"/>
              <a:ext cx="261938" cy="234950"/>
            </a:xfrm>
            <a:custGeom>
              <a:avLst/>
              <a:gdLst>
                <a:gd name="T0" fmla="*/ 0 w 165"/>
                <a:gd name="T1" fmla="*/ 45 h 148"/>
                <a:gd name="T2" fmla="*/ 7 w 165"/>
                <a:gd name="T3" fmla="*/ 32 h 148"/>
                <a:gd name="T4" fmla="*/ 3 w 165"/>
                <a:gd name="T5" fmla="*/ 22 h 148"/>
                <a:gd name="T6" fmla="*/ 10 w 165"/>
                <a:gd name="T7" fmla="*/ 9 h 148"/>
                <a:gd name="T8" fmla="*/ 17 w 165"/>
                <a:gd name="T9" fmla="*/ 6 h 148"/>
                <a:gd name="T10" fmla="*/ 65 w 165"/>
                <a:gd name="T11" fmla="*/ 0 h 148"/>
                <a:gd name="T12" fmla="*/ 83 w 165"/>
                <a:gd name="T13" fmla="*/ 6 h 148"/>
                <a:gd name="T14" fmla="*/ 83 w 165"/>
                <a:gd name="T15" fmla="*/ 16 h 148"/>
                <a:gd name="T16" fmla="*/ 89 w 165"/>
                <a:gd name="T17" fmla="*/ 22 h 148"/>
                <a:gd name="T18" fmla="*/ 89 w 165"/>
                <a:gd name="T19" fmla="*/ 38 h 148"/>
                <a:gd name="T20" fmla="*/ 89 w 165"/>
                <a:gd name="T21" fmla="*/ 45 h 148"/>
                <a:gd name="T22" fmla="*/ 100 w 165"/>
                <a:gd name="T23" fmla="*/ 48 h 148"/>
                <a:gd name="T24" fmla="*/ 110 w 165"/>
                <a:gd name="T25" fmla="*/ 48 h 148"/>
                <a:gd name="T26" fmla="*/ 127 w 165"/>
                <a:gd name="T27" fmla="*/ 48 h 148"/>
                <a:gd name="T28" fmla="*/ 134 w 165"/>
                <a:gd name="T29" fmla="*/ 51 h 148"/>
                <a:gd name="T30" fmla="*/ 141 w 165"/>
                <a:gd name="T31" fmla="*/ 74 h 148"/>
                <a:gd name="T32" fmla="*/ 148 w 165"/>
                <a:gd name="T33" fmla="*/ 80 h 148"/>
                <a:gd name="T34" fmla="*/ 158 w 165"/>
                <a:gd name="T35" fmla="*/ 77 h 148"/>
                <a:gd name="T36" fmla="*/ 165 w 165"/>
                <a:gd name="T37" fmla="*/ 80 h 148"/>
                <a:gd name="T38" fmla="*/ 162 w 165"/>
                <a:gd name="T39" fmla="*/ 100 h 148"/>
                <a:gd name="T40" fmla="*/ 162 w 165"/>
                <a:gd name="T41" fmla="*/ 100 h 148"/>
                <a:gd name="T42" fmla="*/ 162 w 165"/>
                <a:gd name="T43" fmla="*/ 106 h 148"/>
                <a:gd name="T44" fmla="*/ 158 w 165"/>
                <a:gd name="T45" fmla="*/ 106 h 148"/>
                <a:gd name="T46" fmla="*/ 158 w 165"/>
                <a:gd name="T47" fmla="*/ 113 h 148"/>
                <a:gd name="T48" fmla="*/ 155 w 165"/>
                <a:gd name="T49" fmla="*/ 122 h 148"/>
                <a:gd name="T50" fmla="*/ 151 w 165"/>
                <a:gd name="T51" fmla="*/ 129 h 148"/>
                <a:gd name="T52" fmla="*/ 141 w 165"/>
                <a:gd name="T53" fmla="*/ 138 h 148"/>
                <a:gd name="T54" fmla="*/ 134 w 165"/>
                <a:gd name="T55" fmla="*/ 142 h 148"/>
                <a:gd name="T56" fmla="*/ 127 w 165"/>
                <a:gd name="T57" fmla="*/ 148 h 148"/>
                <a:gd name="T58" fmla="*/ 124 w 165"/>
                <a:gd name="T59" fmla="*/ 145 h 148"/>
                <a:gd name="T60" fmla="*/ 110 w 165"/>
                <a:gd name="T61" fmla="*/ 142 h 148"/>
                <a:gd name="T62" fmla="*/ 86 w 165"/>
                <a:gd name="T63" fmla="*/ 142 h 148"/>
                <a:gd name="T64" fmla="*/ 83 w 165"/>
                <a:gd name="T65" fmla="*/ 138 h 148"/>
                <a:gd name="T66" fmla="*/ 93 w 165"/>
                <a:gd name="T67" fmla="*/ 126 h 148"/>
                <a:gd name="T68" fmla="*/ 93 w 165"/>
                <a:gd name="T69" fmla="*/ 119 h 148"/>
                <a:gd name="T70" fmla="*/ 100 w 165"/>
                <a:gd name="T71" fmla="*/ 113 h 148"/>
                <a:gd name="T72" fmla="*/ 100 w 165"/>
                <a:gd name="T73" fmla="*/ 106 h 148"/>
                <a:gd name="T74" fmla="*/ 89 w 165"/>
                <a:gd name="T75" fmla="*/ 100 h 148"/>
                <a:gd name="T76" fmla="*/ 69 w 165"/>
                <a:gd name="T77" fmla="*/ 93 h 148"/>
                <a:gd name="T78" fmla="*/ 55 w 165"/>
                <a:gd name="T79" fmla="*/ 87 h 148"/>
                <a:gd name="T80" fmla="*/ 38 w 165"/>
                <a:gd name="T81" fmla="*/ 80 h 148"/>
                <a:gd name="T82" fmla="*/ 28 w 165"/>
                <a:gd name="T83" fmla="*/ 74 h 148"/>
                <a:gd name="T84" fmla="*/ 14 w 165"/>
                <a:gd name="T85" fmla="*/ 61 h 148"/>
                <a:gd name="T86" fmla="*/ 3 w 165"/>
                <a:gd name="T87" fmla="*/ 54 h 148"/>
                <a:gd name="T88" fmla="*/ 0 w 165"/>
                <a:gd name="T89" fmla="*/ 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5" h="148">
                  <a:moveTo>
                    <a:pt x="0" y="48"/>
                  </a:moveTo>
                  <a:lnTo>
                    <a:pt x="0" y="45"/>
                  </a:lnTo>
                  <a:lnTo>
                    <a:pt x="7" y="35"/>
                  </a:lnTo>
                  <a:lnTo>
                    <a:pt x="7" y="32"/>
                  </a:lnTo>
                  <a:lnTo>
                    <a:pt x="7" y="25"/>
                  </a:lnTo>
                  <a:lnTo>
                    <a:pt x="3" y="22"/>
                  </a:lnTo>
                  <a:lnTo>
                    <a:pt x="10" y="16"/>
                  </a:lnTo>
                  <a:lnTo>
                    <a:pt x="10" y="9"/>
                  </a:lnTo>
                  <a:lnTo>
                    <a:pt x="10" y="6"/>
                  </a:lnTo>
                  <a:lnTo>
                    <a:pt x="17" y="6"/>
                  </a:lnTo>
                  <a:lnTo>
                    <a:pt x="41" y="0"/>
                  </a:lnTo>
                  <a:lnTo>
                    <a:pt x="65" y="0"/>
                  </a:lnTo>
                  <a:lnTo>
                    <a:pt x="79" y="6"/>
                  </a:lnTo>
                  <a:lnTo>
                    <a:pt x="83" y="6"/>
                  </a:lnTo>
                  <a:lnTo>
                    <a:pt x="86" y="9"/>
                  </a:lnTo>
                  <a:lnTo>
                    <a:pt x="83" y="16"/>
                  </a:lnTo>
                  <a:lnTo>
                    <a:pt x="89" y="19"/>
                  </a:lnTo>
                  <a:lnTo>
                    <a:pt x="89" y="22"/>
                  </a:lnTo>
                  <a:lnTo>
                    <a:pt x="93" y="29"/>
                  </a:lnTo>
                  <a:lnTo>
                    <a:pt x="89" y="38"/>
                  </a:lnTo>
                  <a:lnTo>
                    <a:pt x="93" y="42"/>
                  </a:lnTo>
                  <a:lnTo>
                    <a:pt x="89" y="45"/>
                  </a:lnTo>
                  <a:lnTo>
                    <a:pt x="93" y="48"/>
                  </a:lnTo>
                  <a:lnTo>
                    <a:pt x="100" y="48"/>
                  </a:lnTo>
                  <a:lnTo>
                    <a:pt x="103" y="48"/>
                  </a:lnTo>
                  <a:lnTo>
                    <a:pt x="110" y="48"/>
                  </a:lnTo>
                  <a:lnTo>
                    <a:pt x="117" y="51"/>
                  </a:lnTo>
                  <a:lnTo>
                    <a:pt x="127" y="48"/>
                  </a:lnTo>
                  <a:lnTo>
                    <a:pt x="131" y="51"/>
                  </a:lnTo>
                  <a:lnTo>
                    <a:pt x="134" y="51"/>
                  </a:lnTo>
                  <a:lnTo>
                    <a:pt x="134" y="54"/>
                  </a:lnTo>
                  <a:lnTo>
                    <a:pt x="141" y="74"/>
                  </a:lnTo>
                  <a:lnTo>
                    <a:pt x="144" y="80"/>
                  </a:lnTo>
                  <a:lnTo>
                    <a:pt x="148" y="80"/>
                  </a:lnTo>
                  <a:lnTo>
                    <a:pt x="155" y="77"/>
                  </a:lnTo>
                  <a:lnTo>
                    <a:pt x="158" y="77"/>
                  </a:lnTo>
                  <a:lnTo>
                    <a:pt x="162" y="80"/>
                  </a:lnTo>
                  <a:lnTo>
                    <a:pt x="165" y="80"/>
                  </a:lnTo>
                  <a:lnTo>
                    <a:pt x="162" y="84"/>
                  </a:lnTo>
                  <a:lnTo>
                    <a:pt x="162" y="100"/>
                  </a:lnTo>
                  <a:lnTo>
                    <a:pt x="162" y="100"/>
                  </a:lnTo>
                  <a:lnTo>
                    <a:pt x="162" y="100"/>
                  </a:lnTo>
                  <a:lnTo>
                    <a:pt x="162" y="103"/>
                  </a:lnTo>
                  <a:lnTo>
                    <a:pt x="162" y="106"/>
                  </a:lnTo>
                  <a:lnTo>
                    <a:pt x="162" y="106"/>
                  </a:lnTo>
                  <a:lnTo>
                    <a:pt x="158" y="106"/>
                  </a:lnTo>
                  <a:lnTo>
                    <a:pt x="158" y="113"/>
                  </a:lnTo>
                  <a:lnTo>
                    <a:pt x="158" y="113"/>
                  </a:lnTo>
                  <a:lnTo>
                    <a:pt x="158" y="119"/>
                  </a:lnTo>
                  <a:lnTo>
                    <a:pt x="155" y="122"/>
                  </a:lnTo>
                  <a:lnTo>
                    <a:pt x="151" y="126"/>
                  </a:lnTo>
                  <a:lnTo>
                    <a:pt x="151" y="129"/>
                  </a:lnTo>
                  <a:lnTo>
                    <a:pt x="144" y="135"/>
                  </a:lnTo>
                  <a:lnTo>
                    <a:pt x="141" y="138"/>
                  </a:lnTo>
                  <a:lnTo>
                    <a:pt x="138" y="142"/>
                  </a:lnTo>
                  <a:lnTo>
                    <a:pt x="134" y="142"/>
                  </a:lnTo>
                  <a:lnTo>
                    <a:pt x="131" y="142"/>
                  </a:lnTo>
                  <a:lnTo>
                    <a:pt x="127" y="148"/>
                  </a:lnTo>
                  <a:lnTo>
                    <a:pt x="127" y="145"/>
                  </a:lnTo>
                  <a:lnTo>
                    <a:pt x="124" y="145"/>
                  </a:lnTo>
                  <a:lnTo>
                    <a:pt x="120" y="148"/>
                  </a:lnTo>
                  <a:lnTo>
                    <a:pt x="110" y="142"/>
                  </a:lnTo>
                  <a:lnTo>
                    <a:pt x="100" y="138"/>
                  </a:lnTo>
                  <a:lnTo>
                    <a:pt x="86" y="142"/>
                  </a:lnTo>
                  <a:lnTo>
                    <a:pt x="83" y="142"/>
                  </a:lnTo>
                  <a:lnTo>
                    <a:pt x="83" y="138"/>
                  </a:lnTo>
                  <a:lnTo>
                    <a:pt x="89" y="132"/>
                  </a:lnTo>
                  <a:lnTo>
                    <a:pt x="93" y="126"/>
                  </a:lnTo>
                  <a:lnTo>
                    <a:pt x="93" y="122"/>
                  </a:lnTo>
                  <a:lnTo>
                    <a:pt x="93" y="119"/>
                  </a:lnTo>
                  <a:lnTo>
                    <a:pt x="96" y="119"/>
                  </a:lnTo>
                  <a:lnTo>
                    <a:pt x="100" y="113"/>
                  </a:lnTo>
                  <a:lnTo>
                    <a:pt x="100" y="109"/>
                  </a:lnTo>
                  <a:lnTo>
                    <a:pt x="100" y="106"/>
                  </a:lnTo>
                  <a:lnTo>
                    <a:pt x="93" y="103"/>
                  </a:lnTo>
                  <a:lnTo>
                    <a:pt x="89" y="100"/>
                  </a:lnTo>
                  <a:lnTo>
                    <a:pt x="76" y="96"/>
                  </a:lnTo>
                  <a:lnTo>
                    <a:pt x="69" y="93"/>
                  </a:lnTo>
                  <a:lnTo>
                    <a:pt x="58" y="87"/>
                  </a:lnTo>
                  <a:lnTo>
                    <a:pt x="55" y="87"/>
                  </a:lnTo>
                  <a:lnTo>
                    <a:pt x="48" y="84"/>
                  </a:lnTo>
                  <a:lnTo>
                    <a:pt x="38" y="80"/>
                  </a:lnTo>
                  <a:lnTo>
                    <a:pt x="34" y="77"/>
                  </a:lnTo>
                  <a:lnTo>
                    <a:pt x="28" y="74"/>
                  </a:lnTo>
                  <a:lnTo>
                    <a:pt x="24" y="74"/>
                  </a:lnTo>
                  <a:lnTo>
                    <a:pt x="14" y="61"/>
                  </a:lnTo>
                  <a:lnTo>
                    <a:pt x="7" y="54"/>
                  </a:lnTo>
                  <a:lnTo>
                    <a:pt x="3" y="54"/>
                  </a:lnTo>
                  <a:lnTo>
                    <a:pt x="0" y="51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7" name="Freeform 188"/>
            <p:cNvSpPr>
              <a:spLocks/>
            </p:cNvSpPr>
            <p:nvPr/>
          </p:nvSpPr>
          <p:spPr bwMode="auto">
            <a:xfrm>
              <a:off x="4546601" y="5452130"/>
              <a:ext cx="158750" cy="149225"/>
            </a:xfrm>
            <a:custGeom>
              <a:avLst/>
              <a:gdLst>
                <a:gd name="T0" fmla="*/ 14 w 100"/>
                <a:gd name="T1" fmla="*/ 3 h 94"/>
                <a:gd name="T2" fmla="*/ 24 w 100"/>
                <a:gd name="T3" fmla="*/ 0 h 94"/>
                <a:gd name="T4" fmla="*/ 34 w 100"/>
                <a:gd name="T5" fmla="*/ 7 h 94"/>
                <a:gd name="T6" fmla="*/ 41 w 100"/>
                <a:gd name="T7" fmla="*/ 13 h 94"/>
                <a:gd name="T8" fmla="*/ 48 w 100"/>
                <a:gd name="T9" fmla="*/ 20 h 94"/>
                <a:gd name="T10" fmla="*/ 51 w 100"/>
                <a:gd name="T11" fmla="*/ 16 h 94"/>
                <a:gd name="T12" fmla="*/ 62 w 100"/>
                <a:gd name="T13" fmla="*/ 26 h 94"/>
                <a:gd name="T14" fmla="*/ 72 w 100"/>
                <a:gd name="T15" fmla="*/ 29 h 94"/>
                <a:gd name="T16" fmla="*/ 75 w 100"/>
                <a:gd name="T17" fmla="*/ 32 h 94"/>
                <a:gd name="T18" fmla="*/ 86 w 100"/>
                <a:gd name="T19" fmla="*/ 42 h 94"/>
                <a:gd name="T20" fmla="*/ 96 w 100"/>
                <a:gd name="T21" fmla="*/ 49 h 94"/>
                <a:gd name="T22" fmla="*/ 93 w 100"/>
                <a:gd name="T23" fmla="*/ 58 h 94"/>
                <a:gd name="T24" fmla="*/ 96 w 100"/>
                <a:gd name="T25" fmla="*/ 65 h 94"/>
                <a:gd name="T26" fmla="*/ 96 w 100"/>
                <a:gd name="T27" fmla="*/ 68 h 94"/>
                <a:gd name="T28" fmla="*/ 96 w 100"/>
                <a:gd name="T29" fmla="*/ 71 h 94"/>
                <a:gd name="T30" fmla="*/ 93 w 100"/>
                <a:gd name="T31" fmla="*/ 78 h 94"/>
                <a:gd name="T32" fmla="*/ 89 w 100"/>
                <a:gd name="T33" fmla="*/ 84 h 94"/>
                <a:gd name="T34" fmla="*/ 89 w 100"/>
                <a:gd name="T35" fmla="*/ 87 h 94"/>
                <a:gd name="T36" fmla="*/ 75 w 100"/>
                <a:gd name="T37" fmla="*/ 94 h 94"/>
                <a:gd name="T38" fmla="*/ 72 w 100"/>
                <a:gd name="T39" fmla="*/ 91 h 94"/>
                <a:gd name="T40" fmla="*/ 72 w 100"/>
                <a:gd name="T41" fmla="*/ 94 h 94"/>
                <a:gd name="T42" fmla="*/ 65 w 100"/>
                <a:gd name="T43" fmla="*/ 94 h 94"/>
                <a:gd name="T44" fmla="*/ 62 w 100"/>
                <a:gd name="T45" fmla="*/ 94 h 94"/>
                <a:gd name="T46" fmla="*/ 51 w 100"/>
                <a:gd name="T47" fmla="*/ 94 h 94"/>
                <a:gd name="T48" fmla="*/ 44 w 100"/>
                <a:gd name="T49" fmla="*/ 94 h 94"/>
                <a:gd name="T50" fmla="*/ 44 w 100"/>
                <a:gd name="T51" fmla="*/ 91 h 94"/>
                <a:gd name="T52" fmla="*/ 41 w 100"/>
                <a:gd name="T53" fmla="*/ 91 h 94"/>
                <a:gd name="T54" fmla="*/ 31 w 100"/>
                <a:gd name="T55" fmla="*/ 87 h 94"/>
                <a:gd name="T56" fmla="*/ 17 w 100"/>
                <a:gd name="T57" fmla="*/ 87 h 94"/>
                <a:gd name="T58" fmla="*/ 10 w 100"/>
                <a:gd name="T59" fmla="*/ 84 h 94"/>
                <a:gd name="T60" fmla="*/ 3 w 100"/>
                <a:gd name="T61" fmla="*/ 74 h 94"/>
                <a:gd name="T62" fmla="*/ 0 w 100"/>
                <a:gd name="T63" fmla="*/ 62 h 94"/>
                <a:gd name="T64" fmla="*/ 0 w 100"/>
                <a:gd name="T65" fmla="*/ 62 h 94"/>
                <a:gd name="T66" fmla="*/ 3 w 100"/>
                <a:gd name="T67" fmla="*/ 58 h 94"/>
                <a:gd name="T68" fmla="*/ 3 w 100"/>
                <a:gd name="T69" fmla="*/ 45 h 94"/>
                <a:gd name="T70" fmla="*/ 3 w 100"/>
                <a:gd name="T71" fmla="*/ 39 h 94"/>
                <a:gd name="T72" fmla="*/ 3 w 100"/>
                <a:gd name="T73" fmla="*/ 32 h 94"/>
                <a:gd name="T74" fmla="*/ 7 w 100"/>
                <a:gd name="T75" fmla="*/ 20 h 94"/>
                <a:gd name="T76" fmla="*/ 7 w 100"/>
                <a:gd name="T77" fmla="*/ 16 h 94"/>
                <a:gd name="T78" fmla="*/ 7 w 100"/>
                <a:gd name="T79" fmla="*/ 7 h 94"/>
                <a:gd name="T80" fmla="*/ 10 w 100"/>
                <a:gd name="T81" fmla="*/ 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0" h="94">
                  <a:moveTo>
                    <a:pt x="10" y="3"/>
                  </a:moveTo>
                  <a:lnTo>
                    <a:pt x="14" y="3"/>
                  </a:lnTo>
                  <a:lnTo>
                    <a:pt x="17" y="3"/>
                  </a:lnTo>
                  <a:lnTo>
                    <a:pt x="24" y="0"/>
                  </a:lnTo>
                  <a:lnTo>
                    <a:pt x="31" y="3"/>
                  </a:lnTo>
                  <a:lnTo>
                    <a:pt x="34" y="7"/>
                  </a:lnTo>
                  <a:lnTo>
                    <a:pt x="38" y="10"/>
                  </a:lnTo>
                  <a:lnTo>
                    <a:pt x="41" y="13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8" y="23"/>
                  </a:lnTo>
                  <a:lnTo>
                    <a:pt x="62" y="26"/>
                  </a:lnTo>
                  <a:lnTo>
                    <a:pt x="69" y="26"/>
                  </a:lnTo>
                  <a:lnTo>
                    <a:pt x="72" y="29"/>
                  </a:lnTo>
                  <a:lnTo>
                    <a:pt x="72" y="36"/>
                  </a:lnTo>
                  <a:lnTo>
                    <a:pt x="75" y="32"/>
                  </a:lnTo>
                  <a:lnTo>
                    <a:pt x="82" y="36"/>
                  </a:lnTo>
                  <a:lnTo>
                    <a:pt x="86" y="42"/>
                  </a:lnTo>
                  <a:lnTo>
                    <a:pt x="93" y="49"/>
                  </a:lnTo>
                  <a:lnTo>
                    <a:pt x="96" y="49"/>
                  </a:lnTo>
                  <a:lnTo>
                    <a:pt x="96" y="55"/>
                  </a:lnTo>
                  <a:lnTo>
                    <a:pt x="93" y="58"/>
                  </a:lnTo>
                  <a:lnTo>
                    <a:pt x="93" y="65"/>
                  </a:lnTo>
                  <a:lnTo>
                    <a:pt x="96" y="65"/>
                  </a:lnTo>
                  <a:lnTo>
                    <a:pt x="96" y="65"/>
                  </a:lnTo>
                  <a:lnTo>
                    <a:pt x="96" y="68"/>
                  </a:lnTo>
                  <a:lnTo>
                    <a:pt x="100" y="68"/>
                  </a:lnTo>
                  <a:lnTo>
                    <a:pt x="96" y="71"/>
                  </a:lnTo>
                  <a:lnTo>
                    <a:pt x="93" y="74"/>
                  </a:lnTo>
                  <a:lnTo>
                    <a:pt x="93" y="78"/>
                  </a:lnTo>
                  <a:lnTo>
                    <a:pt x="89" y="81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9" y="87"/>
                  </a:lnTo>
                  <a:lnTo>
                    <a:pt x="82" y="91"/>
                  </a:lnTo>
                  <a:lnTo>
                    <a:pt x="75" y="94"/>
                  </a:lnTo>
                  <a:lnTo>
                    <a:pt x="75" y="91"/>
                  </a:lnTo>
                  <a:lnTo>
                    <a:pt x="72" y="91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69" y="94"/>
                  </a:lnTo>
                  <a:lnTo>
                    <a:pt x="65" y="94"/>
                  </a:lnTo>
                  <a:lnTo>
                    <a:pt x="62" y="94"/>
                  </a:lnTo>
                  <a:lnTo>
                    <a:pt x="62" y="94"/>
                  </a:lnTo>
                  <a:lnTo>
                    <a:pt x="58" y="91"/>
                  </a:lnTo>
                  <a:lnTo>
                    <a:pt x="51" y="94"/>
                  </a:lnTo>
                  <a:lnTo>
                    <a:pt x="48" y="94"/>
                  </a:lnTo>
                  <a:lnTo>
                    <a:pt x="44" y="94"/>
                  </a:lnTo>
                  <a:lnTo>
                    <a:pt x="44" y="94"/>
                  </a:lnTo>
                  <a:lnTo>
                    <a:pt x="44" y="91"/>
                  </a:lnTo>
                  <a:lnTo>
                    <a:pt x="44" y="91"/>
                  </a:lnTo>
                  <a:lnTo>
                    <a:pt x="41" y="91"/>
                  </a:lnTo>
                  <a:lnTo>
                    <a:pt x="38" y="91"/>
                  </a:lnTo>
                  <a:lnTo>
                    <a:pt x="31" y="87"/>
                  </a:lnTo>
                  <a:lnTo>
                    <a:pt x="27" y="87"/>
                  </a:lnTo>
                  <a:lnTo>
                    <a:pt x="17" y="87"/>
                  </a:lnTo>
                  <a:lnTo>
                    <a:pt x="17" y="87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3" y="74"/>
                  </a:lnTo>
                  <a:lnTo>
                    <a:pt x="0" y="71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3" y="52"/>
                  </a:lnTo>
                  <a:lnTo>
                    <a:pt x="3" y="45"/>
                  </a:lnTo>
                  <a:lnTo>
                    <a:pt x="3" y="42"/>
                  </a:lnTo>
                  <a:lnTo>
                    <a:pt x="3" y="39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7" y="29"/>
                  </a:lnTo>
                  <a:lnTo>
                    <a:pt x="7" y="20"/>
                  </a:lnTo>
                  <a:lnTo>
                    <a:pt x="3" y="20"/>
                  </a:lnTo>
                  <a:lnTo>
                    <a:pt x="7" y="16"/>
                  </a:lnTo>
                  <a:lnTo>
                    <a:pt x="3" y="10"/>
                  </a:lnTo>
                  <a:lnTo>
                    <a:pt x="7" y="7"/>
                  </a:lnTo>
                  <a:lnTo>
                    <a:pt x="10" y="3"/>
                  </a:lnTo>
                  <a:lnTo>
                    <a:pt x="1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8" name="Freeform 189"/>
            <p:cNvSpPr>
              <a:spLocks noEditPoints="1"/>
            </p:cNvSpPr>
            <p:nvPr/>
          </p:nvSpPr>
          <p:spPr bwMode="auto">
            <a:xfrm>
              <a:off x="4175126" y="5221942"/>
              <a:ext cx="496888" cy="1081087"/>
            </a:xfrm>
            <a:custGeom>
              <a:avLst/>
              <a:gdLst>
                <a:gd name="T0" fmla="*/ 82 w 313"/>
                <a:gd name="T1" fmla="*/ 3 h 681"/>
                <a:gd name="T2" fmla="*/ 103 w 313"/>
                <a:gd name="T3" fmla="*/ 13 h 681"/>
                <a:gd name="T4" fmla="*/ 141 w 313"/>
                <a:gd name="T5" fmla="*/ 9 h 681"/>
                <a:gd name="T6" fmla="*/ 192 w 313"/>
                <a:gd name="T7" fmla="*/ 42 h 681"/>
                <a:gd name="T8" fmla="*/ 230 w 313"/>
                <a:gd name="T9" fmla="*/ 74 h 681"/>
                <a:gd name="T10" fmla="*/ 234 w 313"/>
                <a:gd name="T11" fmla="*/ 93 h 681"/>
                <a:gd name="T12" fmla="*/ 272 w 313"/>
                <a:gd name="T13" fmla="*/ 97 h 681"/>
                <a:gd name="T14" fmla="*/ 292 w 313"/>
                <a:gd name="T15" fmla="*/ 68 h 681"/>
                <a:gd name="T16" fmla="*/ 313 w 313"/>
                <a:gd name="T17" fmla="*/ 90 h 681"/>
                <a:gd name="T18" fmla="*/ 289 w 313"/>
                <a:gd name="T19" fmla="*/ 103 h 681"/>
                <a:gd name="T20" fmla="*/ 261 w 313"/>
                <a:gd name="T21" fmla="*/ 123 h 681"/>
                <a:gd name="T22" fmla="*/ 244 w 313"/>
                <a:gd name="T23" fmla="*/ 145 h 681"/>
                <a:gd name="T24" fmla="*/ 237 w 313"/>
                <a:gd name="T25" fmla="*/ 177 h 681"/>
                <a:gd name="T26" fmla="*/ 234 w 313"/>
                <a:gd name="T27" fmla="*/ 207 h 681"/>
                <a:gd name="T28" fmla="*/ 237 w 313"/>
                <a:gd name="T29" fmla="*/ 226 h 681"/>
                <a:gd name="T30" fmla="*/ 261 w 313"/>
                <a:gd name="T31" fmla="*/ 258 h 681"/>
                <a:gd name="T32" fmla="*/ 275 w 313"/>
                <a:gd name="T33" fmla="*/ 278 h 681"/>
                <a:gd name="T34" fmla="*/ 265 w 313"/>
                <a:gd name="T35" fmla="*/ 300 h 681"/>
                <a:gd name="T36" fmla="*/ 210 w 313"/>
                <a:gd name="T37" fmla="*/ 320 h 681"/>
                <a:gd name="T38" fmla="*/ 179 w 313"/>
                <a:gd name="T39" fmla="*/ 316 h 681"/>
                <a:gd name="T40" fmla="*/ 186 w 313"/>
                <a:gd name="T41" fmla="*/ 336 h 681"/>
                <a:gd name="T42" fmla="*/ 186 w 313"/>
                <a:gd name="T43" fmla="*/ 349 h 681"/>
                <a:gd name="T44" fmla="*/ 162 w 313"/>
                <a:gd name="T45" fmla="*/ 368 h 681"/>
                <a:gd name="T46" fmla="*/ 131 w 313"/>
                <a:gd name="T47" fmla="*/ 362 h 681"/>
                <a:gd name="T48" fmla="*/ 151 w 313"/>
                <a:gd name="T49" fmla="*/ 391 h 681"/>
                <a:gd name="T50" fmla="*/ 151 w 313"/>
                <a:gd name="T51" fmla="*/ 387 h 681"/>
                <a:gd name="T52" fmla="*/ 168 w 313"/>
                <a:gd name="T53" fmla="*/ 397 h 681"/>
                <a:gd name="T54" fmla="*/ 144 w 313"/>
                <a:gd name="T55" fmla="*/ 397 h 681"/>
                <a:gd name="T56" fmla="*/ 141 w 313"/>
                <a:gd name="T57" fmla="*/ 413 h 681"/>
                <a:gd name="T58" fmla="*/ 137 w 313"/>
                <a:gd name="T59" fmla="*/ 433 h 681"/>
                <a:gd name="T60" fmla="*/ 141 w 313"/>
                <a:gd name="T61" fmla="*/ 449 h 681"/>
                <a:gd name="T62" fmla="*/ 113 w 313"/>
                <a:gd name="T63" fmla="*/ 458 h 681"/>
                <a:gd name="T64" fmla="*/ 110 w 313"/>
                <a:gd name="T65" fmla="*/ 484 h 681"/>
                <a:gd name="T66" fmla="*/ 144 w 313"/>
                <a:gd name="T67" fmla="*/ 497 h 681"/>
                <a:gd name="T68" fmla="*/ 151 w 313"/>
                <a:gd name="T69" fmla="*/ 513 h 681"/>
                <a:gd name="T70" fmla="*/ 137 w 313"/>
                <a:gd name="T71" fmla="*/ 530 h 681"/>
                <a:gd name="T72" fmla="*/ 120 w 313"/>
                <a:gd name="T73" fmla="*/ 549 h 681"/>
                <a:gd name="T74" fmla="*/ 110 w 313"/>
                <a:gd name="T75" fmla="*/ 562 h 681"/>
                <a:gd name="T76" fmla="*/ 103 w 313"/>
                <a:gd name="T77" fmla="*/ 581 h 681"/>
                <a:gd name="T78" fmla="*/ 113 w 313"/>
                <a:gd name="T79" fmla="*/ 604 h 681"/>
                <a:gd name="T80" fmla="*/ 117 w 313"/>
                <a:gd name="T81" fmla="*/ 614 h 681"/>
                <a:gd name="T82" fmla="*/ 55 w 313"/>
                <a:gd name="T83" fmla="*/ 597 h 681"/>
                <a:gd name="T84" fmla="*/ 24 w 313"/>
                <a:gd name="T85" fmla="*/ 572 h 681"/>
                <a:gd name="T86" fmla="*/ 34 w 313"/>
                <a:gd name="T87" fmla="*/ 510 h 681"/>
                <a:gd name="T88" fmla="*/ 31 w 313"/>
                <a:gd name="T89" fmla="*/ 468 h 681"/>
                <a:gd name="T90" fmla="*/ 20 w 313"/>
                <a:gd name="T91" fmla="*/ 446 h 681"/>
                <a:gd name="T92" fmla="*/ 17 w 313"/>
                <a:gd name="T93" fmla="*/ 426 h 681"/>
                <a:gd name="T94" fmla="*/ 14 w 313"/>
                <a:gd name="T95" fmla="*/ 384 h 681"/>
                <a:gd name="T96" fmla="*/ 14 w 313"/>
                <a:gd name="T97" fmla="*/ 326 h 681"/>
                <a:gd name="T98" fmla="*/ 17 w 313"/>
                <a:gd name="T99" fmla="*/ 268 h 681"/>
                <a:gd name="T100" fmla="*/ 20 w 313"/>
                <a:gd name="T101" fmla="*/ 226 h 681"/>
                <a:gd name="T102" fmla="*/ 0 w 313"/>
                <a:gd name="T103" fmla="*/ 174 h 681"/>
                <a:gd name="T104" fmla="*/ 10 w 313"/>
                <a:gd name="T105" fmla="*/ 132 h 681"/>
                <a:gd name="T106" fmla="*/ 31 w 313"/>
                <a:gd name="T107" fmla="*/ 87 h 681"/>
                <a:gd name="T108" fmla="*/ 27 w 313"/>
                <a:gd name="T109" fmla="*/ 61 h 681"/>
                <a:gd name="T110" fmla="*/ 210 w 313"/>
                <a:gd name="T111" fmla="*/ 675 h 681"/>
                <a:gd name="T112" fmla="*/ 210 w 313"/>
                <a:gd name="T113" fmla="*/ 675 h 681"/>
                <a:gd name="T114" fmla="*/ 127 w 313"/>
                <a:gd name="T115" fmla="*/ 636 h 681"/>
                <a:gd name="T116" fmla="*/ 141 w 313"/>
                <a:gd name="T117" fmla="*/ 649 h 681"/>
                <a:gd name="T118" fmla="*/ 182 w 313"/>
                <a:gd name="T119" fmla="*/ 672 h 681"/>
                <a:gd name="T120" fmla="*/ 186 w 313"/>
                <a:gd name="T121" fmla="*/ 678 h 681"/>
                <a:gd name="T122" fmla="*/ 141 w 313"/>
                <a:gd name="T123" fmla="*/ 678 h 681"/>
                <a:gd name="T124" fmla="*/ 144 w 313"/>
                <a:gd name="T125" fmla="*/ 672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3" h="681">
                  <a:moveTo>
                    <a:pt x="48" y="16"/>
                  </a:moveTo>
                  <a:lnTo>
                    <a:pt x="51" y="16"/>
                  </a:lnTo>
                  <a:lnTo>
                    <a:pt x="55" y="9"/>
                  </a:lnTo>
                  <a:lnTo>
                    <a:pt x="62" y="3"/>
                  </a:lnTo>
                  <a:lnTo>
                    <a:pt x="69" y="0"/>
                  </a:lnTo>
                  <a:lnTo>
                    <a:pt x="72" y="3"/>
                  </a:lnTo>
                  <a:lnTo>
                    <a:pt x="79" y="3"/>
                  </a:lnTo>
                  <a:lnTo>
                    <a:pt x="82" y="3"/>
                  </a:lnTo>
                  <a:lnTo>
                    <a:pt x="86" y="3"/>
                  </a:lnTo>
                  <a:lnTo>
                    <a:pt x="93" y="3"/>
                  </a:lnTo>
                  <a:lnTo>
                    <a:pt x="96" y="3"/>
                  </a:lnTo>
                  <a:lnTo>
                    <a:pt x="96" y="6"/>
                  </a:lnTo>
                  <a:lnTo>
                    <a:pt x="100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3"/>
                  </a:lnTo>
                  <a:lnTo>
                    <a:pt x="106" y="9"/>
                  </a:lnTo>
                  <a:lnTo>
                    <a:pt x="106" y="6"/>
                  </a:lnTo>
                  <a:lnTo>
                    <a:pt x="110" y="0"/>
                  </a:lnTo>
                  <a:lnTo>
                    <a:pt x="120" y="0"/>
                  </a:lnTo>
                  <a:lnTo>
                    <a:pt x="131" y="3"/>
                  </a:lnTo>
                  <a:lnTo>
                    <a:pt x="134" y="6"/>
                  </a:lnTo>
                  <a:lnTo>
                    <a:pt x="137" y="9"/>
                  </a:lnTo>
                  <a:lnTo>
                    <a:pt x="141" y="9"/>
                  </a:lnTo>
                  <a:lnTo>
                    <a:pt x="148" y="16"/>
                  </a:lnTo>
                  <a:lnTo>
                    <a:pt x="158" y="29"/>
                  </a:lnTo>
                  <a:lnTo>
                    <a:pt x="162" y="29"/>
                  </a:lnTo>
                  <a:lnTo>
                    <a:pt x="168" y="32"/>
                  </a:lnTo>
                  <a:lnTo>
                    <a:pt x="172" y="35"/>
                  </a:lnTo>
                  <a:lnTo>
                    <a:pt x="182" y="39"/>
                  </a:lnTo>
                  <a:lnTo>
                    <a:pt x="189" y="42"/>
                  </a:lnTo>
                  <a:lnTo>
                    <a:pt x="192" y="42"/>
                  </a:lnTo>
                  <a:lnTo>
                    <a:pt x="203" y="48"/>
                  </a:lnTo>
                  <a:lnTo>
                    <a:pt x="210" y="51"/>
                  </a:lnTo>
                  <a:lnTo>
                    <a:pt x="223" y="55"/>
                  </a:lnTo>
                  <a:lnTo>
                    <a:pt x="227" y="58"/>
                  </a:lnTo>
                  <a:lnTo>
                    <a:pt x="234" y="61"/>
                  </a:lnTo>
                  <a:lnTo>
                    <a:pt x="234" y="64"/>
                  </a:lnTo>
                  <a:lnTo>
                    <a:pt x="234" y="68"/>
                  </a:lnTo>
                  <a:lnTo>
                    <a:pt x="230" y="74"/>
                  </a:lnTo>
                  <a:lnTo>
                    <a:pt x="227" y="74"/>
                  </a:lnTo>
                  <a:lnTo>
                    <a:pt x="227" y="77"/>
                  </a:lnTo>
                  <a:lnTo>
                    <a:pt x="227" y="81"/>
                  </a:lnTo>
                  <a:lnTo>
                    <a:pt x="223" y="87"/>
                  </a:lnTo>
                  <a:lnTo>
                    <a:pt x="217" y="93"/>
                  </a:lnTo>
                  <a:lnTo>
                    <a:pt x="217" y="97"/>
                  </a:lnTo>
                  <a:lnTo>
                    <a:pt x="220" y="97"/>
                  </a:lnTo>
                  <a:lnTo>
                    <a:pt x="234" y="93"/>
                  </a:lnTo>
                  <a:lnTo>
                    <a:pt x="244" y="97"/>
                  </a:lnTo>
                  <a:lnTo>
                    <a:pt x="254" y="103"/>
                  </a:lnTo>
                  <a:lnTo>
                    <a:pt x="258" y="100"/>
                  </a:lnTo>
                  <a:lnTo>
                    <a:pt x="261" y="100"/>
                  </a:lnTo>
                  <a:lnTo>
                    <a:pt x="261" y="103"/>
                  </a:lnTo>
                  <a:lnTo>
                    <a:pt x="265" y="97"/>
                  </a:lnTo>
                  <a:lnTo>
                    <a:pt x="268" y="97"/>
                  </a:lnTo>
                  <a:lnTo>
                    <a:pt x="272" y="97"/>
                  </a:lnTo>
                  <a:lnTo>
                    <a:pt x="275" y="93"/>
                  </a:lnTo>
                  <a:lnTo>
                    <a:pt x="278" y="90"/>
                  </a:lnTo>
                  <a:lnTo>
                    <a:pt x="285" y="84"/>
                  </a:lnTo>
                  <a:lnTo>
                    <a:pt x="285" y="81"/>
                  </a:lnTo>
                  <a:lnTo>
                    <a:pt x="289" y="77"/>
                  </a:lnTo>
                  <a:lnTo>
                    <a:pt x="292" y="74"/>
                  </a:lnTo>
                  <a:lnTo>
                    <a:pt x="292" y="68"/>
                  </a:lnTo>
                  <a:lnTo>
                    <a:pt x="292" y="68"/>
                  </a:lnTo>
                  <a:lnTo>
                    <a:pt x="292" y="61"/>
                  </a:lnTo>
                  <a:lnTo>
                    <a:pt x="299" y="61"/>
                  </a:lnTo>
                  <a:lnTo>
                    <a:pt x="306" y="61"/>
                  </a:lnTo>
                  <a:lnTo>
                    <a:pt x="306" y="64"/>
                  </a:lnTo>
                  <a:lnTo>
                    <a:pt x="309" y="71"/>
                  </a:lnTo>
                  <a:lnTo>
                    <a:pt x="309" y="77"/>
                  </a:lnTo>
                  <a:lnTo>
                    <a:pt x="313" y="84"/>
                  </a:lnTo>
                  <a:lnTo>
                    <a:pt x="313" y="90"/>
                  </a:lnTo>
                  <a:lnTo>
                    <a:pt x="309" y="90"/>
                  </a:lnTo>
                  <a:lnTo>
                    <a:pt x="306" y="90"/>
                  </a:lnTo>
                  <a:lnTo>
                    <a:pt x="303" y="93"/>
                  </a:lnTo>
                  <a:lnTo>
                    <a:pt x="303" y="93"/>
                  </a:lnTo>
                  <a:lnTo>
                    <a:pt x="299" y="97"/>
                  </a:lnTo>
                  <a:lnTo>
                    <a:pt x="299" y="97"/>
                  </a:lnTo>
                  <a:lnTo>
                    <a:pt x="289" y="100"/>
                  </a:lnTo>
                  <a:lnTo>
                    <a:pt x="289" y="103"/>
                  </a:lnTo>
                  <a:lnTo>
                    <a:pt x="285" y="103"/>
                  </a:lnTo>
                  <a:lnTo>
                    <a:pt x="278" y="110"/>
                  </a:lnTo>
                  <a:lnTo>
                    <a:pt x="275" y="110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2" y="113"/>
                  </a:lnTo>
                  <a:lnTo>
                    <a:pt x="265" y="119"/>
                  </a:lnTo>
                  <a:lnTo>
                    <a:pt x="261" y="123"/>
                  </a:lnTo>
                  <a:lnTo>
                    <a:pt x="261" y="126"/>
                  </a:lnTo>
                  <a:lnTo>
                    <a:pt x="261" y="126"/>
                  </a:lnTo>
                  <a:lnTo>
                    <a:pt x="258" y="129"/>
                  </a:lnTo>
                  <a:lnTo>
                    <a:pt x="254" y="135"/>
                  </a:lnTo>
                  <a:lnTo>
                    <a:pt x="251" y="139"/>
                  </a:lnTo>
                  <a:lnTo>
                    <a:pt x="248" y="142"/>
                  </a:lnTo>
                  <a:lnTo>
                    <a:pt x="248" y="145"/>
                  </a:lnTo>
                  <a:lnTo>
                    <a:pt x="244" y="145"/>
                  </a:lnTo>
                  <a:lnTo>
                    <a:pt x="244" y="148"/>
                  </a:lnTo>
                  <a:lnTo>
                    <a:pt x="241" y="152"/>
                  </a:lnTo>
                  <a:lnTo>
                    <a:pt x="237" y="155"/>
                  </a:lnTo>
                  <a:lnTo>
                    <a:pt x="241" y="161"/>
                  </a:lnTo>
                  <a:lnTo>
                    <a:pt x="237" y="165"/>
                  </a:lnTo>
                  <a:lnTo>
                    <a:pt x="241" y="165"/>
                  </a:lnTo>
                  <a:lnTo>
                    <a:pt x="241" y="174"/>
                  </a:lnTo>
                  <a:lnTo>
                    <a:pt x="237" y="177"/>
                  </a:lnTo>
                  <a:lnTo>
                    <a:pt x="237" y="177"/>
                  </a:lnTo>
                  <a:lnTo>
                    <a:pt x="237" y="184"/>
                  </a:lnTo>
                  <a:lnTo>
                    <a:pt x="237" y="187"/>
                  </a:lnTo>
                  <a:lnTo>
                    <a:pt x="237" y="190"/>
                  </a:lnTo>
                  <a:lnTo>
                    <a:pt x="237" y="197"/>
                  </a:lnTo>
                  <a:lnTo>
                    <a:pt x="237" y="203"/>
                  </a:lnTo>
                  <a:lnTo>
                    <a:pt x="237" y="203"/>
                  </a:lnTo>
                  <a:lnTo>
                    <a:pt x="234" y="207"/>
                  </a:lnTo>
                  <a:lnTo>
                    <a:pt x="234" y="207"/>
                  </a:lnTo>
                  <a:lnTo>
                    <a:pt x="234" y="207"/>
                  </a:lnTo>
                  <a:lnTo>
                    <a:pt x="234" y="207"/>
                  </a:lnTo>
                  <a:lnTo>
                    <a:pt x="234" y="216"/>
                  </a:lnTo>
                  <a:lnTo>
                    <a:pt x="234" y="219"/>
                  </a:lnTo>
                  <a:lnTo>
                    <a:pt x="234" y="223"/>
                  </a:lnTo>
                  <a:lnTo>
                    <a:pt x="237" y="226"/>
                  </a:lnTo>
                  <a:lnTo>
                    <a:pt x="237" y="226"/>
                  </a:lnTo>
                  <a:lnTo>
                    <a:pt x="234" y="229"/>
                  </a:lnTo>
                  <a:lnTo>
                    <a:pt x="237" y="232"/>
                  </a:lnTo>
                  <a:lnTo>
                    <a:pt x="244" y="236"/>
                  </a:lnTo>
                  <a:lnTo>
                    <a:pt x="254" y="239"/>
                  </a:lnTo>
                  <a:lnTo>
                    <a:pt x="265" y="245"/>
                  </a:lnTo>
                  <a:lnTo>
                    <a:pt x="265" y="249"/>
                  </a:lnTo>
                  <a:lnTo>
                    <a:pt x="265" y="252"/>
                  </a:lnTo>
                  <a:lnTo>
                    <a:pt x="261" y="258"/>
                  </a:lnTo>
                  <a:lnTo>
                    <a:pt x="261" y="261"/>
                  </a:lnTo>
                  <a:lnTo>
                    <a:pt x="261" y="268"/>
                  </a:lnTo>
                  <a:lnTo>
                    <a:pt x="268" y="271"/>
                  </a:lnTo>
                  <a:lnTo>
                    <a:pt x="272" y="271"/>
                  </a:lnTo>
                  <a:lnTo>
                    <a:pt x="275" y="268"/>
                  </a:lnTo>
                  <a:lnTo>
                    <a:pt x="275" y="268"/>
                  </a:lnTo>
                  <a:lnTo>
                    <a:pt x="275" y="271"/>
                  </a:lnTo>
                  <a:lnTo>
                    <a:pt x="275" y="278"/>
                  </a:lnTo>
                  <a:lnTo>
                    <a:pt x="275" y="281"/>
                  </a:lnTo>
                  <a:lnTo>
                    <a:pt x="272" y="287"/>
                  </a:lnTo>
                  <a:lnTo>
                    <a:pt x="272" y="291"/>
                  </a:lnTo>
                  <a:lnTo>
                    <a:pt x="268" y="294"/>
                  </a:lnTo>
                  <a:lnTo>
                    <a:pt x="268" y="291"/>
                  </a:lnTo>
                  <a:lnTo>
                    <a:pt x="268" y="291"/>
                  </a:lnTo>
                  <a:lnTo>
                    <a:pt x="265" y="297"/>
                  </a:lnTo>
                  <a:lnTo>
                    <a:pt x="265" y="300"/>
                  </a:lnTo>
                  <a:lnTo>
                    <a:pt x="265" y="303"/>
                  </a:lnTo>
                  <a:lnTo>
                    <a:pt x="254" y="310"/>
                  </a:lnTo>
                  <a:lnTo>
                    <a:pt x="248" y="313"/>
                  </a:lnTo>
                  <a:lnTo>
                    <a:pt x="244" y="310"/>
                  </a:lnTo>
                  <a:lnTo>
                    <a:pt x="244" y="313"/>
                  </a:lnTo>
                  <a:lnTo>
                    <a:pt x="234" y="316"/>
                  </a:lnTo>
                  <a:lnTo>
                    <a:pt x="220" y="320"/>
                  </a:lnTo>
                  <a:lnTo>
                    <a:pt x="210" y="320"/>
                  </a:lnTo>
                  <a:lnTo>
                    <a:pt x="203" y="320"/>
                  </a:lnTo>
                  <a:lnTo>
                    <a:pt x="199" y="320"/>
                  </a:lnTo>
                  <a:lnTo>
                    <a:pt x="196" y="320"/>
                  </a:lnTo>
                  <a:lnTo>
                    <a:pt x="189" y="316"/>
                  </a:lnTo>
                  <a:lnTo>
                    <a:pt x="186" y="316"/>
                  </a:lnTo>
                  <a:lnTo>
                    <a:pt x="182" y="316"/>
                  </a:lnTo>
                  <a:lnTo>
                    <a:pt x="179" y="313"/>
                  </a:lnTo>
                  <a:lnTo>
                    <a:pt x="179" y="316"/>
                  </a:lnTo>
                  <a:lnTo>
                    <a:pt x="179" y="316"/>
                  </a:lnTo>
                  <a:lnTo>
                    <a:pt x="179" y="320"/>
                  </a:lnTo>
                  <a:lnTo>
                    <a:pt x="179" y="326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6" y="329"/>
                  </a:lnTo>
                  <a:lnTo>
                    <a:pt x="186" y="333"/>
                  </a:lnTo>
                  <a:lnTo>
                    <a:pt x="186" y="336"/>
                  </a:lnTo>
                  <a:lnTo>
                    <a:pt x="182" y="336"/>
                  </a:lnTo>
                  <a:lnTo>
                    <a:pt x="182" y="336"/>
                  </a:lnTo>
                  <a:lnTo>
                    <a:pt x="179" y="339"/>
                  </a:lnTo>
                  <a:lnTo>
                    <a:pt x="182" y="342"/>
                  </a:lnTo>
                  <a:lnTo>
                    <a:pt x="179" y="342"/>
                  </a:lnTo>
                  <a:lnTo>
                    <a:pt x="179" y="345"/>
                  </a:lnTo>
                  <a:lnTo>
                    <a:pt x="182" y="349"/>
                  </a:lnTo>
                  <a:lnTo>
                    <a:pt x="186" y="349"/>
                  </a:lnTo>
                  <a:lnTo>
                    <a:pt x="186" y="352"/>
                  </a:lnTo>
                  <a:lnTo>
                    <a:pt x="182" y="355"/>
                  </a:lnTo>
                  <a:lnTo>
                    <a:pt x="182" y="358"/>
                  </a:lnTo>
                  <a:lnTo>
                    <a:pt x="182" y="362"/>
                  </a:lnTo>
                  <a:lnTo>
                    <a:pt x="179" y="362"/>
                  </a:lnTo>
                  <a:lnTo>
                    <a:pt x="179" y="365"/>
                  </a:lnTo>
                  <a:lnTo>
                    <a:pt x="172" y="368"/>
                  </a:lnTo>
                  <a:lnTo>
                    <a:pt x="162" y="368"/>
                  </a:lnTo>
                  <a:lnTo>
                    <a:pt x="155" y="368"/>
                  </a:lnTo>
                  <a:lnTo>
                    <a:pt x="148" y="362"/>
                  </a:lnTo>
                  <a:lnTo>
                    <a:pt x="141" y="358"/>
                  </a:lnTo>
                  <a:lnTo>
                    <a:pt x="137" y="362"/>
                  </a:lnTo>
                  <a:lnTo>
                    <a:pt x="137" y="358"/>
                  </a:lnTo>
                  <a:lnTo>
                    <a:pt x="137" y="358"/>
                  </a:lnTo>
                  <a:lnTo>
                    <a:pt x="134" y="358"/>
                  </a:lnTo>
                  <a:lnTo>
                    <a:pt x="131" y="362"/>
                  </a:lnTo>
                  <a:lnTo>
                    <a:pt x="131" y="368"/>
                  </a:lnTo>
                  <a:lnTo>
                    <a:pt x="134" y="371"/>
                  </a:lnTo>
                  <a:lnTo>
                    <a:pt x="137" y="375"/>
                  </a:lnTo>
                  <a:lnTo>
                    <a:pt x="137" y="384"/>
                  </a:lnTo>
                  <a:lnTo>
                    <a:pt x="137" y="387"/>
                  </a:lnTo>
                  <a:lnTo>
                    <a:pt x="141" y="387"/>
                  </a:lnTo>
                  <a:lnTo>
                    <a:pt x="148" y="387"/>
                  </a:lnTo>
                  <a:lnTo>
                    <a:pt x="151" y="391"/>
                  </a:lnTo>
                  <a:lnTo>
                    <a:pt x="148" y="391"/>
                  </a:lnTo>
                  <a:lnTo>
                    <a:pt x="144" y="391"/>
                  </a:lnTo>
                  <a:lnTo>
                    <a:pt x="148" y="394"/>
                  </a:lnTo>
                  <a:lnTo>
                    <a:pt x="155" y="391"/>
                  </a:lnTo>
                  <a:lnTo>
                    <a:pt x="155" y="391"/>
                  </a:lnTo>
                  <a:lnTo>
                    <a:pt x="151" y="387"/>
                  </a:lnTo>
                  <a:lnTo>
                    <a:pt x="151" y="387"/>
                  </a:lnTo>
                  <a:lnTo>
                    <a:pt x="151" y="387"/>
                  </a:lnTo>
                  <a:lnTo>
                    <a:pt x="155" y="387"/>
                  </a:lnTo>
                  <a:lnTo>
                    <a:pt x="158" y="384"/>
                  </a:lnTo>
                  <a:lnTo>
                    <a:pt x="162" y="384"/>
                  </a:lnTo>
                  <a:lnTo>
                    <a:pt x="165" y="387"/>
                  </a:lnTo>
                  <a:lnTo>
                    <a:pt x="165" y="391"/>
                  </a:lnTo>
                  <a:lnTo>
                    <a:pt x="162" y="391"/>
                  </a:lnTo>
                  <a:lnTo>
                    <a:pt x="165" y="394"/>
                  </a:lnTo>
                  <a:lnTo>
                    <a:pt x="168" y="397"/>
                  </a:lnTo>
                  <a:lnTo>
                    <a:pt x="165" y="400"/>
                  </a:lnTo>
                  <a:lnTo>
                    <a:pt x="158" y="404"/>
                  </a:lnTo>
                  <a:lnTo>
                    <a:pt x="155" y="404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55" y="397"/>
                  </a:lnTo>
                  <a:lnTo>
                    <a:pt x="151" y="397"/>
                  </a:lnTo>
                  <a:lnTo>
                    <a:pt x="144" y="397"/>
                  </a:lnTo>
                  <a:lnTo>
                    <a:pt x="141" y="400"/>
                  </a:lnTo>
                  <a:lnTo>
                    <a:pt x="141" y="400"/>
                  </a:lnTo>
                  <a:lnTo>
                    <a:pt x="141" y="404"/>
                  </a:lnTo>
                  <a:lnTo>
                    <a:pt x="148" y="404"/>
                  </a:lnTo>
                  <a:lnTo>
                    <a:pt x="151" y="407"/>
                  </a:lnTo>
                  <a:lnTo>
                    <a:pt x="151" y="407"/>
                  </a:lnTo>
                  <a:lnTo>
                    <a:pt x="148" y="410"/>
                  </a:lnTo>
                  <a:lnTo>
                    <a:pt x="141" y="413"/>
                  </a:lnTo>
                  <a:lnTo>
                    <a:pt x="141" y="413"/>
                  </a:lnTo>
                  <a:lnTo>
                    <a:pt x="141" y="416"/>
                  </a:lnTo>
                  <a:lnTo>
                    <a:pt x="141" y="420"/>
                  </a:lnTo>
                  <a:lnTo>
                    <a:pt x="137" y="423"/>
                  </a:lnTo>
                  <a:lnTo>
                    <a:pt x="137" y="426"/>
                  </a:lnTo>
                  <a:lnTo>
                    <a:pt x="141" y="426"/>
                  </a:lnTo>
                  <a:lnTo>
                    <a:pt x="141" y="429"/>
                  </a:lnTo>
                  <a:lnTo>
                    <a:pt x="137" y="433"/>
                  </a:lnTo>
                  <a:lnTo>
                    <a:pt x="144" y="436"/>
                  </a:lnTo>
                  <a:lnTo>
                    <a:pt x="144" y="436"/>
                  </a:lnTo>
                  <a:lnTo>
                    <a:pt x="141" y="439"/>
                  </a:lnTo>
                  <a:lnTo>
                    <a:pt x="141" y="439"/>
                  </a:lnTo>
                  <a:lnTo>
                    <a:pt x="137" y="442"/>
                  </a:lnTo>
                  <a:lnTo>
                    <a:pt x="137" y="446"/>
                  </a:lnTo>
                  <a:lnTo>
                    <a:pt x="134" y="449"/>
                  </a:lnTo>
                  <a:lnTo>
                    <a:pt x="141" y="449"/>
                  </a:lnTo>
                  <a:lnTo>
                    <a:pt x="141" y="449"/>
                  </a:lnTo>
                  <a:lnTo>
                    <a:pt x="141" y="452"/>
                  </a:lnTo>
                  <a:lnTo>
                    <a:pt x="134" y="452"/>
                  </a:lnTo>
                  <a:lnTo>
                    <a:pt x="131" y="452"/>
                  </a:lnTo>
                  <a:lnTo>
                    <a:pt x="127" y="452"/>
                  </a:lnTo>
                  <a:lnTo>
                    <a:pt x="124" y="455"/>
                  </a:lnTo>
                  <a:lnTo>
                    <a:pt x="117" y="455"/>
                  </a:lnTo>
                  <a:lnTo>
                    <a:pt x="113" y="458"/>
                  </a:lnTo>
                  <a:lnTo>
                    <a:pt x="113" y="462"/>
                  </a:lnTo>
                  <a:lnTo>
                    <a:pt x="110" y="465"/>
                  </a:lnTo>
                  <a:lnTo>
                    <a:pt x="110" y="468"/>
                  </a:lnTo>
                  <a:lnTo>
                    <a:pt x="103" y="468"/>
                  </a:lnTo>
                  <a:lnTo>
                    <a:pt x="103" y="471"/>
                  </a:lnTo>
                  <a:lnTo>
                    <a:pt x="106" y="475"/>
                  </a:lnTo>
                  <a:lnTo>
                    <a:pt x="106" y="478"/>
                  </a:lnTo>
                  <a:lnTo>
                    <a:pt x="110" y="484"/>
                  </a:lnTo>
                  <a:lnTo>
                    <a:pt x="113" y="488"/>
                  </a:lnTo>
                  <a:lnTo>
                    <a:pt x="117" y="488"/>
                  </a:lnTo>
                  <a:lnTo>
                    <a:pt x="124" y="491"/>
                  </a:lnTo>
                  <a:lnTo>
                    <a:pt x="131" y="497"/>
                  </a:lnTo>
                  <a:lnTo>
                    <a:pt x="137" y="497"/>
                  </a:lnTo>
                  <a:lnTo>
                    <a:pt x="141" y="497"/>
                  </a:lnTo>
                  <a:lnTo>
                    <a:pt x="141" y="497"/>
                  </a:lnTo>
                  <a:lnTo>
                    <a:pt x="144" y="497"/>
                  </a:lnTo>
                  <a:lnTo>
                    <a:pt x="148" y="497"/>
                  </a:lnTo>
                  <a:lnTo>
                    <a:pt x="144" y="500"/>
                  </a:lnTo>
                  <a:lnTo>
                    <a:pt x="144" y="500"/>
                  </a:lnTo>
                  <a:lnTo>
                    <a:pt x="148" y="507"/>
                  </a:lnTo>
                  <a:lnTo>
                    <a:pt x="148" y="507"/>
                  </a:lnTo>
                  <a:lnTo>
                    <a:pt x="144" y="510"/>
                  </a:lnTo>
                  <a:lnTo>
                    <a:pt x="144" y="510"/>
                  </a:lnTo>
                  <a:lnTo>
                    <a:pt x="151" y="513"/>
                  </a:lnTo>
                  <a:lnTo>
                    <a:pt x="148" y="517"/>
                  </a:lnTo>
                  <a:lnTo>
                    <a:pt x="148" y="517"/>
                  </a:lnTo>
                  <a:lnTo>
                    <a:pt x="148" y="520"/>
                  </a:lnTo>
                  <a:lnTo>
                    <a:pt x="144" y="520"/>
                  </a:lnTo>
                  <a:lnTo>
                    <a:pt x="141" y="523"/>
                  </a:lnTo>
                  <a:lnTo>
                    <a:pt x="141" y="526"/>
                  </a:lnTo>
                  <a:lnTo>
                    <a:pt x="137" y="526"/>
                  </a:lnTo>
                  <a:lnTo>
                    <a:pt x="137" y="530"/>
                  </a:lnTo>
                  <a:lnTo>
                    <a:pt x="134" y="533"/>
                  </a:lnTo>
                  <a:lnTo>
                    <a:pt x="131" y="533"/>
                  </a:lnTo>
                  <a:lnTo>
                    <a:pt x="127" y="536"/>
                  </a:lnTo>
                  <a:lnTo>
                    <a:pt x="124" y="539"/>
                  </a:lnTo>
                  <a:lnTo>
                    <a:pt x="124" y="542"/>
                  </a:lnTo>
                  <a:lnTo>
                    <a:pt x="120" y="546"/>
                  </a:lnTo>
                  <a:lnTo>
                    <a:pt x="120" y="549"/>
                  </a:lnTo>
                  <a:lnTo>
                    <a:pt x="120" y="549"/>
                  </a:lnTo>
                  <a:lnTo>
                    <a:pt x="124" y="549"/>
                  </a:lnTo>
                  <a:lnTo>
                    <a:pt x="127" y="552"/>
                  </a:lnTo>
                  <a:lnTo>
                    <a:pt x="124" y="555"/>
                  </a:lnTo>
                  <a:lnTo>
                    <a:pt x="120" y="559"/>
                  </a:lnTo>
                  <a:lnTo>
                    <a:pt x="120" y="562"/>
                  </a:lnTo>
                  <a:lnTo>
                    <a:pt x="117" y="565"/>
                  </a:lnTo>
                  <a:lnTo>
                    <a:pt x="113" y="565"/>
                  </a:lnTo>
                  <a:lnTo>
                    <a:pt x="110" y="562"/>
                  </a:lnTo>
                  <a:lnTo>
                    <a:pt x="110" y="562"/>
                  </a:lnTo>
                  <a:lnTo>
                    <a:pt x="110" y="562"/>
                  </a:lnTo>
                  <a:lnTo>
                    <a:pt x="110" y="565"/>
                  </a:lnTo>
                  <a:lnTo>
                    <a:pt x="113" y="565"/>
                  </a:lnTo>
                  <a:lnTo>
                    <a:pt x="110" y="568"/>
                  </a:lnTo>
                  <a:lnTo>
                    <a:pt x="106" y="572"/>
                  </a:lnTo>
                  <a:lnTo>
                    <a:pt x="103" y="578"/>
                  </a:lnTo>
                  <a:lnTo>
                    <a:pt x="103" y="581"/>
                  </a:lnTo>
                  <a:lnTo>
                    <a:pt x="106" y="588"/>
                  </a:lnTo>
                  <a:lnTo>
                    <a:pt x="110" y="594"/>
                  </a:lnTo>
                  <a:lnTo>
                    <a:pt x="110" y="597"/>
                  </a:lnTo>
                  <a:lnTo>
                    <a:pt x="113" y="597"/>
                  </a:lnTo>
                  <a:lnTo>
                    <a:pt x="110" y="601"/>
                  </a:lnTo>
                  <a:lnTo>
                    <a:pt x="110" y="601"/>
                  </a:lnTo>
                  <a:lnTo>
                    <a:pt x="110" y="604"/>
                  </a:lnTo>
                  <a:lnTo>
                    <a:pt x="113" y="604"/>
                  </a:lnTo>
                  <a:lnTo>
                    <a:pt x="117" y="607"/>
                  </a:lnTo>
                  <a:lnTo>
                    <a:pt x="117" y="610"/>
                  </a:lnTo>
                  <a:lnTo>
                    <a:pt x="124" y="614"/>
                  </a:lnTo>
                  <a:lnTo>
                    <a:pt x="127" y="614"/>
                  </a:lnTo>
                  <a:lnTo>
                    <a:pt x="127" y="617"/>
                  </a:lnTo>
                  <a:lnTo>
                    <a:pt x="127" y="617"/>
                  </a:lnTo>
                  <a:lnTo>
                    <a:pt x="120" y="617"/>
                  </a:lnTo>
                  <a:lnTo>
                    <a:pt x="117" y="614"/>
                  </a:lnTo>
                  <a:lnTo>
                    <a:pt x="113" y="610"/>
                  </a:lnTo>
                  <a:lnTo>
                    <a:pt x="110" y="610"/>
                  </a:lnTo>
                  <a:lnTo>
                    <a:pt x="86" y="610"/>
                  </a:lnTo>
                  <a:lnTo>
                    <a:pt x="72" y="614"/>
                  </a:lnTo>
                  <a:lnTo>
                    <a:pt x="69" y="610"/>
                  </a:lnTo>
                  <a:lnTo>
                    <a:pt x="58" y="610"/>
                  </a:lnTo>
                  <a:lnTo>
                    <a:pt x="55" y="604"/>
                  </a:lnTo>
                  <a:lnTo>
                    <a:pt x="55" y="597"/>
                  </a:lnTo>
                  <a:lnTo>
                    <a:pt x="51" y="594"/>
                  </a:lnTo>
                  <a:lnTo>
                    <a:pt x="48" y="584"/>
                  </a:lnTo>
                  <a:lnTo>
                    <a:pt x="48" y="581"/>
                  </a:lnTo>
                  <a:lnTo>
                    <a:pt x="45" y="581"/>
                  </a:lnTo>
                  <a:lnTo>
                    <a:pt x="38" y="584"/>
                  </a:lnTo>
                  <a:lnTo>
                    <a:pt x="34" y="588"/>
                  </a:lnTo>
                  <a:lnTo>
                    <a:pt x="31" y="588"/>
                  </a:lnTo>
                  <a:lnTo>
                    <a:pt x="24" y="572"/>
                  </a:lnTo>
                  <a:lnTo>
                    <a:pt x="20" y="565"/>
                  </a:lnTo>
                  <a:lnTo>
                    <a:pt x="24" y="552"/>
                  </a:lnTo>
                  <a:lnTo>
                    <a:pt x="27" y="546"/>
                  </a:lnTo>
                  <a:lnTo>
                    <a:pt x="34" y="539"/>
                  </a:lnTo>
                  <a:lnTo>
                    <a:pt x="38" y="533"/>
                  </a:lnTo>
                  <a:lnTo>
                    <a:pt x="34" y="523"/>
                  </a:lnTo>
                  <a:lnTo>
                    <a:pt x="31" y="517"/>
                  </a:lnTo>
                  <a:lnTo>
                    <a:pt x="34" y="510"/>
                  </a:lnTo>
                  <a:lnTo>
                    <a:pt x="38" y="507"/>
                  </a:lnTo>
                  <a:lnTo>
                    <a:pt x="34" y="497"/>
                  </a:lnTo>
                  <a:lnTo>
                    <a:pt x="34" y="494"/>
                  </a:lnTo>
                  <a:lnTo>
                    <a:pt x="38" y="491"/>
                  </a:lnTo>
                  <a:lnTo>
                    <a:pt x="34" y="484"/>
                  </a:lnTo>
                  <a:lnTo>
                    <a:pt x="34" y="475"/>
                  </a:lnTo>
                  <a:lnTo>
                    <a:pt x="31" y="471"/>
                  </a:lnTo>
                  <a:lnTo>
                    <a:pt x="31" y="468"/>
                  </a:lnTo>
                  <a:lnTo>
                    <a:pt x="38" y="465"/>
                  </a:lnTo>
                  <a:lnTo>
                    <a:pt x="38" y="462"/>
                  </a:lnTo>
                  <a:lnTo>
                    <a:pt x="34" y="455"/>
                  </a:lnTo>
                  <a:lnTo>
                    <a:pt x="27" y="452"/>
                  </a:lnTo>
                  <a:lnTo>
                    <a:pt x="24" y="452"/>
                  </a:lnTo>
                  <a:lnTo>
                    <a:pt x="20" y="452"/>
                  </a:lnTo>
                  <a:lnTo>
                    <a:pt x="17" y="449"/>
                  </a:lnTo>
                  <a:lnTo>
                    <a:pt x="20" y="446"/>
                  </a:lnTo>
                  <a:lnTo>
                    <a:pt x="27" y="446"/>
                  </a:lnTo>
                  <a:lnTo>
                    <a:pt x="34" y="442"/>
                  </a:lnTo>
                  <a:lnTo>
                    <a:pt x="34" y="439"/>
                  </a:lnTo>
                  <a:lnTo>
                    <a:pt x="31" y="439"/>
                  </a:lnTo>
                  <a:lnTo>
                    <a:pt x="27" y="439"/>
                  </a:lnTo>
                  <a:lnTo>
                    <a:pt x="24" y="439"/>
                  </a:lnTo>
                  <a:lnTo>
                    <a:pt x="20" y="433"/>
                  </a:lnTo>
                  <a:lnTo>
                    <a:pt x="17" y="426"/>
                  </a:lnTo>
                  <a:lnTo>
                    <a:pt x="17" y="420"/>
                  </a:lnTo>
                  <a:lnTo>
                    <a:pt x="17" y="413"/>
                  </a:lnTo>
                  <a:lnTo>
                    <a:pt x="14" y="413"/>
                  </a:lnTo>
                  <a:lnTo>
                    <a:pt x="10" y="407"/>
                  </a:lnTo>
                  <a:lnTo>
                    <a:pt x="10" y="394"/>
                  </a:lnTo>
                  <a:lnTo>
                    <a:pt x="14" y="394"/>
                  </a:lnTo>
                  <a:lnTo>
                    <a:pt x="14" y="387"/>
                  </a:lnTo>
                  <a:lnTo>
                    <a:pt x="14" y="384"/>
                  </a:lnTo>
                  <a:lnTo>
                    <a:pt x="10" y="384"/>
                  </a:lnTo>
                  <a:lnTo>
                    <a:pt x="7" y="375"/>
                  </a:lnTo>
                  <a:lnTo>
                    <a:pt x="7" y="365"/>
                  </a:lnTo>
                  <a:lnTo>
                    <a:pt x="7" y="352"/>
                  </a:lnTo>
                  <a:lnTo>
                    <a:pt x="3" y="349"/>
                  </a:lnTo>
                  <a:lnTo>
                    <a:pt x="3" y="342"/>
                  </a:lnTo>
                  <a:lnTo>
                    <a:pt x="10" y="333"/>
                  </a:lnTo>
                  <a:lnTo>
                    <a:pt x="14" y="326"/>
                  </a:lnTo>
                  <a:lnTo>
                    <a:pt x="17" y="323"/>
                  </a:lnTo>
                  <a:lnTo>
                    <a:pt x="20" y="320"/>
                  </a:lnTo>
                  <a:lnTo>
                    <a:pt x="7" y="300"/>
                  </a:lnTo>
                  <a:lnTo>
                    <a:pt x="10" y="294"/>
                  </a:lnTo>
                  <a:lnTo>
                    <a:pt x="10" y="291"/>
                  </a:lnTo>
                  <a:lnTo>
                    <a:pt x="10" y="278"/>
                  </a:lnTo>
                  <a:lnTo>
                    <a:pt x="14" y="271"/>
                  </a:lnTo>
                  <a:lnTo>
                    <a:pt x="17" y="268"/>
                  </a:lnTo>
                  <a:lnTo>
                    <a:pt x="17" y="261"/>
                  </a:lnTo>
                  <a:lnTo>
                    <a:pt x="14" y="255"/>
                  </a:lnTo>
                  <a:lnTo>
                    <a:pt x="10" y="255"/>
                  </a:lnTo>
                  <a:lnTo>
                    <a:pt x="14" y="249"/>
                  </a:lnTo>
                  <a:lnTo>
                    <a:pt x="14" y="242"/>
                  </a:lnTo>
                  <a:lnTo>
                    <a:pt x="17" y="236"/>
                  </a:lnTo>
                  <a:lnTo>
                    <a:pt x="20" y="236"/>
                  </a:lnTo>
                  <a:lnTo>
                    <a:pt x="20" y="226"/>
                  </a:lnTo>
                  <a:lnTo>
                    <a:pt x="20" y="213"/>
                  </a:lnTo>
                  <a:lnTo>
                    <a:pt x="17" y="213"/>
                  </a:lnTo>
                  <a:lnTo>
                    <a:pt x="14" y="203"/>
                  </a:lnTo>
                  <a:lnTo>
                    <a:pt x="14" y="197"/>
                  </a:lnTo>
                  <a:lnTo>
                    <a:pt x="7" y="190"/>
                  </a:lnTo>
                  <a:lnTo>
                    <a:pt x="7" y="187"/>
                  </a:lnTo>
                  <a:lnTo>
                    <a:pt x="3" y="184"/>
                  </a:lnTo>
                  <a:lnTo>
                    <a:pt x="0" y="174"/>
                  </a:lnTo>
                  <a:lnTo>
                    <a:pt x="3" y="171"/>
                  </a:lnTo>
                  <a:lnTo>
                    <a:pt x="7" y="168"/>
                  </a:lnTo>
                  <a:lnTo>
                    <a:pt x="7" y="158"/>
                  </a:lnTo>
                  <a:lnTo>
                    <a:pt x="10" y="155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7" y="132"/>
                  </a:lnTo>
                  <a:lnTo>
                    <a:pt x="10" y="132"/>
                  </a:lnTo>
                  <a:lnTo>
                    <a:pt x="10" y="119"/>
                  </a:lnTo>
                  <a:lnTo>
                    <a:pt x="14" y="113"/>
                  </a:lnTo>
                  <a:lnTo>
                    <a:pt x="20" y="103"/>
                  </a:lnTo>
                  <a:lnTo>
                    <a:pt x="24" y="100"/>
                  </a:lnTo>
                  <a:lnTo>
                    <a:pt x="27" y="97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31" y="87"/>
                  </a:lnTo>
                  <a:lnTo>
                    <a:pt x="27" y="87"/>
                  </a:lnTo>
                  <a:lnTo>
                    <a:pt x="27" y="84"/>
                  </a:lnTo>
                  <a:lnTo>
                    <a:pt x="27" y="81"/>
                  </a:lnTo>
                  <a:lnTo>
                    <a:pt x="31" y="77"/>
                  </a:lnTo>
                  <a:lnTo>
                    <a:pt x="31" y="74"/>
                  </a:lnTo>
                  <a:lnTo>
                    <a:pt x="27" y="71"/>
                  </a:lnTo>
                  <a:lnTo>
                    <a:pt x="24" y="64"/>
                  </a:lnTo>
                  <a:lnTo>
                    <a:pt x="27" y="61"/>
                  </a:lnTo>
                  <a:lnTo>
                    <a:pt x="27" y="58"/>
                  </a:lnTo>
                  <a:lnTo>
                    <a:pt x="24" y="55"/>
                  </a:lnTo>
                  <a:lnTo>
                    <a:pt x="24" y="51"/>
                  </a:lnTo>
                  <a:lnTo>
                    <a:pt x="48" y="42"/>
                  </a:lnTo>
                  <a:lnTo>
                    <a:pt x="51" y="22"/>
                  </a:lnTo>
                  <a:lnTo>
                    <a:pt x="48" y="16"/>
                  </a:lnTo>
                  <a:lnTo>
                    <a:pt x="48" y="16"/>
                  </a:lnTo>
                  <a:close/>
                  <a:moveTo>
                    <a:pt x="210" y="675"/>
                  </a:moveTo>
                  <a:lnTo>
                    <a:pt x="213" y="675"/>
                  </a:lnTo>
                  <a:lnTo>
                    <a:pt x="217" y="675"/>
                  </a:lnTo>
                  <a:lnTo>
                    <a:pt x="220" y="672"/>
                  </a:lnTo>
                  <a:lnTo>
                    <a:pt x="223" y="672"/>
                  </a:lnTo>
                  <a:lnTo>
                    <a:pt x="220" y="668"/>
                  </a:lnTo>
                  <a:lnTo>
                    <a:pt x="217" y="672"/>
                  </a:lnTo>
                  <a:lnTo>
                    <a:pt x="210" y="672"/>
                  </a:lnTo>
                  <a:lnTo>
                    <a:pt x="210" y="675"/>
                  </a:lnTo>
                  <a:lnTo>
                    <a:pt x="210" y="675"/>
                  </a:lnTo>
                  <a:close/>
                  <a:moveTo>
                    <a:pt x="120" y="620"/>
                  </a:moveTo>
                  <a:lnTo>
                    <a:pt x="124" y="620"/>
                  </a:lnTo>
                  <a:lnTo>
                    <a:pt x="127" y="626"/>
                  </a:lnTo>
                  <a:lnTo>
                    <a:pt x="131" y="630"/>
                  </a:lnTo>
                  <a:lnTo>
                    <a:pt x="134" y="639"/>
                  </a:lnTo>
                  <a:lnTo>
                    <a:pt x="131" y="636"/>
                  </a:lnTo>
                  <a:lnTo>
                    <a:pt x="127" y="636"/>
                  </a:lnTo>
                  <a:lnTo>
                    <a:pt x="127" y="639"/>
                  </a:lnTo>
                  <a:lnTo>
                    <a:pt x="120" y="620"/>
                  </a:lnTo>
                  <a:lnTo>
                    <a:pt x="120" y="620"/>
                  </a:lnTo>
                  <a:close/>
                  <a:moveTo>
                    <a:pt x="127" y="643"/>
                  </a:moveTo>
                  <a:lnTo>
                    <a:pt x="131" y="643"/>
                  </a:lnTo>
                  <a:lnTo>
                    <a:pt x="137" y="643"/>
                  </a:lnTo>
                  <a:lnTo>
                    <a:pt x="137" y="646"/>
                  </a:lnTo>
                  <a:lnTo>
                    <a:pt x="141" y="649"/>
                  </a:lnTo>
                  <a:lnTo>
                    <a:pt x="144" y="652"/>
                  </a:lnTo>
                  <a:lnTo>
                    <a:pt x="151" y="656"/>
                  </a:lnTo>
                  <a:lnTo>
                    <a:pt x="151" y="659"/>
                  </a:lnTo>
                  <a:lnTo>
                    <a:pt x="155" y="659"/>
                  </a:lnTo>
                  <a:lnTo>
                    <a:pt x="172" y="662"/>
                  </a:lnTo>
                  <a:lnTo>
                    <a:pt x="172" y="665"/>
                  </a:lnTo>
                  <a:lnTo>
                    <a:pt x="179" y="665"/>
                  </a:lnTo>
                  <a:lnTo>
                    <a:pt x="182" y="672"/>
                  </a:lnTo>
                  <a:lnTo>
                    <a:pt x="186" y="672"/>
                  </a:lnTo>
                  <a:lnTo>
                    <a:pt x="192" y="668"/>
                  </a:lnTo>
                  <a:lnTo>
                    <a:pt x="196" y="672"/>
                  </a:lnTo>
                  <a:lnTo>
                    <a:pt x="196" y="672"/>
                  </a:lnTo>
                  <a:lnTo>
                    <a:pt x="192" y="675"/>
                  </a:lnTo>
                  <a:lnTo>
                    <a:pt x="192" y="675"/>
                  </a:lnTo>
                  <a:lnTo>
                    <a:pt x="186" y="675"/>
                  </a:lnTo>
                  <a:lnTo>
                    <a:pt x="186" y="678"/>
                  </a:lnTo>
                  <a:lnTo>
                    <a:pt x="182" y="681"/>
                  </a:lnTo>
                  <a:lnTo>
                    <a:pt x="179" y="681"/>
                  </a:lnTo>
                  <a:lnTo>
                    <a:pt x="175" y="681"/>
                  </a:lnTo>
                  <a:lnTo>
                    <a:pt x="168" y="678"/>
                  </a:lnTo>
                  <a:lnTo>
                    <a:pt x="162" y="678"/>
                  </a:lnTo>
                  <a:lnTo>
                    <a:pt x="155" y="678"/>
                  </a:lnTo>
                  <a:lnTo>
                    <a:pt x="148" y="678"/>
                  </a:lnTo>
                  <a:lnTo>
                    <a:pt x="141" y="678"/>
                  </a:lnTo>
                  <a:lnTo>
                    <a:pt x="137" y="678"/>
                  </a:lnTo>
                  <a:lnTo>
                    <a:pt x="137" y="675"/>
                  </a:lnTo>
                  <a:lnTo>
                    <a:pt x="148" y="672"/>
                  </a:lnTo>
                  <a:lnTo>
                    <a:pt x="151" y="672"/>
                  </a:lnTo>
                  <a:lnTo>
                    <a:pt x="155" y="672"/>
                  </a:lnTo>
                  <a:lnTo>
                    <a:pt x="155" y="668"/>
                  </a:lnTo>
                  <a:lnTo>
                    <a:pt x="151" y="672"/>
                  </a:lnTo>
                  <a:lnTo>
                    <a:pt x="144" y="672"/>
                  </a:lnTo>
                  <a:lnTo>
                    <a:pt x="137" y="672"/>
                  </a:lnTo>
                  <a:lnTo>
                    <a:pt x="137" y="672"/>
                  </a:lnTo>
                  <a:lnTo>
                    <a:pt x="127" y="6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9" name="Freeform 190"/>
            <p:cNvSpPr>
              <a:spLocks noEditPoints="1"/>
            </p:cNvSpPr>
            <p:nvPr/>
          </p:nvSpPr>
          <p:spPr bwMode="auto">
            <a:xfrm>
              <a:off x="4110038" y="5102880"/>
              <a:ext cx="331788" cy="1236662"/>
            </a:xfrm>
            <a:custGeom>
              <a:avLst/>
              <a:gdLst>
                <a:gd name="T0" fmla="*/ 144 w 209"/>
                <a:gd name="T1" fmla="*/ 747 h 779"/>
                <a:gd name="T2" fmla="*/ 141 w 209"/>
                <a:gd name="T3" fmla="*/ 760 h 779"/>
                <a:gd name="T4" fmla="*/ 178 w 209"/>
                <a:gd name="T5" fmla="*/ 753 h 779"/>
                <a:gd name="T6" fmla="*/ 137 w 209"/>
                <a:gd name="T7" fmla="*/ 714 h 779"/>
                <a:gd name="T8" fmla="*/ 161 w 209"/>
                <a:gd name="T9" fmla="*/ 692 h 779"/>
                <a:gd name="T10" fmla="*/ 79 w 209"/>
                <a:gd name="T11" fmla="*/ 608 h 779"/>
                <a:gd name="T12" fmla="*/ 75 w 209"/>
                <a:gd name="T13" fmla="*/ 514 h 779"/>
                <a:gd name="T14" fmla="*/ 58 w 209"/>
                <a:gd name="T15" fmla="*/ 398 h 779"/>
                <a:gd name="T16" fmla="*/ 44 w 209"/>
                <a:gd name="T17" fmla="*/ 259 h 779"/>
                <a:gd name="T18" fmla="*/ 72 w 209"/>
                <a:gd name="T19" fmla="*/ 149 h 779"/>
                <a:gd name="T20" fmla="*/ 48 w 209"/>
                <a:gd name="T21" fmla="*/ 17 h 779"/>
                <a:gd name="T22" fmla="*/ 24 w 209"/>
                <a:gd name="T23" fmla="*/ 49 h 779"/>
                <a:gd name="T24" fmla="*/ 24 w 209"/>
                <a:gd name="T25" fmla="*/ 152 h 779"/>
                <a:gd name="T26" fmla="*/ 17 w 209"/>
                <a:gd name="T27" fmla="*/ 233 h 779"/>
                <a:gd name="T28" fmla="*/ 24 w 209"/>
                <a:gd name="T29" fmla="*/ 311 h 779"/>
                <a:gd name="T30" fmla="*/ 6 w 209"/>
                <a:gd name="T31" fmla="*/ 369 h 779"/>
                <a:gd name="T32" fmla="*/ 13 w 209"/>
                <a:gd name="T33" fmla="*/ 430 h 779"/>
                <a:gd name="T34" fmla="*/ 41 w 209"/>
                <a:gd name="T35" fmla="*/ 466 h 779"/>
                <a:gd name="T36" fmla="*/ 41 w 209"/>
                <a:gd name="T37" fmla="*/ 501 h 779"/>
                <a:gd name="T38" fmla="*/ 34 w 209"/>
                <a:gd name="T39" fmla="*/ 553 h 779"/>
                <a:gd name="T40" fmla="*/ 13 w 209"/>
                <a:gd name="T41" fmla="*/ 550 h 779"/>
                <a:gd name="T42" fmla="*/ 20 w 209"/>
                <a:gd name="T43" fmla="*/ 572 h 779"/>
                <a:gd name="T44" fmla="*/ 44 w 209"/>
                <a:gd name="T45" fmla="*/ 592 h 779"/>
                <a:gd name="T46" fmla="*/ 41 w 209"/>
                <a:gd name="T47" fmla="*/ 614 h 779"/>
                <a:gd name="T48" fmla="*/ 44 w 209"/>
                <a:gd name="T49" fmla="*/ 647 h 779"/>
                <a:gd name="T50" fmla="*/ 68 w 209"/>
                <a:gd name="T51" fmla="*/ 679 h 779"/>
                <a:gd name="T52" fmla="*/ 75 w 209"/>
                <a:gd name="T53" fmla="*/ 679 h 779"/>
                <a:gd name="T54" fmla="*/ 86 w 209"/>
                <a:gd name="T55" fmla="*/ 692 h 779"/>
                <a:gd name="T56" fmla="*/ 79 w 209"/>
                <a:gd name="T57" fmla="*/ 714 h 779"/>
                <a:gd name="T58" fmla="*/ 117 w 209"/>
                <a:gd name="T59" fmla="*/ 701 h 779"/>
                <a:gd name="T60" fmla="*/ 103 w 209"/>
                <a:gd name="T61" fmla="*/ 721 h 779"/>
                <a:gd name="T62" fmla="*/ 113 w 209"/>
                <a:gd name="T63" fmla="*/ 724 h 779"/>
                <a:gd name="T64" fmla="*/ 130 w 209"/>
                <a:gd name="T65" fmla="*/ 705 h 779"/>
                <a:gd name="T66" fmla="*/ 20 w 209"/>
                <a:gd name="T67" fmla="*/ 479 h 779"/>
                <a:gd name="T68" fmla="*/ 13 w 209"/>
                <a:gd name="T69" fmla="*/ 462 h 779"/>
                <a:gd name="T70" fmla="*/ 6 w 209"/>
                <a:gd name="T71" fmla="*/ 504 h 779"/>
                <a:gd name="T72" fmla="*/ 17 w 209"/>
                <a:gd name="T73" fmla="*/ 504 h 779"/>
                <a:gd name="T74" fmla="*/ 31 w 209"/>
                <a:gd name="T75" fmla="*/ 521 h 779"/>
                <a:gd name="T76" fmla="*/ 17 w 209"/>
                <a:gd name="T77" fmla="*/ 524 h 779"/>
                <a:gd name="T78" fmla="*/ 34 w 209"/>
                <a:gd name="T79" fmla="*/ 517 h 779"/>
                <a:gd name="T80" fmla="*/ 20 w 209"/>
                <a:gd name="T81" fmla="*/ 527 h 779"/>
                <a:gd name="T82" fmla="*/ 20 w 209"/>
                <a:gd name="T83" fmla="*/ 543 h 779"/>
                <a:gd name="T84" fmla="*/ 31 w 209"/>
                <a:gd name="T85" fmla="*/ 611 h 779"/>
                <a:gd name="T86" fmla="*/ 20 w 209"/>
                <a:gd name="T87" fmla="*/ 614 h 779"/>
                <a:gd name="T88" fmla="*/ 27 w 209"/>
                <a:gd name="T89" fmla="*/ 634 h 779"/>
                <a:gd name="T90" fmla="*/ 41 w 209"/>
                <a:gd name="T91" fmla="*/ 624 h 779"/>
                <a:gd name="T92" fmla="*/ 34 w 209"/>
                <a:gd name="T93" fmla="*/ 653 h 779"/>
                <a:gd name="T94" fmla="*/ 48 w 209"/>
                <a:gd name="T95" fmla="*/ 659 h 779"/>
                <a:gd name="T96" fmla="*/ 55 w 209"/>
                <a:gd name="T97" fmla="*/ 676 h 779"/>
                <a:gd name="T98" fmla="*/ 55 w 209"/>
                <a:gd name="T99" fmla="*/ 682 h 779"/>
                <a:gd name="T100" fmla="*/ 58 w 209"/>
                <a:gd name="T101" fmla="*/ 692 h 779"/>
                <a:gd name="T102" fmla="*/ 65 w 209"/>
                <a:gd name="T103" fmla="*/ 698 h 779"/>
                <a:gd name="T104" fmla="*/ 75 w 209"/>
                <a:gd name="T105" fmla="*/ 724 h 779"/>
                <a:gd name="T106" fmla="*/ 72 w 209"/>
                <a:gd name="T107" fmla="*/ 727 h 779"/>
                <a:gd name="T108" fmla="*/ 86 w 209"/>
                <a:gd name="T109" fmla="*/ 731 h 779"/>
                <a:gd name="T110" fmla="*/ 113 w 209"/>
                <a:gd name="T111" fmla="*/ 740 h 779"/>
                <a:gd name="T112" fmla="*/ 120 w 209"/>
                <a:gd name="T113" fmla="*/ 737 h 779"/>
                <a:gd name="T114" fmla="*/ 144 w 209"/>
                <a:gd name="T115" fmla="*/ 737 h 779"/>
                <a:gd name="T116" fmla="*/ 209 w 209"/>
                <a:gd name="T117" fmla="*/ 773 h 779"/>
                <a:gd name="T118" fmla="*/ 192 w 209"/>
                <a:gd name="T119" fmla="*/ 763 h 779"/>
                <a:gd name="T120" fmla="*/ 172 w 209"/>
                <a:gd name="T121" fmla="*/ 769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9" h="779">
                  <a:moveTo>
                    <a:pt x="178" y="753"/>
                  </a:moveTo>
                  <a:lnTo>
                    <a:pt x="178" y="750"/>
                  </a:lnTo>
                  <a:lnTo>
                    <a:pt x="175" y="750"/>
                  </a:lnTo>
                  <a:lnTo>
                    <a:pt x="172" y="747"/>
                  </a:lnTo>
                  <a:lnTo>
                    <a:pt x="165" y="743"/>
                  </a:lnTo>
                  <a:lnTo>
                    <a:pt x="154" y="743"/>
                  </a:lnTo>
                  <a:lnTo>
                    <a:pt x="151" y="740"/>
                  </a:lnTo>
                  <a:lnTo>
                    <a:pt x="151" y="743"/>
                  </a:lnTo>
                  <a:lnTo>
                    <a:pt x="151" y="743"/>
                  </a:lnTo>
                  <a:lnTo>
                    <a:pt x="151" y="743"/>
                  </a:lnTo>
                  <a:lnTo>
                    <a:pt x="151" y="743"/>
                  </a:lnTo>
                  <a:lnTo>
                    <a:pt x="144" y="740"/>
                  </a:lnTo>
                  <a:lnTo>
                    <a:pt x="141" y="740"/>
                  </a:lnTo>
                  <a:lnTo>
                    <a:pt x="137" y="740"/>
                  </a:lnTo>
                  <a:lnTo>
                    <a:pt x="141" y="743"/>
                  </a:lnTo>
                  <a:lnTo>
                    <a:pt x="147" y="747"/>
                  </a:lnTo>
                  <a:lnTo>
                    <a:pt x="147" y="747"/>
                  </a:lnTo>
                  <a:lnTo>
                    <a:pt x="147" y="747"/>
                  </a:lnTo>
                  <a:lnTo>
                    <a:pt x="144" y="747"/>
                  </a:lnTo>
                  <a:lnTo>
                    <a:pt x="144" y="750"/>
                  </a:lnTo>
                  <a:lnTo>
                    <a:pt x="144" y="750"/>
                  </a:lnTo>
                  <a:lnTo>
                    <a:pt x="144" y="747"/>
                  </a:lnTo>
                  <a:lnTo>
                    <a:pt x="137" y="743"/>
                  </a:lnTo>
                  <a:lnTo>
                    <a:pt x="137" y="747"/>
                  </a:lnTo>
                  <a:lnTo>
                    <a:pt x="137" y="747"/>
                  </a:lnTo>
                  <a:lnTo>
                    <a:pt x="137" y="747"/>
                  </a:lnTo>
                  <a:lnTo>
                    <a:pt x="130" y="750"/>
                  </a:lnTo>
                  <a:lnTo>
                    <a:pt x="127" y="750"/>
                  </a:lnTo>
                  <a:lnTo>
                    <a:pt x="130" y="750"/>
                  </a:lnTo>
                  <a:lnTo>
                    <a:pt x="127" y="750"/>
                  </a:lnTo>
                  <a:lnTo>
                    <a:pt x="127" y="750"/>
                  </a:lnTo>
                  <a:lnTo>
                    <a:pt x="120" y="753"/>
                  </a:lnTo>
                  <a:lnTo>
                    <a:pt x="123" y="753"/>
                  </a:lnTo>
                  <a:lnTo>
                    <a:pt x="127" y="753"/>
                  </a:lnTo>
                  <a:lnTo>
                    <a:pt x="130" y="753"/>
                  </a:lnTo>
                  <a:lnTo>
                    <a:pt x="130" y="753"/>
                  </a:lnTo>
                  <a:lnTo>
                    <a:pt x="134" y="753"/>
                  </a:lnTo>
                  <a:lnTo>
                    <a:pt x="134" y="753"/>
                  </a:lnTo>
                  <a:lnTo>
                    <a:pt x="137" y="756"/>
                  </a:lnTo>
                  <a:lnTo>
                    <a:pt x="141" y="753"/>
                  </a:lnTo>
                  <a:lnTo>
                    <a:pt x="141" y="756"/>
                  </a:lnTo>
                  <a:lnTo>
                    <a:pt x="141" y="756"/>
                  </a:lnTo>
                  <a:lnTo>
                    <a:pt x="144" y="760"/>
                  </a:lnTo>
                  <a:lnTo>
                    <a:pt x="141" y="760"/>
                  </a:lnTo>
                  <a:lnTo>
                    <a:pt x="141" y="763"/>
                  </a:lnTo>
                  <a:lnTo>
                    <a:pt x="141" y="766"/>
                  </a:lnTo>
                  <a:lnTo>
                    <a:pt x="144" y="766"/>
                  </a:lnTo>
                  <a:lnTo>
                    <a:pt x="147" y="766"/>
                  </a:lnTo>
                  <a:lnTo>
                    <a:pt x="147" y="769"/>
                  </a:lnTo>
                  <a:lnTo>
                    <a:pt x="151" y="769"/>
                  </a:lnTo>
                  <a:lnTo>
                    <a:pt x="151" y="766"/>
                  </a:lnTo>
                  <a:lnTo>
                    <a:pt x="151" y="766"/>
                  </a:lnTo>
                  <a:lnTo>
                    <a:pt x="147" y="763"/>
                  </a:lnTo>
                  <a:lnTo>
                    <a:pt x="144" y="763"/>
                  </a:lnTo>
                  <a:lnTo>
                    <a:pt x="147" y="763"/>
                  </a:lnTo>
                  <a:lnTo>
                    <a:pt x="147" y="763"/>
                  </a:lnTo>
                  <a:lnTo>
                    <a:pt x="151" y="763"/>
                  </a:lnTo>
                  <a:lnTo>
                    <a:pt x="151" y="760"/>
                  </a:lnTo>
                  <a:lnTo>
                    <a:pt x="151" y="760"/>
                  </a:lnTo>
                  <a:lnTo>
                    <a:pt x="147" y="760"/>
                  </a:lnTo>
                  <a:lnTo>
                    <a:pt x="154" y="756"/>
                  </a:lnTo>
                  <a:lnTo>
                    <a:pt x="158" y="753"/>
                  </a:lnTo>
                  <a:lnTo>
                    <a:pt x="175" y="756"/>
                  </a:lnTo>
                  <a:lnTo>
                    <a:pt x="175" y="756"/>
                  </a:lnTo>
                  <a:lnTo>
                    <a:pt x="175" y="753"/>
                  </a:lnTo>
                  <a:lnTo>
                    <a:pt x="178" y="753"/>
                  </a:lnTo>
                  <a:lnTo>
                    <a:pt x="178" y="753"/>
                  </a:lnTo>
                  <a:close/>
                  <a:moveTo>
                    <a:pt x="178" y="747"/>
                  </a:moveTo>
                  <a:lnTo>
                    <a:pt x="172" y="747"/>
                  </a:lnTo>
                  <a:lnTo>
                    <a:pt x="165" y="740"/>
                  </a:lnTo>
                  <a:lnTo>
                    <a:pt x="158" y="737"/>
                  </a:lnTo>
                  <a:lnTo>
                    <a:pt x="154" y="740"/>
                  </a:lnTo>
                  <a:lnTo>
                    <a:pt x="151" y="737"/>
                  </a:lnTo>
                  <a:lnTo>
                    <a:pt x="147" y="734"/>
                  </a:lnTo>
                  <a:lnTo>
                    <a:pt x="147" y="734"/>
                  </a:lnTo>
                  <a:lnTo>
                    <a:pt x="147" y="731"/>
                  </a:lnTo>
                  <a:lnTo>
                    <a:pt x="151" y="727"/>
                  </a:lnTo>
                  <a:lnTo>
                    <a:pt x="154" y="727"/>
                  </a:lnTo>
                  <a:lnTo>
                    <a:pt x="158" y="724"/>
                  </a:lnTo>
                  <a:lnTo>
                    <a:pt x="158" y="721"/>
                  </a:lnTo>
                  <a:lnTo>
                    <a:pt x="158" y="718"/>
                  </a:lnTo>
                  <a:lnTo>
                    <a:pt x="154" y="718"/>
                  </a:lnTo>
                  <a:lnTo>
                    <a:pt x="147" y="721"/>
                  </a:lnTo>
                  <a:lnTo>
                    <a:pt x="144" y="724"/>
                  </a:lnTo>
                  <a:lnTo>
                    <a:pt x="144" y="724"/>
                  </a:lnTo>
                  <a:lnTo>
                    <a:pt x="141" y="721"/>
                  </a:lnTo>
                  <a:lnTo>
                    <a:pt x="137" y="718"/>
                  </a:lnTo>
                  <a:lnTo>
                    <a:pt x="137" y="714"/>
                  </a:lnTo>
                  <a:lnTo>
                    <a:pt x="141" y="711"/>
                  </a:lnTo>
                  <a:lnTo>
                    <a:pt x="141" y="711"/>
                  </a:lnTo>
                  <a:lnTo>
                    <a:pt x="137" y="711"/>
                  </a:lnTo>
                  <a:lnTo>
                    <a:pt x="137" y="708"/>
                  </a:lnTo>
                  <a:lnTo>
                    <a:pt x="137" y="705"/>
                  </a:lnTo>
                  <a:lnTo>
                    <a:pt x="141" y="705"/>
                  </a:lnTo>
                  <a:lnTo>
                    <a:pt x="144" y="708"/>
                  </a:lnTo>
                  <a:lnTo>
                    <a:pt x="144" y="708"/>
                  </a:lnTo>
                  <a:lnTo>
                    <a:pt x="147" y="705"/>
                  </a:lnTo>
                  <a:lnTo>
                    <a:pt x="151" y="701"/>
                  </a:lnTo>
                  <a:lnTo>
                    <a:pt x="147" y="698"/>
                  </a:lnTo>
                  <a:lnTo>
                    <a:pt x="151" y="698"/>
                  </a:lnTo>
                  <a:lnTo>
                    <a:pt x="154" y="698"/>
                  </a:lnTo>
                  <a:lnTo>
                    <a:pt x="154" y="698"/>
                  </a:lnTo>
                  <a:lnTo>
                    <a:pt x="158" y="698"/>
                  </a:lnTo>
                  <a:lnTo>
                    <a:pt x="161" y="695"/>
                  </a:lnTo>
                  <a:lnTo>
                    <a:pt x="168" y="714"/>
                  </a:lnTo>
                  <a:lnTo>
                    <a:pt x="168" y="714"/>
                  </a:lnTo>
                  <a:lnTo>
                    <a:pt x="168" y="718"/>
                  </a:lnTo>
                  <a:lnTo>
                    <a:pt x="178" y="747"/>
                  </a:lnTo>
                  <a:lnTo>
                    <a:pt x="178" y="747"/>
                  </a:lnTo>
                  <a:close/>
                  <a:moveTo>
                    <a:pt x="161" y="692"/>
                  </a:moveTo>
                  <a:lnTo>
                    <a:pt x="158" y="689"/>
                  </a:lnTo>
                  <a:lnTo>
                    <a:pt x="154" y="685"/>
                  </a:lnTo>
                  <a:lnTo>
                    <a:pt x="151" y="685"/>
                  </a:lnTo>
                  <a:lnTo>
                    <a:pt x="127" y="685"/>
                  </a:lnTo>
                  <a:lnTo>
                    <a:pt x="113" y="689"/>
                  </a:lnTo>
                  <a:lnTo>
                    <a:pt x="110" y="685"/>
                  </a:lnTo>
                  <a:lnTo>
                    <a:pt x="99" y="685"/>
                  </a:lnTo>
                  <a:lnTo>
                    <a:pt x="96" y="679"/>
                  </a:lnTo>
                  <a:lnTo>
                    <a:pt x="96" y="672"/>
                  </a:lnTo>
                  <a:lnTo>
                    <a:pt x="92" y="669"/>
                  </a:lnTo>
                  <a:lnTo>
                    <a:pt x="89" y="659"/>
                  </a:lnTo>
                  <a:lnTo>
                    <a:pt x="89" y="656"/>
                  </a:lnTo>
                  <a:lnTo>
                    <a:pt x="86" y="656"/>
                  </a:lnTo>
                  <a:lnTo>
                    <a:pt x="79" y="659"/>
                  </a:lnTo>
                  <a:lnTo>
                    <a:pt x="75" y="663"/>
                  </a:lnTo>
                  <a:lnTo>
                    <a:pt x="72" y="663"/>
                  </a:lnTo>
                  <a:lnTo>
                    <a:pt x="65" y="647"/>
                  </a:lnTo>
                  <a:lnTo>
                    <a:pt x="61" y="640"/>
                  </a:lnTo>
                  <a:lnTo>
                    <a:pt x="65" y="627"/>
                  </a:lnTo>
                  <a:lnTo>
                    <a:pt x="68" y="621"/>
                  </a:lnTo>
                  <a:lnTo>
                    <a:pt x="75" y="614"/>
                  </a:lnTo>
                  <a:lnTo>
                    <a:pt x="79" y="608"/>
                  </a:lnTo>
                  <a:lnTo>
                    <a:pt x="75" y="598"/>
                  </a:lnTo>
                  <a:lnTo>
                    <a:pt x="72" y="592"/>
                  </a:lnTo>
                  <a:lnTo>
                    <a:pt x="75" y="585"/>
                  </a:lnTo>
                  <a:lnTo>
                    <a:pt x="79" y="582"/>
                  </a:lnTo>
                  <a:lnTo>
                    <a:pt x="75" y="572"/>
                  </a:lnTo>
                  <a:lnTo>
                    <a:pt x="75" y="569"/>
                  </a:lnTo>
                  <a:lnTo>
                    <a:pt x="79" y="566"/>
                  </a:lnTo>
                  <a:lnTo>
                    <a:pt x="75" y="559"/>
                  </a:lnTo>
                  <a:lnTo>
                    <a:pt x="75" y="550"/>
                  </a:lnTo>
                  <a:lnTo>
                    <a:pt x="72" y="546"/>
                  </a:lnTo>
                  <a:lnTo>
                    <a:pt x="72" y="543"/>
                  </a:lnTo>
                  <a:lnTo>
                    <a:pt x="79" y="540"/>
                  </a:lnTo>
                  <a:lnTo>
                    <a:pt x="79" y="537"/>
                  </a:lnTo>
                  <a:lnTo>
                    <a:pt x="75" y="530"/>
                  </a:lnTo>
                  <a:lnTo>
                    <a:pt x="68" y="527"/>
                  </a:lnTo>
                  <a:lnTo>
                    <a:pt x="65" y="527"/>
                  </a:lnTo>
                  <a:lnTo>
                    <a:pt x="61" y="527"/>
                  </a:lnTo>
                  <a:lnTo>
                    <a:pt x="58" y="524"/>
                  </a:lnTo>
                  <a:lnTo>
                    <a:pt x="61" y="521"/>
                  </a:lnTo>
                  <a:lnTo>
                    <a:pt x="68" y="521"/>
                  </a:lnTo>
                  <a:lnTo>
                    <a:pt x="75" y="517"/>
                  </a:lnTo>
                  <a:lnTo>
                    <a:pt x="75" y="514"/>
                  </a:lnTo>
                  <a:lnTo>
                    <a:pt x="72" y="514"/>
                  </a:lnTo>
                  <a:lnTo>
                    <a:pt x="68" y="514"/>
                  </a:lnTo>
                  <a:lnTo>
                    <a:pt x="65" y="514"/>
                  </a:lnTo>
                  <a:lnTo>
                    <a:pt x="61" y="508"/>
                  </a:lnTo>
                  <a:lnTo>
                    <a:pt x="58" y="501"/>
                  </a:lnTo>
                  <a:lnTo>
                    <a:pt x="58" y="495"/>
                  </a:lnTo>
                  <a:lnTo>
                    <a:pt x="58" y="488"/>
                  </a:lnTo>
                  <a:lnTo>
                    <a:pt x="55" y="488"/>
                  </a:lnTo>
                  <a:lnTo>
                    <a:pt x="51" y="482"/>
                  </a:lnTo>
                  <a:lnTo>
                    <a:pt x="51" y="469"/>
                  </a:lnTo>
                  <a:lnTo>
                    <a:pt x="55" y="469"/>
                  </a:lnTo>
                  <a:lnTo>
                    <a:pt x="55" y="462"/>
                  </a:lnTo>
                  <a:lnTo>
                    <a:pt x="55" y="459"/>
                  </a:lnTo>
                  <a:lnTo>
                    <a:pt x="51" y="459"/>
                  </a:lnTo>
                  <a:lnTo>
                    <a:pt x="48" y="450"/>
                  </a:lnTo>
                  <a:lnTo>
                    <a:pt x="48" y="440"/>
                  </a:lnTo>
                  <a:lnTo>
                    <a:pt x="48" y="427"/>
                  </a:lnTo>
                  <a:lnTo>
                    <a:pt x="44" y="424"/>
                  </a:lnTo>
                  <a:lnTo>
                    <a:pt x="44" y="417"/>
                  </a:lnTo>
                  <a:lnTo>
                    <a:pt x="51" y="408"/>
                  </a:lnTo>
                  <a:lnTo>
                    <a:pt x="55" y="401"/>
                  </a:lnTo>
                  <a:lnTo>
                    <a:pt x="58" y="398"/>
                  </a:lnTo>
                  <a:lnTo>
                    <a:pt x="61" y="395"/>
                  </a:lnTo>
                  <a:lnTo>
                    <a:pt x="48" y="375"/>
                  </a:lnTo>
                  <a:lnTo>
                    <a:pt x="51" y="369"/>
                  </a:lnTo>
                  <a:lnTo>
                    <a:pt x="51" y="366"/>
                  </a:lnTo>
                  <a:lnTo>
                    <a:pt x="51" y="353"/>
                  </a:lnTo>
                  <a:lnTo>
                    <a:pt x="55" y="346"/>
                  </a:lnTo>
                  <a:lnTo>
                    <a:pt x="58" y="343"/>
                  </a:lnTo>
                  <a:lnTo>
                    <a:pt x="58" y="336"/>
                  </a:lnTo>
                  <a:lnTo>
                    <a:pt x="55" y="330"/>
                  </a:lnTo>
                  <a:lnTo>
                    <a:pt x="51" y="330"/>
                  </a:lnTo>
                  <a:lnTo>
                    <a:pt x="55" y="324"/>
                  </a:lnTo>
                  <a:lnTo>
                    <a:pt x="55" y="317"/>
                  </a:lnTo>
                  <a:lnTo>
                    <a:pt x="58" y="311"/>
                  </a:lnTo>
                  <a:lnTo>
                    <a:pt x="61" y="311"/>
                  </a:lnTo>
                  <a:lnTo>
                    <a:pt x="61" y="301"/>
                  </a:lnTo>
                  <a:lnTo>
                    <a:pt x="61" y="288"/>
                  </a:lnTo>
                  <a:lnTo>
                    <a:pt x="58" y="288"/>
                  </a:lnTo>
                  <a:lnTo>
                    <a:pt x="55" y="278"/>
                  </a:lnTo>
                  <a:lnTo>
                    <a:pt x="55" y="272"/>
                  </a:lnTo>
                  <a:lnTo>
                    <a:pt x="48" y="265"/>
                  </a:lnTo>
                  <a:lnTo>
                    <a:pt x="48" y="262"/>
                  </a:lnTo>
                  <a:lnTo>
                    <a:pt x="44" y="259"/>
                  </a:lnTo>
                  <a:lnTo>
                    <a:pt x="41" y="249"/>
                  </a:lnTo>
                  <a:lnTo>
                    <a:pt x="44" y="246"/>
                  </a:lnTo>
                  <a:lnTo>
                    <a:pt x="48" y="243"/>
                  </a:lnTo>
                  <a:lnTo>
                    <a:pt x="48" y="233"/>
                  </a:lnTo>
                  <a:lnTo>
                    <a:pt x="51" y="230"/>
                  </a:lnTo>
                  <a:lnTo>
                    <a:pt x="51" y="223"/>
                  </a:lnTo>
                  <a:lnTo>
                    <a:pt x="48" y="217"/>
                  </a:lnTo>
                  <a:lnTo>
                    <a:pt x="48" y="207"/>
                  </a:lnTo>
                  <a:lnTo>
                    <a:pt x="51" y="207"/>
                  </a:lnTo>
                  <a:lnTo>
                    <a:pt x="51" y="194"/>
                  </a:lnTo>
                  <a:lnTo>
                    <a:pt x="55" y="188"/>
                  </a:lnTo>
                  <a:lnTo>
                    <a:pt x="61" y="178"/>
                  </a:lnTo>
                  <a:lnTo>
                    <a:pt x="65" y="175"/>
                  </a:lnTo>
                  <a:lnTo>
                    <a:pt x="68" y="172"/>
                  </a:lnTo>
                  <a:lnTo>
                    <a:pt x="72" y="168"/>
                  </a:lnTo>
                  <a:lnTo>
                    <a:pt x="72" y="168"/>
                  </a:lnTo>
                  <a:lnTo>
                    <a:pt x="72" y="162"/>
                  </a:lnTo>
                  <a:lnTo>
                    <a:pt x="68" y="162"/>
                  </a:lnTo>
                  <a:lnTo>
                    <a:pt x="68" y="159"/>
                  </a:lnTo>
                  <a:lnTo>
                    <a:pt x="68" y="156"/>
                  </a:lnTo>
                  <a:lnTo>
                    <a:pt x="72" y="152"/>
                  </a:lnTo>
                  <a:lnTo>
                    <a:pt x="72" y="149"/>
                  </a:lnTo>
                  <a:lnTo>
                    <a:pt x="68" y="146"/>
                  </a:lnTo>
                  <a:lnTo>
                    <a:pt x="65" y="139"/>
                  </a:lnTo>
                  <a:lnTo>
                    <a:pt x="68" y="136"/>
                  </a:lnTo>
                  <a:lnTo>
                    <a:pt x="68" y="133"/>
                  </a:lnTo>
                  <a:lnTo>
                    <a:pt x="65" y="130"/>
                  </a:lnTo>
                  <a:lnTo>
                    <a:pt x="65" y="126"/>
                  </a:lnTo>
                  <a:lnTo>
                    <a:pt x="89" y="117"/>
                  </a:lnTo>
                  <a:lnTo>
                    <a:pt x="92" y="97"/>
                  </a:lnTo>
                  <a:lnTo>
                    <a:pt x="89" y="91"/>
                  </a:lnTo>
                  <a:lnTo>
                    <a:pt x="89" y="94"/>
                  </a:lnTo>
                  <a:lnTo>
                    <a:pt x="86" y="94"/>
                  </a:lnTo>
                  <a:lnTo>
                    <a:pt x="82" y="94"/>
                  </a:lnTo>
                  <a:lnTo>
                    <a:pt x="65" y="62"/>
                  </a:lnTo>
                  <a:lnTo>
                    <a:pt x="58" y="55"/>
                  </a:lnTo>
                  <a:lnTo>
                    <a:pt x="55" y="52"/>
                  </a:lnTo>
                  <a:lnTo>
                    <a:pt x="58" y="42"/>
                  </a:lnTo>
                  <a:lnTo>
                    <a:pt x="58" y="39"/>
                  </a:lnTo>
                  <a:lnTo>
                    <a:pt x="61" y="36"/>
                  </a:lnTo>
                  <a:lnTo>
                    <a:pt x="58" y="33"/>
                  </a:lnTo>
                  <a:lnTo>
                    <a:pt x="51" y="26"/>
                  </a:lnTo>
                  <a:lnTo>
                    <a:pt x="48" y="23"/>
                  </a:lnTo>
                  <a:lnTo>
                    <a:pt x="48" y="17"/>
                  </a:lnTo>
                  <a:lnTo>
                    <a:pt x="44" y="17"/>
                  </a:lnTo>
                  <a:lnTo>
                    <a:pt x="48" y="13"/>
                  </a:lnTo>
                  <a:lnTo>
                    <a:pt x="44" y="10"/>
                  </a:lnTo>
                  <a:lnTo>
                    <a:pt x="44" y="7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34" y="0"/>
                  </a:lnTo>
                  <a:lnTo>
                    <a:pt x="34" y="4"/>
                  </a:lnTo>
                  <a:lnTo>
                    <a:pt x="37" y="7"/>
                  </a:lnTo>
                  <a:lnTo>
                    <a:pt x="34" y="10"/>
                  </a:lnTo>
                  <a:lnTo>
                    <a:pt x="31" y="13"/>
                  </a:lnTo>
                  <a:lnTo>
                    <a:pt x="27" y="13"/>
                  </a:lnTo>
                  <a:lnTo>
                    <a:pt x="24" y="13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23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4" y="42"/>
                  </a:lnTo>
                  <a:lnTo>
                    <a:pt x="24" y="46"/>
                  </a:lnTo>
                  <a:lnTo>
                    <a:pt x="24" y="49"/>
                  </a:lnTo>
                  <a:lnTo>
                    <a:pt x="20" y="52"/>
                  </a:lnTo>
                  <a:lnTo>
                    <a:pt x="24" y="59"/>
                  </a:lnTo>
                  <a:lnTo>
                    <a:pt x="27" y="65"/>
                  </a:lnTo>
                  <a:lnTo>
                    <a:pt x="27" y="72"/>
                  </a:lnTo>
                  <a:lnTo>
                    <a:pt x="27" y="78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94"/>
                  </a:lnTo>
                  <a:lnTo>
                    <a:pt x="27" y="97"/>
                  </a:lnTo>
                  <a:lnTo>
                    <a:pt x="24" y="97"/>
                  </a:lnTo>
                  <a:lnTo>
                    <a:pt x="20" y="101"/>
                  </a:lnTo>
                  <a:lnTo>
                    <a:pt x="20" y="107"/>
                  </a:lnTo>
                  <a:lnTo>
                    <a:pt x="24" y="107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4" y="110"/>
                  </a:lnTo>
                  <a:lnTo>
                    <a:pt x="24" y="126"/>
                  </a:lnTo>
                  <a:lnTo>
                    <a:pt x="27" y="133"/>
                  </a:lnTo>
                  <a:lnTo>
                    <a:pt x="27" y="139"/>
                  </a:lnTo>
                  <a:lnTo>
                    <a:pt x="27" y="143"/>
                  </a:lnTo>
                  <a:lnTo>
                    <a:pt x="24" y="146"/>
                  </a:lnTo>
                  <a:lnTo>
                    <a:pt x="24" y="152"/>
                  </a:lnTo>
                  <a:lnTo>
                    <a:pt x="27" y="156"/>
                  </a:lnTo>
                  <a:lnTo>
                    <a:pt x="27" y="159"/>
                  </a:lnTo>
                  <a:lnTo>
                    <a:pt x="27" y="168"/>
                  </a:lnTo>
                  <a:lnTo>
                    <a:pt x="24" y="172"/>
                  </a:lnTo>
                  <a:lnTo>
                    <a:pt x="24" y="175"/>
                  </a:lnTo>
                  <a:lnTo>
                    <a:pt x="27" y="178"/>
                  </a:lnTo>
                  <a:lnTo>
                    <a:pt x="27" y="181"/>
                  </a:lnTo>
                  <a:lnTo>
                    <a:pt x="24" y="185"/>
                  </a:lnTo>
                  <a:lnTo>
                    <a:pt x="24" y="188"/>
                  </a:lnTo>
                  <a:lnTo>
                    <a:pt x="20" y="191"/>
                  </a:lnTo>
                  <a:lnTo>
                    <a:pt x="20" y="198"/>
                  </a:lnTo>
                  <a:lnTo>
                    <a:pt x="20" y="198"/>
                  </a:lnTo>
                  <a:lnTo>
                    <a:pt x="17" y="204"/>
                  </a:lnTo>
                  <a:lnTo>
                    <a:pt x="17" y="207"/>
                  </a:lnTo>
                  <a:lnTo>
                    <a:pt x="20" y="214"/>
                  </a:lnTo>
                  <a:lnTo>
                    <a:pt x="20" y="217"/>
                  </a:lnTo>
                  <a:lnTo>
                    <a:pt x="24" y="220"/>
                  </a:lnTo>
                  <a:lnTo>
                    <a:pt x="20" y="223"/>
                  </a:lnTo>
                  <a:lnTo>
                    <a:pt x="20" y="227"/>
                  </a:lnTo>
                  <a:lnTo>
                    <a:pt x="24" y="230"/>
                  </a:lnTo>
                  <a:lnTo>
                    <a:pt x="20" y="230"/>
                  </a:lnTo>
                  <a:lnTo>
                    <a:pt x="17" y="233"/>
                  </a:lnTo>
                  <a:lnTo>
                    <a:pt x="17" y="236"/>
                  </a:lnTo>
                  <a:lnTo>
                    <a:pt x="17" y="240"/>
                  </a:lnTo>
                  <a:lnTo>
                    <a:pt x="17" y="243"/>
                  </a:lnTo>
                  <a:lnTo>
                    <a:pt x="24" y="252"/>
                  </a:lnTo>
                  <a:lnTo>
                    <a:pt x="24" y="259"/>
                  </a:lnTo>
                  <a:lnTo>
                    <a:pt x="20" y="262"/>
                  </a:lnTo>
                  <a:lnTo>
                    <a:pt x="20" y="262"/>
                  </a:lnTo>
                  <a:lnTo>
                    <a:pt x="24" y="269"/>
                  </a:lnTo>
                  <a:lnTo>
                    <a:pt x="24" y="275"/>
                  </a:lnTo>
                  <a:lnTo>
                    <a:pt x="24" y="278"/>
                  </a:lnTo>
                  <a:lnTo>
                    <a:pt x="24" y="282"/>
                  </a:lnTo>
                  <a:lnTo>
                    <a:pt x="24" y="282"/>
                  </a:lnTo>
                  <a:lnTo>
                    <a:pt x="24" y="285"/>
                  </a:lnTo>
                  <a:lnTo>
                    <a:pt x="24" y="288"/>
                  </a:lnTo>
                  <a:lnTo>
                    <a:pt x="24" y="291"/>
                  </a:lnTo>
                  <a:lnTo>
                    <a:pt x="31" y="294"/>
                  </a:lnTo>
                  <a:lnTo>
                    <a:pt x="31" y="298"/>
                  </a:lnTo>
                  <a:lnTo>
                    <a:pt x="27" y="301"/>
                  </a:lnTo>
                  <a:lnTo>
                    <a:pt x="24" y="301"/>
                  </a:lnTo>
                  <a:lnTo>
                    <a:pt x="20" y="307"/>
                  </a:lnTo>
                  <a:lnTo>
                    <a:pt x="20" y="307"/>
                  </a:lnTo>
                  <a:lnTo>
                    <a:pt x="24" y="311"/>
                  </a:lnTo>
                  <a:lnTo>
                    <a:pt x="20" y="314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24"/>
                  </a:lnTo>
                  <a:lnTo>
                    <a:pt x="17" y="327"/>
                  </a:lnTo>
                  <a:lnTo>
                    <a:pt x="17" y="330"/>
                  </a:lnTo>
                  <a:lnTo>
                    <a:pt x="17" y="330"/>
                  </a:lnTo>
                  <a:lnTo>
                    <a:pt x="17" y="333"/>
                  </a:lnTo>
                  <a:lnTo>
                    <a:pt x="13" y="336"/>
                  </a:lnTo>
                  <a:lnTo>
                    <a:pt x="13" y="340"/>
                  </a:lnTo>
                  <a:lnTo>
                    <a:pt x="17" y="340"/>
                  </a:lnTo>
                  <a:lnTo>
                    <a:pt x="13" y="343"/>
                  </a:lnTo>
                  <a:lnTo>
                    <a:pt x="13" y="346"/>
                  </a:lnTo>
                  <a:lnTo>
                    <a:pt x="13" y="349"/>
                  </a:lnTo>
                  <a:lnTo>
                    <a:pt x="10" y="353"/>
                  </a:lnTo>
                  <a:lnTo>
                    <a:pt x="10" y="356"/>
                  </a:lnTo>
                  <a:lnTo>
                    <a:pt x="10" y="356"/>
                  </a:lnTo>
                  <a:lnTo>
                    <a:pt x="10" y="359"/>
                  </a:lnTo>
                  <a:lnTo>
                    <a:pt x="10" y="362"/>
                  </a:lnTo>
                  <a:lnTo>
                    <a:pt x="10" y="366"/>
                  </a:lnTo>
                  <a:lnTo>
                    <a:pt x="6" y="369"/>
                  </a:lnTo>
                  <a:lnTo>
                    <a:pt x="6" y="369"/>
                  </a:lnTo>
                  <a:lnTo>
                    <a:pt x="3" y="366"/>
                  </a:lnTo>
                  <a:lnTo>
                    <a:pt x="0" y="369"/>
                  </a:lnTo>
                  <a:lnTo>
                    <a:pt x="0" y="369"/>
                  </a:lnTo>
                  <a:lnTo>
                    <a:pt x="0" y="372"/>
                  </a:lnTo>
                  <a:lnTo>
                    <a:pt x="0" y="378"/>
                  </a:lnTo>
                  <a:lnTo>
                    <a:pt x="3" y="382"/>
                  </a:lnTo>
                  <a:lnTo>
                    <a:pt x="6" y="385"/>
                  </a:lnTo>
                  <a:lnTo>
                    <a:pt x="10" y="388"/>
                  </a:lnTo>
                  <a:lnTo>
                    <a:pt x="6" y="391"/>
                  </a:lnTo>
                  <a:lnTo>
                    <a:pt x="13" y="401"/>
                  </a:lnTo>
                  <a:lnTo>
                    <a:pt x="13" y="404"/>
                  </a:lnTo>
                  <a:lnTo>
                    <a:pt x="17" y="404"/>
                  </a:lnTo>
                  <a:lnTo>
                    <a:pt x="17" y="411"/>
                  </a:lnTo>
                  <a:lnTo>
                    <a:pt x="17" y="417"/>
                  </a:lnTo>
                  <a:lnTo>
                    <a:pt x="13" y="420"/>
                  </a:lnTo>
                  <a:lnTo>
                    <a:pt x="13" y="420"/>
                  </a:lnTo>
                  <a:lnTo>
                    <a:pt x="13" y="424"/>
                  </a:lnTo>
                  <a:lnTo>
                    <a:pt x="13" y="424"/>
                  </a:lnTo>
                  <a:lnTo>
                    <a:pt x="10" y="424"/>
                  </a:lnTo>
                  <a:lnTo>
                    <a:pt x="10" y="427"/>
                  </a:lnTo>
                  <a:lnTo>
                    <a:pt x="10" y="430"/>
                  </a:lnTo>
                  <a:lnTo>
                    <a:pt x="13" y="430"/>
                  </a:lnTo>
                  <a:lnTo>
                    <a:pt x="10" y="437"/>
                  </a:lnTo>
                  <a:lnTo>
                    <a:pt x="10" y="440"/>
                  </a:lnTo>
                  <a:lnTo>
                    <a:pt x="10" y="443"/>
                  </a:lnTo>
                  <a:lnTo>
                    <a:pt x="10" y="443"/>
                  </a:lnTo>
                  <a:lnTo>
                    <a:pt x="10" y="446"/>
                  </a:lnTo>
                  <a:lnTo>
                    <a:pt x="10" y="446"/>
                  </a:lnTo>
                  <a:lnTo>
                    <a:pt x="10" y="450"/>
                  </a:lnTo>
                  <a:lnTo>
                    <a:pt x="17" y="456"/>
                  </a:lnTo>
                  <a:lnTo>
                    <a:pt x="20" y="459"/>
                  </a:lnTo>
                  <a:lnTo>
                    <a:pt x="20" y="459"/>
                  </a:lnTo>
                  <a:lnTo>
                    <a:pt x="27" y="462"/>
                  </a:lnTo>
                  <a:lnTo>
                    <a:pt x="31" y="462"/>
                  </a:lnTo>
                  <a:lnTo>
                    <a:pt x="31" y="456"/>
                  </a:lnTo>
                  <a:lnTo>
                    <a:pt x="31" y="456"/>
                  </a:lnTo>
                  <a:lnTo>
                    <a:pt x="37" y="456"/>
                  </a:lnTo>
                  <a:lnTo>
                    <a:pt x="37" y="459"/>
                  </a:lnTo>
                  <a:lnTo>
                    <a:pt x="41" y="459"/>
                  </a:lnTo>
                  <a:lnTo>
                    <a:pt x="41" y="459"/>
                  </a:lnTo>
                  <a:lnTo>
                    <a:pt x="41" y="459"/>
                  </a:lnTo>
                  <a:lnTo>
                    <a:pt x="37" y="462"/>
                  </a:lnTo>
                  <a:lnTo>
                    <a:pt x="37" y="466"/>
                  </a:lnTo>
                  <a:lnTo>
                    <a:pt x="41" y="466"/>
                  </a:lnTo>
                  <a:lnTo>
                    <a:pt x="41" y="466"/>
                  </a:lnTo>
                  <a:lnTo>
                    <a:pt x="41" y="469"/>
                  </a:lnTo>
                  <a:lnTo>
                    <a:pt x="41" y="475"/>
                  </a:lnTo>
                  <a:lnTo>
                    <a:pt x="44" y="475"/>
                  </a:lnTo>
                  <a:lnTo>
                    <a:pt x="44" y="475"/>
                  </a:lnTo>
                  <a:lnTo>
                    <a:pt x="41" y="475"/>
                  </a:lnTo>
                  <a:lnTo>
                    <a:pt x="41" y="472"/>
                  </a:lnTo>
                  <a:lnTo>
                    <a:pt x="37" y="472"/>
                  </a:lnTo>
                  <a:lnTo>
                    <a:pt x="37" y="472"/>
                  </a:lnTo>
                  <a:lnTo>
                    <a:pt x="37" y="475"/>
                  </a:lnTo>
                  <a:lnTo>
                    <a:pt x="41" y="479"/>
                  </a:lnTo>
                  <a:lnTo>
                    <a:pt x="41" y="479"/>
                  </a:lnTo>
                  <a:lnTo>
                    <a:pt x="37" y="479"/>
                  </a:lnTo>
                  <a:lnTo>
                    <a:pt x="37" y="482"/>
                  </a:lnTo>
                  <a:lnTo>
                    <a:pt x="37" y="485"/>
                  </a:lnTo>
                  <a:lnTo>
                    <a:pt x="41" y="488"/>
                  </a:lnTo>
                  <a:lnTo>
                    <a:pt x="37" y="491"/>
                  </a:lnTo>
                  <a:lnTo>
                    <a:pt x="37" y="491"/>
                  </a:lnTo>
                  <a:lnTo>
                    <a:pt x="37" y="495"/>
                  </a:lnTo>
                  <a:lnTo>
                    <a:pt x="34" y="495"/>
                  </a:lnTo>
                  <a:lnTo>
                    <a:pt x="37" y="498"/>
                  </a:lnTo>
                  <a:lnTo>
                    <a:pt x="41" y="501"/>
                  </a:lnTo>
                  <a:lnTo>
                    <a:pt x="41" y="504"/>
                  </a:lnTo>
                  <a:lnTo>
                    <a:pt x="37" y="508"/>
                  </a:lnTo>
                  <a:lnTo>
                    <a:pt x="37" y="511"/>
                  </a:lnTo>
                  <a:lnTo>
                    <a:pt x="37" y="511"/>
                  </a:lnTo>
                  <a:lnTo>
                    <a:pt x="37" y="514"/>
                  </a:lnTo>
                  <a:lnTo>
                    <a:pt x="41" y="514"/>
                  </a:lnTo>
                  <a:lnTo>
                    <a:pt x="44" y="514"/>
                  </a:lnTo>
                  <a:lnTo>
                    <a:pt x="44" y="517"/>
                  </a:lnTo>
                  <a:lnTo>
                    <a:pt x="48" y="517"/>
                  </a:lnTo>
                  <a:lnTo>
                    <a:pt x="48" y="521"/>
                  </a:lnTo>
                  <a:lnTo>
                    <a:pt x="48" y="527"/>
                  </a:lnTo>
                  <a:lnTo>
                    <a:pt x="48" y="530"/>
                  </a:lnTo>
                  <a:lnTo>
                    <a:pt x="41" y="530"/>
                  </a:lnTo>
                  <a:lnTo>
                    <a:pt x="37" y="530"/>
                  </a:lnTo>
                  <a:lnTo>
                    <a:pt x="37" y="533"/>
                  </a:lnTo>
                  <a:lnTo>
                    <a:pt x="41" y="540"/>
                  </a:lnTo>
                  <a:lnTo>
                    <a:pt x="37" y="540"/>
                  </a:lnTo>
                  <a:lnTo>
                    <a:pt x="37" y="543"/>
                  </a:lnTo>
                  <a:lnTo>
                    <a:pt x="41" y="543"/>
                  </a:lnTo>
                  <a:lnTo>
                    <a:pt x="37" y="546"/>
                  </a:lnTo>
                  <a:lnTo>
                    <a:pt x="34" y="550"/>
                  </a:lnTo>
                  <a:lnTo>
                    <a:pt x="34" y="553"/>
                  </a:lnTo>
                  <a:lnTo>
                    <a:pt x="37" y="556"/>
                  </a:lnTo>
                  <a:lnTo>
                    <a:pt x="37" y="556"/>
                  </a:lnTo>
                  <a:lnTo>
                    <a:pt x="37" y="563"/>
                  </a:lnTo>
                  <a:lnTo>
                    <a:pt x="34" y="566"/>
                  </a:lnTo>
                  <a:lnTo>
                    <a:pt x="34" y="569"/>
                  </a:lnTo>
                  <a:lnTo>
                    <a:pt x="31" y="566"/>
                  </a:lnTo>
                  <a:lnTo>
                    <a:pt x="34" y="563"/>
                  </a:lnTo>
                  <a:lnTo>
                    <a:pt x="34" y="559"/>
                  </a:lnTo>
                  <a:lnTo>
                    <a:pt x="34" y="556"/>
                  </a:lnTo>
                  <a:lnTo>
                    <a:pt x="34" y="556"/>
                  </a:lnTo>
                  <a:lnTo>
                    <a:pt x="34" y="553"/>
                  </a:lnTo>
                  <a:lnTo>
                    <a:pt x="27" y="556"/>
                  </a:lnTo>
                  <a:lnTo>
                    <a:pt x="24" y="556"/>
                  </a:lnTo>
                  <a:lnTo>
                    <a:pt x="20" y="556"/>
                  </a:lnTo>
                  <a:lnTo>
                    <a:pt x="20" y="556"/>
                  </a:lnTo>
                  <a:lnTo>
                    <a:pt x="24" y="556"/>
                  </a:lnTo>
                  <a:lnTo>
                    <a:pt x="27" y="553"/>
                  </a:lnTo>
                  <a:lnTo>
                    <a:pt x="27" y="550"/>
                  </a:lnTo>
                  <a:lnTo>
                    <a:pt x="27" y="550"/>
                  </a:lnTo>
                  <a:lnTo>
                    <a:pt x="24" y="550"/>
                  </a:lnTo>
                  <a:lnTo>
                    <a:pt x="17" y="550"/>
                  </a:lnTo>
                  <a:lnTo>
                    <a:pt x="13" y="550"/>
                  </a:lnTo>
                  <a:lnTo>
                    <a:pt x="10" y="550"/>
                  </a:lnTo>
                  <a:lnTo>
                    <a:pt x="10" y="553"/>
                  </a:lnTo>
                  <a:lnTo>
                    <a:pt x="13" y="556"/>
                  </a:lnTo>
                  <a:lnTo>
                    <a:pt x="13" y="556"/>
                  </a:lnTo>
                  <a:lnTo>
                    <a:pt x="13" y="556"/>
                  </a:lnTo>
                  <a:lnTo>
                    <a:pt x="13" y="559"/>
                  </a:lnTo>
                  <a:lnTo>
                    <a:pt x="10" y="563"/>
                  </a:lnTo>
                  <a:lnTo>
                    <a:pt x="10" y="563"/>
                  </a:lnTo>
                  <a:lnTo>
                    <a:pt x="6" y="566"/>
                  </a:lnTo>
                  <a:lnTo>
                    <a:pt x="3" y="569"/>
                  </a:lnTo>
                  <a:lnTo>
                    <a:pt x="3" y="569"/>
                  </a:lnTo>
                  <a:lnTo>
                    <a:pt x="6" y="575"/>
                  </a:lnTo>
                  <a:lnTo>
                    <a:pt x="10" y="575"/>
                  </a:lnTo>
                  <a:lnTo>
                    <a:pt x="10" y="575"/>
                  </a:lnTo>
                  <a:lnTo>
                    <a:pt x="10" y="572"/>
                  </a:lnTo>
                  <a:lnTo>
                    <a:pt x="6" y="572"/>
                  </a:lnTo>
                  <a:lnTo>
                    <a:pt x="6" y="569"/>
                  </a:lnTo>
                  <a:lnTo>
                    <a:pt x="10" y="566"/>
                  </a:lnTo>
                  <a:lnTo>
                    <a:pt x="13" y="566"/>
                  </a:lnTo>
                  <a:lnTo>
                    <a:pt x="17" y="566"/>
                  </a:lnTo>
                  <a:lnTo>
                    <a:pt x="17" y="569"/>
                  </a:lnTo>
                  <a:lnTo>
                    <a:pt x="20" y="572"/>
                  </a:lnTo>
                  <a:lnTo>
                    <a:pt x="24" y="572"/>
                  </a:lnTo>
                  <a:lnTo>
                    <a:pt x="27" y="569"/>
                  </a:lnTo>
                  <a:lnTo>
                    <a:pt x="27" y="569"/>
                  </a:lnTo>
                  <a:lnTo>
                    <a:pt x="31" y="572"/>
                  </a:lnTo>
                  <a:lnTo>
                    <a:pt x="34" y="575"/>
                  </a:lnTo>
                  <a:lnTo>
                    <a:pt x="37" y="575"/>
                  </a:lnTo>
                  <a:lnTo>
                    <a:pt x="34" y="575"/>
                  </a:lnTo>
                  <a:lnTo>
                    <a:pt x="34" y="579"/>
                  </a:lnTo>
                  <a:lnTo>
                    <a:pt x="34" y="579"/>
                  </a:lnTo>
                  <a:lnTo>
                    <a:pt x="34" y="582"/>
                  </a:lnTo>
                  <a:lnTo>
                    <a:pt x="31" y="582"/>
                  </a:lnTo>
                  <a:lnTo>
                    <a:pt x="34" y="585"/>
                  </a:lnTo>
                  <a:lnTo>
                    <a:pt x="37" y="588"/>
                  </a:lnTo>
                  <a:lnTo>
                    <a:pt x="34" y="588"/>
                  </a:lnTo>
                  <a:lnTo>
                    <a:pt x="31" y="588"/>
                  </a:lnTo>
                  <a:lnTo>
                    <a:pt x="31" y="585"/>
                  </a:lnTo>
                  <a:lnTo>
                    <a:pt x="27" y="585"/>
                  </a:lnTo>
                  <a:lnTo>
                    <a:pt x="27" y="588"/>
                  </a:lnTo>
                  <a:lnTo>
                    <a:pt x="31" y="592"/>
                  </a:lnTo>
                  <a:lnTo>
                    <a:pt x="34" y="592"/>
                  </a:lnTo>
                  <a:lnTo>
                    <a:pt x="37" y="595"/>
                  </a:lnTo>
                  <a:lnTo>
                    <a:pt x="44" y="592"/>
                  </a:lnTo>
                  <a:lnTo>
                    <a:pt x="44" y="592"/>
                  </a:lnTo>
                  <a:lnTo>
                    <a:pt x="48" y="592"/>
                  </a:lnTo>
                  <a:lnTo>
                    <a:pt x="51" y="592"/>
                  </a:lnTo>
                  <a:lnTo>
                    <a:pt x="48" y="595"/>
                  </a:lnTo>
                  <a:lnTo>
                    <a:pt x="51" y="595"/>
                  </a:lnTo>
                  <a:lnTo>
                    <a:pt x="48" y="595"/>
                  </a:lnTo>
                  <a:lnTo>
                    <a:pt x="44" y="595"/>
                  </a:lnTo>
                  <a:lnTo>
                    <a:pt x="44" y="598"/>
                  </a:lnTo>
                  <a:lnTo>
                    <a:pt x="41" y="595"/>
                  </a:lnTo>
                  <a:lnTo>
                    <a:pt x="34" y="595"/>
                  </a:lnTo>
                  <a:lnTo>
                    <a:pt x="34" y="598"/>
                  </a:lnTo>
                  <a:lnTo>
                    <a:pt x="34" y="601"/>
                  </a:lnTo>
                  <a:lnTo>
                    <a:pt x="37" y="601"/>
                  </a:lnTo>
                  <a:lnTo>
                    <a:pt x="37" y="605"/>
                  </a:lnTo>
                  <a:lnTo>
                    <a:pt x="41" y="605"/>
                  </a:lnTo>
                  <a:lnTo>
                    <a:pt x="44" y="605"/>
                  </a:lnTo>
                  <a:lnTo>
                    <a:pt x="44" y="608"/>
                  </a:lnTo>
                  <a:lnTo>
                    <a:pt x="41" y="608"/>
                  </a:lnTo>
                  <a:lnTo>
                    <a:pt x="41" y="611"/>
                  </a:lnTo>
                  <a:lnTo>
                    <a:pt x="41" y="611"/>
                  </a:lnTo>
                  <a:lnTo>
                    <a:pt x="41" y="614"/>
                  </a:lnTo>
                  <a:lnTo>
                    <a:pt x="41" y="614"/>
                  </a:lnTo>
                  <a:lnTo>
                    <a:pt x="37" y="617"/>
                  </a:lnTo>
                  <a:lnTo>
                    <a:pt x="41" y="624"/>
                  </a:lnTo>
                  <a:lnTo>
                    <a:pt x="44" y="627"/>
                  </a:lnTo>
                  <a:lnTo>
                    <a:pt x="44" y="630"/>
                  </a:lnTo>
                  <a:lnTo>
                    <a:pt x="44" y="634"/>
                  </a:lnTo>
                  <a:lnTo>
                    <a:pt x="48" y="634"/>
                  </a:lnTo>
                  <a:lnTo>
                    <a:pt x="48" y="627"/>
                  </a:lnTo>
                  <a:lnTo>
                    <a:pt x="51" y="624"/>
                  </a:lnTo>
                  <a:lnTo>
                    <a:pt x="55" y="621"/>
                  </a:lnTo>
                  <a:lnTo>
                    <a:pt x="55" y="621"/>
                  </a:lnTo>
                  <a:lnTo>
                    <a:pt x="51" y="624"/>
                  </a:lnTo>
                  <a:lnTo>
                    <a:pt x="51" y="630"/>
                  </a:lnTo>
                  <a:lnTo>
                    <a:pt x="51" y="630"/>
                  </a:lnTo>
                  <a:lnTo>
                    <a:pt x="55" y="634"/>
                  </a:lnTo>
                  <a:lnTo>
                    <a:pt x="55" y="634"/>
                  </a:lnTo>
                  <a:lnTo>
                    <a:pt x="55" y="634"/>
                  </a:lnTo>
                  <a:lnTo>
                    <a:pt x="51" y="634"/>
                  </a:lnTo>
                  <a:lnTo>
                    <a:pt x="48" y="637"/>
                  </a:lnTo>
                  <a:lnTo>
                    <a:pt x="48" y="640"/>
                  </a:lnTo>
                  <a:lnTo>
                    <a:pt x="48" y="640"/>
                  </a:lnTo>
                  <a:lnTo>
                    <a:pt x="48" y="643"/>
                  </a:lnTo>
                  <a:lnTo>
                    <a:pt x="44" y="647"/>
                  </a:lnTo>
                  <a:lnTo>
                    <a:pt x="44" y="650"/>
                  </a:lnTo>
                  <a:lnTo>
                    <a:pt x="44" y="650"/>
                  </a:lnTo>
                  <a:lnTo>
                    <a:pt x="48" y="653"/>
                  </a:lnTo>
                  <a:lnTo>
                    <a:pt x="55" y="656"/>
                  </a:lnTo>
                  <a:lnTo>
                    <a:pt x="58" y="656"/>
                  </a:lnTo>
                  <a:lnTo>
                    <a:pt x="58" y="659"/>
                  </a:lnTo>
                  <a:lnTo>
                    <a:pt x="58" y="659"/>
                  </a:lnTo>
                  <a:lnTo>
                    <a:pt x="58" y="663"/>
                  </a:lnTo>
                  <a:lnTo>
                    <a:pt x="58" y="663"/>
                  </a:lnTo>
                  <a:lnTo>
                    <a:pt x="61" y="659"/>
                  </a:lnTo>
                  <a:lnTo>
                    <a:pt x="61" y="663"/>
                  </a:lnTo>
                  <a:lnTo>
                    <a:pt x="61" y="666"/>
                  </a:lnTo>
                  <a:lnTo>
                    <a:pt x="58" y="666"/>
                  </a:lnTo>
                  <a:lnTo>
                    <a:pt x="55" y="669"/>
                  </a:lnTo>
                  <a:lnTo>
                    <a:pt x="58" y="669"/>
                  </a:lnTo>
                  <a:lnTo>
                    <a:pt x="61" y="669"/>
                  </a:lnTo>
                  <a:lnTo>
                    <a:pt x="61" y="672"/>
                  </a:lnTo>
                  <a:lnTo>
                    <a:pt x="65" y="676"/>
                  </a:lnTo>
                  <a:lnTo>
                    <a:pt x="65" y="676"/>
                  </a:lnTo>
                  <a:lnTo>
                    <a:pt x="68" y="672"/>
                  </a:lnTo>
                  <a:lnTo>
                    <a:pt x="68" y="676"/>
                  </a:lnTo>
                  <a:lnTo>
                    <a:pt x="68" y="679"/>
                  </a:lnTo>
                  <a:lnTo>
                    <a:pt x="68" y="679"/>
                  </a:lnTo>
                  <a:lnTo>
                    <a:pt x="65" y="679"/>
                  </a:lnTo>
                  <a:lnTo>
                    <a:pt x="65" y="679"/>
                  </a:lnTo>
                  <a:lnTo>
                    <a:pt x="61" y="679"/>
                  </a:lnTo>
                  <a:lnTo>
                    <a:pt x="65" y="682"/>
                  </a:lnTo>
                  <a:lnTo>
                    <a:pt x="68" y="685"/>
                  </a:lnTo>
                  <a:lnTo>
                    <a:pt x="68" y="689"/>
                  </a:lnTo>
                  <a:lnTo>
                    <a:pt x="72" y="689"/>
                  </a:lnTo>
                  <a:lnTo>
                    <a:pt x="72" y="692"/>
                  </a:lnTo>
                  <a:lnTo>
                    <a:pt x="75" y="692"/>
                  </a:lnTo>
                  <a:lnTo>
                    <a:pt x="75" y="689"/>
                  </a:lnTo>
                  <a:lnTo>
                    <a:pt x="75" y="685"/>
                  </a:lnTo>
                  <a:lnTo>
                    <a:pt x="75" y="682"/>
                  </a:lnTo>
                  <a:lnTo>
                    <a:pt x="79" y="685"/>
                  </a:lnTo>
                  <a:lnTo>
                    <a:pt x="79" y="689"/>
                  </a:lnTo>
                  <a:lnTo>
                    <a:pt x="79" y="689"/>
                  </a:lnTo>
                  <a:lnTo>
                    <a:pt x="82" y="685"/>
                  </a:lnTo>
                  <a:lnTo>
                    <a:pt x="86" y="685"/>
                  </a:lnTo>
                  <a:lnTo>
                    <a:pt x="82" y="682"/>
                  </a:lnTo>
                  <a:lnTo>
                    <a:pt x="82" y="682"/>
                  </a:lnTo>
                  <a:lnTo>
                    <a:pt x="75" y="682"/>
                  </a:lnTo>
                  <a:lnTo>
                    <a:pt x="75" y="679"/>
                  </a:lnTo>
                  <a:lnTo>
                    <a:pt x="79" y="679"/>
                  </a:lnTo>
                  <a:lnTo>
                    <a:pt x="86" y="682"/>
                  </a:lnTo>
                  <a:lnTo>
                    <a:pt x="86" y="682"/>
                  </a:lnTo>
                  <a:lnTo>
                    <a:pt x="89" y="682"/>
                  </a:lnTo>
                  <a:lnTo>
                    <a:pt x="89" y="679"/>
                  </a:lnTo>
                  <a:lnTo>
                    <a:pt x="86" y="679"/>
                  </a:lnTo>
                  <a:lnTo>
                    <a:pt x="79" y="679"/>
                  </a:lnTo>
                  <a:lnTo>
                    <a:pt x="79" y="676"/>
                  </a:lnTo>
                  <a:lnTo>
                    <a:pt x="82" y="676"/>
                  </a:lnTo>
                  <a:lnTo>
                    <a:pt x="86" y="679"/>
                  </a:lnTo>
                  <a:lnTo>
                    <a:pt x="92" y="682"/>
                  </a:lnTo>
                  <a:lnTo>
                    <a:pt x="92" y="685"/>
                  </a:lnTo>
                  <a:lnTo>
                    <a:pt x="92" y="685"/>
                  </a:lnTo>
                  <a:lnTo>
                    <a:pt x="92" y="689"/>
                  </a:lnTo>
                  <a:lnTo>
                    <a:pt x="92" y="695"/>
                  </a:lnTo>
                  <a:lnTo>
                    <a:pt x="92" y="695"/>
                  </a:lnTo>
                  <a:lnTo>
                    <a:pt x="92" y="698"/>
                  </a:lnTo>
                  <a:lnTo>
                    <a:pt x="92" y="695"/>
                  </a:lnTo>
                  <a:lnTo>
                    <a:pt x="89" y="689"/>
                  </a:lnTo>
                  <a:lnTo>
                    <a:pt x="86" y="685"/>
                  </a:lnTo>
                  <a:lnTo>
                    <a:pt x="86" y="689"/>
                  </a:lnTo>
                  <a:lnTo>
                    <a:pt x="86" y="692"/>
                  </a:lnTo>
                  <a:lnTo>
                    <a:pt x="86" y="695"/>
                  </a:lnTo>
                  <a:lnTo>
                    <a:pt x="86" y="695"/>
                  </a:lnTo>
                  <a:lnTo>
                    <a:pt x="86" y="695"/>
                  </a:lnTo>
                  <a:lnTo>
                    <a:pt x="82" y="692"/>
                  </a:lnTo>
                  <a:lnTo>
                    <a:pt x="82" y="692"/>
                  </a:lnTo>
                  <a:lnTo>
                    <a:pt x="79" y="695"/>
                  </a:lnTo>
                  <a:lnTo>
                    <a:pt x="75" y="695"/>
                  </a:lnTo>
                  <a:lnTo>
                    <a:pt x="72" y="695"/>
                  </a:lnTo>
                  <a:lnTo>
                    <a:pt x="72" y="698"/>
                  </a:lnTo>
                  <a:lnTo>
                    <a:pt x="75" y="701"/>
                  </a:lnTo>
                  <a:lnTo>
                    <a:pt x="75" y="705"/>
                  </a:lnTo>
                  <a:lnTo>
                    <a:pt x="75" y="705"/>
                  </a:lnTo>
                  <a:lnTo>
                    <a:pt x="75" y="708"/>
                  </a:lnTo>
                  <a:lnTo>
                    <a:pt x="75" y="708"/>
                  </a:lnTo>
                  <a:lnTo>
                    <a:pt x="79" y="708"/>
                  </a:lnTo>
                  <a:lnTo>
                    <a:pt x="79" y="705"/>
                  </a:lnTo>
                  <a:lnTo>
                    <a:pt x="82" y="708"/>
                  </a:lnTo>
                  <a:lnTo>
                    <a:pt x="86" y="708"/>
                  </a:lnTo>
                  <a:lnTo>
                    <a:pt x="86" y="708"/>
                  </a:lnTo>
                  <a:lnTo>
                    <a:pt x="82" y="711"/>
                  </a:lnTo>
                  <a:lnTo>
                    <a:pt x="79" y="711"/>
                  </a:lnTo>
                  <a:lnTo>
                    <a:pt x="79" y="714"/>
                  </a:lnTo>
                  <a:lnTo>
                    <a:pt x="86" y="714"/>
                  </a:lnTo>
                  <a:lnTo>
                    <a:pt x="89" y="718"/>
                  </a:lnTo>
                  <a:lnTo>
                    <a:pt x="92" y="714"/>
                  </a:lnTo>
                  <a:lnTo>
                    <a:pt x="92" y="714"/>
                  </a:lnTo>
                  <a:lnTo>
                    <a:pt x="92" y="711"/>
                  </a:lnTo>
                  <a:lnTo>
                    <a:pt x="92" y="708"/>
                  </a:lnTo>
                  <a:lnTo>
                    <a:pt x="92" y="705"/>
                  </a:lnTo>
                  <a:lnTo>
                    <a:pt x="89" y="705"/>
                  </a:lnTo>
                  <a:lnTo>
                    <a:pt x="86" y="705"/>
                  </a:lnTo>
                  <a:lnTo>
                    <a:pt x="89" y="705"/>
                  </a:lnTo>
                  <a:lnTo>
                    <a:pt x="89" y="705"/>
                  </a:lnTo>
                  <a:lnTo>
                    <a:pt x="89" y="701"/>
                  </a:lnTo>
                  <a:lnTo>
                    <a:pt x="92" y="701"/>
                  </a:lnTo>
                  <a:lnTo>
                    <a:pt x="96" y="701"/>
                  </a:lnTo>
                  <a:lnTo>
                    <a:pt x="99" y="701"/>
                  </a:lnTo>
                  <a:lnTo>
                    <a:pt x="99" y="701"/>
                  </a:lnTo>
                  <a:lnTo>
                    <a:pt x="99" y="705"/>
                  </a:lnTo>
                  <a:lnTo>
                    <a:pt x="103" y="701"/>
                  </a:lnTo>
                  <a:lnTo>
                    <a:pt x="106" y="701"/>
                  </a:lnTo>
                  <a:lnTo>
                    <a:pt x="110" y="701"/>
                  </a:lnTo>
                  <a:lnTo>
                    <a:pt x="113" y="701"/>
                  </a:lnTo>
                  <a:lnTo>
                    <a:pt x="117" y="701"/>
                  </a:lnTo>
                  <a:lnTo>
                    <a:pt x="117" y="705"/>
                  </a:lnTo>
                  <a:lnTo>
                    <a:pt x="113" y="705"/>
                  </a:lnTo>
                  <a:lnTo>
                    <a:pt x="113" y="705"/>
                  </a:lnTo>
                  <a:lnTo>
                    <a:pt x="110" y="705"/>
                  </a:lnTo>
                  <a:lnTo>
                    <a:pt x="106" y="705"/>
                  </a:lnTo>
                  <a:lnTo>
                    <a:pt x="106" y="705"/>
                  </a:lnTo>
                  <a:lnTo>
                    <a:pt x="99" y="708"/>
                  </a:lnTo>
                  <a:lnTo>
                    <a:pt x="99" y="708"/>
                  </a:lnTo>
                  <a:lnTo>
                    <a:pt x="96" y="708"/>
                  </a:lnTo>
                  <a:lnTo>
                    <a:pt x="92" y="711"/>
                  </a:lnTo>
                  <a:lnTo>
                    <a:pt x="96" y="714"/>
                  </a:lnTo>
                  <a:lnTo>
                    <a:pt x="92" y="714"/>
                  </a:lnTo>
                  <a:lnTo>
                    <a:pt x="92" y="718"/>
                  </a:lnTo>
                  <a:lnTo>
                    <a:pt x="92" y="718"/>
                  </a:lnTo>
                  <a:lnTo>
                    <a:pt x="92" y="718"/>
                  </a:lnTo>
                  <a:lnTo>
                    <a:pt x="92" y="721"/>
                  </a:lnTo>
                  <a:lnTo>
                    <a:pt x="92" y="721"/>
                  </a:lnTo>
                  <a:lnTo>
                    <a:pt x="99" y="724"/>
                  </a:lnTo>
                  <a:lnTo>
                    <a:pt x="103" y="727"/>
                  </a:lnTo>
                  <a:lnTo>
                    <a:pt x="103" y="727"/>
                  </a:lnTo>
                  <a:lnTo>
                    <a:pt x="103" y="724"/>
                  </a:lnTo>
                  <a:lnTo>
                    <a:pt x="103" y="721"/>
                  </a:lnTo>
                  <a:lnTo>
                    <a:pt x="106" y="721"/>
                  </a:lnTo>
                  <a:lnTo>
                    <a:pt x="106" y="718"/>
                  </a:lnTo>
                  <a:lnTo>
                    <a:pt x="110" y="718"/>
                  </a:lnTo>
                  <a:lnTo>
                    <a:pt x="106" y="714"/>
                  </a:lnTo>
                  <a:lnTo>
                    <a:pt x="110" y="714"/>
                  </a:lnTo>
                  <a:lnTo>
                    <a:pt x="113" y="711"/>
                  </a:lnTo>
                  <a:lnTo>
                    <a:pt x="117" y="708"/>
                  </a:lnTo>
                  <a:lnTo>
                    <a:pt x="120" y="708"/>
                  </a:lnTo>
                  <a:lnTo>
                    <a:pt x="120" y="708"/>
                  </a:lnTo>
                  <a:lnTo>
                    <a:pt x="123" y="708"/>
                  </a:lnTo>
                  <a:lnTo>
                    <a:pt x="123" y="708"/>
                  </a:lnTo>
                  <a:lnTo>
                    <a:pt x="123" y="708"/>
                  </a:lnTo>
                  <a:lnTo>
                    <a:pt x="123" y="711"/>
                  </a:lnTo>
                  <a:lnTo>
                    <a:pt x="120" y="714"/>
                  </a:lnTo>
                  <a:lnTo>
                    <a:pt x="120" y="714"/>
                  </a:lnTo>
                  <a:lnTo>
                    <a:pt x="117" y="718"/>
                  </a:lnTo>
                  <a:lnTo>
                    <a:pt x="117" y="721"/>
                  </a:lnTo>
                  <a:lnTo>
                    <a:pt x="117" y="724"/>
                  </a:lnTo>
                  <a:lnTo>
                    <a:pt x="117" y="724"/>
                  </a:lnTo>
                  <a:lnTo>
                    <a:pt x="113" y="727"/>
                  </a:lnTo>
                  <a:lnTo>
                    <a:pt x="113" y="724"/>
                  </a:lnTo>
                  <a:lnTo>
                    <a:pt x="113" y="724"/>
                  </a:lnTo>
                  <a:lnTo>
                    <a:pt x="113" y="721"/>
                  </a:lnTo>
                  <a:lnTo>
                    <a:pt x="113" y="718"/>
                  </a:lnTo>
                  <a:lnTo>
                    <a:pt x="110" y="721"/>
                  </a:lnTo>
                  <a:lnTo>
                    <a:pt x="110" y="724"/>
                  </a:lnTo>
                  <a:lnTo>
                    <a:pt x="110" y="721"/>
                  </a:lnTo>
                  <a:lnTo>
                    <a:pt x="106" y="721"/>
                  </a:lnTo>
                  <a:lnTo>
                    <a:pt x="106" y="724"/>
                  </a:lnTo>
                  <a:lnTo>
                    <a:pt x="106" y="727"/>
                  </a:lnTo>
                  <a:lnTo>
                    <a:pt x="113" y="731"/>
                  </a:lnTo>
                  <a:lnTo>
                    <a:pt x="120" y="734"/>
                  </a:lnTo>
                  <a:lnTo>
                    <a:pt x="123" y="734"/>
                  </a:lnTo>
                  <a:lnTo>
                    <a:pt x="127" y="734"/>
                  </a:lnTo>
                  <a:lnTo>
                    <a:pt x="127" y="734"/>
                  </a:lnTo>
                  <a:lnTo>
                    <a:pt x="130" y="734"/>
                  </a:lnTo>
                  <a:lnTo>
                    <a:pt x="134" y="731"/>
                  </a:lnTo>
                  <a:lnTo>
                    <a:pt x="130" y="724"/>
                  </a:lnTo>
                  <a:lnTo>
                    <a:pt x="130" y="724"/>
                  </a:lnTo>
                  <a:lnTo>
                    <a:pt x="130" y="721"/>
                  </a:lnTo>
                  <a:lnTo>
                    <a:pt x="130" y="718"/>
                  </a:lnTo>
                  <a:lnTo>
                    <a:pt x="130" y="711"/>
                  </a:lnTo>
                  <a:lnTo>
                    <a:pt x="130" y="708"/>
                  </a:lnTo>
                  <a:lnTo>
                    <a:pt x="130" y="705"/>
                  </a:lnTo>
                  <a:lnTo>
                    <a:pt x="137" y="705"/>
                  </a:lnTo>
                  <a:lnTo>
                    <a:pt x="141" y="698"/>
                  </a:lnTo>
                  <a:lnTo>
                    <a:pt x="144" y="698"/>
                  </a:lnTo>
                  <a:lnTo>
                    <a:pt x="147" y="698"/>
                  </a:lnTo>
                  <a:lnTo>
                    <a:pt x="147" y="695"/>
                  </a:lnTo>
                  <a:lnTo>
                    <a:pt x="147" y="692"/>
                  </a:lnTo>
                  <a:lnTo>
                    <a:pt x="151" y="692"/>
                  </a:lnTo>
                  <a:lnTo>
                    <a:pt x="154" y="689"/>
                  </a:lnTo>
                  <a:lnTo>
                    <a:pt x="158" y="692"/>
                  </a:lnTo>
                  <a:lnTo>
                    <a:pt x="161" y="692"/>
                  </a:lnTo>
                  <a:lnTo>
                    <a:pt x="161" y="692"/>
                  </a:lnTo>
                  <a:lnTo>
                    <a:pt x="161" y="692"/>
                  </a:lnTo>
                  <a:close/>
                  <a:moveTo>
                    <a:pt x="203" y="779"/>
                  </a:moveTo>
                  <a:lnTo>
                    <a:pt x="203" y="779"/>
                  </a:lnTo>
                  <a:lnTo>
                    <a:pt x="206" y="776"/>
                  </a:lnTo>
                  <a:lnTo>
                    <a:pt x="203" y="776"/>
                  </a:lnTo>
                  <a:lnTo>
                    <a:pt x="203" y="776"/>
                  </a:lnTo>
                  <a:lnTo>
                    <a:pt x="203" y="779"/>
                  </a:lnTo>
                  <a:lnTo>
                    <a:pt x="203" y="779"/>
                  </a:lnTo>
                  <a:close/>
                  <a:moveTo>
                    <a:pt x="27" y="482"/>
                  </a:moveTo>
                  <a:lnTo>
                    <a:pt x="24" y="479"/>
                  </a:lnTo>
                  <a:lnTo>
                    <a:pt x="20" y="479"/>
                  </a:lnTo>
                  <a:lnTo>
                    <a:pt x="20" y="482"/>
                  </a:lnTo>
                  <a:lnTo>
                    <a:pt x="24" y="485"/>
                  </a:lnTo>
                  <a:lnTo>
                    <a:pt x="24" y="485"/>
                  </a:lnTo>
                  <a:lnTo>
                    <a:pt x="27" y="488"/>
                  </a:lnTo>
                  <a:lnTo>
                    <a:pt x="27" y="488"/>
                  </a:lnTo>
                  <a:lnTo>
                    <a:pt x="24" y="488"/>
                  </a:lnTo>
                  <a:lnTo>
                    <a:pt x="20" y="491"/>
                  </a:lnTo>
                  <a:lnTo>
                    <a:pt x="20" y="495"/>
                  </a:lnTo>
                  <a:lnTo>
                    <a:pt x="20" y="495"/>
                  </a:lnTo>
                  <a:lnTo>
                    <a:pt x="13" y="495"/>
                  </a:lnTo>
                  <a:lnTo>
                    <a:pt x="10" y="495"/>
                  </a:lnTo>
                  <a:lnTo>
                    <a:pt x="13" y="491"/>
                  </a:lnTo>
                  <a:lnTo>
                    <a:pt x="10" y="482"/>
                  </a:lnTo>
                  <a:lnTo>
                    <a:pt x="10" y="475"/>
                  </a:lnTo>
                  <a:lnTo>
                    <a:pt x="10" y="475"/>
                  </a:lnTo>
                  <a:lnTo>
                    <a:pt x="6" y="475"/>
                  </a:lnTo>
                  <a:lnTo>
                    <a:pt x="10" y="472"/>
                  </a:lnTo>
                  <a:lnTo>
                    <a:pt x="10" y="469"/>
                  </a:lnTo>
                  <a:lnTo>
                    <a:pt x="10" y="469"/>
                  </a:lnTo>
                  <a:lnTo>
                    <a:pt x="10" y="466"/>
                  </a:lnTo>
                  <a:lnTo>
                    <a:pt x="10" y="466"/>
                  </a:lnTo>
                  <a:lnTo>
                    <a:pt x="13" y="462"/>
                  </a:lnTo>
                  <a:lnTo>
                    <a:pt x="17" y="462"/>
                  </a:lnTo>
                  <a:lnTo>
                    <a:pt x="20" y="462"/>
                  </a:lnTo>
                  <a:lnTo>
                    <a:pt x="24" y="469"/>
                  </a:lnTo>
                  <a:lnTo>
                    <a:pt x="24" y="472"/>
                  </a:lnTo>
                  <a:lnTo>
                    <a:pt x="24" y="472"/>
                  </a:lnTo>
                  <a:lnTo>
                    <a:pt x="24" y="475"/>
                  </a:lnTo>
                  <a:lnTo>
                    <a:pt x="20" y="475"/>
                  </a:lnTo>
                  <a:lnTo>
                    <a:pt x="24" y="479"/>
                  </a:lnTo>
                  <a:lnTo>
                    <a:pt x="27" y="479"/>
                  </a:lnTo>
                  <a:lnTo>
                    <a:pt x="27" y="482"/>
                  </a:lnTo>
                  <a:lnTo>
                    <a:pt x="27" y="482"/>
                  </a:lnTo>
                  <a:close/>
                  <a:moveTo>
                    <a:pt x="27" y="472"/>
                  </a:moveTo>
                  <a:lnTo>
                    <a:pt x="31" y="472"/>
                  </a:lnTo>
                  <a:lnTo>
                    <a:pt x="34" y="472"/>
                  </a:lnTo>
                  <a:lnTo>
                    <a:pt x="31" y="475"/>
                  </a:lnTo>
                  <a:lnTo>
                    <a:pt x="27" y="472"/>
                  </a:lnTo>
                  <a:lnTo>
                    <a:pt x="27" y="472"/>
                  </a:lnTo>
                  <a:close/>
                  <a:moveTo>
                    <a:pt x="6" y="504"/>
                  </a:moveTo>
                  <a:lnTo>
                    <a:pt x="6" y="501"/>
                  </a:lnTo>
                  <a:lnTo>
                    <a:pt x="10" y="501"/>
                  </a:lnTo>
                  <a:lnTo>
                    <a:pt x="13" y="504"/>
                  </a:lnTo>
                  <a:lnTo>
                    <a:pt x="6" y="504"/>
                  </a:lnTo>
                  <a:lnTo>
                    <a:pt x="6" y="504"/>
                  </a:lnTo>
                  <a:lnTo>
                    <a:pt x="6" y="504"/>
                  </a:lnTo>
                  <a:close/>
                  <a:moveTo>
                    <a:pt x="34" y="508"/>
                  </a:moveTo>
                  <a:lnTo>
                    <a:pt x="37" y="504"/>
                  </a:lnTo>
                  <a:lnTo>
                    <a:pt x="37" y="508"/>
                  </a:lnTo>
                  <a:lnTo>
                    <a:pt x="34" y="508"/>
                  </a:lnTo>
                  <a:lnTo>
                    <a:pt x="34" y="508"/>
                  </a:lnTo>
                  <a:lnTo>
                    <a:pt x="34" y="508"/>
                  </a:lnTo>
                  <a:close/>
                  <a:moveTo>
                    <a:pt x="27" y="508"/>
                  </a:moveTo>
                  <a:lnTo>
                    <a:pt x="31" y="508"/>
                  </a:lnTo>
                  <a:lnTo>
                    <a:pt x="31" y="511"/>
                  </a:lnTo>
                  <a:lnTo>
                    <a:pt x="27" y="511"/>
                  </a:lnTo>
                  <a:lnTo>
                    <a:pt x="27" y="511"/>
                  </a:lnTo>
                  <a:lnTo>
                    <a:pt x="24" y="508"/>
                  </a:lnTo>
                  <a:lnTo>
                    <a:pt x="27" y="508"/>
                  </a:lnTo>
                  <a:lnTo>
                    <a:pt x="27" y="508"/>
                  </a:lnTo>
                  <a:close/>
                  <a:moveTo>
                    <a:pt x="17" y="504"/>
                  </a:moveTo>
                  <a:lnTo>
                    <a:pt x="20" y="504"/>
                  </a:lnTo>
                  <a:lnTo>
                    <a:pt x="24" y="504"/>
                  </a:lnTo>
                  <a:lnTo>
                    <a:pt x="20" y="508"/>
                  </a:lnTo>
                  <a:lnTo>
                    <a:pt x="17" y="504"/>
                  </a:lnTo>
                  <a:lnTo>
                    <a:pt x="17" y="504"/>
                  </a:lnTo>
                  <a:close/>
                  <a:moveTo>
                    <a:pt x="20" y="511"/>
                  </a:moveTo>
                  <a:lnTo>
                    <a:pt x="20" y="511"/>
                  </a:lnTo>
                  <a:lnTo>
                    <a:pt x="20" y="511"/>
                  </a:lnTo>
                  <a:lnTo>
                    <a:pt x="20" y="514"/>
                  </a:lnTo>
                  <a:lnTo>
                    <a:pt x="20" y="511"/>
                  </a:lnTo>
                  <a:lnTo>
                    <a:pt x="20" y="511"/>
                  </a:lnTo>
                  <a:close/>
                  <a:moveTo>
                    <a:pt x="13" y="514"/>
                  </a:moveTo>
                  <a:lnTo>
                    <a:pt x="17" y="514"/>
                  </a:lnTo>
                  <a:lnTo>
                    <a:pt x="20" y="514"/>
                  </a:lnTo>
                  <a:lnTo>
                    <a:pt x="20" y="514"/>
                  </a:lnTo>
                  <a:lnTo>
                    <a:pt x="20" y="517"/>
                  </a:lnTo>
                  <a:lnTo>
                    <a:pt x="17" y="517"/>
                  </a:lnTo>
                  <a:lnTo>
                    <a:pt x="13" y="517"/>
                  </a:lnTo>
                  <a:lnTo>
                    <a:pt x="13" y="514"/>
                  </a:lnTo>
                  <a:lnTo>
                    <a:pt x="13" y="514"/>
                  </a:lnTo>
                  <a:close/>
                  <a:moveTo>
                    <a:pt x="10" y="521"/>
                  </a:moveTo>
                  <a:lnTo>
                    <a:pt x="13" y="524"/>
                  </a:lnTo>
                  <a:lnTo>
                    <a:pt x="10" y="524"/>
                  </a:lnTo>
                  <a:lnTo>
                    <a:pt x="10" y="524"/>
                  </a:lnTo>
                  <a:lnTo>
                    <a:pt x="10" y="521"/>
                  </a:lnTo>
                  <a:lnTo>
                    <a:pt x="10" y="521"/>
                  </a:lnTo>
                  <a:close/>
                  <a:moveTo>
                    <a:pt x="31" y="521"/>
                  </a:moveTo>
                  <a:lnTo>
                    <a:pt x="31" y="524"/>
                  </a:lnTo>
                  <a:lnTo>
                    <a:pt x="27" y="524"/>
                  </a:lnTo>
                  <a:lnTo>
                    <a:pt x="31" y="521"/>
                  </a:lnTo>
                  <a:lnTo>
                    <a:pt x="31" y="521"/>
                  </a:lnTo>
                  <a:close/>
                  <a:moveTo>
                    <a:pt x="24" y="517"/>
                  </a:moveTo>
                  <a:lnTo>
                    <a:pt x="27" y="517"/>
                  </a:lnTo>
                  <a:lnTo>
                    <a:pt x="27" y="521"/>
                  </a:lnTo>
                  <a:lnTo>
                    <a:pt x="24" y="517"/>
                  </a:lnTo>
                  <a:lnTo>
                    <a:pt x="24" y="517"/>
                  </a:lnTo>
                  <a:close/>
                  <a:moveTo>
                    <a:pt x="13" y="543"/>
                  </a:moveTo>
                  <a:lnTo>
                    <a:pt x="17" y="543"/>
                  </a:lnTo>
                  <a:lnTo>
                    <a:pt x="17" y="546"/>
                  </a:lnTo>
                  <a:lnTo>
                    <a:pt x="17" y="546"/>
                  </a:lnTo>
                  <a:lnTo>
                    <a:pt x="13" y="543"/>
                  </a:lnTo>
                  <a:lnTo>
                    <a:pt x="13" y="543"/>
                  </a:lnTo>
                  <a:close/>
                  <a:moveTo>
                    <a:pt x="17" y="524"/>
                  </a:moveTo>
                  <a:lnTo>
                    <a:pt x="17" y="521"/>
                  </a:lnTo>
                  <a:lnTo>
                    <a:pt x="13" y="517"/>
                  </a:lnTo>
                  <a:lnTo>
                    <a:pt x="20" y="517"/>
                  </a:lnTo>
                  <a:lnTo>
                    <a:pt x="20" y="521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4"/>
                  </a:lnTo>
                  <a:close/>
                  <a:moveTo>
                    <a:pt x="6" y="527"/>
                  </a:moveTo>
                  <a:lnTo>
                    <a:pt x="3" y="527"/>
                  </a:lnTo>
                  <a:lnTo>
                    <a:pt x="3" y="524"/>
                  </a:lnTo>
                  <a:lnTo>
                    <a:pt x="6" y="524"/>
                  </a:lnTo>
                  <a:lnTo>
                    <a:pt x="10" y="527"/>
                  </a:lnTo>
                  <a:lnTo>
                    <a:pt x="6" y="527"/>
                  </a:lnTo>
                  <a:lnTo>
                    <a:pt x="6" y="527"/>
                  </a:lnTo>
                  <a:close/>
                  <a:moveTo>
                    <a:pt x="20" y="540"/>
                  </a:moveTo>
                  <a:lnTo>
                    <a:pt x="24" y="540"/>
                  </a:lnTo>
                  <a:lnTo>
                    <a:pt x="24" y="543"/>
                  </a:lnTo>
                  <a:lnTo>
                    <a:pt x="20" y="540"/>
                  </a:lnTo>
                  <a:lnTo>
                    <a:pt x="20" y="540"/>
                  </a:lnTo>
                  <a:close/>
                  <a:moveTo>
                    <a:pt x="27" y="543"/>
                  </a:moveTo>
                  <a:lnTo>
                    <a:pt x="31" y="543"/>
                  </a:lnTo>
                  <a:lnTo>
                    <a:pt x="27" y="546"/>
                  </a:lnTo>
                  <a:lnTo>
                    <a:pt x="27" y="543"/>
                  </a:lnTo>
                  <a:lnTo>
                    <a:pt x="27" y="543"/>
                  </a:lnTo>
                  <a:close/>
                  <a:moveTo>
                    <a:pt x="34" y="514"/>
                  </a:moveTo>
                  <a:lnTo>
                    <a:pt x="34" y="514"/>
                  </a:lnTo>
                  <a:lnTo>
                    <a:pt x="37" y="517"/>
                  </a:lnTo>
                  <a:lnTo>
                    <a:pt x="34" y="517"/>
                  </a:lnTo>
                  <a:lnTo>
                    <a:pt x="34" y="514"/>
                  </a:lnTo>
                  <a:lnTo>
                    <a:pt x="34" y="514"/>
                  </a:lnTo>
                  <a:close/>
                  <a:moveTo>
                    <a:pt x="41" y="517"/>
                  </a:moveTo>
                  <a:lnTo>
                    <a:pt x="44" y="517"/>
                  </a:lnTo>
                  <a:lnTo>
                    <a:pt x="44" y="521"/>
                  </a:lnTo>
                  <a:lnTo>
                    <a:pt x="48" y="524"/>
                  </a:lnTo>
                  <a:lnTo>
                    <a:pt x="44" y="527"/>
                  </a:lnTo>
                  <a:lnTo>
                    <a:pt x="44" y="527"/>
                  </a:lnTo>
                  <a:lnTo>
                    <a:pt x="41" y="527"/>
                  </a:lnTo>
                  <a:lnTo>
                    <a:pt x="41" y="527"/>
                  </a:lnTo>
                  <a:lnTo>
                    <a:pt x="37" y="527"/>
                  </a:lnTo>
                  <a:lnTo>
                    <a:pt x="34" y="530"/>
                  </a:lnTo>
                  <a:lnTo>
                    <a:pt x="34" y="527"/>
                  </a:lnTo>
                  <a:lnTo>
                    <a:pt x="34" y="524"/>
                  </a:lnTo>
                  <a:lnTo>
                    <a:pt x="34" y="517"/>
                  </a:lnTo>
                  <a:lnTo>
                    <a:pt x="41" y="517"/>
                  </a:lnTo>
                  <a:lnTo>
                    <a:pt x="41" y="517"/>
                  </a:lnTo>
                  <a:close/>
                  <a:moveTo>
                    <a:pt x="17" y="527"/>
                  </a:moveTo>
                  <a:lnTo>
                    <a:pt x="20" y="524"/>
                  </a:lnTo>
                  <a:lnTo>
                    <a:pt x="27" y="524"/>
                  </a:lnTo>
                  <a:lnTo>
                    <a:pt x="24" y="527"/>
                  </a:lnTo>
                  <a:lnTo>
                    <a:pt x="20" y="527"/>
                  </a:lnTo>
                  <a:lnTo>
                    <a:pt x="20" y="527"/>
                  </a:lnTo>
                  <a:lnTo>
                    <a:pt x="20" y="527"/>
                  </a:lnTo>
                  <a:lnTo>
                    <a:pt x="17" y="527"/>
                  </a:lnTo>
                  <a:lnTo>
                    <a:pt x="17" y="527"/>
                  </a:lnTo>
                  <a:close/>
                  <a:moveTo>
                    <a:pt x="24" y="533"/>
                  </a:moveTo>
                  <a:lnTo>
                    <a:pt x="20" y="530"/>
                  </a:lnTo>
                  <a:lnTo>
                    <a:pt x="24" y="530"/>
                  </a:lnTo>
                  <a:lnTo>
                    <a:pt x="27" y="530"/>
                  </a:lnTo>
                  <a:lnTo>
                    <a:pt x="27" y="533"/>
                  </a:lnTo>
                  <a:lnTo>
                    <a:pt x="24" y="533"/>
                  </a:lnTo>
                  <a:lnTo>
                    <a:pt x="24" y="533"/>
                  </a:lnTo>
                  <a:close/>
                  <a:moveTo>
                    <a:pt x="24" y="537"/>
                  </a:moveTo>
                  <a:lnTo>
                    <a:pt x="27" y="533"/>
                  </a:lnTo>
                  <a:lnTo>
                    <a:pt x="31" y="533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27" y="540"/>
                  </a:lnTo>
                  <a:lnTo>
                    <a:pt x="27" y="537"/>
                  </a:lnTo>
                  <a:lnTo>
                    <a:pt x="24" y="537"/>
                  </a:lnTo>
                  <a:lnTo>
                    <a:pt x="24" y="537"/>
                  </a:lnTo>
                  <a:close/>
                  <a:moveTo>
                    <a:pt x="17" y="543"/>
                  </a:moveTo>
                  <a:lnTo>
                    <a:pt x="20" y="543"/>
                  </a:lnTo>
                  <a:lnTo>
                    <a:pt x="20" y="543"/>
                  </a:lnTo>
                  <a:lnTo>
                    <a:pt x="24" y="543"/>
                  </a:lnTo>
                  <a:lnTo>
                    <a:pt x="27" y="546"/>
                  </a:lnTo>
                  <a:lnTo>
                    <a:pt x="20" y="546"/>
                  </a:lnTo>
                  <a:lnTo>
                    <a:pt x="17" y="543"/>
                  </a:lnTo>
                  <a:lnTo>
                    <a:pt x="17" y="543"/>
                  </a:lnTo>
                  <a:close/>
                  <a:moveTo>
                    <a:pt x="27" y="608"/>
                  </a:moveTo>
                  <a:lnTo>
                    <a:pt x="31" y="608"/>
                  </a:lnTo>
                  <a:lnTo>
                    <a:pt x="31" y="605"/>
                  </a:lnTo>
                  <a:lnTo>
                    <a:pt x="27" y="605"/>
                  </a:lnTo>
                  <a:lnTo>
                    <a:pt x="24" y="601"/>
                  </a:lnTo>
                  <a:lnTo>
                    <a:pt x="20" y="598"/>
                  </a:lnTo>
                  <a:lnTo>
                    <a:pt x="20" y="595"/>
                  </a:lnTo>
                  <a:lnTo>
                    <a:pt x="24" y="595"/>
                  </a:lnTo>
                  <a:lnTo>
                    <a:pt x="27" y="595"/>
                  </a:lnTo>
                  <a:lnTo>
                    <a:pt x="27" y="598"/>
                  </a:lnTo>
                  <a:lnTo>
                    <a:pt x="31" y="601"/>
                  </a:lnTo>
                  <a:lnTo>
                    <a:pt x="31" y="605"/>
                  </a:lnTo>
                  <a:lnTo>
                    <a:pt x="34" y="608"/>
                  </a:lnTo>
                  <a:lnTo>
                    <a:pt x="37" y="611"/>
                  </a:lnTo>
                  <a:lnTo>
                    <a:pt x="34" y="611"/>
                  </a:lnTo>
                  <a:lnTo>
                    <a:pt x="31" y="611"/>
                  </a:lnTo>
                  <a:lnTo>
                    <a:pt x="27" y="608"/>
                  </a:lnTo>
                  <a:lnTo>
                    <a:pt x="27" y="608"/>
                  </a:lnTo>
                  <a:close/>
                  <a:moveTo>
                    <a:pt x="13" y="601"/>
                  </a:moveTo>
                  <a:lnTo>
                    <a:pt x="13" y="601"/>
                  </a:lnTo>
                  <a:lnTo>
                    <a:pt x="17" y="598"/>
                  </a:lnTo>
                  <a:lnTo>
                    <a:pt x="20" y="598"/>
                  </a:lnTo>
                  <a:lnTo>
                    <a:pt x="24" y="605"/>
                  </a:lnTo>
                  <a:lnTo>
                    <a:pt x="27" y="611"/>
                  </a:lnTo>
                  <a:lnTo>
                    <a:pt x="27" y="614"/>
                  </a:lnTo>
                  <a:lnTo>
                    <a:pt x="27" y="614"/>
                  </a:lnTo>
                  <a:lnTo>
                    <a:pt x="24" y="614"/>
                  </a:lnTo>
                  <a:lnTo>
                    <a:pt x="20" y="608"/>
                  </a:lnTo>
                  <a:lnTo>
                    <a:pt x="20" y="608"/>
                  </a:lnTo>
                  <a:lnTo>
                    <a:pt x="20" y="608"/>
                  </a:lnTo>
                  <a:lnTo>
                    <a:pt x="17" y="605"/>
                  </a:lnTo>
                  <a:lnTo>
                    <a:pt x="13" y="601"/>
                  </a:lnTo>
                  <a:lnTo>
                    <a:pt x="13" y="601"/>
                  </a:lnTo>
                  <a:close/>
                  <a:moveTo>
                    <a:pt x="13" y="608"/>
                  </a:moveTo>
                  <a:lnTo>
                    <a:pt x="17" y="608"/>
                  </a:lnTo>
                  <a:lnTo>
                    <a:pt x="20" y="608"/>
                  </a:lnTo>
                  <a:lnTo>
                    <a:pt x="20" y="611"/>
                  </a:lnTo>
                  <a:lnTo>
                    <a:pt x="20" y="614"/>
                  </a:lnTo>
                  <a:lnTo>
                    <a:pt x="17" y="614"/>
                  </a:lnTo>
                  <a:lnTo>
                    <a:pt x="17" y="614"/>
                  </a:lnTo>
                  <a:lnTo>
                    <a:pt x="13" y="611"/>
                  </a:lnTo>
                  <a:lnTo>
                    <a:pt x="13" y="608"/>
                  </a:lnTo>
                  <a:lnTo>
                    <a:pt x="13" y="608"/>
                  </a:lnTo>
                  <a:close/>
                  <a:moveTo>
                    <a:pt x="24" y="627"/>
                  </a:moveTo>
                  <a:lnTo>
                    <a:pt x="20" y="627"/>
                  </a:lnTo>
                  <a:lnTo>
                    <a:pt x="20" y="624"/>
                  </a:lnTo>
                  <a:lnTo>
                    <a:pt x="20" y="617"/>
                  </a:lnTo>
                  <a:lnTo>
                    <a:pt x="20" y="617"/>
                  </a:lnTo>
                  <a:lnTo>
                    <a:pt x="20" y="617"/>
                  </a:lnTo>
                  <a:lnTo>
                    <a:pt x="27" y="617"/>
                  </a:lnTo>
                  <a:lnTo>
                    <a:pt x="27" y="621"/>
                  </a:lnTo>
                  <a:lnTo>
                    <a:pt x="24" y="621"/>
                  </a:lnTo>
                  <a:lnTo>
                    <a:pt x="24" y="627"/>
                  </a:lnTo>
                  <a:lnTo>
                    <a:pt x="24" y="627"/>
                  </a:lnTo>
                  <a:close/>
                  <a:moveTo>
                    <a:pt x="27" y="640"/>
                  </a:moveTo>
                  <a:lnTo>
                    <a:pt x="24" y="640"/>
                  </a:lnTo>
                  <a:lnTo>
                    <a:pt x="24" y="640"/>
                  </a:lnTo>
                  <a:lnTo>
                    <a:pt x="24" y="637"/>
                  </a:lnTo>
                  <a:lnTo>
                    <a:pt x="20" y="634"/>
                  </a:lnTo>
                  <a:lnTo>
                    <a:pt x="27" y="634"/>
                  </a:lnTo>
                  <a:lnTo>
                    <a:pt x="27" y="637"/>
                  </a:lnTo>
                  <a:lnTo>
                    <a:pt x="27" y="640"/>
                  </a:lnTo>
                  <a:lnTo>
                    <a:pt x="27" y="640"/>
                  </a:lnTo>
                  <a:close/>
                  <a:moveTo>
                    <a:pt x="37" y="637"/>
                  </a:moveTo>
                  <a:lnTo>
                    <a:pt x="37" y="640"/>
                  </a:lnTo>
                  <a:lnTo>
                    <a:pt x="34" y="643"/>
                  </a:lnTo>
                  <a:lnTo>
                    <a:pt x="31" y="640"/>
                  </a:lnTo>
                  <a:lnTo>
                    <a:pt x="31" y="637"/>
                  </a:lnTo>
                  <a:lnTo>
                    <a:pt x="27" y="630"/>
                  </a:lnTo>
                  <a:lnTo>
                    <a:pt x="31" y="627"/>
                  </a:lnTo>
                  <a:lnTo>
                    <a:pt x="34" y="627"/>
                  </a:lnTo>
                  <a:lnTo>
                    <a:pt x="34" y="624"/>
                  </a:lnTo>
                  <a:lnTo>
                    <a:pt x="31" y="627"/>
                  </a:lnTo>
                  <a:lnTo>
                    <a:pt x="31" y="627"/>
                  </a:lnTo>
                  <a:lnTo>
                    <a:pt x="31" y="624"/>
                  </a:lnTo>
                  <a:lnTo>
                    <a:pt x="31" y="621"/>
                  </a:lnTo>
                  <a:lnTo>
                    <a:pt x="27" y="621"/>
                  </a:lnTo>
                  <a:lnTo>
                    <a:pt x="27" y="614"/>
                  </a:lnTo>
                  <a:lnTo>
                    <a:pt x="31" y="614"/>
                  </a:lnTo>
                  <a:lnTo>
                    <a:pt x="34" y="614"/>
                  </a:lnTo>
                  <a:lnTo>
                    <a:pt x="37" y="614"/>
                  </a:lnTo>
                  <a:lnTo>
                    <a:pt x="41" y="624"/>
                  </a:lnTo>
                  <a:lnTo>
                    <a:pt x="41" y="627"/>
                  </a:lnTo>
                  <a:lnTo>
                    <a:pt x="41" y="634"/>
                  </a:lnTo>
                  <a:lnTo>
                    <a:pt x="41" y="634"/>
                  </a:lnTo>
                  <a:lnTo>
                    <a:pt x="44" y="637"/>
                  </a:lnTo>
                  <a:lnTo>
                    <a:pt x="44" y="643"/>
                  </a:lnTo>
                  <a:lnTo>
                    <a:pt x="41" y="647"/>
                  </a:lnTo>
                  <a:lnTo>
                    <a:pt x="37" y="643"/>
                  </a:lnTo>
                  <a:lnTo>
                    <a:pt x="37" y="640"/>
                  </a:lnTo>
                  <a:lnTo>
                    <a:pt x="37" y="637"/>
                  </a:lnTo>
                  <a:lnTo>
                    <a:pt x="37" y="637"/>
                  </a:lnTo>
                  <a:close/>
                  <a:moveTo>
                    <a:pt x="34" y="653"/>
                  </a:moveTo>
                  <a:lnTo>
                    <a:pt x="34" y="653"/>
                  </a:lnTo>
                  <a:lnTo>
                    <a:pt x="31" y="650"/>
                  </a:lnTo>
                  <a:lnTo>
                    <a:pt x="31" y="650"/>
                  </a:lnTo>
                  <a:lnTo>
                    <a:pt x="31" y="647"/>
                  </a:lnTo>
                  <a:lnTo>
                    <a:pt x="34" y="647"/>
                  </a:lnTo>
                  <a:lnTo>
                    <a:pt x="34" y="647"/>
                  </a:lnTo>
                  <a:lnTo>
                    <a:pt x="41" y="647"/>
                  </a:lnTo>
                  <a:lnTo>
                    <a:pt x="37" y="650"/>
                  </a:lnTo>
                  <a:lnTo>
                    <a:pt x="37" y="653"/>
                  </a:lnTo>
                  <a:lnTo>
                    <a:pt x="34" y="653"/>
                  </a:lnTo>
                  <a:lnTo>
                    <a:pt x="34" y="653"/>
                  </a:lnTo>
                  <a:lnTo>
                    <a:pt x="34" y="653"/>
                  </a:lnTo>
                  <a:close/>
                  <a:moveTo>
                    <a:pt x="31" y="659"/>
                  </a:moveTo>
                  <a:lnTo>
                    <a:pt x="31" y="656"/>
                  </a:lnTo>
                  <a:lnTo>
                    <a:pt x="37" y="656"/>
                  </a:lnTo>
                  <a:lnTo>
                    <a:pt x="34" y="659"/>
                  </a:lnTo>
                  <a:lnTo>
                    <a:pt x="31" y="659"/>
                  </a:lnTo>
                  <a:lnTo>
                    <a:pt x="31" y="659"/>
                  </a:lnTo>
                  <a:close/>
                  <a:moveTo>
                    <a:pt x="41" y="656"/>
                  </a:moveTo>
                  <a:lnTo>
                    <a:pt x="41" y="659"/>
                  </a:lnTo>
                  <a:lnTo>
                    <a:pt x="41" y="663"/>
                  </a:lnTo>
                  <a:lnTo>
                    <a:pt x="41" y="663"/>
                  </a:lnTo>
                  <a:lnTo>
                    <a:pt x="37" y="659"/>
                  </a:lnTo>
                  <a:lnTo>
                    <a:pt x="41" y="656"/>
                  </a:lnTo>
                  <a:lnTo>
                    <a:pt x="41" y="656"/>
                  </a:lnTo>
                  <a:close/>
                  <a:moveTo>
                    <a:pt x="41" y="656"/>
                  </a:moveTo>
                  <a:lnTo>
                    <a:pt x="41" y="653"/>
                  </a:lnTo>
                  <a:lnTo>
                    <a:pt x="44" y="653"/>
                  </a:lnTo>
                  <a:lnTo>
                    <a:pt x="48" y="656"/>
                  </a:lnTo>
                  <a:lnTo>
                    <a:pt x="48" y="656"/>
                  </a:lnTo>
                  <a:lnTo>
                    <a:pt x="51" y="659"/>
                  </a:lnTo>
                  <a:lnTo>
                    <a:pt x="55" y="666"/>
                  </a:lnTo>
                  <a:lnTo>
                    <a:pt x="48" y="659"/>
                  </a:lnTo>
                  <a:lnTo>
                    <a:pt x="44" y="659"/>
                  </a:lnTo>
                  <a:lnTo>
                    <a:pt x="41" y="656"/>
                  </a:lnTo>
                  <a:lnTo>
                    <a:pt x="41" y="656"/>
                  </a:lnTo>
                  <a:close/>
                  <a:moveTo>
                    <a:pt x="41" y="663"/>
                  </a:moveTo>
                  <a:lnTo>
                    <a:pt x="44" y="659"/>
                  </a:lnTo>
                  <a:lnTo>
                    <a:pt x="48" y="663"/>
                  </a:lnTo>
                  <a:lnTo>
                    <a:pt x="51" y="669"/>
                  </a:lnTo>
                  <a:lnTo>
                    <a:pt x="51" y="669"/>
                  </a:lnTo>
                  <a:lnTo>
                    <a:pt x="48" y="669"/>
                  </a:lnTo>
                  <a:lnTo>
                    <a:pt x="44" y="666"/>
                  </a:lnTo>
                  <a:lnTo>
                    <a:pt x="41" y="663"/>
                  </a:lnTo>
                  <a:lnTo>
                    <a:pt x="41" y="663"/>
                  </a:lnTo>
                  <a:close/>
                  <a:moveTo>
                    <a:pt x="44" y="679"/>
                  </a:moveTo>
                  <a:lnTo>
                    <a:pt x="41" y="679"/>
                  </a:lnTo>
                  <a:lnTo>
                    <a:pt x="37" y="679"/>
                  </a:lnTo>
                  <a:lnTo>
                    <a:pt x="41" y="676"/>
                  </a:lnTo>
                  <a:lnTo>
                    <a:pt x="41" y="672"/>
                  </a:lnTo>
                  <a:lnTo>
                    <a:pt x="41" y="669"/>
                  </a:lnTo>
                  <a:lnTo>
                    <a:pt x="44" y="669"/>
                  </a:lnTo>
                  <a:lnTo>
                    <a:pt x="44" y="672"/>
                  </a:lnTo>
                  <a:lnTo>
                    <a:pt x="48" y="672"/>
                  </a:lnTo>
                  <a:lnTo>
                    <a:pt x="55" y="676"/>
                  </a:lnTo>
                  <a:lnTo>
                    <a:pt x="55" y="676"/>
                  </a:lnTo>
                  <a:lnTo>
                    <a:pt x="51" y="676"/>
                  </a:lnTo>
                  <a:lnTo>
                    <a:pt x="51" y="676"/>
                  </a:lnTo>
                  <a:lnTo>
                    <a:pt x="44" y="679"/>
                  </a:lnTo>
                  <a:lnTo>
                    <a:pt x="44" y="679"/>
                  </a:lnTo>
                  <a:close/>
                  <a:moveTo>
                    <a:pt x="51" y="692"/>
                  </a:moveTo>
                  <a:lnTo>
                    <a:pt x="48" y="692"/>
                  </a:lnTo>
                  <a:lnTo>
                    <a:pt x="48" y="689"/>
                  </a:lnTo>
                  <a:lnTo>
                    <a:pt x="44" y="689"/>
                  </a:lnTo>
                  <a:lnTo>
                    <a:pt x="48" y="685"/>
                  </a:lnTo>
                  <a:lnTo>
                    <a:pt x="48" y="685"/>
                  </a:lnTo>
                  <a:lnTo>
                    <a:pt x="48" y="685"/>
                  </a:lnTo>
                  <a:lnTo>
                    <a:pt x="48" y="682"/>
                  </a:lnTo>
                  <a:lnTo>
                    <a:pt x="48" y="682"/>
                  </a:lnTo>
                  <a:lnTo>
                    <a:pt x="51" y="685"/>
                  </a:lnTo>
                  <a:lnTo>
                    <a:pt x="51" y="689"/>
                  </a:lnTo>
                  <a:lnTo>
                    <a:pt x="48" y="689"/>
                  </a:lnTo>
                  <a:lnTo>
                    <a:pt x="51" y="692"/>
                  </a:lnTo>
                  <a:lnTo>
                    <a:pt x="51" y="692"/>
                  </a:lnTo>
                  <a:close/>
                  <a:moveTo>
                    <a:pt x="51" y="685"/>
                  </a:moveTo>
                  <a:lnTo>
                    <a:pt x="51" y="685"/>
                  </a:lnTo>
                  <a:lnTo>
                    <a:pt x="55" y="682"/>
                  </a:lnTo>
                  <a:lnTo>
                    <a:pt x="55" y="685"/>
                  </a:lnTo>
                  <a:lnTo>
                    <a:pt x="58" y="685"/>
                  </a:lnTo>
                  <a:lnTo>
                    <a:pt x="58" y="689"/>
                  </a:lnTo>
                  <a:lnTo>
                    <a:pt x="55" y="692"/>
                  </a:lnTo>
                  <a:lnTo>
                    <a:pt x="55" y="692"/>
                  </a:lnTo>
                  <a:lnTo>
                    <a:pt x="51" y="689"/>
                  </a:lnTo>
                  <a:lnTo>
                    <a:pt x="51" y="689"/>
                  </a:lnTo>
                  <a:lnTo>
                    <a:pt x="51" y="685"/>
                  </a:lnTo>
                  <a:lnTo>
                    <a:pt x="51" y="685"/>
                  </a:lnTo>
                  <a:close/>
                  <a:moveTo>
                    <a:pt x="58" y="689"/>
                  </a:moveTo>
                  <a:lnTo>
                    <a:pt x="61" y="689"/>
                  </a:lnTo>
                  <a:lnTo>
                    <a:pt x="61" y="692"/>
                  </a:lnTo>
                  <a:lnTo>
                    <a:pt x="61" y="692"/>
                  </a:lnTo>
                  <a:lnTo>
                    <a:pt x="58" y="689"/>
                  </a:lnTo>
                  <a:lnTo>
                    <a:pt x="58" y="689"/>
                  </a:lnTo>
                  <a:lnTo>
                    <a:pt x="58" y="689"/>
                  </a:lnTo>
                  <a:close/>
                  <a:moveTo>
                    <a:pt x="55" y="698"/>
                  </a:moveTo>
                  <a:lnTo>
                    <a:pt x="55" y="698"/>
                  </a:lnTo>
                  <a:lnTo>
                    <a:pt x="55" y="698"/>
                  </a:lnTo>
                  <a:lnTo>
                    <a:pt x="55" y="698"/>
                  </a:lnTo>
                  <a:lnTo>
                    <a:pt x="55" y="695"/>
                  </a:lnTo>
                  <a:lnTo>
                    <a:pt x="58" y="692"/>
                  </a:lnTo>
                  <a:lnTo>
                    <a:pt x="58" y="695"/>
                  </a:lnTo>
                  <a:lnTo>
                    <a:pt x="55" y="698"/>
                  </a:lnTo>
                  <a:lnTo>
                    <a:pt x="55" y="698"/>
                  </a:lnTo>
                  <a:close/>
                  <a:moveTo>
                    <a:pt x="68" y="689"/>
                  </a:moveTo>
                  <a:lnTo>
                    <a:pt x="61" y="689"/>
                  </a:lnTo>
                  <a:lnTo>
                    <a:pt x="61" y="685"/>
                  </a:lnTo>
                  <a:lnTo>
                    <a:pt x="61" y="682"/>
                  </a:lnTo>
                  <a:lnTo>
                    <a:pt x="61" y="682"/>
                  </a:lnTo>
                  <a:lnTo>
                    <a:pt x="65" y="685"/>
                  </a:lnTo>
                  <a:lnTo>
                    <a:pt x="68" y="689"/>
                  </a:lnTo>
                  <a:lnTo>
                    <a:pt x="68" y="689"/>
                  </a:lnTo>
                  <a:lnTo>
                    <a:pt x="68" y="689"/>
                  </a:lnTo>
                  <a:lnTo>
                    <a:pt x="68" y="689"/>
                  </a:lnTo>
                  <a:close/>
                  <a:moveTo>
                    <a:pt x="65" y="695"/>
                  </a:moveTo>
                  <a:lnTo>
                    <a:pt x="65" y="692"/>
                  </a:lnTo>
                  <a:lnTo>
                    <a:pt x="65" y="692"/>
                  </a:lnTo>
                  <a:lnTo>
                    <a:pt x="68" y="692"/>
                  </a:lnTo>
                  <a:lnTo>
                    <a:pt x="68" y="695"/>
                  </a:lnTo>
                  <a:lnTo>
                    <a:pt x="65" y="695"/>
                  </a:lnTo>
                  <a:lnTo>
                    <a:pt x="65" y="695"/>
                  </a:lnTo>
                  <a:close/>
                  <a:moveTo>
                    <a:pt x="68" y="701"/>
                  </a:moveTo>
                  <a:lnTo>
                    <a:pt x="65" y="698"/>
                  </a:lnTo>
                  <a:lnTo>
                    <a:pt x="61" y="695"/>
                  </a:lnTo>
                  <a:lnTo>
                    <a:pt x="65" y="695"/>
                  </a:lnTo>
                  <a:lnTo>
                    <a:pt x="68" y="698"/>
                  </a:lnTo>
                  <a:lnTo>
                    <a:pt x="68" y="701"/>
                  </a:lnTo>
                  <a:lnTo>
                    <a:pt x="68" y="701"/>
                  </a:lnTo>
                  <a:lnTo>
                    <a:pt x="68" y="701"/>
                  </a:lnTo>
                  <a:close/>
                  <a:moveTo>
                    <a:pt x="72" y="708"/>
                  </a:moveTo>
                  <a:lnTo>
                    <a:pt x="72" y="708"/>
                  </a:lnTo>
                  <a:lnTo>
                    <a:pt x="68" y="708"/>
                  </a:lnTo>
                  <a:lnTo>
                    <a:pt x="68" y="705"/>
                  </a:lnTo>
                  <a:lnTo>
                    <a:pt x="65" y="705"/>
                  </a:lnTo>
                  <a:lnTo>
                    <a:pt x="65" y="705"/>
                  </a:lnTo>
                  <a:lnTo>
                    <a:pt x="65" y="701"/>
                  </a:lnTo>
                  <a:lnTo>
                    <a:pt x="68" y="705"/>
                  </a:lnTo>
                  <a:lnTo>
                    <a:pt x="72" y="701"/>
                  </a:lnTo>
                  <a:lnTo>
                    <a:pt x="75" y="705"/>
                  </a:lnTo>
                  <a:lnTo>
                    <a:pt x="72" y="708"/>
                  </a:lnTo>
                  <a:lnTo>
                    <a:pt x="72" y="708"/>
                  </a:lnTo>
                  <a:close/>
                  <a:moveTo>
                    <a:pt x="86" y="724"/>
                  </a:moveTo>
                  <a:lnTo>
                    <a:pt x="79" y="724"/>
                  </a:lnTo>
                  <a:lnTo>
                    <a:pt x="79" y="724"/>
                  </a:lnTo>
                  <a:lnTo>
                    <a:pt x="75" y="724"/>
                  </a:lnTo>
                  <a:lnTo>
                    <a:pt x="72" y="721"/>
                  </a:lnTo>
                  <a:lnTo>
                    <a:pt x="68" y="721"/>
                  </a:lnTo>
                  <a:lnTo>
                    <a:pt x="65" y="721"/>
                  </a:lnTo>
                  <a:lnTo>
                    <a:pt x="61" y="714"/>
                  </a:lnTo>
                  <a:lnTo>
                    <a:pt x="61" y="711"/>
                  </a:lnTo>
                  <a:lnTo>
                    <a:pt x="61" y="711"/>
                  </a:lnTo>
                  <a:lnTo>
                    <a:pt x="65" y="711"/>
                  </a:lnTo>
                  <a:lnTo>
                    <a:pt x="68" y="718"/>
                  </a:lnTo>
                  <a:lnTo>
                    <a:pt x="68" y="718"/>
                  </a:lnTo>
                  <a:lnTo>
                    <a:pt x="72" y="718"/>
                  </a:lnTo>
                  <a:lnTo>
                    <a:pt x="75" y="718"/>
                  </a:lnTo>
                  <a:lnTo>
                    <a:pt x="79" y="721"/>
                  </a:lnTo>
                  <a:lnTo>
                    <a:pt x="86" y="721"/>
                  </a:lnTo>
                  <a:lnTo>
                    <a:pt x="86" y="721"/>
                  </a:lnTo>
                  <a:lnTo>
                    <a:pt x="89" y="724"/>
                  </a:lnTo>
                  <a:lnTo>
                    <a:pt x="92" y="724"/>
                  </a:lnTo>
                  <a:lnTo>
                    <a:pt x="92" y="724"/>
                  </a:lnTo>
                  <a:lnTo>
                    <a:pt x="92" y="727"/>
                  </a:lnTo>
                  <a:lnTo>
                    <a:pt x="89" y="727"/>
                  </a:lnTo>
                  <a:lnTo>
                    <a:pt x="86" y="724"/>
                  </a:lnTo>
                  <a:lnTo>
                    <a:pt x="86" y="724"/>
                  </a:lnTo>
                  <a:close/>
                  <a:moveTo>
                    <a:pt x="72" y="727"/>
                  </a:moveTo>
                  <a:lnTo>
                    <a:pt x="72" y="727"/>
                  </a:lnTo>
                  <a:lnTo>
                    <a:pt x="75" y="727"/>
                  </a:lnTo>
                  <a:lnTo>
                    <a:pt x="68" y="727"/>
                  </a:lnTo>
                  <a:lnTo>
                    <a:pt x="72" y="727"/>
                  </a:lnTo>
                  <a:lnTo>
                    <a:pt x="72" y="727"/>
                  </a:lnTo>
                  <a:close/>
                  <a:moveTo>
                    <a:pt x="99" y="740"/>
                  </a:moveTo>
                  <a:lnTo>
                    <a:pt x="99" y="743"/>
                  </a:lnTo>
                  <a:lnTo>
                    <a:pt x="103" y="740"/>
                  </a:lnTo>
                  <a:lnTo>
                    <a:pt x="99" y="740"/>
                  </a:lnTo>
                  <a:lnTo>
                    <a:pt x="96" y="740"/>
                  </a:lnTo>
                  <a:lnTo>
                    <a:pt x="99" y="740"/>
                  </a:lnTo>
                  <a:lnTo>
                    <a:pt x="99" y="740"/>
                  </a:lnTo>
                  <a:close/>
                  <a:moveTo>
                    <a:pt x="110" y="743"/>
                  </a:moveTo>
                  <a:lnTo>
                    <a:pt x="106" y="743"/>
                  </a:lnTo>
                  <a:lnTo>
                    <a:pt x="103" y="740"/>
                  </a:lnTo>
                  <a:lnTo>
                    <a:pt x="103" y="740"/>
                  </a:lnTo>
                  <a:lnTo>
                    <a:pt x="99" y="737"/>
                  </a:lnTo>
                  <a:lnTo>
                    <a:pt x="96" y="740"/>
                  </a:lnTo>
                  <a:lnTo>
                    <a:pt x="92" y="740"/>
                  </a:lnTo>
                  <a:lnTo>
                    <a:pt x="89" y="734"/>
                  </a:lnTo>
                  <a:lnTo>
                    <a:pt x="86" y="734"/>
                  </a:lnTo>
                  <a:lnTo>
                    <a:pt x="86" y="731"/>
                  </a:lnTo>
                  <a:lnTo>
                    <a:pt x="82" y="731"/>
                  </a:lnTo>
                  <a:lnTo>
                    <a:pt x="82" y="727"/>
                  </a:lnTo>
                  <a:lnTo>
                    <a:pt x="82" y="727"/>
                  </a:lnTo>
                  <a:lnTo>
                    <a:pt x="86" y="727"/>
                  </a:lnTo>
                  <a:lnTo>
                    <a:pt x="86" y="727"/>
                  </a:lnTo>
                  <a:lnTo>
                    <a:pt x="89" y="727"/>
                  </a:lnTo>
                  <a:lnTo>
                    <a:pt x="92" y="727"/>
                  </a:lnTo>
                  <a:lnTo>
                    <a:pt x="96" y="727"/>
                  </a:lnTo>
                  <a:lnTo>
                    <a:pt x="103" y="731"/>
                  </a:lnTo>
                  <a:lnTo>
                    <a:pt x="103" y="731"/>
                  </a:lnTo>
                  <a:lnTo>
                    <a:pt x="106" y="734"/>
                  </a:lnTo>
                  <a:lnTo>
                    <a:pt x="110" y="734"/>
                  </a:lnTo>
                  <a:lnTo>
                    <a:pt x="113" y="734"/>
                  </a:lnTo>
                  <a:lnTo>
                    <a:pt x="113" y="737"/>
                  </a:lnTo>
                  <a:lnTo>
                    <a:pt x="110" y="737"/>
                  </a:lnTo>
                  <a:lnTo>
                    <a:pt x="110" y="737"/>
                  </a:lnTo>
                  <a:lnTo>
                    <a:pt x="110" y="737"/>
                  </a:lnTo>
                  <a:lnTo>
                    <a:pt x="110" y="740"/>
                  </a:lnTo>
                  <a:lnTo>
                    <a:pt x="106" y="740"/>
                  </a:lnTo>
                  <a:lnTo>
                    <a:pt x="110" y="743"/>
                  </a:lnTo>
                  <a:lnTo>
                    <a:pt x="110" y="743"/>
                  </a:lnTo>
                  <a:close/>
                  <a:moveTo>
                    <a:pt x="113" y="740"/>
                  </a:moveTo>
                  <a:lnTo>
                    <a:pt x="110" y="743"/>
                  </a:lnTo>
                  <a:lnTo>
                    <a:pt x="110" y="747"/>
                  </a:lnTo>
                  <a:lnTo>
                    <a:pt x="113" y="747"/>
                  </a:lnTo>
                  <a:lnTo>
                    <a:pt x="117" y="743"/>
                  </a:lnTo>
                  <a:lnTo>
                    <a:pt x="117" y="743"/>
                  </a:lnTo>
                  <a:lnTo>
                    <a:pt x="113" y="740"/>
                  </a:lnTo>
                  <a:lnTo>
                    <a:pt x="113" y="740"/>
                  </a:lnTo>
                  <a:lnTo>
                    <a:pt x="113" y="740"/>
                  </a:lnTo>
                  <a:close/>
                  <a:moveTo>
                    <a:pt x="134" y="740"/>
                  </a:moveTo>
                  <a:lnTo>
                    <a:pt x="134" y="740"/>
                  </a:lnTo>
                  <a:lnTo>
                    <a:pt x="134" y="743"/>
                  </a:lnTo>
                  <a:lnTo>
                    <a:pt x="130" y="743"/>
                  </a:lnTo>
                  <a:lnTo>
                    <a:pt x="130" y="743"/>
                  </a:lnTo>
                  <a:lnTo>
                    <a:pt x="127" y="743"/>
                  </a:lnTo>
                  <a:lnTo>
                    <a:pt x="127" y="743"/>
                  </a:lnTo>
                  <a:lnTo>
                    <a:pt x="123" y="743"/>
                  </a:lnTo>
                  <a:lnTo>
                    <a:pt x="120" y="740"/>
                  </a:lnTo>
                  <a:lnTo>
                    <a:pt x="120" y="743"/>
                  </a:lnTo>
                  <a:lnTo>
                    <a:pt x="117" y="740"/>
                  </a:lnTo>
                  <a:lnTo>
                    <a:pt x="113" y="740"/>
                  </a:lnTo>
                  <a:lnTo>
                    <a:pt x="113" y="737"/>
                  </a:lnTo>
                  <a:lnTo>
                    <a:pt x="120" y="737"/>
                  </a:lnTo>
                  <a:lnTo>
                    <a:pt x="120" y="737"/>
                  </a:lnTo>
                  <a:lnTo>
                    <a:pt x="127" y="737"/>
                  </a:lnTo>
                  <a:lnTo>
                    <a:pt x="130" y="740"/>
                  </a:lnTo>
                  <a:lnTo>
                    <a:pt x="130" y="737"/>
                  </a:lnTo>
                  <a:lnTo>
                    <a:pt x="134" y="737"/>
                  </a:lnTo>
                  <a:lnTo>
                    <a:pt x="134" y="740"/>
                  </a:lnTo>
                  <a:lnTo>
                    <a:pt x="134" y="740"/>
                  </a:lnTo>
                  <a:close/>
                  <a:moveTo>
                    <a:pt x="144" y="737"/>
                  </a:moveTo>
                  <a:lnTo>
                    <a:pt x="141" y="734"/>
                  </a:lnTo>
                  <a:lnTo>
                    <a:pt x="144" y="734"/>
                  </a:lnTo>
                  <a:lnTo>
                    <a:pt x="141" y="731"/>
                  </a:lnTo>
                  <a:lnTo>
                    <a:pt x="144" y="731"/>
                  </a:lnTo>
                  <a:lnTo>
                    <a:pt x="141" y="727"/>
                  </a:lnTo>
                  <a:lnTo>
                    <a:pt x="141" y="724"/>
                  </a:lnTo>
                  <a:lnTo>
                    <a:pt x="137" y="721"/>
                  </a:lnTo>
                  <a:lnTo>
                    <a:pt x="137" y="724"/>
                  </a:lnTo>
                  <a:lnTo>
                    <a:pt x="134" y="727"/>
                  </a:lnTo>
                  <a:lnTo>
                    <a:pt x="137" y="731"/>
                  </a:lnTo>
                  <a:lnTo>
                    <a:pt x="137" y="734"/>
                  </a:lnTo>
                  <a:lnTo>
                    <a:pt x="137" y="737"/>
                  </a:lnTo>
                  <a:lnTo>
                    <a:pt x="141" y="737"/>
                  </a:lnTo>
                  <a:lnTo>
                    <a:pt x="144" y="737"/>
                  </a:lnTo>
                  <a:lnTo>
                    <a:pt x="144" y="740"/>
                  </a:lnTo>
                  <a:lnTo>
                    <a:pt x="144" y="737"/>
                  </a:lnTo>
                  <a:lnTo>
                    <a:pt x="144" y="737"/>
                  </a:lnTo>
                  <a:close/>
                  <a:moveTo>
                    <a:pt x="130" y="763"/>
                  </a:moveTo>
                  <a:lnTo>
                    <a:pt x="134" y="760"/>
                  </a:lnTo>
                  <a:lnTo>
                    <a:pt x="137" y="763"/>
                  </a:lnTo>
                  <a:lnTo>
                    <a:pt x="134" y="763"/>
                  </a:lnTo>
                  <a:lnTo>
                    <a:pt x="130" y="763"/>
                  </a:lnTo>
                  <a:lnTo>
                    <a:pt x="130" y="763"/>
                  </a:lnTo>
                  <a:close/>
                  <a:moveTo>
                    <a:pt x="134" y="760"/>
                  </a:moveTo>
                  <a:lnTo>
                    <a:pt x="130" y="760"/>
                  </a:lnTo>
                  <a:lnTo>
                    <a:pt x="130" y="756"/>
                  </a:lnTo>
                  <a:lnTo>
                    <a:pt x="134" y="756"/>
                  </a:lnTo>
                  <a:lnTo>
                    <a:pt x="134" y="760"/>
                  </a:lnTo>
                  <a:lnTo>
                    <a:pt x="134" y="760"/>
                  </a:lnTo>
                  <a:lnTo>
                    <a:pt x="134" y="760"/>
                  </a:lnTo>
                  <a:close/>
                  <a:moveTo>
                    <a:pt x="209" y="776"/>
                  </a:moveTo>
                  <a:lnTo>
                    <a:pt x="206" y="776"/>
                  </a:lnTo>
                  <a:lnTo>
                    <a:pt x="209" y="773"/>
                  </a:lnTo>
                  <a:lnTo>
                    <a:pt x="206" y="769"/>
                  </a:lnTo>
                  <a:lnTo>
                    <a:pt x="209" y="773"/>
                  </a:lnTo>
                  <a:lnTo>
                    <a:pt x="209" y="773"/>
                  </a:lnTo>
                  <a:lnTo>
                    <a:pt x="209" y="776"/>
                  </a:lnTo>
                  <a:lnTo>
                    <a:pt x="209" y="776"/>
                  </a:lnTo>
                  <a:lnTo>
                    <a:pt x="209" y="776"/>
                  </a:lnTo>
                  <a:close/>
                  <a:moveTo>
                    <a:pt x="161" y="760"/>
                  </a:moveTo>
                  <a:lnTo>
                    <a:pt x="161" y="760"/>
                  </a:lnTo>
                  <a:lnTo>
                    <a:pt x="165" y="760"/>
                  </a:lnTo>
                  <a:lnTo>
                    <a:pt x="168" y="760"/>
                  </a:lnTo>
                  <a:lnTo>
                    <a:pt x="172" y="760"/>
                  </a:lnTo>
                  <a:lnTo>
                    <a:pt x="182" y="756"/>
                  </a:lnTo>
                  <a:lnTo>
                    <a:pt x="185" y="756"/>
                  </a:lnTo>
                  <a:lnTo>
                    <a:pt x="192" y="756"/>
                  </a:lnTo>
                  <a:lnTo>
                    <a:pt x="196" y="756"/>
                  </a:lnTo>
                  <a:lnTo>
                    <a:pt x="203" y="756"/>
                  </a:lnTo>
                  <a:lnTo>
                    <a:pt x="206" y="756"/>
                  </a:lnTo>
                  <a:lnTo>
                    <a:pt x="206" y="760"/>
                  </a:lnTo>
                  <a:lnTo>
                    <a:pt x="209" y="760"/>
                  </a:lnTo>
                  <a:lnTo>
                    <a:pt x="206" y="763"/>
                  </a:lnTo>
                  <a:lnTo>
                    <a:pt x="206" y="763"/>
                  </a:lnTo>
                  <a:lnTo>
                    <a:pt x="203" y="763"/>
                  </a:lnTo>
                  <a:lnTo>
                    <a:pt x="199" y="763"/>
                  </a:lnTo>
                  <a:lnTo>
                    <a:pt x="196" y="763"/>
                  </a:lnTo>
                  <a:lnTo>
                    <a:pt x="192" y="763"/>
                  </a:lnTo>
                  <a:lnTo>
                    <a:pt x="192" y="763"/>
                  </a:lnTo>
                  <a:lnTo>
                    <a:pt x="189" y="760"/>
                  </a:lnTo>
                  <a:lnTo>
                    <a:pt x="185" y="760"/>
                  </a:lnTo>
                  <a:lnTo>
                    <a:pt x="182" y="760"/>
                  </a:lnTo>
                  <a:lnTo>
                    <a:pt x="182" y="760"/>
                  </a:lnTo>
                  <a:lnTo>
                    <a:pt x="175" y="763"/>
                  </a:lnTo>
                  <a:lnTo>
                    <a:pt x="178" y="763"/>
                  </a:lnTo>
                  <a:lnTo>
                    <a:pt x="182" y="763"/>
                  </a:lnTo>
                  <a:lnTo>
                    <a:pt x="185" y="766"/>
                  </a:lnTo>
                  <a:lnTo>
                    <a:pt x="189" y="766"/>
                  </a:lnTo>
                  <a:lnTo>
                    <a:pt x="185" y="766"/>
                  </a:lnTo>
                  <a:lnTo>
                    <a:pt x="189" y="769"/>
                  </a:lnTo>
                  <a:lnTo>
                    <a:pt x="192" y="773"/>
                  </a:lnTo>
                  <a:lnTo>
                    <a:pt x="192" y="773"/>
                  </a:lnTo>
                  <a:lnTo>
                    <a:pt x="192" y="773"/>
                  </a:lnTo>
                  <a:lnTo>
                    <a:pt x="189" y="769"/>
                  </a:lnTo>
                  <a:lnTo>
                    <a:pt x="185" y="769"/>
                  </a:lnTo>
                  <a:lnTo>
                    <a:pt x="182" y="773"/>
                  </a:lnTo>
                  <a:lnTo>
                    <a:pt x="178" y="769"/>
                  </a:lnTo>
                  <a:lnTo>
                    <a:pt x="178" y="766"/>
                  </a:lnTo>
                  <a:lnTo>
                    <a:pt x="175" y="766"/>
                  </a:lnTo>
                  <a:lnTo>
                    <a:pt x="172" y="769"/>
                  </a:lnTo>
                  <a:lnTo>
                    <a:pt x="175" y="769"/>
                  </a:lnTo>
                  <a:lnTo>
                    <a:pt x="175" y="773"/>
                  </a:lnTo>
                  <a:lnTo>
                    <a:pt x="175" y="773"/>
                  </a:lnTo>
                  <a:lnTo>
                    <a:pt x="168" y="769"/>
                  </a:lnTo>
                  <a:lnTo>
                    <a:pt x="168" y="773"/>
                  </a:lnTo>
                  <a:lnTo>
                    <a:pt x="165" y="769"/>
                  </a:lnTo>
                  <a:lnTo>
                    <a:pt x="165" y="769"/>
                  </a:lnTo>
                  <a:lnTo>
                    <a:pt x="165" y="766"/>
                  </a:lnTo>
                  <a:lnTo>
                    <a:pt x="161" y="769"/>
                  </a:lnTo>
                  <a:lnTo>
                    <a:pt x="158" y="766"/>
                  </a:lnTo>
                  <a:lnTo>
                    <a:pt x="158" y="766"/>
                  </a:lnTo>
                  <a:lnTo>
                    <a:pt x="161" y="763"/>
                  </a:lnTo>
                  <a:lnTo>
                    <a:pt x="168" y="763"/>
                  </a:lnTo>
                  <a:lnTo>
                    <a:pt x="165" y="760"/>
                  </a:lnTo>
                  <a:lnTo>
                    <a:pt x="161" y="763"/>
                  </a:lnTo>
                  <a:lnTo>
                    <a:pt x="161" y="7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0" name="Freeform 191"/>
            <p:cNvSpPr>
              <a:spLocks/>
            </p:cNvSpPr>
            <p:nvPr/>
          </p:nvSpPr>
          <p:spPr bwMode="auto">
            <a:xfrm>
              <a:off x="4383088" y="4175780"/>
              <a:ext cx="4763" cy="4762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1" name="Freeform 192"/>
            <p:cNvSpPr>
              <a:spLocks noEditPoints="1"/>
            </p:cNvSpPr>
            <p:nvPr/>
          </p:nvSpPr>
          <p:spPr bwMode="auto">
            <a:xfrm>
              <a:off x="4392613" y="4180542"/>
              <a:ext cx="22225" cy="25400"/>
            </a:xfrm>
            <a:custGeom>
              <a:avLst/>
              <a:gdLst>
                <a:gd name="T0" fmla="*/ 14 w 14"/>
                <a:gd name="T1" fmla="*/ 13 h 16"/>
                <a:gd name="T2" fmla="*/ 11 w 14"/>
                <a:gd name="T3" fmla="*/ 13 h 16"/>
                <a:gd name="T4" fmla="*/ 14 w 14"/>
                <a:gd name="T5" fmla="*/ 16 h 16"/>
                <a:gd name="T6" fmla="*/ 14 w 14"/>
                <a:gd name="T7" fmla="*/ 13 h 16"/>
                <a:gd name="T8" fmla="*/ 14 w 14"/>
                <a:gd name="T9" fmla="*/ 13 h 16"/>
                <a:gd name="T10" fmla="*/ 14 w 14"/>
                <a:gd name="T11" fmla="*/ 0 h 16"/>
                <a:gd name="T12" fmla="*/ 7 w 14"/>
                <a:gd name="T13" fmla="*/ 3 h 16"/>
                <a:gd name="T14" fmla="*/ 11 w 14"/>
                <a:gd name="T15" fmla="*/ 6 h 16"/>
                <a:gd name="T16" fmla="*/ 14 w 14"/>
                <a:gd name="T17" fmla="*/ 10 h 16"/>
                <a:gd name="T18" fmla="*/ 14 w 14"/>
                <a:gd name="T19" fmla="*/ 0 h 16"/>
                <a:gd name="T20" fmla="*/ 14 w 14"/>
                <a:gd name="T21" fmla="*/ 0 h 16"/>
                <a:gd name="T22" fmla="*/ 4 w 14"/>
                <a:gd name="T23" fmla="*/ 3 h 16"/>
                <a:gd name="T24" fmla="*/ 7 w 14"/>
                <a:gd name="T25" fmla="*/ 10 h 16"/>
                <a:gd name="T26" fmla="*/ 7 w 14"/>
                <a:gd name="T27" fmla="*/ 13 h 16"/>
                <a:gd name="T28" fmla="*/ 0 w 14"/>
                <a:gd name="T29" fmla="*/ 10 h 16"/>
                <a:gd name="T30" fmla="*/ 4 w 14"/>
                <a:gd name="T31" fmla="*/ 6 h 16"/>
                <a:gd name="T32" fmla="*/ 4 w 14"/>
                <a:gd name="T3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6">
                  <a:moveTo>
                    <a:pt x="14" y="13"/>
                  </a:moveTo>
                  <a:lnTo>
                    <a:pt x="11" y="13"/>
                  </a:lnTo>
                  <a:lnTo>
                    <a:pt x="14" y="16"/>
                  </a:lnTo>
                  <a:lnTo>
                    <a:pt x="14" y="13"/>
                  </a:lnTo>
                  <a:lnTo>
                    <a:pt x="14" y="13"/>
                  </a:lnTo>
                  <a:close/>
                  <a:moveTo>
                    <a:pt x="14" y="0"/>
                  </a:moveTo>
                  <a:lnTo>
                    <a:pt x="7" y="3"/>
                  </a:lnTo>
                  <a:lnTo>
                    <a:pt x="11" y="6"/>
                  </a:lnTo>
                  <a:lnTo>
                    <a:pt x="14" y="10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4" y="3"/>
                  </a:moveTo>
                  <a:lnTo>
                    <a:pt x="7" y="10"/>
                  </a:lnTo>
                  <a:lnTo>
                    <a:pt x="7" y="13"/>
                  </a:lnTo>
                  <a:lnTo>
                    <a:pt x="0" y="10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2" name="Freeform 193"/>
            <p:cNvSpPr>
              <a:spLocks/>
            </p:cNvSpPr>
            <p:nvPr/>
          </p:nvSpPr>
          <p:spPr bwMode="auto">
            <a:xfrm>
              <a:off x="4403726" y="4210705"/>
              <a:ext cx="11113" cy="11112"/>
            </a:xfrm>
            <a:custGeom>
              <a:avLst/>
              <a:gdLst>
                <a:gd name="T0" fmla="*/ 4 w 7"/>
                <a:gd name="T1" fmla="*/ 0 h 7"/>
                <a:gd name="T2" fmla="*/ 7 w 7"/>
                <a:gd name="T3" fmla="*/ 4 h 7"/>
                <a:gd name="T4" fmla="*/ 7 w 7"/>
                <a:gd name="T5" fmla="*/ 7 h 7"/>
                <a:gd name="T6" fmla="*/ 4 w 7"/>
                <a:gd name="T7" fmla="*/ 7 h 7"/>
                <a:gd name="T8" fmla="*/ 0 w 7"/>
                <a:gd name="T9" fmla="*/ 4 h 7"/>
                <a:gd name="T10" fmla="*/ 0 w 7"/>
                <a:gd name="T11" fmla="*/ 4 h 7"/>
                <a:gd name="T12" fmla="*/ 4 w 7"/>
                <a:gd name="T13" fmla="*/ 0 h 7"/>
                <a:gd name="T14" fmla="*/ 4 w 7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4" y="0"/>
                  </a:moveTo>
                  <a:lnTo>
                    <a:pt x="7" y="4"/>
                  </a:lnTo>
                  <a:lnTo>
                    <a:pt x="7" y="7"/>
                  </a:lnTo>
                  <a:lnTo>
                    <a:pt x="4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3" name="Freeform 194"/>
            <p:cNvSpPr>
              <a:spLocks noEditPoints="1"/>
            </p:cNvSpPr>
            <p:nvPr/>
          </p:nvSpPr>
          <p:spPr bwMode="auto">
            <a:xfrm>
              <a:off x="4410076" y="4231342"/>
              <a:ext cx="15875" cy="36512"/>
            </a:xfrm>
            <a:custGeom>
              <a:avLst/>
              <a:gdLst>
                <a:gd name="T0" fmla="*/ 7 w 10"/>
                <a:gd name="T1" fmla="*/ 13 h 23"/>
                <a:gd name="T2" fmla="*/ 3 w 10"/>
                <a:gd name="T3" fmla="*/ 20 h 23"/>
                <a:gd name="T4" fmla="*/ 3 w 10"/>
                <a:gd name="T5" fmla="*/ 23 h 23"/>
                <a:gd name="T6" fmla="*/ 7 w 10"/>
                <a:gd name="T7" fmla="*/ 23 h 23"/>
                <a:gd name="T8" fmla="*/ 7 w 10"/>
                <a:gd name="T9" fmla="*/ 20 h 23"/>
                <a:gd name="T10" fmla="*/ 7 w 10"/>
                <a:gd name="T11" fmla="*/ 13 h 23"/>
                <a:gd name="T12" fmla="*/ 7 w 10"/>
                <a:gd name="T13" fmla="*/ 13 h 23"/>
                <a:gd name="T14" fmla="*/ 0 w 10"/>
                <a:gd name="T15" fmla="*/ 0 h 23"/>
                <a:gd name="T16" fmla="*/ 7 w 10"/>
                <a:gd name="T17" fmla="*/ 0 h 23"/>
                <a:gd name="T18" fmla="*/ 10 w 10"/>
                <a:gd name="T19" fmla="*/ 7 h 23"/>
                <a:gd name="T20" fmla="*/ 7 w 10"/>
                <a:gd name="T21" fmla="*/ 10 h 23"/>
                <a:gd name="T22" fmla="*/ 7 w 10"/>
                <a:gd name="T23" fmla="*/ 10 h 23"/>
                <a:gd name="T24" fmla="*/ 3 w 10"/>
                <a:gd name="T25" fmla="*/ 10 h 23"/>
                <a:gd name="T26" fmla="*/ 3 w 10"/>
                <a:gd name="T27" fmla="*/ 7 h 23"/>
                <a:gd name="T28" fmla="*/ 0 w 10"/>
                <a:gd name="T29" fmla="*/ 0 h 23"/>
                <a:gd name="T30" fmla="*/ 0 w 10"/>
                <a:gd name="T3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23">
                  <a:moveTo>
                    <a:pt x="7" y="13"/>
                  </a:moveTo>
                  <a:lnTo>
                    <a:pt x="3" y="20"/>
                  </a:lnTo>
                  <a:lnTo>
                    <a:pt x="3" y="23"/>
                  </a:lnTo>
                  <a:lnTo>
                    <a:pt x="7" y="23"/>
                  </a:lnTo>
                  <a:lnTo>
                    <a:pt x="7" y="20"/>
                  </a:lnTo>
                  <a:lnTo>
                    <a:pt x="7" y="13"/>
                  </a:lnTo>
                  <a:lnTo>
                    <a:pt x="7" y="13"/>
                  </a:lnTo>
                  <a:close/>
                  <a:moveTo>
                    <a:pt x="0" y="0"/>
                  </a:moveTo>
                  <a:lnTo>
                    <a:pt x="7" y="0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3" y="10"/>
                  </a:lnTo>
                  <a:lnTo>
                    <a:pt x="3" y="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4" name="Freeform 195"/>
            <p:cNvSpPr>
              <a:spLocks/>
            </p:cNvSpPr>
            <p:nvPr/>
          </p:nvSpPr>
          <p:spPr bwMode="auto">
            <a:xfrm>
              <a:off x="4459288" y="4272617"/>
              <a:ext cx="11113" cy="11112"/>
            </a:xfrm>
            <a:custGeom>
              <a:avLst/>
              <a:gdLst>
                <a:gd name="T0" fmla="*/ 3 w 7"/>
                <a:gd name="T1" fmla="*/ 0 h 7"/>
                <a:gd name="T2" fmla="*/ 0 w 7"/>
                <a:gd name="T3" fmla="*/ 3 h 7"/>
                <a:gd name="T4" fmla="*/ 3 w 7"/>
                <a:gd name="T5" fmla="*/ 7 h 7"/>
                <a:gd name="T6" fmla="*/ 7 w 7"/>
                <a:gd name="T7" fmla="*/ 7 h 7"/>
                <a:gd name="T8" fmla="*/ 7 w 7"/>
                <a:gd name="T9" fmla="*/ 3 h 7"/>
                <a:gd name="T10" fmla="*/ 3 w 7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3" y="0"/>
                  </a:moveTo>
                  <a:lnTo>
                    <a:pt x="0" y="3"/>
                  </a:lnTo>
                  <a:lnTo>
                    <a:pt x="3" y="7"/>
                  </a:lnTo>
                  <a:lnTo>
                    <a:pt x="7" y="7"/>
                  </a:lnTo>
                  <a:lnTo>
                    <a:pt x="7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5" name="Freeform 196"/>
            <p:cNvSpPr>
              <a:spLocks noEditPoints="1"/>
            </p:cNvSpPr>
            <p:nvPr/>
          </p:nvSpPr>
          <p:spPr bwMode="auto">
            <a:xfrm>
              <a:off x="4392613" y="4272617"/>
              <a:ext cx="22225" cy="36512"/>
            </a:xfrm>
            <a:custGeom>
              <a:avLst/>
              <a:gdLst>
                <a:gd name="T0" fmla="*/ 7 w 14"/>
                <a:gd name="T1" fmla="*/ 20 h 23"/>
                <a:gd name="T2" fmla="*/ 7 w 14"/>
                <a:gd name="T3" fmla="*/ 20 h 23"/>
                <a:gd name="T4" fmla="*/ 0 w 14"/>
                <a:gd name="T5" fmla="*/ 20 h 23"/>
                <a:gd name="T6" fmla="*/ 0 w 14"/>
                <a:gd name="T7" fmla="*/ 23 h 23"/>
                <a:gd name="T8" fmla="*/ 4 w 14"/>
                <a:gd name="T9" fmla="*/ 23 h 23"/>
                <a:gd name="T10" fmla="*/ 7 w 14"/>
                <a:gd name="T11" fmla="*/ 20 h 23"/>
                <a:gd name="T12" fmla="*/ 7 w 14"/>
                <a:gd name="T13" fmla="*/ 20 h 23"/>
                <a:gd name="T14" fmla="*/ 7 w 14"/>
                <a:gd name="T15" fmla="*/ 13 h 23"/>
                <a:gd name="T16" fmla="*/ 11 w 14"/>
                <a:gd name="T17" fmla="*/ 16 h 23"/>
                <a:gd name="T18" fmla="*/ 7 w 14"/>
                <a:gd name="T19" fmla="*/ 16 h 23"/>
                <a:gd name="T20" fmla="*/ 7 w 14"/>
                <a:gd name="T21" fmla="*/ 16 h 23"/>
                <a:gd name="T22" fmla="*/ 7 w 14"/>
                <a:gd name="T23" fmla="*/ 13 h 23"/>
                <a:gd name="T24" fmla="*/ 7 w 14"/>
                <a:gd name="T25" fmla="*/ 13 h 23"/>
                <a:gd name="T26" fmla="*/ 11 w 14"/>
                <a:gd name="T27" fmla="*/ 0 h 23"/>
                <a:gd name="T28" fmla="*/ 14 w 14"/>
                <a:gd name="T29" fmla="*/ 3 h 23"/>
                <a:gd name="T30" fmla="*/ 11 w 14"/>
                <a:gd name="T31" fmla="*/ 7 h 23"/>
                <a:gd name="T32" fmla="*/ 11 w 14"/>
                <a:gd name="T3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23">
                  <a:moveTo>
                    <a:pt x="7" y="20"/>
                  </a:moveTo>
                  <a:lnTo>
                    <a:pt x="7" y="20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7" y="20"/>
                  </a:lnTo>
                  <a:lnTo>
                    <a:pt x="7" y="20"/>
                  </a:lnTo>
                  <a:close/>
                  <a:moveTo>
                    <a:pt x="7" y="13"/>
                  </a:moveTo>
                  <a:lnTo>
                    <a:pt x="11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3"/>
                  </a:lnTo>
                  <a:lnTo>
                    <a:pt x="7" y="13"/>
                  </a:lnTo>
                  <a:close/>
                  <a:moveTo>
                    <a:pt x="11" y="0"/>
                  </a:moveTo>
                  <a:lnTo>
                    <a:pt x="14" y="3"/>
                  </a:lnTo>
                  <a:lnTo>
                    <a:pt x="11" y="7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6" name="Freeform 197"/>
            <p:cNvSpPr>
              <a:spLocks noEditPoints="1"/>
            </p:cNvSpPr>
            <p:nvPr/>
          </p:nvSpPr>
          <p:spPr bwMode="auto">
            <a:xfrm>
              <a:off x="4387851" y="4329767"/>
              <a:ext cx="44450" cy="34925"/>
            </a:xfrm>
            <a:custGeom>
              <a:avLst/>
              <a:gdLst>
                <a:gd name="T0" fmla="*/ 21 w 28"/>
                <a:gd name="T1" fmla="*/ 3 h 22"/>
                <a:gd name="T2" fmla="*/ 28 w 28"/>
                <a:gd name="T3" fmla="*/ 0 h 22"/>
                <a:gd name="T4" fmla="*/ 24 w 28"/>
                <a:gd name="T5" fmla="*/ 3 h 22"/>
                <a:gd name="T6" fmla="*/ 21 w 28"/>
                <a:gd name="T7" fmla="*/ 3 h 22"/>
                <a:gd name="T8" fmla="*/ 21 w 28"/>
                <a:gd name="T9" fmla="*/ 3 h 22"/>
                <a:gd name="T10" fmla="*/ 21 w 28"/>
                <a:gd name="T11" fmla="*/ 6 h 22"/>
                <a:gd name="T12" fmla="*/ 14 w 28"/>
                <a:gd name="T13" fmla="*/ 9 h 22"/>
                <a:gd name="T14" fmla="*/ 10 w 28"/>
                <a:gd name="T15" fmla="*/ 6 h 22"/>
                <a:gd name="T16" fmla="*/ 3 w 28"/>
                <a:gd name="T17" fmla="*/ 9 h 22"/>
                <a:gd name="T18" fmla="*/ 3 w 28"/>
                <a:gd name="T19" fmla="*/ 9 h 22"/>
                <a:gd name="T20" fmla="*/ 7 w 28"/>
                <a:gd name="T21" fmla="*/ 13 h 22"/>
                <a:gd name="T22" fmla="*/ 7 w 28"/>
                <a:gd name="T23" fmla="*/ 16 h 22"/>
                <a:gd name="T24" fmla="*/ 3 w 28"/>
                <a:gd name="T25" fmla="*/ 19 h 22"/>
                <a:gd name="T26" fmla="*/ 0 w 28"/>
                <a:gd name="T27" fmla="*/ 19 h 22"/>
                <a:gd name="T28" fmla="*/ 3 w 28"/>
                <a:gd name="T29" fmla="*/ 22 h 22"/>
                <a:gd name="T30" fmla="*/ 14 w 28"/>
                <a:gd name="T31" fmla="*/ 19 h 22"/>
                <a:gd name="T32" fmla="*/ 17 w 28"/>
                <a:gd name="T33" fmla="*/ 16 h 22"/>
                <a:gd name="T34" fmla="*/ 17 w 28"/>
                <a:gd name="T35" fmla="*/ 13 h 22"/>
                <a:gd name="T36" fmla="*/ 17 w 28"/>
                <a:gd name="T37" fmla="*/ 9 h 22"/>
                <a:gd name="T38" fmla="*/ 21 w 28"/>
                <a:gd name="T39" fmla="*/ 6 h 22"/>
                <a:gd name="T40" fmla="*/ 21 w 28"/>
                <a:gd name="T41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22">
                  <a:moveTo>
                    <a:pt x="21" y="3"/>
                  </a:moveTo>
                  <a:lnTo>
                    <a:pt x="28" y="0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21" y="3"/>
                  </a:lnTo>
                  <a:close/>
                  <a:moveTo>
                    <a:pt x="21" y="6"/>
                  </a:moveTo>
                  <a:lnTo>
                    <a:pt x="14" y="9"/>
                  </a:lnTo>
                  <a:lnTo>
                    <a:pt x="10" y="6"/>
                  </a:lnTo>
                  <a:lnTo>
                    <a:pt x="3" y="9"/>
                  </a:lnTo>
                  <a:lnTo>
                    <a:pt x="3" y="9"/>
                  </a:lnTo>
                  <a:lnTo>
                    <a:pt x="7" y="13"/>
                  </a:lnTo>
                  <a:lnTo>
                    <a:pt x="7" y="16"/>
                  </a:lnTo>
                  <a:lnTo>
                    <a:pt x="3" y="19"/>
                  </a:lnTo>
                  <a:lnTo>
                    <a:pt x="0" y="19"/>
                  </a:lnTo>
                  <a:lnTo>
                    <a:pt x="3" y="22"/>
                  </a:lnTo>
                  <a:lnTo>
                    <a:pt x="14" y="19"/>
                  </a:lnTo>
                  <a:lnTo>
                    <a:pt x="17" y="16"/>
                  </a:lnTo>
                  <a:lnTo>
                    <a:pt x="17" y="13"/>
                  </a:lnTo>
                  <a:lnTo>
                    <a:pt x="17" y="9"/>
                  </a:lnTo>
                  <a:lnTo>
                    <a:pt x="21" y="6"/>
                  </a:lnTo>
                  <a:lnTo>
                    <a:pt x="21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7" name="Rectangle 198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8" name="Rectangle 199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9" name="Rectangle 200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0" name="Rectangle 201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1" name="Rectangle 202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2" name="Rectangle 203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3" name="Rectangle 204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4" name="Rectangle 205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5" name="Rectangle 207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6" name="Rectangle 208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7" name="Rectangle 209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8" name="Rectangle 210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9" name="Rectangle 211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0" name="Rectangle 212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1" name="Rectangle 213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2" name="Rectangle 214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3" name="Rectangle 215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4" name="Rectangle 216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5" name="Rectangle 217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6" name="Rectangle 218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7" name="Rectangle 219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8" name="Rectangle 220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9" name="Rectangle 221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0" name="Rectangle 222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1" name="Rectangle 223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2" name="Rectangle 224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3" name="Rectangle 225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4" name="Rectangle 226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5" name="Rectangle 227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6" name="Rectangle 228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7" name="Rectangle 229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8" name="Rectangle 230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9" name="Rectangle 231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0" name="Rectangle 232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1" name="Rectangle 233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2" name="Rectangle 234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3" name="Rectangle 235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4" name="Rectangle 236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5" name="Rectangle 237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6" name="Rectangle 238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7" name="Rectangle 239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8" name="Rectangle 240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9" name="Rectangle 241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0" name="Rectangle 242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1" name="Rectangle 243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2" name="Rectangle 244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3" name="Rectangle 245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4" name="Rectangle 246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5" name="Rectangle 247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6" name="Rectangle 248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7" name="Rectangle 249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8" name="Rectangle 250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9" name="Rectangle 251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0" name="Rectangle 252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1" name="Rectangle 253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2" name="Rectangle 254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3" name="Rectangle 255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4" name="Rectangle 256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5" name="Rectangle 257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6" name="Rectangle 258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7" name="Rectangle 259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8" name="Rectangle 260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9" name="Rectangle 261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60" name="Rectangle 262"/>
            <p:cNvSpPr>
              <a:spLocks noChangeArrowheads="1"/>
            </p:cNvSpPr>
            <p:nvPr/>
          </p:nvSpPr>
          <p:spPr bwMode="auto">
            <a:xfrm>
              <a:off x="8931276" y="2416830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61" name="Freeform 101"/>
            <p:cNvSpPr>
              <a:spLocks/>
            </p:cNvSpPr>
            <p:nvPr/>
          </p:nvSpPr>
          <p:spPr bwMode="auto">
            <a:xfrm>
              <a:off x="10982326" y="6753225"/>
              <a:ext cx="14288" cy="9525"/>
            </a:xfrm>
            <a:custGeom>
              <a:avLst/>
              <a:gdLst>
                <a:gd name="T0" fmla="*/ 0 w 9"/>
                <a:gd name="T1" fmla="*/ 3 h 6"/>
                <a:gd name="T2" fmla="*/ 3 w 9"/>
                <a:gd name="T3" fmla="*/ 6 h 6"/>
                <a:gd name="T4" fmla="*/ 6 w 9"/>
                <a:gd name="T5" fmla="*/ 6 h 6"/>
                <a:gd name="T6" fmla="*/ 9 w 9"/>
                <a:gd name="T7" fmla="*/ 0 h 6"/>
                <a:gd name="T8" fmla="*/ 6 w 9"/>
                <a:gd name="T9" fmla="*/ 0 h 6"/>
                <a:gd name="T10" fmla="*/ 3 w 9"/>
                <a:gd name="T11" fmla="*/ 3 h 6"/>
                <a:gd name="T12" fmla="*/ 0 w 9"/>
                <a:gd name="T13" fmla="*/ 3 h 6"/>
                <a:gd name="T14" fmla="*/ 0 w 9"/>
                <a:gd name="T15" fmla="*/ 3 h 6"/>
                <a:gd name="T16" fmla="*/ 0 w 9"/>
                <a:gd name="T1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6">
                  <a:moveTo>
                    <a:pt x="0" y="3"/>
                  </a:moveTo>
                  <a:lnTo>
                    <a:pt x="3" y="6"/>
                  </a:lnTo>
                  <a:lnTo>
                    <a:pt x="6" y="6"/>
                  </a:lnTo>
                  <a:lnTo>
                    <a:pt x="9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 sz="2400"/>
            </a:p>
          </p:txBody>
        </p:sp>
        <p:grpSp>
          <p:nvGrpSpPr>
            <p:cNvPr id="262" name="Group 261"/>
            <p:cNvGrpSpPr/>
            <p:nvPr/>
          </p:nvGrpSpPr>
          <p:grpSpPr>
            <a:xfrm>
              <a:off x="10318751" y="4632325"/>
              <a:ext cx="1425575" cy="2017713"/>
              <a:chOff x="10318751" y="4632325"/>
              <a:chExt cx="1425575" cy="2017713"/>
            </a:xfrm>
            <a:grpFill/>
          </p:grpSpPr>
          <p:sp>
            <p:nvSpPr>
              <p:cNvPr id="263" name="Freeform 5"/>
              <p:cNvSpPr>
                <a:spLocks/>
              </p:cNvSpPr>
              <p:nvPr/>
            </p:nvSpPr>
            <p:spPr bwMode="auto">
              <a:xfrm>
                <a:off x="11066463" y="6376988"/>
                <a:ext cx="4763" cy="4763"/>
              </a:xfrm>
              <a:custGeom>
                <a:avLst/>
                <a:gdLst>
                  <a:gd name="T0" fmla="*/ 0 w 3"/>
                  <a:gd name="T1" fmla="*/ 3 h 3"/>
                  <a:gd name="T2" fmla="*/ 3 w 3"/>
                  <a:gd name="T3" fmla="*/ 3 h 3"/>
                  <a:gd name="T4" fmla="*/ 3 w 3"/>
                  <a:gd name="T5" fmla="*/ 3 h 3"/>
                  <a:gd name="T6" fmla="*/ 3 w 3"/>
                  <a:gd name="T7" fmla="*/ 0 h 3"/>
                  <a:gd name="T8" fmla="*/ 0 w 3"/>
                  <a:gd name="T9" fmla="*/ 0 h 3"/>
                  <a:gd name="T10" fmla="*/ 0 w 3"/>
                  <a:gd name="T11" fmla="*/ 3 h 3"/>
                  <a:gd name="T12" fmla="*/ 0 w 3"/>
                  <a:gd name="T13" fmla="*/ 3 h 3"/>
                  <a:gd name="T14" fmla="*/ 0 w 3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64" name="Freeform 6"/>
              <p:cNvSpPr>
                <a:spLocks/>
              </p:cNvSpPr>
              <p:nvPr/>
            </p:nvSpPr>
            <p:spPr bwMode="auto">
              <a:xfrm>
                <a:off x="10991851" y="4970463"/>
                <a:ext cx="9525" cy="4763"/>
              </a:xfrm>
              <a:custGeom>
                <a:avLst/>
                <a:gdLst>
                  <a:gd name="T0" fmla="*/ 0 w 6"/>
                  <a:gd name="T1" fmla="*/ 0 h 3"/>
                  <a:gd name="T2" fmla="*/ 3 w 6"/>
                  <a:gd name="T3" fmla="*/ 0 h 3"/>
                  <a:gd name="T4" fmla="*/ 6 w 6"/>
                  <a:gd name="T5" fmla="*/ 0 h 3"/>
                  <a:gd name="T6" fmla="*/ 6 w 6"/>
                  <a:gd name="T7" fmla="*/ 3 h 3"/>
                  <a:gd name="T8" fmla="*/ 0 w 6"/>
                  <a:gd name="T9" fmla="*/ 3 h 3"/>
                  <a:gd name="T10" fmla="*/ 0 w 6"/>
                  <a:gd name="T11" fmla="*/ 3 h 3"/>
                  <a:gd name="T12" fmla="*/ 0 w 6"/>
                  <a:gd name="T13" fmla="*/ 0 h 3"/>
                  <a:gd name="T14" fmla="*/ 0 w 6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65" name="Freeform 7"/>
              <p:cNvSpPr>
                <a:spLocks/>
              </p:cNvSpPr>
              <p:nvPr/>
            </p:nvSpPr>
            <p:spPr bwMode="auto">
              <a:xfrm>
                <a:off x="10968038" y="4970463"/>
                <a:ext cx="14288" cy="9525"/>
              </a:xfrm>
              <a:custGeom>
                <a:avLst/>
                <a:gdLst>
                  <a:gd name="T0" fmla="*/ 0 w 9"/>
                  <a:gd name="T1" fmla="*/ 0 h 6"/>
                  <a:gd name="T2" fmla="*/ 3 w 9"/>
                  <a:gd name="T3" fmla="*/ 6 h 6"/>
                  <a:gd name="T4" fmla="*/ 6 w 9"/>
                  <a:gd name="T5" fmla="*/ 6 h 6"/>
                  <a:gd name="T6" fmla="*/ 9 w 9"/>
                  <a:gd name="T7" fmla="*/ 6 h 6"/>
                  <a:gd name="T8" fmla="*/ 9 w 9"/>
                  <a:gd name="T9" fmla="*/ 6 h 6"/>
                  <a:gd name="T10" fmla="*/ 9 w 9"/>
                  <a:gd name="T11" fmla="*/ 3 h 6"/>
                  <a:gd name="T12" fmla="*/ 6 w 9"/>
                  <a:gd name="T13" fmla="*/ 3 h 6"/>
                  <a:gd name="T14" fmla="*/ 0 w 9"/>
                  <a:gd name="T15" fmla="*/ 0 h 6"/>
                  <a:gd name="T16" fmla="*/ 0 w 9"/>
                  <a:gd name="T17" fmla="*/ 0 h 6"/>
                  <a:gd name="T18" fmla="*/ 0 w 9"/>
                  <a:gd name="T1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6">
                    <a:moveTo>
                      <a:pt x="0" y="0"/>
                    </a:moveTo>
                    <a:lnTo>
                      <a:pt x="3" y="6"/>
                    </a:lnTo>
                    <a:lnTo>
                      <a:pt x="6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3"/>
                    </a:lnTo>
                    <a:lnTo>
                      <a:pt x="6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66" name="Freeform 8"/>
              <p:cNvSpPr>
                <a:spLocks/>
              </p:cNvSpPr>
              <p:nvPr/>
            </p:nvSpPr>
            <p:spPr bwMode="auto">
              <a:xfrm>
                <a:off x="11691938" y="5138738"/>
                <a:ext cx="52388" cy="33338"/>
              </a:xfrm>
              <a:custGeom>
                <a:avLst/>
                <a:gdLst>
                  <a:gd name="T0" fmla="*/ 0 w 33"/>
                  <a:gd name="T1" fmla="*/ 15 h 21"/>
                  <a:gd name="T2" fmla="*/ 3 w 33"/>
                  <a:gd name="T3" fmla="*/ 9 h 21"/>
                  <a:gd name="T4" fmla="*/ 9 w 33"/>
                  <a:gd name="T5" fmla="*/ 9 h 21"/>
                  <a:gd name="T6" fmla="*/ 12 w 33"/>
                  <a:gd name="T7" fmla="*/ 6 h 21"/>
                  <a:gd name="T8" fmla="*/ 18 w 33"/>
                  <a:gd name="T9" fmla="*/ 9 h 21"/>
                  <a:gd name="T10" fmla="*/ 21 w 33"/>
                  <a:gd name="T11" fmla="*/ 3 h 21"/>
                  <a:gd name="T12" fmla="*/ 24 w 33"/>
                  <a:gd name="T13" fmla="*/ 3 h 21"/>
                  <a:gd name="T14" fmla="*/ 30 w 33"/>
                  <a:gd name="T15" fmla="*/ 0 h 21"/>
                  <a:gd name="T16" fmla="*/ 33 w 33"/>
                  <a:gd name="T17" fmla="*/ 0 h 21"/>
                  <a:gd name="T18" fmla="*/ 27 w 33"/>
                  <a:gd name="T19" fmla="*/ 6 h 21"/>
                  <a:gd name="T20" fmla="*/ 27 w 33"/>
                  <a:gd name="T21" fmla="*/ 9 h 21"/>
                  <a:gd name="T22" fmla="*/ 21 w 33"/>
                  <a:gd name="T23" fmla="*/ 15 h 21"/>
                  <a:gd name="T24" fmla="*/ 24 w 33"/>
                  <a:gd name="T25" fmla="*/ 15 h 21"/>
                  <a:gd name="T26" fmla="*/ 30 w 33"/>
                  <a:gd name="T27" fmla="*/ 9 h 21"/>
                  <a:gd name="T28" fmla="*/ 30 w 33"/>
                  <a:gd name="T29" fmla="*/ 12 h 21"/>
                  <a:gd name="T30" fmla="*/ 27 w 33"/>
                  <a:gd name="T31" fmla="*/ 18 h 21"/>
                  <a:gd name="T32" fmla="*/ 18 w 33"/>
                  <a:gd name="T33" fmla="*/ 18 h 21"/>
                  <a:gd name="T34" fmla="*/ 18 w 33"/>
                  <a:gd name="T35" fmla="*/ 15 h 21"/>
                  <a:gd name="T36" fmla="*/ 12 w 33"/>
                  <a:gd name="T37" fmla="*/ 15 h 21"/>
                  <a:gd name="T38" fmla="*/ 12 w 33"/>
                  <a:gd name="T39" fmla="*/ 18 h 21"/>
                  <a:gd name="T40" fmla="*/ 6 w 33"/>
                  <a:gd name="T41" fmla="*/ 18 h 21"/>
                  <a:gd name="T42" fmla="*/ 6 w 33"/>
                  <a:gd name="T43" fmla="*/ 21 h 21"/>
                  <a:gd name="T44" fmla="*/ 0 w 33"/>
                  <a:gd name="T45" fmla="*/ 15 h 21"/>
                  <a:gd name="T46" fmla="*/ 0 w 33"/>
                  <a:gd name="T47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" h="21">
                    <a:moveTo>
                      <a:pt x="0" y="15"/>
                    </a:moveTo>
                    <a:lnTo>
                      <a:pt x="3" y="9"/>
                    </a:lnTo>
                    <a:lnTo>
                      <a:pt x="9" y="9"/>
                    </a:lnTo>
                    <a:lnTo>
                      <a:pt x="12" y="6"/>
                    </a:lnTo>
                    <a:lnTo>
                      <a:pt x="18" y="9"/>
                    </a:lnTo>
                    <a:lnTo>
                      <a:pt x="21" y="3"/>
                    </a:lnTo>
                    <a:lnTo>
                      <a:pt x="24" y="3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27" y="6"/>
                    </a:lnTo>
                    <a:lnTo>
                      <a:pt x="27" y="9"/>
                    </a:lnTo>
                    <a:lnTo>
                      <a:pt x="21" y="15"/>
                    </a:lnTo>
                    <a:lnTo>
                      <a:pt x="24" y="15"/>
                    </a:lnTo>
                    <a:lnTo>
                      <a:pt x="30" y="9"/>
                    </a:lnTo>
                    <a:lnTo>
                      <a:pt x="30" y="12"/>
                    </a:lnTo>
                    <a:lnTo>
                      <a:pt x="27" y="18"/>
                    </a:lnTo>
                    <a:lnTo>
                      <a:pt x="18" y="18"/>
                    </a:lnTo>
                    <a:lnTo>
                      <a:pt x="18" y="15"/>
                    </a:lnTo>
                    <a:lnTo>
                      <a:pt x="12" y="15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6" y="21"/>
                    </a:lnTo>
                    <a:lnTo>
                      <a:pt x="0" y="15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67" name="Freeform 266"/>
              <p:cNvSpPr>
                <a:spLocks/>
              </p:cNvSpPr>
              <p:nvPr/>
            </p:nvSpPr>
            <p:spPr bwMode="auto">
              <a:xfrm>
                <a:off x="11655426" y="5176838"/>
                <a:ext cx="41275" cy="36513"/>
              </a:xfrm>
              <a:custGeom>
                <a:avLst/>
                <a:gdLst>
                  <a:gd name="T0" fmla="*/ 3 w 26"/>
                  <a:gd name="T1" fmla="*/ 9 h 23"/>
                  <a:gd name="T2" fmla="*/ 9 w 26"/>
                  <a:gd name="T3" fmla="*/ 3 h 23"/>
                  <a:gd name="T4" fmla="*/ 17 w 26"/>
                  <a:gd name="T5" fmla="*/ 0 h 23"/>
                  <a:gd name="T6" fmla="*/ 23 w 26"/>
                  <a:gd name="T7" fmla="*/ 9 h 23"/>
                  <a:gd name="T8" fmla="*/ 26 w 26"/>
                  <a:gd name="T9" fmla="*/ 18 h 23"/>
                  <a:gd name="T10" fmla="*/ 20 w 26"/>
                  <a:gd name="T11" fmla="*/ 21 h 23"/>
                  <a:gd name="T12" fmla="*/ 17 w 26"/>
                  <a:gd name="T13" fmla="*/ 21 h 23"/>
                  <a:gd name="T14" fmla="*/ 14 w 26"/>
                  <a:gd name="T15" fmla="*/ 23 h 23"/>
                  <a:gd name="T16" fmla="*/ 6 w 26"/>
                  <a:gd name="T17" fmla="*/ 21 h 23"/>
                  <a:gd name="T18" fmla="*/ 0 w 26"/>
                  <a:gd name="T19" fmla="*/ 18 h 23"/>
                  <a:gd name="T20" fmla="*/ 0 w 26"/>
                  <a:gd name="T21" fmla="*/ 15 h 23"/>
                  <a:gd name="T22" fmla="*/ 3 w 26"/>
                  <a:gd name="T23" fmla="*/ 12 h 23"/>
                  <a:gd name="T24" fmla="*/ 3 w 26"/>
                  <a:gd name="T25" fmla="*/ 9 h 23"/>
                  <a:gd name="T26" fmla="*/ 3 w 26"/>
                  <a:gd name="T27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23">
                    <a:moveTo>
                      <a:pt x="3" y="9"/>
                    </a:moveTo>
                    <a:lnTo>
                      <a:pt x="9" y="3"/>
                    </a:lnTo>
                    <a:lnTo>
                      <a:pt x="17" y="0"/>
                    </a:lnTo>
                    <a:lnTo>
                      <a:pt x="23" y="9"/>
                    </a:lnTo>
                    <a:lnTo>
                      <a:pt x="26" y="18"/>
                    </a:lnTo>
                    <a:lnTo>
                      <a:pt x="20" y="21"/>
                    </a:lnTo>
                    <a:lnTo>
                      <a:pt x="17" y="21"/>
                    </a:lnTo>
                    <a:lnTo>
                      <a:pt x="14" y="23"/>
                    </a:lnTo>
                    <a:lnTo>
                      <a:pt x="6" y="21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3" y="12"/>
                    </a:lnTo>
                    <a:lnTo>
                      <a:pt x="3" y="9"/>
                    </a:lnTo>
                    <a:lnTo>
                      <a:pt x="3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68" name="Freeform 10"/>
              <p:cNvSpPr>
                <a:spLocks/>
              </p:cNvSpPr>
              <p:nvPr/>
            </p:nvSpPr>
            <p:spPr bwMode="auto">
              <a:xfrm>
                <a:off x="11255376" y="5270500"/>
                <a:ext cx="79375" cy="88900"/>
              </a:xfrm>
              <a:custGeom>
                <a:avLst/>
                <a:gdLst>
                  <a:gd name="T0" fmla="*/ 0 w 50"/>
                  <a:gd name="T1" fmla="*/ 0 h 56"/>
                  <a:gd name="T2" fmla="*/ 6 w 50"/>
                  <a:gd name="T3" fmla="*/ 9 h 56"/>
                  <a:gd name="T4" fmla="*/ 6 w 50"/>
                  <a:gd name="T5" fmla="*/ 6 h 56"/>
                  <a:gd name="T6" fmla="*/ 9 w 50"/>
                  <a:gd name="T7" fmla="*/ 6 h 56"/>
                  <a:gd name="T8" fmla="*/ 9 w 50"/>
                  <a:gd name="T9" fmla="*/ 9 h 56"/>
                  <a:gd name="T10" fmla="*/ 15 w 50"/>
                  <a:gd name="T11" fmla="*/ 15 h 56"/>
                  <a:gd name="T12" fmla="*/ 17 w 50"/>
                  <a:gd name="T13" fmla="*/ 18 h 56"/>
                  <a:gd name="T14" fmla="*/ 17 w 50"/>
                  <a:gd name="T15" fmla="*/ 18 h 56"/>
                  <a:gd name="T16" fmla="*/ 26 w 50"/>
                  <a:gd name="T17" fmla="*/ 27 h 56"/>
                  <a:gd name="T18" fmla="*/ 29 w 50"/>
                  <a:gd name="T19" fmla="*/ 32 h 56"/>
                  <a:gd name="T20" fmla="*/ 32 w 50"/>
                  <a:gd name="T21" fmla="*/ 32 h 56"/>
                  <a:gd name="T22" fmla="*/ 35 w 50"/>
                  <a:gd name="T23" fmla="*/ 35 h 56"/>
                  <a:gd name="T24" fmla="*/ 38 w 50"/>
                  <a:gd name="T25" fmla="*/ 44 h 56"/>
                  <a:gd name="T26" fmla="*/ 47 w 50"/>
                  <a:gd name="T27" fmla="*/ 47 h 56"/>
                  <a:gd name="T28" fmla="*/ 50 w 50"/>
                  <a:gd name="T29" fmla="*/ 47 h 56"/>
                  <a:gd name="T30" fmla="*/ 50 w 50"/>
                  <a:gd name="T31" fmla="*/ 56 h 56"/>
                  <a:gd name="T32" fmla="*/ 47 w 50"/>
                  <a:gd name="T33" fmla="*/ 53 h 56"/>
                  <a:gd name="T34" fmla="*/ 44 w 50"/>
                  <a:gd name="T35" fmla="*/ 53 h 56"/>
                  <a:gd name="T36" fmla="*/ 41 w 50"/>
                  <a:gd name="T37" fmla="*/ 50 h 56"/>
                  <a:gd name="T38" fmla="*/ 38 w 50"/>
                  <a:gd name="T39" fmla="*/ 53 h 56"/>
                  <a:gd name="T40" fmla="*/ 35 w 50"/>
                  <a:gd name="T41" fmla="*/ 50 h 56"/>
                  <a:gd name="T42" fmla="*/ 32 w 50"/>
                  <a:gd name="T43" fmla="*/ 44 h 56"/>
                  <a:gd name="T44" fmla="*/ 29 w 50"/>
                  <a:gd name="T45" fmla="*/ 44 h 56"/>
                  <a:gd name="T46" fmla="*/ 26 w 50"/>
                  <a:gd name="T47" fmla="*/ 41 h 56"/>
                  <a:gd name="T48" fmla="*/ 23 w 50"/>
                  <a:gd name="T49" fmla="*/ 38 h 56"/>
                  <a:gd name="T50" fmla="*/ 23 w 50"/>
                  <a:gd name="T51" fmla="*/ 41 h 56"/>
                  <a:gd name="T52" fmla="*/ 20 w 50"/>
                  <a:gd name="T53" fmla="*/ 35 h 56"/>
                  <a:gd name="T54" fmla="*/ 17 w 50"/>
                  <a:gd name="T55" fmla="*/ 32 h 56"/>
                  <a:gd name="T56" fmla="*/ 15 w 50"/>
                  <a:gd name="T57" fmla="*/ 30 h 56"/>
                  <a:gd name="T58" fmla="*/ 12 w 50"/>
                  <a:gd name="T59" fmla="*/ 30 h 56"/>
                  <a:gd name="T60" fmla="*/ 12 w 50"/>
                  <a:gd name="T61" fmla="*/ 27 h 56"/>
                  <a:gd name="T62" fmla="*/ 12 w 50"/>
                  <a:gd name="T63" fmla="*/ 24 h 56"/>
                  <a:gd name="T64" fmla="*/ 9 w 50"/>
                  <a:gd name="T65" fmla="*/ 21 h 56"/>
                  <a:gd name="T66" fmla="*/ 3 w 50"/>
                  <a:gd name="T67" fmla="*/ 9 h 56"/>
                  <a:gd name="T68" fmla="*/ 3 w 50"/>
                  <a:gd name="T69" fmla="*/ 6 h 56"/>
                  <a:gd name="T70" fmla="*/ 0 w 50"/>
                  <a:gd name="T71" fmla="*/ 3 h 56"/>
                  <a:gd name="T72" fmla="*/ 0 w 50"/>
                  <a:gd name="T73" fmla="*/ 0 h 56"/>
                  <a:gd name="T74" fmla="*/ 0 w 50"/>
                  <a:gd name="T75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0" h="56">
                    <a:moveTo>
                      <a:pt x="0" y="0"/>
                    </a:moveTo>
                    <a:lnTo>
                      <a:pt x="6" y="9"/>
                    </a:lnTo>
                    <a:lnTo>
                      <a:pt x="6" y="6"/>
                    </a:lnTo>
                    <a:lnTo>
                      <a:pt x="9" y="6"/>
                    </a:lnTo>
                    <a:lnTo>
                      <a:pt x="9" y="9"/>
                    </a:lnTo>
                    <a:lnTo>
                      <a:pt x="15" y="15"/>
                    </a:lnTo>
                    <a:lnTo>
                      <a:pt x="17" y="18"/>
                    </a:lnTo>
                    <a:lnTo>
                      <a:pt x="17" y="18"/>
                    </a:lnTo>
                    <a:lnTo>
                      <a:pt x="26" y="27"/>
                    </a:lnTo>
                    <a:lnTo>
                      <a:pt x="29" y="32"/>
                    </a:lnTo>
                    <a:lnTo>
                      <a:pt x="32" y="32"/>
                    </a:lnTo>
                    <a:lnTo>
                      <a:pt x="35" y="35"/>
                    </a:lnTo>
                    <a:lnTo>
                      <a:pt x="38" y="44"/>
                    </a:lnTo>
                    <a:lnTo>
                      <a:pt x="47" y="47"/>
                    </a:lnTo>
                    <a:lnTo>
                      <a:pt x="50" y="47"/>
                    </a:lnTo>
                    <a:lnTo>
                      <a:pt x="50" y="56"/>
                    </a:lnTo>
                    <a:lnTo>
                      <a:pt x="47" y="53"/>
                    </a:lnTo>
                    <a:lnTo>
                      <a:pt x="44" y="53"/>
                    </a:lnTo>
                    <a:lnTo>
                      <a:pt x="41" y="50"/>
                    </a:lnTo>
                    <a:lnTo>
                      <a:pt x="38" y="53"/>
                    </a:lnTo>
                    <a:lnTo>
                      <a:pt x="35" y="50"/>
                    </a:lnTo>
                    <a:lnTo>
                      <a:pt x="32" y="44"/>
                    </a:lnTo>
                    <a:lnTo>
                      <a:pt x="29" y="44"/>
                    </a:lnTo>
                    <a:lnTo>
                      <a:pt x="26" y="41"/>
                    </a:lnTo>
                    <a:lnTo>
                      <a:pt x="23" y="38"/>
                    </a:lnTo>
                    <a:lnTo>
                      <a:pt x="23" y="41"/>
                    </a:lnTo>
                    <a:lnTo>
                      <a:pt x="20" y="35"/>
                    </a:lnTo>
                    <a:lnTo>
                      <a:pt x="17" y="32"/>
                    </a:lnTo>
                    <a:lnTo>
                      <a:pt x="15" y="30"/>
                    </a:lnTo>
                    <a:lnTo>
                      <a:pt x="12" y="30"/>
                    </a:lnTo>
                    <a:lnTo>
                      <a:pt x="12" y="27"/>
                    </a:lnTo>
                    <a:lnTo>
                      <a:pt x="12" y="24"/>
                    </a:lnTo>
                    <a:lnTo>
                      <a:pt x="9" y="21"/>
                    </a:lnTo>
                    <a:lnTo>
                      <a:pt x="3" y="9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69" name="Freeform 11"/>
              <p:cNvSpPr>
                <a:spLocks/>
              </p:cNvSpPr>
              <p:nvPr/>
            </p:nvSpPr>
            <p:spPr bwMode="auto">
              <a:xfrm>
                <a:off x="11358563" y="5321300"/>
                <a:ext cx="14288" cy="14288"/>
              </a:xfrm>
              <a:custGeom>
                <a:avLst/>
                <a:gdLst>
                  <a:gd name="T0" fmla="*/ 0 w 9"/>
                  <a:gd name="T1" fmla="*/ 0 h 9"/>
                  <a:gd name="T2" fmla="*/ 6 w 9"/>
                  <a:gd name="T3" fmla="*/ 0 h 9"/>
                  <a:gd name="T4" fmla="*/ 9 w 9"/>
                  <a:gd name="T5" fmla="*/ 3 h 9"/>
                  <a:gd name="T6" fmla="*/ 9 w 9"/>
                  <a:gd name="T7" fmla="*/ 6 h 9"/>
                  <a:gd name="T8" fmla="*/ 6 w 9"/>
                  <a:gd name="T9" fmla="*/ 6 h 9"/>
                  <a:gd name="T10" fmla="*/ 6 w 9"/>
                  <a:gd name="T11" fmla="*/ 9 h 9"/>
                  <a:gd name="T12" fmla="*/ 3 w 9"/>
                  <a:gd name="T13" fmla="*/ 3 h 9"/>
                  <a:gd name="T14" fmla="*/ 0 w 9"/>
                  <a:gd name="T15" fmla="*/ 0 h 9"/>
                  <a:gd name="T16" fmla="*/ 0 w 9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lnTo>
                      <a:pt x="6" y="0"/>
                    </a:lnTo>
                    <a:lnTo>
                      <a:pt x="9" y="3"/>
                    </a:lnTo>
                    <a:lnTo>
                      <a:pt x="9" y="6"/>
                    </a:lnTo>
                    <a:lnTo>
                      <a:pt x="6" y="6"/>
                    </a:lnTo>
                    <a:lnTo>
                      <a:pt x="6" y="9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70" name="Freeform 12"/>
              <p:cNvSpPr>
                <a:spLocks/>
              </p:cNvSpPr>
              <p:nvPr/>
            </p:nvSpPr>
            <p:spPr bwMode="auto">
              <a:xfrm>
                <a:off x="11344276" y="5294313"/>
                <a:ext cx="9525" cy="19050"/>
              </a:xfrm>
              <a:custGeom>
                <a:avLst/>
                <a:gdLst>
                  <a:gd name="T0" fmla="*/ 3 w 6"/>
                  <a:gd name="T1" fmla="*/ 0 h 12"/>
                  <a:gd name="T2" fmla="*/ 0 w 6"/>
                  <a:gd name="T3" fmla="*/ 3 h 12"/>
                  <a:gd name="T4" fmla="*/ 0 w 6"/>
                  <a:gd name="T5" fmla="*/ 3 h 12"/>
                  <a:gd name="T6" fmla="*/ 0 w 6"/>
                  <a:gd name="T7" fmla="*/ 6 h 12"/>
                  <a:gd name="T8" fmla="*/ 0 w 6"/>
                  <a:gd name="T9" fmla="*/ 9 h 12"/>
                  <a:gd name="T10" fmla="*/ 6 w 6"/>
                  <a:gd name="T11" fmla="*/ 12 h 12"/>
                  <a:gd name="T12" fmla="*/ 6 w 6"/>
                  <a:gd name="T13" fmla="*/ 9 h 12"/>
                  <a:gd name="T14" fmla="*/ 3 w 6"/>
                  <a:gd name="T15" fmla="*/ 6 h 12"/>
                  <a:gd name="T16" fmla="*/ 3 w 6"/>
                  <a:gd name="T17" fmla="*/ 6 h 12"/>
                  <a:gd name="T18" fmla="*/ 3 w 6"/>
                  <a:gd name="T19" fmla="*/ 0 h 12"/>
                  <a:gd name="T20" fmla="*/ 3 w 6"/>
                  <a:gd name="T21" fmla="*/ 0 h 12"/>
                  <a:gd name="T22" fmla="*/ 3 w 6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6" y="12"/>
                    </a:lnTo>
                    <a:lnTo>
                      <a:pt x="6" y="9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71" name="Freeform 13"/>
              <p:cNvSpPr>
                <a:spLocks/>
              </p:cNvSpPr>
              <p:nvPr/>
            </p:nvSpPr>
            <p:spPr bwMode="auto">
              <a:xfrm>
                <a:off x="11325226" y="5284788"/>
                <a:ext cx="9525" cy="9525"/>
              </a:xfrm>
              <a:custGeom>
                <a:avLst/>
                <a:gdLst>
                  <a:gd name="T0" fmla="*/ 3 w 6"/>
                  <a:gd name="T1" fmla="*/ 0 h 6"/>
                  <a:gd name="T2" fmla="*/ 3 w 6"/>
                  <a:gd name="T3" fmla="*/ 3 h 6"/>
                  <a:gd name="T4" fmla="*/ 0 w 6"/>
                  <a:gd name="T5" fmla="*/ 6 h 6"/>
                  <a:gd name="T6" fmla="*/ 3 w 6"/>
                  <a:gd name="T7" fmla="*/ 6 h 6"/>
                  <a:gd name="T8" fmla="*/ 6 w 6"/>
                  <a:gd name="T9" fmla="*/ 3 h 6"/>
                  <a:gd name="T10" fmla="*/ 6 w 6"/>
                  <a:gd name="T11" fmla="*/ 0 h 6"/>
                  <a:gd name="T12" fmla="*/ 3 w 6"/>
                  <a:gd name="T13" fmla="*/ 0 h 6"/>
                  <a:gd name="T14" fmla="*/ 3 w 6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3" y="0"/>
                    </a:moveTo>
                    <a:lnTo>
                      <a:pt x="3" y="3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72" name="Freeform 14"/>
              <p:cNvSpPr>
                <a:spLocks/>
              </p:cNvSpPr>
              <p:nvPr/>
            </p:nvSpPr>
            <p:spPr bwMode="auto">
              <a:xfrm>
                <a:off x="11334751" y="4951413"/>
                <a:ext cx="9525" cy="9525"/>
              </a:xfrm>
              <a:custGeom>
                <a:avLst/>
                <a:gdLst>
                  <a:gd name="T0" fmla="*/ 0 w 6"/>
                  <a:gd name="T1" fmla="*/ 3 h 6"/>
                  <a:gd name="T2" fmla="*/ 3 w 6"/>
                  <a:gd name="T3" fmla="*/ 0 h 6"/>
                  <a:gd name="T4" fmla="*/ 6 w 6"/>
                  <a:gd name="T5" fmla="*/ 0 h 6"/>
                  <a:gd name="T6" fmla="*/ 6 w 6"/>
                  <a:gd name="T7" fmla="*/ 3 h 6"/>
                  <a:gd name="T8" fmla="*/ 3 w 6"/>
                  <a:gd name="T9" fmla="*/ 6 h 6"/>
                  <a:gd name="T10" fmla="*/ 0 w 6"/>
                  <a:gd name="T11" fmla="*/ 3 h 6"/>
                  <a:gd name="T12" fmla="*/ 0 w 6"/>
                  <a:gd name="T13" fmla="*/ 3 h 6"/>
                  <a:gd name="T14" fmla="*/ 0 w 6"/>
                  <a:gd name="T1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0" y="3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73" name="Freeform 15"/>
              <p:cNvSpPr>
                <a:spLocks/>
              </p:cNvSpPr>
              <p:nvPr/>
            </p:nvSpPr>
            <p:spPr bwMode="auto">
              <a:xfrm>
                <a:off x="11410951" y="5246688"/>
                <a:ext cx="3175" cy="9525"/>
              </a:xfrm>
              <a:custGeom>
                <a:avLst/>
                <a:gdLst>
                  <a:gd name="T0" fmla="*/ 0 w 2"/>
                  <a:gd name="T1" fmla="*/ 0 h 6"/>
                  <a:gd name="T2" fmla="*/ 2 w 2"/>
                  <a:gd name="T3" fmla="*/ 3 h 6"/>
                  <a:gd name="T4" fmla="*/ 2 w 2"/>
                  <a:gd name="T5" fmla="*/ 6 h 6"/>
                  <a:gd name="T6" fmla="*/ 0 w 2"/>
                  <a:gd name="T7" fmla="*/ 3 h 6"/>
                  <a:gd name="T8" fmla="*/ 0 w 2"/>
                  <a:gd name="T9" fmla="*/ 0 h 6"/>
                  <a:gd name="T10" fmla="*/ 0 w 2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lnTo>
                      <a:pt x="2" y="3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74" name="Freeform 16"/>
              <p:cNvSpPr>
                <a:spLocks/>
              </p:cNvSpPr>
              <p:nvPr/>
            </p:nvSpPr>
            <p:spPr bwMode="auto">
              <a:xfrm>
                <a:off x="11406188" y="5218113"/>
                <a:ext cx="4763" cy="14288"/>
              </a:xfrm>
              <a:custGeom>
                <a:avLst/>
                <a:gdLst>
                  <a:gd name="T0" fmla="*/ 0 w 3"/>
                  <a:gd name="T1" fmla="*/ 0 h 9"/>
                  <a:gd name="T2" fmla="*/ 3 w 3"/>
                  <a:gd name="T3" fmla="*/ 3 h 9"/>
                  <a:gd name="T4" fmla="*/ 3 w 3"/>
                  <a:gd name="T5" fmla="*/ 9 h 9"/>
                  <a:gd name="T6" fmla="*/ 0 w 3"/>
                  <a:gd name="T7" fmla="*/ 6 h 9"/>
                  <a:gd name="T8" fmla="*/ 0 w 3"/>
                  <a:gd name="T9" fmla="*/ 3 h 9"/>
                  <a:gd name="T10" fmla="*/ 0 w 3"/>
                  <a:gd name="T11" fmla="*/ 0 h 9"/>
                  <a:gd name="T12" fmla="*/ 0 w 3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9">
                    <a:moveTo>
                      <a:pt x="0" y="0"/>
                    </a:moveTo>
                    <a:lnTo>
                      <a:pt x="3" y="3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75" name="Freeform 17"/>
              <p:cNvSpPr>
                <a:spLocks/>
              </p:cNvSpPr>
              <p:nvPr/>
            </p:nvSpPr>
            <p:spPr bwMode="auto">
              <a:xfrm>
                <a:off x="11387138" y="5181600"/>
                <a:ext cx="9525" cy="14288"/>
              </a:xfrm>
              <a:custGeom>
                <a:avLst/>
                <a:gdLst>
                  <a:gd name="T0" fmla="*/ 0 w 6"/>
                  <a:gd name="T1" fmla="*/ 3 h 9"/>
                  <a:gd name="T2" fmla="*/ 3 w 6"/>
                  <a:gd name="T3" fmla="*/ 0 h 9"/>
                  <a:gd name="T4" fmla="*/ 6 w 6"/>
                  <a:gd name="T5" fmla="*/ 3 h 9"/>
                  <a:gd name="T6" fmla="*/ 6 w 6"/>
                  <a:gd name="T7" fmla="*/ 6 h 9"/>
                  <a:gd name="T8" fmla="*/ 3 w 6"/>
                  <a:gd name="T9" fmla="*/ 9 h 9"/>
                  <a:gd name="T10" fmla="*/ 0 w 6"/>
                  <a:gd name="T11" fmla="*/ 6 h 9"/>
                  <a:gd name="T12" fmla="*/ 0 w 6"/>
                  <a:gd name="T13" fmla="*/ 3 h 9"/>
                  <a:gd name="T14" fmla="*/ 0 w 6"/>
                  <a:gd name="T1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9">
                    <a:moveTo>
                      <a:pt x="0" y="3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76" name="Freeform 18"/>
              <p:cNvSpPr>
                <a:spLocks/>
              </p:cNvSpPr>
              <p:nvPr/>
            </p:nvSpPr>
            <p:spPr bwMode="auto">
              <a:xfrm>
                <a:off x="11396663" y="5092700"/>
                <a:ext cx="0" cy="14288"/>
              </a:xfrm>
              <a:custGeom>
                <a:avLst/>
                <a:gdLst>
                  <a:gd name="T0" fmla="*/ 0 h 9"/>
                  <a:gd name="T1" fmla="*/ 6 h 9"/>
                  <a:gd name="T2" fmla="*/ 9 h 9"/>
                  <a:gd name="T3" fmla="*/ 6 h 9"/>
                  <a:gd name="T4" fmla="*/ 0 h 9"/>
                  <a:gd name="T5" fmla="*/ 0 h 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9">
                    <a:moveTo>
                      <a:pt x="0" y="0"/>
                    </a:moveTo>
                    <a:lnTo>
                      <a:pt x="0" y="6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77" name="Freeform 19"/>
              <p:cNvSpPr>
                <a:spLocks/>
              </p:cNvSpPr>
              <p:nvPr/>
            </p:nvSpPr>
            <p:spPr bwMode="auto">
              <a:xfrm>
                <a:off x="11382376" y="5102225"/>
                <a:ext cx="9525" cy="7938"/>
              </a:xfrm>
              <a:custGeom>
                <a:avLst/>
                <a:gdLst>
                  <a:gd name="T0" fmla="*/ 0 w 2"/>
                  <a:gd name="T1" fmla="*/ 2 h 2"/>
                  <a:gd name="T2" fmla="*/ 1 w 2"/>
                  <a:gd name="T3" fmla="*/ 2 h 2"/>
                  <a:gd name="T4" fmla="*/ 1 w 2"/>
                  <a:gd name="T5" fmla="*/ 1 h 2"/>
                  <a:gd name="T6" fmla="*/ 2 w 2"/>
                  <a:gd name="T7" fmla="*/ 0 h 2"/>
                  <a:gd name="T8" fmla="*/ 0 w 2"/>
                  <a:gd name="T9" fmla="*/ 1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78" name="Freeform 20"/>
              <p:cNvSpPr>
                <a:spLocks/>
              </p:cNvSpPr>
              <p:nvPr/>
            </p:nvSpPr>
            <p:spPr bwMode="auto">
              <a:xfrm>
                <a:off x="11391901" y="5114925"/>
                <a:ext cx="4763" cy="14288"/>
              </a:xfrm>
              <a:custGeom>
                <a:avLst/>
                <a:gdLst>
                  <a:gd name="T0" fmla="*/ 1 w 1"/>
                  <a:gd name="T1" fmla="*/ 0 h 3"/>
                  <a:gd name="T2" fmla="*/ 1 w 1"/>
                  <a:gd name="T3" fmla="*/ 0 h 3"/>
                  <a:gd name="T4" fmla="*/ 1 w 1"/>
                  <a:gd name="T5" fmla="*/ 1 h 3"/>
                  <a:gd name="T6" fmla="*/ 1 w 1"/>
                  <a:gd name="T7" fmla="*/ 3 h 3"/>
                  <a:gd name="T8" fmla="*/ 1 w 1"/>
                  <a:gd name="T9" fmla="*/ 2 h 3"/>
                  <a:gd name="T10" fmla="*/ 0 w 1"/>
                  <a:gd name="T11" fmla="*/ 1 h 3"/>
                  <a:gd name="T12" fmla="*/ 1 w 1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79" name="Freeform 21"/>
              <p:cNvSpPr>
                <a:spLocks/>
              </p:cNvSpPr>
              <p:nvPr/>
            </p:nvSpPr>
            <p:spPr bwMode="auto">
              <a:xfrm>
                <a:off x="11387138" y="5153025"/>
                <a:ext cx="9525" cy="4763"/>
              </a:xfrm>
              <a:custGeom>
                <a:avLst/>
                <a:gdLst>
                  <a:gd name="T0" fmla="*/ 0 w 6"/>
                  <a:gd name="T1" fmla="*/ 3 h 3"/>
                  <a:gd name="T2" fmla="*/ 3 w 6"/>
                  <a:gd name="T3" fmla="*/ 0 h 3"/>
                  <a:gd name="T4" fmla="*/ 6 w 6"/>
                  <a:gd name="T5" fmla="*/ 3 h 3"/>
                  <a:gd name="T6" fmla="*/ 6 w 6"/>
                  <a:gd name="T7" fmla="*/ 3 h 3"/>
                  <a:gd name="T8" fmla="*/ 3 w 6"/>
                  <a:gd name="T9" fmla="*/ 3 h 3"/>
                  <a:gd name="T10" fmla="*/ 0 w 6"/>
                  <a:gd name="T11" fmla="*/ 3 h 3"/>
                  <a:gd name="T12" fmla="*/ 0 w 6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0" y="3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80" name="Freeform 22"/>
              <p:cNvSpPr>
                <a:spLocks/>
              </p:cNvSpPr>
              <p:nvPr/>
            </p:nvSpPr>
            <p:spPr bwMode="auto">
              <a:xfrm>
                <a:off x="11382376" y="5133975"/>
                <a:ext cx="14288" cy="14288"/>
              </a:xfrm>
              <a:custGeom>
                <a:avLst/>
                <a:gdLst>
                  <a:gd name="T0" fmla="*/ 0 w 9"/>
                  <a:gd name="T1" fmla="*/ 3 h 9"/>
                  <a:gd name="T2" fmla="*/ 6 w 9"/>
                  <a:gd name="T3" fmla="*/ 0 h 9"/>
                  <a:gd name="T4" fmla="*/ 6 w 9"/>
                  <a:gd name="T5" fmla="*/ 3 h 9"/>
                  <a:gd name="T6" fmla="*/ 9 w 9"/>
                  <a:gd name="T7" fmla="*/ 3 h 9"/>
                  <a:gd name="T8" fmla="*/ 9 w 9"/>
                  <a:gd name="T9" fmla="*/ 6 h 9"/>
                  <a:gd name="T10" fmla="*/ 6 w 9"/>
                  <a:gd name="T11" fmla="*/ 6 h 9"/>
                  <a:gd name="T12" fmla="*/ 6 w 9"/>
                  <a:gd name="T13" fmla="*/ 9 h 9"/>
                  <a:gd name="T14" fmla="*/ 3 w 9"/>
                  <a:gd name="T15" fmla="*/ 9 h 9"/>
                  <a:gd name="T16" fmla="*/ 0 w 9"/>
                  <a:gd name="T17" fmla="*/ 6 h 9"/>
                  <a:gd name="T18" fmla="*/ 0 w 9"/>
                  <a:gd name="T19" fmla="*/ 3 h 9"/>
                  <a:gd name="T20" fmla="*/ 0 w 9"/>
                  <a:gd name="T21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9">
                    <a:moveTo>
                      <a:pt x="0" y="3"/>
                    </a:moveTo>
                    <a:lnTo>
                      <a:pt x="6" y="0"/>
                    </a:lnTo>
                    <a:lnTo>
                      <a:pt x="6" y="3"/>
                    </a:lnTo>
                    <a:lnTo>
                      <a:pt x="9" y="3"/>
                    </a:lnTo>
                    <a:lnTo>
                      <a:pt x="9" y="6"/>
                    </a:lnTo>
                    <a:lnTo>
                      <a:pt x="6" y="6"/>
                    </a:lnTo>
                    <a:lnTo>
                      <a:pt x="6" y="9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81" name="Freeform 23"/>
              <p:cNvSpPr>
                <a:spLocks/>
              </p:cNvSpPr>
              <p:nvPr/>
            </p:nvSpPr>
            <p:spPr bwMode="auto">
              <a:xfrm>
                <a:off x="11363326" y="5124450"/>
                <a:ext cx="19050" cy="28575"/>
              </a:xfrm>
              <a:custGeom>
                <a:avLst/>
                <a:gdLst>
                  <a:gd name="T0" fmla="*/ 0 w 12"/>
                  <a:gd name="T1" fmla="*/ 0 h 18"/>
                  <a:gd name="T2" fmla="*/ 3 w 12"/>
                  <a:gd name="T3" fmla="*/ 0 h 18"/>
                  <a:gd name="T4" fmla="*/ 6 w 12"/>
                  <a:gd name="T5" fmla="*/ 3 h 18"/>
                  <a:gd name="T6" fmla="*/ 6 w 12"/>
                  <a:gd name="T7" fmla="*/ 6 h 18"/>
                  <a:gd name="T8" fmla="*/ 9 w 12"/>
                  <a:gd name="T9" fmla="*/ 12 h 18"/>
                  <a:gd name="T10" fmla="*/ 12 w 12"/>
                  <a:gd name="T11" fmla="*/ 15 h 18"/>
                  <a:gd name="T12" fmla="*/ 9 w 12"/>
                  <a:gd name="T13" fmla="*/ 15 h 18"/>
                  <a:gd name="T14" fmla="*/ 3 w 12"/>
                  <a:gd name="T15" fmla="*/ 18 h 18"/>
                  <a:gd name="T16" fmla="*/ 3 w 12"/>
                  <a:gd name="T17" fmla="*/ 15 h 18"/>
                  <a:gd name="T18" fmla="*/ 3 w 12"/>
                  <a:gd name="T19" fmla="*/ 9 h 18"/>
                  <a:gd name="T20" fmla="*/ 3 w 12"/>
                  <a:gd name="T21" fmla="*/ 6 h 18"/>
                  <a:gd name="T22" fmla="*/ 3 w 12"/>
                  <a:gd name="T23" fmla="*/ 6 h 18"/>
                  <a:gd name="T24" fmla="*/ 0 w 12"/>
                  <a:gd name="T25" fmla="*/ 6 h 18"/>
                  <a:gd name="T26" fmla="*/ 0 w 12"/>
                  <a:gd name="T27" fmla="*/ 3 h 18"/>
                  <a:gd name="T28" fmla="*/ 0 w 12"/>
                  <a:gd name="T29" fmla="*/ 0 h 18"/>
                  <a:gd name="T30" fmla="*/ 0 w 12"/>
                  <a:gd name="T3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8">
                    <a:moveTo>
                      <a:pt x="0" y="0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9" y="12"/>
                    </a:lnTo>
                    <a:lnTo>
                      <a:pt x="12" y="15"/>
                    </a:lnTo>
                    <a:lnTo>
                      <a:pt x="9" y="15"/>
                    </a:lnTo>
                    <a:lnTo>
                      <a:pt x="3" y="18"/>
                    </a:lnTo>
                    <a:lnTo>
                      <a:pt x="3" y="15"/>
                    </a:lnTo>
                    <a:lnTo>
                      <a:pt x="3" y="9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82" name="Freeform 24"/>
              <p:cNvSpPr>
                <a:spLocks/>
              </p:cNvSpPr>
              <p:nvPr/>
            </p:nvSpPr>
            <p:spPr bwMode="auto">
              <a:xfrm>
                <a:off x="11344276" y="5083175"/>
                <a:ext cx="23813" cy="31750"/>
              </a:xfrm>
              <a:custGeom>
                <a:avLst/>
                <a:gdLst>
                  <a:gd name="T0" fmla="*/ 1 w 5"/>
                  <a:gd name="T1" fmla="*/ 0 h 7"/>
                  <a:gd name="T2" fmla="*/ 0 w 5"/>
                  <a:gd name="T3" fmla="*/ 3 h 7"/>
                  <a:gd name="T4" fmla="*/ 1 w 5"/>
                  <a:gd name="T5" fmla="*/ 4 h 7"/>
                  <a:gd name="T6" fmla="*/ 1 w 5"/>
                  <a:gd name="T7" fmla="*/ 6 h 7"/>
                  <a:gd name="T8" fmla="*/ 2 w 5"/>
                  <a:gd name="T9" fmla="*/ 7 h 7"/>
                  <a:gd name="T10" fmla="*/ 2 w 5"/>
                  <a:gd name="T11" fmla="*/ 7 h 7"/>
                  <a:gd name="T12" fmla="*/ 3 w 5"/>
                  <a:gd name="T13" fmla="*/ 6 h 7"/>
                  <a:gd name="T14" fmla="*/ 4 w 5"/>
                  <a:gd name="T15" fmla="*/ 7 h 7"/>
                  <a:gd name="T16" fmla="*/ 5 w 5"/>
                  <a:gd name="T17" fmla="*/ 6 h 7"/>
                  <a:gd name="T18" fmla="*/ 5 w 5"/>
                  <a:gd name="T19" fmla="*/ 5 h 7"/>
                  <a:gd name="T20" fmla="*/ 4 w 5"/>
                  <a:gd name="T21" fmla="*/ 4 h 7"/>
                  <a:gd name="T22" fmla="*/ 5 w 5"/>
                  <a:gd name="T23" fmla="*/ 3 h 7"/>
                  <a:gd name="T24" fmla="*/ 4 w 5"/>
                  <a:gd name="T25" fmla="*/ 2 h 7"/>
                  <a:gd name="T26" fmla="*/ 3 w 5"/>
                  <a:gd name="T27" fmla="*/ 3 h 7"/>
                  <a:gd name="T28" fmla="*/ 3 w 5"/>
                  <a:gd name="T29" fmla="*/ 3 h 7"/>
                  <a:gd name="T30" fmla="*/ 3 w 5"/>
                  <a:gd name="T31" fmla="*/ 4 h 7"/>
                  <a:gd name="T32" fmla="*/ 2 w 5"/>
                  <a:gd name="T33" fmla="*/ 3 h 7"/>
                  <a:gd name="T34" fmla="*/ 2 w 5"/>
                  <a:gd name="T35" fmla="*/ 1 h 7"/>
                  <a:gd name="T36" fmla="*/ 1 w 5"/>
                  <a:gd name="T3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" h="7"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83" name="Freeform 25"/>
              <p:cNvSpPr>
                <a:spLocks/>
              </p:cNvSpPr>
              <p:nvPr/>
            </p:nvSpPr>
            <p:spPr bwMode="auto">
              <a:xfrm>
                <a:off x="10779126" y="4679950"/>
                <a:ext cx="23813" cy="7938"/>
              </a:xfrm>
              <a:custGeom>
                <a:avLst/>
                <a:gdLst>
                  <a:gd name="T0" fmla="*/ 0 w 5"/>
                  <a:gd name="T1" fmla="*/ 0 h 2"/>
                  <a:gd name="T2" fmla="*/ 1 w 5"/>
                  <a:gd name="T3" fmla="*/ 0 h 2"/>
                  <a:gd name="T4" fmla="*/ 2 w 5"/>
                  <a:gd name="T5" fmla="*/ 0 h 2"/>
                  <a:gd name="T6" fmla="*/ 3 w 5"/>
                  <a:gd name="T7" fmla="*/ 0 h 2"/>
                  <a:gd name="T8" fmla="*/ 3 w 5"/>
                  <a:gd name="T9" fmla="*/ 0 h 2"/>
                  <a:gd name="T10" fmla="*/ 4 w 5"/>
                  <a:gd name="T11" fmla="*/ 0 h 2"/>
                  <a:gd name="T12" fmla="*/ 5 w 5"/>
                  <a:gd name="T13" fmla="*/ 1 h 2"/>
                  <a:gd name="T14" fmla="*/ 4 w 5"/>
                  <a:gd name="T15" fmla="*/ 2 h 2"/>
                  <a:gd name="T16" fmla="*/ 2 w 5"/>
                  <a:gd name="T17" fmla="*/ 2 h 2"/>
                  <a:gd name="T18" fmla="*/ 2 w 5"/>
                  <a:gd name="T19" fmla="*/ 1 h 2"/>
                  <a:gd name="T20" fmla="*/ 1 w 5"/>
                  <a:gd name="T21" fmla="*/ 1 h 2"/>
                  <a:gd name="T22" fmla="*/ 0 w 5"/>
                  <a:gd name="T2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84" name="Freeform 26"/>
              <p:cNvSpPr>
                <a:spLocks/>
              </p:cNvSpPr>
              <p:nvPr/>
            </p:nvSpPr>
            <p:spPr bwMode="auto">
              <a:xfrm>
                <a:off x="11164888" y="4975225"/>
                <a:ext cx="19050" cy="9525"/>
              </a:xfrm>
              <a:custGeom>
                <a:avLst/>
                <a:gdLst>
                  <a:gd name="T0" fmla="*/ 0 w 12"/>
                  <a:gd name="T1" fmla="*/ 0 h 6"/>
                  <a:gd name="T2" fmla="*/ 3 w 12"/>
                  <a:gd name="T3" fmla="*/ 0 h 6"/>
                  <a:gd name="T4" fmla="*/ 6 w 12"/>
                  <a:gd name="T5" fmla="*/ 3 h 6"/>
                  <a:gd name="T6" fmla="*/ 12 w 12"/>
                  <a:gd name="T7" fmla="*/ 3 h 6"/>
                  <a:gd name="T8" fmla="*/ 9 w 12"/>
                  <a:gd name="T9" fmla="*/ 6 h 6"/>
                  <a:gd name="T10" fmla="*/ 6 w 12"/>
                  <a:gd name="T11" fmla="*/ 3 h 6"/>
                  <a:gd name="T12" fmla="*/ 3 w 12"/>
                  <a:gd name="T13" fmla="*/ 6 h 6"/>
                  <a:gd name="T14" fmla="*/ 0 w 12"/>
                  <a:gd name="T15" fmla="*/ 3 h 6"/>
                  <a:gd name="T16" fmla="*/ 0 w 12"/>
                  <a:gd name="T17" fmla="*/ 0 h 6"/>
                  <a:gd name="T18" fmla="*/ 0 w 12"/>
                  <a:gd name="T1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6">
                    <a:moveTo>
                      <a:pt x="0" y="0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12" y="3"/>
                    </a:lnTo>
                    <a:lnTo>
                      <a:pt x="9" y="6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85" name="Freeform 27"/>
              <p:cNvSpPr>
                <a:spLocks/>
              </p:cNvSpPr>
              <p:nvPr/>
            </p:nvSpPr>
            <p:spPr bwMode="auto">
              <a:xfrm>
                <a:off x="11207751" y="4937125"/>
                <a:ext cx="28575" cy="19050"/>
              </a:xfrm>
              <a:custGeom>
                <a:avLst/>
                <a:gdLst>
                  <a:gd name="T0" fmla="*/ 0 w 18"/>
                  <a:gd name="T1" fmla="*/ 0 h 12"/>
                  <a:gd name="T2" fmla="*/ 3 w 18"/>
                  <a:gd name="T3" fmla="*/ 0 h 12"/>
                  <a:gd name="T4" fmla="*/ 6 w 18"/>
                  <a:gd name="T5" fmla="*/ 3 h 12"/>
                  <a:gd name="T6" fmla="*/ 15 w 18"/>
                  <a:gd name="T7" fmla="*/ 6 h 12"/>
                  <a:gd name="T8" fmla="*/ 15 w 18"/>
                  <a:gd name="T9" fmla="*/ 9 h 12"/>
                  <a:gd name="T10" fmla="*/ 15 w 18"/>
                  <a:gd name="T11" fmla="*/ 12 h 12"/>
                  <a:gd name="T12" fmla="*/ 18 w 18"/>
                  <a:gd name="T13" fmla="*/ 12 h 12"/>
                  <a:gd name="T14" fmla="*/ 12 w 18"/>
                  <a:gd name="T15" fmla="*/ 12 h 12"/>
                  <a:gd name="T16" fmla="*/ 6 w 18"/>
                  <a:gd name="T17" fmla="*/ 9 h 12"/>
                  <a:gd name="T18" fmla="*/ 0 w 18"/>
                  <a:gd name="T19" fmla="*/ 6 h 12"/>
                  <a:gd name="T20" fmla="*/ 0 w 18"/>
                  <a:gd name="T21" fmla="*/ 3 h 12"/>
                  <a:gd name="T22" fmla="*/ 0 w 18"/>
                  <a:gd name="T23" fmla="*/ 0 h 12"/>
                  <a:gd name="T24" fmla="*/ 0 w 18"/>
                  <a:gd name="T2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12">
                    <a:moveTo>
                      <a:pt x="0" y="0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15" y="6"/>
                    </a:lnTo>
                    <a:lnTo>
                      <a:pt x="15" y="9"/>
                    </a:lnTo>
                    <a:lnTo>
                      <a:pt x="15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6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86" name="Freeform 28"/>
              <p:cNvSpPr>
                <a:spLocks/>
              </p:cNvSpPr>
              <p:nvPr/>
            </p:nvSpPr>
            <p:spPr bwMode="auto">
              <a:xfrm>
                <a:off x="11160126" y="4903788"/>
                <a:ext cx="33338" cy="23813"/>
              </a:xfrm>
              <a:custGeom>
                <a:avLst/>
                <a:gdLst>
                  <a:gd name="T0" fmla="*/ 3 w 21"/>
                  <a:gd name="T1" fmla="*/ 0 h 15"/>
                  <a:gd name="T2" fmla="*/ 6 w 21"/>
                  <a:gd name="T3" fmla="*/ 3 h 15"/>
                  <a:gd name="T4" fmla="*/ 9 w 21"/>
                  <a:gd name="T5" fmla="*/ 3 h 15"/>
                  <a:gd name="T6" fmla="*/ 15 w 21"/>
                  <a:gd name="T7" fmla="*/ 6 h 15"/>
                  <a:gd name="T8" fmla="*/ 18 w 21"/>
                  <a:gd name="T9" fmla="*/ 9 h 15"/>
                  <a:gd name="T10" fmla="*/ 21 w 21"/>
                  <a:gd name="T11" fmla="*/ 9 h 15"/>
                  <a:gd name="T12" fmla="*/ 21 w 21"/>
                  <a:gd name="T13" fmla="*/ 9 h 15"/>
                  <a:gd name="T14" fmla="*/ 21 w 21"/>
                  <a:gd name="T15" fmla="*/ 15 h 15"/>
                  <a:gd name="T16" fmla="*/ 15 w 21"/>
                  <a:gd name="T17" fmla="*/ 15 h 15"/>
                  <a:gd name="T18" fmla="*/ 12 w 21"/>
                  <a:gd name="T19" fmla="*/ 12 h 15"/>
                  <a:gd name="T20" fmla="*/ 9 w 21"/>
                  <a:gd name="T21" fmla="*/ 12 h 15"/>
                  <a:gd name="T22" fmla="*/ 3 w 21"/>
                  <a:gd name="T23" fmla="*/ 9 h 15"/>
                  <a:gd name="T24" fmla="*/ 0 w 21"/>
                  <a:gd name="T25" fmla="*/ 3 h 15"/>
                  <a:gd name="T26" fmla="*/ 0 w 21"/>
                  <a:gd name="T27" fmla="*/ 0 h 15"/>
                  <a:gd name="T28" fmla="*/ 3 w 21"/>
                  <a:gd name="T29" fmla="*/ 0 h 15"/>
                  <a:gd name="T30" fmla="*/ 3 w 21"/>
                  <a:gd name="T3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" h="15">
                    <a:moveTo>
                      <a:pt x="3" y="0"/>
                    </a:moveTo>
                    <a:lnTo>
                      <a:pt x="6" y="3"/>
                    </a:lnTo>
                    <a:lnTo>
                      <a:pt x="9" y="3"/>
                    </a:lnTo>
                    <a:lnTo>
                      <a:pt x="15" y="6"/>
                    </a:lnTo>
                    <a:lnTo>
                      <a:pt x="18" y="9"/>
                    </a:lnTo>
                    <a:lnTo>
                      <a:pt x="21" y="9"/>
                    </a:lnTo>
                    <a:lnTo>
                      <a:pt x="21" y="9"/>
                    </a:lnTo>
                    <a:lnTo>
                      <a:pt x="21" y="15"/>
                    </a:lnTo>
                    <a:lnTo>
                      <a:pt x="15" y="15"/>
                    </a:lnTo>
                    <a:lnTo>
                      <a:pt x="12" y="12"/>
                    </a:lnTo>
                    <a:lnTo>
                      <a:pt x="9" y="12"/>
                    </a:lnTo>
                    <a:lnTo>
                      <a:pt x="3" y="9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87" name="Freeform 29"/>
              <p:cNvSpPr>
                <a:spLocks/>
              </p:cNvSpPr>
              <p:nvPr/>
            </p:nvSpPr>
            <p:spPr bwMode="auto">
              <a:xfrm>
                <a:off x="11179176" y="4894263"/>
                <a:ext cx="4763" cy="4763"/>
              </a:xfrm>
              <a:custGeom>
                <a:avLst/>
                <a:gdLst>
                  <a:gd name="T0" fmla="*/ 3 w 3"/>
                  <a:gd name="T1" fmla="*/ 0 h 3"/>
                  <a:gd name="T2" fmla="*/ 0 w 3"/>
                  <a:gd name="T3" fmla="*/ 0 h 3"/>
                  <a:gd name="T4" fmla="*/ 0 w 3"/>
                  <a:gd name="T5" fmla="*/ 3 h 3"/>
                  <a:gd name="T6" fmla="*/ 3 w 3"/>
                  <a:gd name="T7" fmla="*/ 3 h 3"/>
                  <a:gd name="T8" fmla="*/ 3 w 3"/>
                  <a:gd name="T9" fmla="*/ 0 h 3"/>
                  <a:gd name="T10" fmla="*/ 3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88" name="Freeform 30"/>
              <p:cNvSpPr>
                <a:spLocks/>
              </p:cNvSpPr>
              <p:nvPr/>
            </p:nvSpPr>
            <p:spPr bwMode="auto">
              <a:xfrm>
                <a:off x="11188701" y="4876800"/>
                <a:ext cx="28575" cy="41275"/>
              </a:xfrm>
              <a:custGeom>
                <a:avLst/>
                <a:gdLst>
                  <a:gd name="T0" fmla="*/ 0 w 18"/>
                  <a:gd name="T1" fmla="*/ 0 h 26"/>
                  <a:gd name="T2" fmla="*/ 0 w 18"/>
                  <a:gd name="T3" fmla="*/ 0 h 26"/>
                  <a:gd name="T4" fmla="*/ 3 w 18"/>
                  <a:gd name="T5" fmla="*/ 3 h 26"/>
                  <a:gd name="T6" fmla="*/ 0 w 18"/>
                  <a:gd name="T7" fmla="*/ 6 h 26"/>
                  <a:gd name="T8" fmla="*/ 3 w 18"/>
                  <a:gd name="T9" fmla="*/ 9 h 26"/>
                  <a:gd name="T10" fmla="*/ 3 w 18"/>
                  <a:gd name="T11" fmla="*/ 14 h 26"/>
                  <a:gd name="T12" fmla="*/ 12 w 18"/>
                  <a:gd name="T13" fmla="*/ 20 h 26"/>
                  <a:gd name="T14" fmla="*/ 15 w 18"/>
                  <a:gd name="T15" fmla="*/ 20 h 26"/>
                  <a:gd name="T16" fmla="*/ 15 w 18"/>
                  <a:gd name="T17" fmla="*/ 26 h 26"/>
                  <a:gd name="T18" fmla="*/ 18 w 18"/>
                  <a:gd name="T19" fmla="*/ 26 h 26"/>
                  <a:gd name="T20" fmla="*/ 18 w 18"/>
                  <a:gd name="T21" fmla="*/ 20 h 26"/>
                  <a:gd name="T22" fmla="*/ 15 w 18"/>
                  <a:gd name="T23" fmla="*/ 17 h 26"/>
                  <a:gd name="T24" fmla="*/ 12 w 18"/>
                  <a:gd name="T25" fmla="*/ 17 h 26"/>
                  <a:gd name="T26" fmla="*/ 12 w 18"/>
                  <a:gd name="T27" fmla="*/ 14 h 26"/>
                  <a:gd name="T28" fmla="*/ 6 w 18"/>
                  <a:gd name="T29" fmla="*/ 9 h 26"/>
                  <a:gd name="T30" fmla="*/ 6 w 18"/>
                  <a:gd name="T31" fmla="*/ 3 h 26"/>
                  <a:gd name="T32" fmla="*/ 3 w 18"/>
                  <a:gd name="T33" fmla="*/ 0 h 26"/>
                  <a:gd name="T34" fmla="*/ 0 w 18"/>
                  <a:gd name="T35" fmla="*/ 0 h 26"/>
                  <a:gd name="T36" fmla="*/ 0 w 18"/>
                  <a:gd name="T3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26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3" y="9"/>
                    </a:lnTo>
                    <a:lnTo>
                      <a:pt x="3" y="14"/>
                    </a:lnTo>
                    <a:lnTo>
                      <a:pt x="12" y="20"/>
                    </a:lnTo>
                    <a:lnTo>
                      <a:pt x="15" y="20"/>
                    </a:lnTo>
                    <a:lnTo>
                      <a:pt x="15" y="26"/>
                    </a:lnTo>
                    <a:lnTo>
                      <a:pt x="18" y="26"/>
                    </a:lnTo>
                    <a:lnTo>
                      <a:pt x="18" y="20"/>
                    </a:lnTo>
                    <a:lnTo>
                      <a:pt x="15" y="17"/>
                    </a:lnTo>
                    <a:lnTo>
                      <a:pt x="12" y="17"/>
                    </a:lnTo>
                    <a:lnTo>
                      <a:pt x="12" y="14"/>
                    </a:lnTo>
                    <a:lnTo>
                      <a:pt x="6" y="9"/>
                    </a:lnTo>
                    <a:lnTo>
                      <a:pt x="6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89" name="Freeform 31"/>
              <p:cNvSpPr>
                <a:spLocks/>
              </p:cNvSpPr>
              <p:nvPr/>
            </p:nvSpPr>
            <p:spPr bwMode="auto">
              <a:xfrm>
                <a:off x="11128376" y="4848225"/>
                <a:ext cx="36513" cy="33338"/>
              </a:xfrm>
              <a:custGeom>
                <a:avLst/>
                <a:gdLst>
                  <a:gd name="T0" fmla="*/ 0 w 8"/>
                  <a:gd name="T1" fmla="*/ 0 h 7"/>
                  <a:gd name="T2" fmla="*/ 2 w 8"/>
                  <a:gd name="T3" fmla="*/ 1 h 7"/>
                  <a:gd name="T4" fmla="*/ 4 w 8"/>
                  <a:gd name="T5" fmla="*/ 2 h 7"/>
                  <a:gd name="T6" fmla="*/ 6 w 8"/>
                  <a:gd name="T7" fmla="*/ 3 h 7"/>
                  <a:gd name="T8" fmla="*/ 8 w 8"/>
                  <a:gd name="T9" fmla="*/ 5 h 7"/>
                  <a:gd name="T10" fmla="*/ 8 w 8"/>
                  <a:gd name="T11" fmla="*/ 6 h 7"/>
                  <a:gd name="T12" fmla="*/ 8 w 8"/>
                  <a:gd name="T13" fmla="*/ 7 h 7"/>
                  <a:gd name="T14" fmla="*/ 7 w 8"/>
                  <a:gd name="T15" fmla="*/ 6 h 7"/>
                  <a:gd name="T16" fmla="*/ 6 w 8"/>
                  <a:gd name="T17" fmla="*/ 7 h 7"/>
                  <a:gd name="T18" fmla="*/ 6 w 8"/>
                  <a:gd name="T19" fmla="*/ 6 h 7"/>
                  <a:gd name="T20" fmla="*/ 6 w 8"/>
                  <a:gd name="T21" fmla="*/ 5 h 7"/>
                  <a:gd name="T22" fmla="*/ 4 w 8"/>
                  <a:gd name="T23" fmla="*/ 4 h 7"/>
                  <a:gd name="T24" fmla="*/ 1 w 8"/>
                  <a:gd name="T25" fmla="*/ 1 h 7"/>
                  <a:gd name="T26" fmla="*/ 0 w 8"/>
                  <a:gd name="T2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7">
                    <a:moveTo>
                      <a:pt x="0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90" name="Freeform 32"/>
              <p:cNvSpPr>
                <a:spLocks/>
              </p:cNvSpPr>
              <p:nvPr/>
            </p:nvSpPr>
            <p:spPr bwMode="auto">
              <a:xfrm>
                <a:off x="11109326" y="4881563"/>
                <a:ext cx="4763" cy="9525"/>
              </a:xfrm>
              <a:custGeom>
                <a:avLst/>
                <a:gdLst>
                  <a:gd name="T0" fmla="*/ 0 w 3"/>
                  <a:gd name="T1" fmla="*/ 0 h 6"/>
                  <a:gd name="T2" fmla="*/ 3 w 3"/>
                  <a:gd name="T3" fmla="*/ 0 h 6"/>
                  <a:gd name="T4" fmla="*/ 3 w 3"/>
                  <a:gd name="T5" fmla="*/ 3 h 6"/>
                  <a:gd name="T6" fmla="*/ 3 w 3"/>
                  <a:gd name="T7" fmla="*/ 6 h 6"/>
                  <a:gd name="T8" fmla="*/ 0 w 3"/>
                  <a:gd name="T9" fmla="*/ 3 h 6"/>
                  <a:gd name="T10" fmla="*/ 0 w 3"/>
                  <a:gd name="T11" fmla="*/ 0 h 6"/>
                  <a:gd name="T12" fmla="*/ 0 w 3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0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91" name="Freeform 33"/>
              <p:cNvSpPr>
                <a:spLocks/>
              </p:cNvSpPr>
              <p:nvPr/>
            </p:nvSpPr>
            <p:spPr bwMode="auto">
              <a:xfrm>
                <a:off x="11090276" y="4876800"/>
                <a:ext cx="4763" cy="4763"/>
              </a:xfrm>
              <a:custGeom>
                <a:avLst/>
                <a:gdLst>
                  <a:gd name="T0" fmla="*/ 0 w 3"/>
                  <a:gd name="T1" fmla="*/ 3 h 3"/>
                  <a:gd name="T2" fmla="*/ 3 w 3"/>
                  <a:gd name="T3" fmla="*/ 0 h 3"/>
                  <a:gd name="T4" fmla="*/ 3 w 3"/>
                  <a:gd name="T5" fmla="*/ 3 h 3"/>
                  <a:gd name="T6" fmla="*/ 3 w 3"/>
                  <a:gd name="T7" fmla="*/ 3 h 3"/>
                  <a:gd name="T8" fmla="*/ 0 w 3"/>
                  <a:gd name="T9" fmla="*/ 3 h 3"/>
                  <a:gd name="T10" fmla="*/ 0 w 3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92" name="Freeform 34"/>
              <p:cNvSpPr>
                <a:spLocks/>
              </p:cNvSpPr>
              <p:nvPr/>
            </p:nvSpPr>
            <p:spPr bwMode="auto">
              <a:xfrm>
                <a:off x="11090276" y="4862513"/>
                <a:ext cx="19050" cy="19050"/>
              </a:xfrm>
              <a:custGeom>
                <a:avLst/>
                <a:gdLst>
                  <a:gd name="T0" fmla="*/ 0 w 12"/>
                  <a:gd name="T1" fmla="*/ 6 h 12"/>
                  <a:gd name="T2" fmla="*/ 3 w 12"/>
                  <a:gd name="T3" fmla="*/ 6 h 12"/>
                  <a:gd name="T4" fmla="*/ 6 w 12"/>
                  <a:gd name="T5" fmla="*/ 6 h 12"/>
                  <a:gd name="T6" fmla="*/ 6 w 12"/>
                  <a:gd name="T7" fmla="*/ 9 h 12"/>
                  <a:gd name="T8" fmla="*/ 9 w 12"/>
                  <a:gd name="T9" fmla="*/ 12 h 12"/>
                  <a:gd name="T10" fmla="*/ 12 w 12"/>
                  <a:gd name="T11" fmla="*/ 12 h 12"/>
                  <a:gd name="T12" fmla="*/ 12 w 12"/>
                  <a:gd name="T13" fmla="*/ 9 h 12"/>
                  <a:gd name="T14" fmla="*/ 12 w 12"/>
                  <a:gd name="T15" fmla="*/ 6 h 12"/>
                  <a:gd name="T16" fmla="*/ 9 w 12"/>
                  <a:gd name="T17" fmla="*/ 3 h 12"/>
                  <a:gd name="T18" fmla="*/ 6 w 12"/>
                  <a:gd name="T19" fmla="*/ 0 h 12"/>
                  <a:gd name="T20" fmla="*/ 6 w 12"/>
                  <a:gd name="T21" fmla="*/ 0 h 12"/>
                  <a:gd name="T22" fmla="*/ 3 w 12"/>
                  <a:gd name="T23" fmla="*/ 3 h 12"/>
                  <a:gd name="T24" fmla="*/ 0 w 12"/>
                  <a:gd name="T25" fmla="*/ 6 h 12"/>
                  <a:gd name="T26" fmla="*/ 0 w 12"/>
                  <a:gd name="T2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6"/>
                    </a:moveTo>
                    <a:lnTo>
                      <a:pt x="3" y="6"/>
                    </a:lnTo>
                    <a:lnTo>
                      <a:pt x="6" y="6"/>
                    </a:lnTo>
                    <a:lnTo>
                      <a:pt x="6" y="9"/>
                    </a:lnTo>
                    <a:lnTo>
                      <a:pt x="9" y="12"/>
                    </a:lnTo>
                    <a:lnTo>
                      <a:pt x="12" y="12"/>
                    </a:lnTo>
                    <a:lnTo>
                      <a:pt x="12" y="9"/>
                    </a:lnTo>
                    <a:lnTo>
                      <a:pt x="12" y="6"/>
                    </a:lnTo>
                    <a:lnTo>
                      <a:pt x="9" y="3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93" name="Freeform 35"/>
              <p:cNvSpPr>
                <a:spLocks/>
              </p:cNvSpPr>
              <p:nvPr/>
            </p:nvSpPr>
            <p:spPr bwMode="auto">
              <a:xfrm>
                <a:off x="11085513" y="4857750"/>
                <a:ext cx="4763" cy="9525"/>
              </a:xfrm>
              <a:custGeom>
                <a:avLst/>
                <a:gdLst>
                  <a:gd name="T0" fmla="*/ 0 w 1"/>
                  <a:gd name="T1" fmla="*/ 1 h 2"/>
                  <a:gd name="T2" fmla="*/ 0 w 1"/>
                  <a:gd name="T3" fmla="*/ 0 h 2"/>
                  <a:gd name="T4" fmla="*/ 1 w 1"/>
                  <a:gd name="T5" fmla="*/ 1 h 2"/>
                  <a:gd name="T6" fmla="*/ 1 w 1"/>
                  <a:gd name="T7" fmla="*/ 2 h 2"/>
                  <a:gd name="T8" fmla="*/ 0 w 1"/>
                  <a:gd name="T9" fmla="*/ 2 h 2"/>
                  <a:gd name="T10" fmla="*/ 0 w 1"/>
                  <a:gd name="T11" fmla="*/ 1 h 2"/>
                  <a:gd name="T12" fmla="*/ 0 w 1"/>
                  <a:gd name="T13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94" name="Freeform 36"/>
              <p:cNvSpPr>
                <a:spLocks/>
              </p:cNvSpPr>
              <p:nvPr/>
            </p:nvSpPr>
            <p:spPr bwMode="auto">
              <a:xfrm>
                <a:off x="11071226" y="4852988"/>
                <a:ext cx="9525" cy="9525"/>
              </a:xfrm>
              <a:custGeom>
                <a:avLst/>
                <a:gdLst>
                  <a:gd name="T0" fmla="*/ 0 w 6"/>
                  <a:gd name="T1" fmla="*/ 0 h 6"/>
                  <a:gd name="T2" fmla="*/ 6 w 6"/>
                  <a:gd name="T3" fmla="*/ 3 h 6"/>
                  <a:gd name="T4" fmla="*/ 3 w 6"/>
                  <a:gd name="T5" fmla="*/ 6 h 6"/>
                  <a:gd name="T6" fmla="*/ 3 w 6"/>
                  <a:gd name="T7" fmla="*/ 6 h 6"/>
                  <a:gd name="T8" fmla="*/ 3 w 6"/>
                  <a:gd name="T9" fmla="*/ 6 h 6"/>
                  <a:gd name="T10" fmla="*/ 0 w 6"/>
                  <a:gd name="T11" fmla="*/ 3 h 6"/>
                  <a:gd name="T12" fmla="*/ 0 w 6"/>
                  <a:gd name="T13" fmla="*/ 0 h 6"/>
                  <a:gd name="T14" fmla="*/ 0 w 6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95" name="Freeform 37"/>
              <p:cNvSpPr>
                <a:spLocks/>
              </p:cNvSpPr>
              <p:nvPr/>
            </p:nvSpPr>
            <p:spPr bwMode="auto">
              <a:xfrm>
                <a:off x="11066463" y="4810125"/>
                <a:ext cx="4763" cy="9525"/>
              </a:xfrm>
              <a:custGeom>
                <a:avLst/>
                <a:gdLst>
                  <a:gd name="T0" fmla="*/ 3 w 3"/>
                  <a:gd name="T1" fmla="*/ 0 h 6"/>
                  <a:gd name="T2" fmla="*/ 0 w 3"/>
                  <a:gd name="T3" fmla="*/ 6 h 6"/>
                  <a:gd name="T4" fmla="*/ 3 w 3"/>
                  <a:gd name="T5" fmla="*/ 3 h 6"/>
                  <a:gd name="T6" fmla="*/ 3 w 3"/>
                  <a:gd name="T7" fmla="*/ 0 h 6"/>
                  <a:gd name="T8" fmla="*/ 3 w 3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6">
                    <a:moveTo>
                      <a:pt x="3" y="0"/>
                    </a:moveTo>
                    <a:lnTo>
                      <a:pt x="0" y="6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96" name="Freeform 38"/>
              <p:cNvSpPr>
                <a:spLocks/>
              </p:cNvSpPr>
              <p:nvPr/>
            </p:nvSpPr>
            <p:spPr bwMode="auto">
              <a:xfrm>
                <a:off x="11071226" y="4819650"/>
                <a:ext cx="33338" cy="23813"/>
              </a:xfrm>
              <a:custGeom>
                <a:avLst/>
                <a:gdLst>
                  <a:gd name="T0" fmla="*/ 0 w 21"/>
                  <a:gd name="T1" fmla="*/ 0 h 15"/>
                  <a:gd name="T2" fmla="*/ 0 w 21"/>
                  <a:gd name="T3" fmla="*/ 3 h 15"/>
                  <a:gd name="T4" fmla="*/ 3 w 21"/>
                  <a:gd name="T5" fmla="*/ 6 h 15"/>
                  <a:gd name="T6" fmla="*/ 9 w 21"/>
                  <a:gd name="T7" fmla="*/ 12 h 15"/>
                  <a:gd name="T8" fmla="*/ 12 w 21"/>
                  <a:gd name="T9" fmla="*/ 15 h 15"/>
                  <a:gd name="T10" fmla="*/ 15 w 21"/>
                  <a:gd name="T11" fmla="*/ 15 h 15"/>
                  <a:gd name="T12" fmla="*/ 21 w 21"/>
                  <a:gd name="T13" fmla="*/ 15 h 15"/>
                  <a:gd name="T14" fmla="*/ 18 w 21"/>
                  <a:gd name="T15" fmla="*/ 15 h 15"/>
                  <a:gd name="T16" fmla="*/ 15 w 21"/>
                  <a:gd name="T17" fmla="*/ 9 h 15"/>
                  <a:gd name="T18" fmla="*/ 12 w 21"/>
                  <a:gd name="T19" fmla="*/ 9 h 15"/>
                  <a:gd name="T20" fmla="*/ 12 w 21"/>
                  <a:gd name="T21" fmla="*/ 6 h 15"/>
                  <a:gd name="T22" fmla="*/ 9 w 21"/>
                  <a:gd name="T23" fmla="*/ 3 h 15"/>
                  <a:gd name="T24" fmla="*/ 3 w 21"/>
                  <a:gd name="T25" fmla="*/ 3 h 15"/>
                  <a:gd name="T26" fmla="*/ 3 w 21"/>
                  <a:gd name="T27" fmla="*/ 0 h 15"/>
                  <a:gd name="T28" fmla="*/ 0 w 21"/>
                  <a:gd name="T29" fmla="*/ 0 h 15"/>
                  <a:gd name="T30" fmla="*/ 0 w 21"/>
                  <a:gd name="T3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" h="15">
                    <a:moveTo>
                      <a:pt x="0" y="0"/>
                    </a:moveTo>
                    <a:lnTo>
                      <a:pt x="0" y="3"/>
                    </a:lnTo>
                    <a:lnTo>
                      <a:pt x="3" y="6"/>
                    </a:lnTo>
                    <a:lnTo>
                      <a:pt x="9" y="12"/>
                    </a:lnTo>
                    <a:lnTo>
                      <a:pt x="12" y="15"/>
                    </a:lnTo>
                    <a:lnTo>
                      <a:pt x="15" y="15"/>
                    </a:lnTo>
                    <a:lnTo>
                      <a:pt x="21" y="15"/>
                    </a:lnTo>
                    <a:lnTo>
                      <a:pt x="18" y="15"/>
                    </a:lnTo>
                    <a:lnTo>
                      <a:pt x="15" y="9"/>
                    </a:lnTo>
                    <a:lnTo>
                      <a:pt x="12" y="9"/>
                    </a:lnTo>
                    <a:lnTo>
                      <a:pt x="12" y="6"/>
                    </a:lnTo>
                    <a:lnTo>
                      <a:pt x="9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97" name="Freeform 39"/>
              <p:cNvSpPr>
                <a:spLocks/>
              </p:cNvSpPr>
              <p:nvPr/>
            </p:nvSpPr>
            <p:spPr bwMode="auto">
              <a:xfrm>
                <a:off x="11056938" y="4824413"/>
                <a:ext cx="4763" cy="4763"/>
              </a:xfrm>
              <a:custGeom>
                <a:avLst/>
                <a:gdLst>
                  <a:gd name="T0" fmla="*/ 3 w 3"/>
                  <a:gd name="T1" fmla="*/ 0 h 3"/>
                  <a:gd name="T2" fmla="*/ 0 w 3"/>
                  <a:gd name="T3" fmla="*/ 3 h 3"/>
                  <a:gd name="T4" fmla="*/ 3 w 3"/>
                  <a:gd name="T5" fmla="*/ 3 h 3"/>
                  <a:gd name="T6" fmla="*/ 3 w 3"/>
                  <a:gd name="T7" fmla="*/ 0 h 3"/>
                  <a:gd name="T8" fmla="*/ 3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98" name="Freeform 40"/>
              <p:cNvSpPr>
                <a:spLocks/>
              </p:cNvSpPr>
              <p:nvPr/>
            </p:nvSpPr>
            <p:spPr bwMode="auto">
              <a:xfrm>
                <a:off x="11020426" y="4787900"/>
                <a:ext cx="36513" cy="41275"/>
              </a:xfrm>
              <a:custGeom>
                <a:avLst/>
                <a:gdLst>
                  <a:gd name="T0" fmla="*/ 0 w 23"/>
                  <a:gd name="T1" fmla="*/ 0 h 26"/>
                  <a:gd name="T2" fmla="*/ 2 w 23"/>
                  <a:gd name="T3" fmla="*/ 0 h 26"/>
                  <a:gd name="T4" fmla="*/ 5 w 23"/>
                  <a:gd name="T5" fmla="*/ 2 h 26"/>
                  <a:gd name="T6" fmla="*/ 8 w 23"/>
                  <a:gd name="T7" fmla="*/ 5 h 26"/>
                  <a:gd name="T8" fmla="*/ 11 w 23"/>
                  <a:gd name="T9" fmla="*/ 8 h 26"/>
                  <a:gd name="T10" fmla="*/ 17 w 23"/>
                  <a:gd name="T11" fmla="*/ 14 h 26"/>
                  <a:gd name="T12" fmla="*/ 23 w 23"/>
                  <a:gd name="T13" fmla="*/ 17 h 26"/>
                  <a:gd name="T14" fmla="*/ 20 w 23"/>
                  <a:gd name="T15" fmla="*/ 23 h 26"/>
                  <a:gd name="T16" fmla="*/ 20 w 23"/>
                  <a:gd name="T17" fmla="*/ 23 h 26"/>
                  <a:gd name="T18" fmla="*/ 17 w 23"/>
                  <a:gd name="T19" fmla="*/ 26 h 26"/>
                  <a:gd name="T20" fmla="*/ 14 w 23"/>
                  <a:gd name="T21" fmla="*/ 26 h 26"/>
                  <a:gd name="T22" fmla="*/ 11 w 23"/>
                  <a:gd name="T23" fmla="*/ 23 h 26"/>
                  <a:gd name="T24" fmla="*/ 8 w 23"/>
                  <a:gd name="T25" fmla="*/ 23 h 26"/>
                  <a:gd name="T26" fmla="*/ 5 w 23"/>
                  <a:gd name="T27" fmla="*/ 20 h 26"/>
                  <a:gd name="T28" fmla="*/ 8 w 23"/>
                  <a:gd name="T29" fmla="*/ 20 h 26"/>
                  <a:gd name="T30" fmla="*/ 2 w 23"/>
                  <a:gd name="T31" fmla="*/ 14 h 26"/>
                  <a:gd name="T32" fmla="*/ 0 w 23"/>
                  <a:gd name="T33" fmla="*/ 11 h 26"/>
                  <a:gd name="T34" fmla="*/ 0 w 23"/>
                  <a:gd name="T35" fmla="*/ 5 h 26"/>
                  <a:gd name="T36" fmla="*/ 0 w 23"/>
                  <a:gd name="T37" fmla="*/ 2 h 26"/>
                  <a:gd name="T38" fmla="*/ 0 w 23"/>
                  <a:gd name="T39" fmla="*/ 0 h 26"/>
                  <a:gd name="T40" fmla="*/ 0 w 23"/>
                  <a:gd name="T4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3" h="26">
                    <a:moveTo>
                      <a:pt x="0" y="0"/>
                    </a:moveTo>
                    <a:lnTo>
                      <a:pt x="2" y="0"/>
                    </a:lnTo>
                    <a:lnTo>
                      <a:pt x="5" y="2"/>
                    </a:lnTo>
                    <a:lnTo>
                      <a:pt x="8" y="5"/>
                    </a:lnTo>
                    <a:lnTo>
                      <a:pt x="11" y="8"/>
                    </a:lnTo>
                    <a:lnTo>
                      <a:pt x="17" y="14"/>
                    </a:lnTo>
                    <a:lnTo>
                      <a:pt x="23" y="17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17" y="26"/>
                    </a:lnTo>
                    <a:lnTo>
                      <a:pt x="14" y="26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5" y="20"/>
                    </a:lnTo>
                    <a:lnTo>
                      <a:pt x="8" y="20"/>
                    </a:lnTo>
                    <a:lnTo>
                      <a:pt x="2" y="14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299" name="Freeform 41"/>
              <p:cNvSpPr>
                <a:spLocks/>
              </p:cNvSpPr>
              <p:nvPr/>
            </p:nvSpPr>
            <p:spPr bwMode="auto">
              <a:xfrm>
                <a:off x="11010901" y="4773613"/>
                <a:ext cx="9525" cy="9525"/>
              </a:xfrm>
              <a:custGeom>
                <a:avLst/>
                <a:gdLst>
                  <a:gd name="T0" fmla="*/ 3 w 6"/>
                  <a:gd name="T1" fmla="*/ 0 h 6"/>
                  <a:gd name="T2" fmla="*/ 0 w 6"/>
                  <a:gd name="T3" fmla="*/ 0 h 6"/>
                  <a:gd name="T4" fmla="*/ 3 w 6"/>
                  <a:gd name="T5" fmla="*/ 3 h 6"/>
                  <a:gd name="T6" fmla="*/ 3 w 6"/>
                  <a:gd name="T7" fmla="*/ 6 h 6"/>
                  <a:gd name="T8" fmla="*/ 6 w 6"/>
                  <a:gd name="T9" fmla="*/ 3 h 6"/>
                  <a:gd name="T10" fmla="*/ 6 w 6"/>
                  <a:gd name="T11" fmla="*/ 0 h 6"/>
                  <a:gd name="T12" fmla="*/ 3 w 6"/>
                  <a:gd name="T13" fmla="*/ 0 h 6"/>
                  <a:gd name="T14" fmla="*/ 3 w 6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3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00" name="Freeform 42"/>
              <p:cNvSpPr>
                <a:spLocks/>
              </p:cNvSpPr>
              <p:nvPr/>
            </p:nvSpPr>
            <p:spPr bwMode="auto">
              <a:xfrm>
                <a:off x="11006138" y="4754563"/>
                <a:ext cx="9525" cy="9525"/>
              </a:xfrm>
              <a:custGeom>
                <a:avLst/>
                <a:gdLst>
                  <a:gd name="T0" fmla="*/ 0 w 6"/>
                  <a:gd name="T1" fmla="*/ 3 h 6"/>
                  <a:gd name="T2" fmla="*/ 0 w 6"/>
                  <a:gd name="T3" fmla="*/ 3 h 6"/>
                  <a:gd name="T4" fmla="*/ 3 w 6"/>
                  <a:gd name="T5" fmla="*/ 0 h 6"/>
                  <a:gd name="T6" fmla="*/ 6 w 6"/>
                  <a:gd name="T7" fmla="*/ 3 h 6"/>
                  <a:gd name="T8" fmla="*/ 3 w 6"/>
                  <a:gd name="T9" fmla="*/ 6 h 6"/>
                  <a:gd name="T10" fmla="*/ 0 w 6"/>
                  <a:gd name="T11" fmla="*/ 6 h 6"/>
                  <a:gd name="T12" fmla="*/ 0 w 6"/>
                  <a:gd name="T13" fmla="*/ 3 h 6"/>
                  <a:gd name="T14" fmla="*/ 0 w 6"/>
                  <a:gd name="T1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01" name="Freeform 43"/>
              <p:cNvSpPr>
                <a:spLocks/>
              </p:cNvSpPr>
              <p:nvPr/>
            </p:nvSpPr>
            <p:spPr bwMode="auto">
              <a:xfrm>
                <a:off x="10906126" y="4697413"/>
                <a:ext cx="66675" cy="71438"/>
              </a:xfrm>
              <a:custGeom>
                <a:avLst/>
                <a:gdLst>
                  <a:gd name="T0" fmla="*/ 0 w 42"/>
                  <a:gd name="T1" fmla="*/ 0 h 45"/>
                  <a:gd name="T2" fmla="*/ 6 w 42"/>
                  <a:gd name="T3" fmla="*/ 6 h 45"/>
                  <a:gd name="T4" fmla="*/ 12 w 42"/>
                  <a:gd name="T5" fmla="*/ 6 h 45"/>
                  <a:gd name="T6" fmla="*/ 21 w 42"/>
                  <a:gd name="T7" fmla="*/ 12 h 45"/>
                  <a:gd name="T8" fmla="*/ 24 w 42"/>
                  <a:gd name="T9" fmla="*/ 15 h 45"/>
                  <a:gd name="T10" fmla="*/ 27 w 42"/>
                  <a:gd name="T11" fmla="*/ 18 h 45"/>
                  <a:gd name="T12" fmla="*/ 33 w 42"/>
                  <a:gd name="T13" fmla="*/ 18 h 45"/>
                  <a:gd name="T14" fmla="*/ 36 w 42"/>
                  <a:gd name="T15" fmla="*/ 24 h 45"/>
                  <a:gd name="T16" fmla="*/ 39 w 42"/>
                  <a:gd name="T17" fmla="*/ 24 h 45"/>
                  <a:gd name="T18" fmla="*/ 39 w 42"/>
                  <a:gd name="T19" fmla="*/ 33 h 45"/>
                  <a:gd name="T20" fmla="*/ 42 w 42"/>
                  <a:gd name="T21" fmla="*/ 33 h 45"/>
                  <a:gd name="T22" fmla="*/ 42 w 42"/>
                  <a:gd name="T23" fmla="*/ 36 h 45"/>
                  <a:gd name="T24" fmla="*/ 39 w 42"/>
                  <a:gd name="T25" fmla="*/ 42 h 45"/>
                  <a:gd name="T26" fmla="*/ 39 w 42"/>
                  <a:gd name="T27" fmla="*/ 45 h 45"/>
                  <a:gd name="T28" fmla="*/ 36 w 42"/>
                  <a:gd name="T29" fmla="*/ 42 h 45"/>
                  <a:gd name="T30" fmla="*/ 33 w 42"/>
                  <a:gd name="T31" fmla="*/ 36 h 45"/>
                  <a:gd name="T32" fmla="*/ 36 w 42"/>
                  <a:gd name="T33" fmla="*/ 33 h 45"/>
                  <a:gd name="T34" fmla="*/ 33 w 42"/>
                  <a:gd name="T35" fmla="*/ 24 h 45"/>
                  <a:gd name="T36" fmla="*/ 27 w 42"/>
                  <a:gd name="T37" fmla="*/ 18 h 45"/>
                  <a:gd name="T38" fmla="*/ 21 w 42"/>
                  <a:gd name="T39" fmla="*/ 18 h 45"/>
                  <a:gd name="T40" fmla="*/ 15 w 42"/>
                  <a:gd name="T41" fmla="*/ 12 h 45"/>
                  <a:gd name="T42" fmla="*/ 3 w 42"/>
                  <a:gd name="T43" fmla="*/ 6 h 45"/>
                  <a:gd name="T44" fmla="*/ 0 w 42"/>
                  <a:gd name="T45" fmla="*/ 3 h 45"/>
                  <a:gd name="T46" fmla="*/ 0 w 42"/>
                  <a:gd name="T47" fmla="*/ 0 h 45"/>
                  <a:gd name="T48" fmla="*/ 0 w 42"/>
                  <a:gd name="T4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2" h="45">
                    <a:moveTo>
                      <a:pt x="0" y="0"/>
                    </a:moveTo>
                    <a:lnTo>
                      <a:pt x="6" y="6"/>
                    </a:lnTo>
                    <a:lnTo>
                      <a:pt x="12" y="6"/>
                    </a:lnTo>
                    <a:lnTo>
                      <a:pt x="21" y="12"/>
                    </a:lnTo>
                    <a:lnTo>
                      <a:pt x="24" y="15"/>
                    </a:lnTo>
                    <a:lnTo>
                      <a:pt x="27" y="18"/>
                    </a:lnTo>
                    <a:lnTo>
                      <a:pt x="33" y="18"/>
                    </a:lnTo>
                    <a:lnTo>
                      <a:pt x="36" y="24"/>
                    </a:lnTo>
                    <a:lnTo>
                      <a:pt x="39" y="24"/>
                    </a:lnTo>
                    <a:lnTo>
                      <a:pt x="39" y="33"/>
                    </a:lnTo>
                    <a:lnTo>
                      <a:pt x="42" y="33"/>
                    </a:lnTo>
                    <a:lnTo>
                      <a:pt x="42" y="36"/>
                    </a:lnTo>
                    <a:lnTo>
                      <a:pt x="39" y="42"/>
                    </a:lnTo>
                    <a:lnTo>
                      <a:pt x="39" y="45"/>
                    </a:lnTo>
                    <a:lnTo>
                      <a:pt x="36" y="42"/>
                    </a:lnTo>
                    <a:lnTo>
                      <a:pt x="33" y="36"/>
                    </a:lnTo>
                    <a:lnTo>
                      <a:pt x="36" y="33"/>
                    </a:lnTo>
                    <a:lnTo>
                      <a:pt x="33" y="24"/>
                    </a:lnTo>
                    <a:lnTo>
                      <a:pt x="27" y="18"/>
                    </a:lnTo>
                    <a:lnTo>
                      <a:pt x="21" y="18"/>
                    </a:lnTo>
                    <a:lnTo>
                      <a:pt x="15" y="12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02" name="Freeform 44"/>
              <p:cNvSpPr>
                <a:spLocks/>
              </p:cNvSpPr>
              <p:nvPr/>
            </p:nvSpPr>
            <p:spPr bwMode="auto">
              <a:xfrm>
                <a:off x="10864851" y="4656138"/>
                <a:ext cx="9525" cy="9525"/>
              </a:xfrm>
              <a:custGeom>
                <a:avLst/>
                <a:gdLst>
                  <a:gd name="T0" fmla="*/ 0 w 6"/>
                  <a:gd name="T1" fmla="*/ 0 h 6"/>
                  <a:gd name="T2" fmla="*/ 3 w 6"/>
                  <a:gd name="T3" fmla="*/ 0 h 6"/>
                  <a:gd name="T4" fmla="*/ 6 w 6"/>
                  <a:gd name="T5" fmla="*/ 3 h 6"/>
                  <a:gd name="T6" fmla="*/ 6 w 6"/>
                  <a:gd name="T7" fmla="*/ 6 h 6"/>
                  <a:gd name="T8" fmla="*/ 0 w 6"/>
                  <a:gd name="T9" fmla="*/ 3 h 6"/>
                  <a:gd name="T10" fmla="*/ 0 w 6"/>
                  <a:gd name="T11" fmla="*/ 0 h 6"/>
                  <a:gd name="T12" fmla="*/ 0 w 6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03" name="Freeform 45"/>
              <p:cNvSpPr>
                <a:spLocks/>
              </p:cNvSpPr>
              <p:nvPr/>
            </p:nvSpPr>
            <p:spPr bwMode="auto">
              <a:xfrm>
                <a:off x="10883901" y="4692650"/>
                <a:ext cx="7938" cy="14288"/>
              </a:xfrm>
              <a:custGeom>
                <a:avLst/>
                <a:gdLst>
                  <a:gd name="T0" fmla="*/ 0 w 5"/>
                  <a:gd name="T1" fmla="*/ 3 h 9"/>
                  <a:gd name="T2" fmla="*/ 3 w 5"/>
                  <a:gd name="T3" fmla="*/ 0 h 9"/>
                  <a:gd name="T4" fmla="*/ 5 w 5"/>
                  <a:gd name="T5" fmla="*/ 3 h 9"/>
                  <a:gd name="T6" fmla="*/ 5 w 5"/>
                  <a:gd name="T7" fmla="*/ 6 h 9"/>
                  <a:gd name="T8" fmla="*/ 3 w 5"/>
                  <a:gd name="T9" fmla="*/ 9 h 9"/>
                  <a:gd name="T10" fmla="*/ 0 w 5"/>
                  <a:gd name="T11" fmla="*/ 6 h 9"/>
                  <a:gd name="T12" fmla="*/ 0 w 5"/>
                  <a:gd name="T13" fmla="*/ 3 h 9"/>
                  <a:gd name="T14" fmla="*/ 0 w 5"/>
                  <a:gd name="T1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9">
                    <a:moveTo>
                      <a:pt x="0" y="3"/>
                    </a:moveTo>
                    <a:lnTo>
                      <a:pt x="3" y="0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04" name="Freeform 46"/>
              <p:cNvSpPr>
                <a:spLocks/>
              </p:cNvSpPr>
              <p:nvPr/>
            </p:nvSpPr>
            <p:spPr bwMode="auto">
              <a:xfrm>
                <a:off x="10879138" y="4768850"/>
                <a:ext cx="9525" cy="9525"/>
              </a:xfrm>
              <a:custGeom>
                <a:avLst/>
                <a:gdLst>
                  <a:gd name="T0" fmla="*/ 0 w 6"/>
                  <a:gd name="T1" fmla="*/ 0 h 6"/>
                  <a:gd name="T2" fmla="*/ 3 w 6"/>
                  <a:gd name="T3" fmla="*/ 6 h 6"/>
                  <a:gd name="T4" fmla="*/ 6 w 6"/>
                  <a:gd name="T5" fmla="*/ 3 h 6"/>
                  <a:gd name="T6" fmla="*/ 3 w 6"/>
                  <a:gd name="T7" fmla="*/ 0 h 6"/>
                  <a:gd name="T8" fmla="*/ 0 w 6"/>
                  <a:gd name="T9" fmla="*/ 0 h 6"/>
                  <a:gd name="T10" fmla="*/ 0 w 6"/>
                  <a:gd name="T11" fmla="*/ 0 h 6"/>
                  <a:gd name="T12" fmla="*/ 0 w 6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3" y="6"/>
                    </a:lnTo>
                    <a:lnTo>
                      <a:pt x="6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05" name="Freeform 47"/>
              <p:cNvSpPr>
                <a:spLocks/>
              </p:cNvSpPr>
              <p:nvPr/>
            </p:nvSpPr>
            <p:spPr bwMode="auto">
              <a:xfrm>
                <a:off x="10826751" y="4745038"/>
                <a:ext cx="127000" cy="69850"/>
              </a:xfrm>
              <a:custGeom>
                <a:avLst/>
                <a:gdLst>
                  <a:gd name="T0" fmla="*/ 3 w 80"/>
                  <a:gd name="T1" fmla="*/ 24 h 44"/>
                  <a:gd name="T2" fmla="*/ 0 w 80"/>
                  <a:gd name="T3" fmla="*/ 29 h 44"/>
                  <a:gd name="T4" fmla="*/ 3 w 80"/>
                  <a:gd name="T5" fmla="*/ 32 h 44"/>
                  <a:gd name="T6" fmla="*/ 6 w 80"/>
                  <a:gd name="T7" fmla="*/ 35 h 44"/>
                  <a:gd name="T8" fmla="*/ 15 w 80"/>
                  <a:gd name="T9" fmla="*/ 38 h 44"/>
                  <a:gd name="T10" fmla="*/ 15 w 80"/>
                  <a:gd name="T11" fmla="*/ 41 h 44"/>
                  <a:gd name="T12" fmla="*/ 18 w 80"/>
                  <a:gd name="T13" fmla="*/ 38 h 44"/>
                  <a:gd name="T14" fmla="*/ 24 w 80"/>
                  <a:gd name="T15" fmla="*/ 38 h 44"/>
                  <a:gd name="T16" fmla="*/ 24 w 80"/>
                  <a:gd name="T17" fmla="*/ 41 h 44"/>
                  <a:gd name="T18" fmla="*/ 30 w 80"/>
                  <a:gd name="T19" fmla="*/ 44 h 44"/>
                  <a:gd name="T20" fmla="*/ 33 w 80"/>
                  <a:gd name="T21" fmla="*/ 44 h 44"/>
                  <a:gd name="T22" fmla="*/ 39 w 80"/>
                  <a:gd name="T23" fmla="*/ 41 h 44"/>
                  <a:gd name="T24" fmla="*/ 41 w 80"/>
                  <a:gd name="T25" fmla="*/ 41 h 44"/>
                  <a:gd name="T26" fmla="*/ 44 w 80"/>
                  <a:gd name="T27" fmla="*/ 41 h 44"/>
                  <a:gd name="T28" fmla="*/ 50 w 80"/>
                  <a:gd name="T29" fmla="*/ 44 h 44"/>
                  <a:gd name="T30" fmla="*/ 50 w 80"/>
                  <a:gd name="T31" fmla="*/ 41 h 44"/>
                  <a:gd name="T32" fmla="*/ 50 w 80"/>
                  <a:gd name="T33" fmla="*/ 38 h 44"/>
                  <a:gd name="T34" fmla="*/ 56 w 80"/>
                  <a:gd name="T35" fmla="*/ 38 h 44"/>
                  <a:gd name="T36" fmla="*/ 62 w 80"/>
                  <a:gd name="T37" fmla="*/ 29 h 44"/>
                  <a:gd name="T38" fmla="*/ 62 w 80"/>
                  <a:gd name="T39" fmla="*/ 27 h 44"/>
                  <a:gd name="T40" fmla="*/ 65 w 80"/>
                  <a:gd name="T41" fmla="*/ 27 h 44"/>
                  <a:gd name="T42" fmla="*/ 68 w 80"/>
                  <a:gd name="T43" fmla="*/ 29 h 44"/>
                  <a:gd name="T44" fmla="*/ 74 w 80"/>
                  <a:gd name="T45" fmla="*/ 27 h 44"/>
                  <a:gd name="T46" fmla="*/ 74 w 80"/>
                  <a:gd name="T47" fmla="*/ 24 h 44"/>
                  <a:gd name="T48" fmla="*/ 71 w 80"/>
                  <a:gd name="T49" fmla="*/ 21 h 44"/>
                  <a:gd name="T50" fmla="*/ 71 w 80"/>
                  <a:gd name="T51" fmla="*/ 18 h 44"/>
                  <a:gd name="T52" fmla="*/ 74 w 80"/>
                  <a:gd name="T53" fmla="*/ 18 h 44"/>
                  <a:gd name="T54" fmla="*/ 74 w 80"/>
                  <a:gd name="T55" fmla="*/ 18 h 44"/>
                  <a:gd name="T56" fmla="*/ 80 w 80"/>
                  <a:gd name="T57" fmla="*/ 12 h 44"/>
                  <a:gd name="T58" fmla="*/ 80 w 80"/>
                  <a:gd name="T59" fmla="*/ 6 h 44"/>
                  <a:gd name="T60" fmla="*/ 74 w 80"/>
                  <a:gd name="T61" fmla="*/ 0 h 44"/>
                  <a:gd name="T62" fmla="*/ 74 w 80"/>
                  <a:gd name="T63" fmla="*/ 3 h 44"/>
                  <a:gd name="T64" fmla="*/ 71 w 80"/>
                  <a:gd name="T65" fmla="*/ 3 h 44"/>
                  <a:gd name="T66" fmla="*/ 68 w 80"/>
                  <a:gd name="T67" fmla="*/ 3 h 44"/>
                  <a:gd name="T68" fmla="*/ 65 w 80"/>
                  <a:gd name="T69" fmla="*/ 3 h 44"/>
                  <a:gd name="T70" fmla="*/ 62 w 80"/>
                  <a:gd name="T71" fmla="*/ 6 h 44"/>
                  <a:gd name="T72" fmla="*/ 65 w 80"/>
                  <a:gd name="T73" fmla="*/ 12 h 44"/>
                  <a:gd name="T74" fmla="*/ 65 w 80"/>
                  <a:gd name="T75" fmla="*/ 15 h 44"/>
                  <a:gd name="T76" fmla="*/ 65 w 80"/>
                  <a:gd name="T77" fmla="*/ 18 h 44"/>
                  <a:gd name="T78" fmla="*/ 59 w 80"/>
                  <a:gd name="T79" fmla="*/ 18 h 44"/>
                  <a:gd name="T80" fmla="*/ 53 w 80"/>
                  <a:gd name="T81" fmla="*/ 24 h 44"/>
                  <a:gd name="T82" fmla="*/ 53 w 80"/>
                  <a:gd name="T83" fmla="*/ 27 h 44"/>
                  <a:gd name="T84" fmla="*/ 50 w 80"/>
                  <a:gd name="T85" fmla="*/ 27 h 44"/>
                  <a:gd name="T86" fmla="*/ 47 w 80"/>
                  <a:gd name="T87" fmla="*/ 27 h 44"/>
                  <a:gd name="T88" fmla="*/ 44 w 80"/>
                  <a:gd name="T89" fmla="*/ 29 h 44"/>
                  <a:gd name="T90" fmla="*/ 41 w 80"/>
                  <a:gd name="T91" fmla="*/ 27 h 44"/>
                  <a:gd name="T92" fmla="*/ 41 w 80"/>
                  <a:gd name="T93" fmla="*/ 27 h 44"/>
                  <a:gd name="T94" fmla="*/ 39 w 80"/>
                  <a:gd name="T95" fmla="*/ 29 h 44"/>
                  <a:gd name="T96" fmla="*/ 36 w 80"/>
                  <a:gd name="T97" fmla="*/ 29 h 44"/>
                  <a:gd name="T98" fmla="*/ 36 w 80"/>
                  <a:gd name="T99" fmla="*/ 24 h 44"/>
                  <a:gd name="T100" fmla="*/ 36 w 80"/>
                  <a:gd name="T101" fmla="*/ 21 h 44"/>
                  <a:gd name="T102" fmla="*/ 33 w 80"/>
                  <a:gd name="T103" fmla="*/ 21 h 44"/>
                  <a:gd name="T104" fmla="*/ 30 w 80"/>
                  <a:gd name="T105" fmla="*/ 21 h 44"/>
                  <a:gd name="T106" fmla="*/ 30 w 80"/>
                  <a:gd name="T107" fmla="*/ 24 h 44"/>
                  <a:gd name="T108" fmla="*/ 30 w 80"/>
                  <a:gd name="T109" fmla="*/ 27 h 44"/>
                  <a:gd name="T110" fmla="*/ 24 w 80"/>
                  <a:gd name="T111" fmla="*/ 27 h 44"/>
                  <a:gd name="T112" fmla="*/ 21 w 80"/>
                  <a:gd name="T113" fmla="*/ 27 h 44"/>
                  <a:gd name="T114" fmla="*/ 18 w 80"/>
                  <a:gd name="T115" fmla="*/ 27 h 44"/>
                  <a:gd name="T116" fmla="*/ 15 w 80"/>
                  <a:gd name="T117" fmla="*/ 27 h 44"/>
                  <a:gd name="T118" fmla="*/ 12 w 80"/>
                  <a:gd name="T119" fmla="*/ 27 h 44"/>
                  <a:gd name="T120" fmla="*/ 6 w 80"/>
                  <a:gd name="T121" fmla="*/ 27 h 44"/>
                  <a:gd name="T122" fmla="*/ 3 w 80"/>
                  <a:gd name="T123" fmla="*/ 24 h 44"/>
                  <a:gd name="T124" fmla="*/ 3 w 80"/>
                  <a:gd name="T125" fmla="*/ 2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0" h="44">
                    <a:moveTo>
                      <a:pt x="3" y="24"/>
                    </a:moveTo>
                    <a:lnTo>
                      <a:pt x="0" y="29"/>
                    </a:lnTo>
                    <a:lnTo>
                      <a:pt x="3" y="32"/>
                    </a:lnTo>
                    <a:lnTo>
                      <a:pt x="6" y="35"/>
                    </a:lnTo>
                    <a:lnTo>
                      <a:pt x="15" y="38"/>
                    </a:lnTo>
                    <a:lnTo>
                      <a:pt x="15" y="41"/>
                    </a:lnTo>
                    <a:lnTo>
                      <a:pt x="18" y="38"/>
                    </a:lnTo>
                    <a:lnTo>
                      <a:pt x="24" y="38"/>
                    </a:lnTo>
                    <a:lnTo>
                      <a:pt x="24" y="41"/>
                    </a:lnTo>
                    <a:lnTo>
                      <a:pt x="30" y="44"/>
                    </a:lnTo>
                    <a:lnTo>
                      <a:pt x="33" y="44"/>
                    </a:lnTo>
                    <a:lnTo>
                      <a:pt x="39" y="41"/>
                    </a:lnTo>
                    <a:lnTo>
                      <a:pt x="41" y="41"/>
                    </a:lnTo>
                    <a:lnTo>
                      <a:pt x="44" y="41"/>
                    </a:lnTo>
                    <a:lnTo>
                      <a:pt x="50" y="44"/>
                    </a:lnTo>
                    <a:lnTo>
                      <a:pt x="50" y="41"/>
                    </a:lnTo>
                    <a:lnTo>
                      <a:pt x="50" y="38"/>
                    </a:lnTo>
                    <a:lnTo>
                      <a:pt x="56" y="38"/>
                    </a:lnTo>
                    <a:lnTo>
                      <a:pt x="62" y="29"/>
                    </a:lnTo>
                    <a:lnTo>
                      <a:pt x="62" y="27"/>
                    </a:lnTo>
                    <a:lnTo>
                      <a:pt x="65" y="27"/>
                    </a:lnTo>
                    <a:lnTo>
                      <a:pt x="68" y="29"/>
                    </a:lnTo>
                    <a:lnTo>
                      <a:pt x="74" y="27"/>
                    </a:lnTo>
                    <a:lnTo>
                      <a:pt x="74" y="24"/>
                    </a:lnTo>
                    <a:lnTo>
                      <a:pt x="71" y="21"/>
                    </a:lnTo>
                    <a:lnTo>
                      <a:pt x="71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80" y="12"/>
                    </a:lnTo>
                    <a:lnTo>
                      <a:pt x="80" y="6"/>
                    </a:lnTo>
                    <a:lnTo>
                      <a:pt x="74" y="0"/>
                    </a:lnTo>
                    <a:lnTo>
                      <a:pt x="74" y="3"/>
                    </a:lnTo>
                    <a:lnTo>
                      <a:pt x="71" y="3"/>
                    </a:lnTo>
                    <a:lnTo>
                      <a:pt x="68" y="3"/>
                    </a:lnTo>
                    <a:lnTo>
                      <a:pt x="65" y="3"/>
                    </a:lnTo>
                    <a:lnTo>
                      <a:pt x="62" y="6"/>
                    </a:lnTo>
                    <a:lnTo>
                      <a:pt x="65" y="12"/>
                    </a:lnTo>
                    <a:lnTo>
                      <a:pt x="65" y="15"/>
                    </a:lnTo>
                    <a:lnTo>
                      <a:pt x="65" y="18"/>
                    </a:lnTo>
                    <a:lnTo>
                      <a:pt x="59" y="18"/>
                    </a:lnTo>
                    <a:lnTo>
                      <a:pt x="53" y="24"/>
                    </a:lnTo>
                    <a:lnTo>
                      <a:pt x="53" y="27"/>
                    </a:lnTo>
                    <a:lnTo>
                      <a:pt x="50" y="27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39" y="29"/>
                    </a:lnTo>
                    <a:lnTo>
                      <a:pt x="36" y="29"/>
                    </a:lnTo>
                    <a:lnTo>
                      <a:pt x="36" y="24"/>
                    </a:lnTo>
                    <a:lnTo>
                      <a:pt x="36" y="21"/>
                    </a:lnTo>
                    <a:lnTo>
                      <a:pt x="33" y="21"/>
                    </a:lnTo>
                    <a:lnTo>
                      <a:pt x="30" y="21"/>
                    </a:lnTo>
                    <a:lnTo>
                      <a:pt x="30" y="24"/>
                    </a:lnTo>
                    <a:lnTo>
                      <a:pt x="30" y="27"/>
                    </a:lnTo>
                    <a:lnTo>
                      <a:pt x="24" y="27"/>
                    </a:lnTo>
                    <a:lnTo>
                      <a:pt x="21" y="27"/>
                    </a:lnTo>
                    <a:lnTo>
                      <a:pt x="18" y="27"/>
                    </a:lnTo>
                    <a:lnTo>
                      <a:pt x="15" y="27"/>
                    </a:lnTo>
                    <a:lnTo>
                      <a:pt x="12" y="27"/>
                    </a:lnTo>
                    <a:lnTo>
                      <a:pt x="6" y="27"/>
                    </a:lnTo>
                    <a:lnTo>
                      <a:pt x="3" y="24"/>
                    </a:lnTo>
                    <a:lnTo>
                      <a:pt x="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06" name="Freeform 48"/>
              <p:cNvSpPr>
                <a:spLocks/>
              </p:cNvSpPr>
              <p:nvPr/>
            </p:nvSpPr>
            <p:spPr bwMode="auto">
              <a:xfrm>
                <a:off x="10812463" y="4787900"/>
                <a:ext cx="9525" cy="7938"/>
              </a:xfrm>
              <a:custGeom>
                <a:avLst/>
                <a:gdLst>
                  <a:gd name="T0" fmla="*/ 0 w 6"/>
                  <a:gd name="T1" fmla="*/ 2 h 5"/>
                  <a:gd name="T2" fmla="*/ 0 w 6"/>
                  <a:gd name="T3" fmla="*/ 0 h 5"/>
                  <a:gd name="T4" fmla="*/ 3 w 6"/>
                  <a:gd name="T5" fmla="*/ 2 h 5"/>
                  <a:gd name="T6" fmla="*/ 6 w 6"/>
                  <a:gd name="T7" fmla="*/ 5 h 5"/>
                  <a:gd name="T8" fmla="*/ 3 w 6"/>
                  <a:gd name="T9" fmla="*/ 5 h 5"/>
                  <a:gd name="T10" fmla="*/ 0 w 6"/>
                  <a:gd name="T11" fmla="*/ 5 h 5"/>
                  <a:gd name="T12" fmla="*/ 0 w 6"/>
                  <a:gd name="T13" fmla="*/ 2 h 5"/>
                  <a:gd name="T14" fmla="*/ 0 w 6"/>
                  <a:gd name="T1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5">
                    <a:moveTo>
                      <a:pt x="0" y="2"/>
                    </a:moveTo>
                    <a:lnTo>
                      <a:pt x="0" y="0"/>
                    </a:lnTo>
                    <a:lnTo>
                      <a:pt x="3" y="2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07" name="Freeform 49"/>
              <p:cNvSpPr>
                <a:spLocks/>
              </p:cNvSpPr>
              <p:nvPr/>
            </p:nvSpPr>
            <p:spPr bwMode="auto">
              <a:xfrm>
                <a:off x="10788651" y="4778375"/>
                <a:ext cx="9525" cy="9525"/>
              </a:xfrm>
              <a:custGeom>
                <a:avLst/>
                <a:gdLst>
                  <a:gd name="T0" fmla="*/ 3 w 6"/>
                  <a:gd name="T1" fmla="*/ 0 h 6"/>
                  <a:gd name="T2" fmla="*/ 0 w 6"/>
                  <a:gd name="T3" fmla="*/ 3 h 6"/>
                  <a:gd name="T4" fmla="*/ 3 w 6"/>
                  <a:gd name="T5" fmla="*/ 6 h 6"/>
                  <a:gd name="T6" fmla="*/ 6 w 6"/>
                  <a:gd name="T7" fmla="*/ 6 h 6"/>
                  <a:gd name="T8" fmla="*/ 6 w 6"/>
                  <a:gd name="T9" fmla="*/ 3 h 6"/>
                  <a:gd name="T10" fmla="*/ 3 w 6"/>
                  <a:gd name="T11" fmla="*/ 0 h 6"/>
                  <a:gd name="T12" fmla="*/ 3 w 6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3" y="0"/>
                    </a:moveTo>
                    <a:lnTo>
                      <a:pt x="0" y="3"/>
                    </a:lnTo>
                    <a:lnTo>
                      <a:pt x="3" y="6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08" name="Freeform 50"/>
              <p:cNvSpPr>
                <a:spLocks/>
              </p:cNvSpPr>
              <p:nvPr/>
            </p:nvSpPr>
            <p:spPr bwMode="auto">
              <a:xfrm>
                <a:off x="10756901" y="4759325"/>
                <a:ext cx="7938" cy="9525"/>
              </a:xfrm>
              <a:custGeom>
                <a:avLst/>
                <a:gdLst>
                  <a:gd name="T0" fmla="*/ 5 w 5"/>
                  <a:gd name="T1" fmla="*/ 0 h 6"/>
                  <a:gd name="T2" fmla="*/ 0 w 5"/>
                  <a:gd name="T3" fmla="*/ 3 h 6"/>
                  <a:gd name="T4" fmla="*/ 3 w 5"/>
                  <a:gd name="T5" fmla="*/ 6 h 6"/>
                  <a:gd name="T6" fmla="*/ 5 w 5"/>
                  <a:gd name="T7" fmla="*/ 3 h 6"/>
                  <a:gd name="T8" fmla="*/ 5 w 5"/>
                  <a:gd name="T9" fmla="*/ 0 h 6"/>
                  <a:gd name="T10" fmla="*/ 5 w 5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6">
                    <a:moveTo>
                      <a:pt x="5" y="0"/>
                    </a:moveTo>
                    <a:lnTo>
                      <a:pt x="0" y="3"/>
                    </a:lnTo>
                    <a:lnTo>
                      <a:pt x="3" y="6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09" name="Freeform 51"/>
              <p:cNvSpPr>
                <a:spLocks/>
              </p:cNvSpPr>
              <p:nvPr/>
            </p:nvSpPr>
            <p:spPr bwMode="auto">
              <a:xfrm>
                <a:off x="10426701" y="4651375"/>
                <a:ext cx="4763" cy="4763"/>
              </a:xfrm>
              <a:custGeom>
                <a:avLst/>
                <a:gdLst>
                  <a:gd name="T0" fmla="*/ 3 w 3"/>
                  <a:gd name="T1" fmla="*/ 0 h 3"/>
                  <a:gd name="T2" fmla="*/ 3 w 3"/>
                  <a:gd name="T3" fmla="*/ 3 h 3"/>
                  <a:gd name="T4" fmla="*/ 3 w 3"/>
                  <a:gd name="T5" fmla="*/ 3 h 3"/>
                  <a:gd name="T6" fmla="*/ 0 w 3"/>
                  <a:gd name="T7" fmla="*/ 0 h 3"/>
                  <a:gd name="T8" fmla="*/ 3 w 3"/>
                  <a:gd name="T9" fmla="*/ 0 h 3"/>
                  <a:gd name="T10" fmla="*/ 3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10" name="Freeform 52"/>
              <p:cNvSpPr>
                <a:spLocks/>
              </p:cNvSpPr>
              <p:nvPr/>
            </p:nvSpPr>
            <p:spPr bwMode="auto">
              <a:xfrm>
                <a:off x="10436226" y="4670425"/>
                <a:ext cx="4763" cy="0"/>
              </a:xfrm>
              <a:custGeom>
                <a:avLst/>
                <a:gdLst>
                  <a:gd name="T0" fmla="*/ 3 w 3"/>
                  <a:gd name="T1" fmla="*/ 0 w 3"/>
                  <a:gd name="T2" fmla="*/ 3 w 3"/>
                  <a:gd name="T3" fmla="*/ 3 w 3"/>
                  <a:gd name="T4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11" name="Freeform 53"/>
              <p:cNvSpPr>
                <a:spLocks/>
              </p:cNvSpPr>
              <p:nvPr/>
            </p:nvSpPr>
            <p:spPr bwMode="auto">
              <a:xfrm>
                <a:off x="10445751" y="4670425"/>
                <a:ext cx="42863" cy="9525"/>
              </a:xfrm>
              <a:custGeom>
                <a:avLst/>
                <a:gdLst>
                  <a:gd name="T0" fmla="*/ 0 w 9"/>
                  <a:gd name="T1" fmla="*/ 0 h 2"/>
                  <a:gd name="T2" fmla="*/ 3 w 9"/>
                  <a:gd name="T3" fmla="*/ 1 h 2"/>
                  <a:gd name="T4" fmla="*/ 4 w 9"/>
                  <a:gd name="T5" fmla="*/ 0 h 2"/>
                  <a:gd name="T6" fmla="*/ 6 w 9"/>
                  <a:gd name="T7" fmla="*/ 1 h 2"/>
                  <a:gd name="T8" fmla="*/ 7 w 9"/>
                  <a:gd name="T9" fmla="*/ 1 h 2"/>
                  <a:gd name="T10" fmla="*/ 9 w 9"/>
                  <a:gd name="T11" fmla="*/ 1 h 2"/>
                  <a:gd name="T12" fmla="*/ 8 w 9"/>
                  <a:gd name="T13" fmla="*/ 2 h 2"/>
                  <a:gd name="T14" fmla="*/ 6 w 9"/>
                  <a:gd name="T15" fmla="*/ 2 h 2"/>
                  <a:gd name="T16" fmla="*/ 3 w 9"/>
                  <a:gd name="T17" fmla="*/ 2 h 2"/>
                  <a:gd name="T18" fmla="*/ 1 w 9"/>
                  <a:gd name="T19" fmla="*/ 1 h 2"/>
                  <a:gd name="T20" fmla="*/ 0 w 9"/>
                  <a:gd name="T2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2">
                    <a:moveTo>
                      <a:pt x="0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12" name="Freeform 54"/>
              <p:cNvSpPr>
                <a:spLocks/>
              </p:cNvSpPr>
              <p:nvPr/>
            </p:nvSpPr>
            <p:spPr bwMode="auto">
              <a:xfrm>
                <a:off x="10445751" y="4641850"/>
                <a:ext cx="28575" cy="14288"/>
              </a:xfrm>
              <a:custGeom>
                <a:avLst/>
                <a:gdLst>
                  <a:gd name="T0" fmla="*/ 0 w 18"/>
                  <a:gd name="T1" fmla="*/ 0 h 9"/>
                  <a:gd name="T2" fmla="*/ 3 w 18"/>
                  <a:gd name="T3" fmla="*/ 3 h 9"/>
                  <a:gd name="T4" fmla="*/ 3 w 18"/>
                  <a:gd name="T5" fmla="*/ 3 h 9"/>
                  <a:gd name="T6" fmla="*/ 6 w 18"/>
                  <a:gd name="T7" fmla="*/ 3 h 9"/>
                  <a:gd name="T8" fmla="*/ 9 w 18"/>
                  <a:gd name="T9" fmla="*/ 6 h 9"/>
                  <a:gd name="T10" fmla="*/ 9 w 18"/>
                  <a:gd name="T11" fmla="*/ 9 h 9"/>
                  <a:gd name="T12" fmla="*/ 12 w 18"/>
                  <a:gd name="T13" fmla="*/ 9 h 9"/>
                  <a:gd name="T14" fmla="*/ 12 w 18"/>
                  <a:gd name="T15" fmla="*/ 9 h 9"/>
                  <a:gd name="T16" fmla="*/ 15 w 18"/>
                  <a:gd name="T17" fmla="*/ 9 h 9"/>
                  <a:gd name="T18" fmla="*/ 18 w 18"/>
                  <a:gd name="T19" fmla="*/ 9 h 9"/>
                  <a:gd name="T20" fmla="*/ 18 w 18"/>
                  <a:gd name="T21" fmla="*/ 6 h 9"/>
                  <a:gd name="T22" fmla="*/ 15 w 18"/>
                  <a:gd name="T23" fmla="*/ 6 h 9"/>
                  <a:gd name="T24" fmla="*/ 12 w 18"/>
                  <a:gd name="T25" fmla="*/ 3 h 9"/>
                  <a:gd name="T26" fmla="*/ 9 w 18"/>
                  <a:gd name="T27" fmla="*/ 0 h 9"/>
                  <a:gd name="T28" fmla="*/ 6 w 18"/>
                  <a:gd name="T29" fmla="*/ 0 h 9"/>
                  <a:gd name="T30" fmla="*/ 0 w 18"/>
                  <a:gd name="T31" fmla="*/ 0 h 9"/>
                  <a:gd name="T32" fmla="*/ 0 w 18"/>
                  <a:gd name="T33" fmla="*/ 0 h 9"/>
                  <a:gd name="T34" fmla="*/ 0 w 18"/>
                  <a:gd name="T3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" h="9">
                    <a:moveTo>
                      <a:pt x="0" y="0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9" y="6"/>
                    </a:lnTo>
                    <a:lnTo>
                      <a:pt x="9" y="9"/>
                    </a:lnTo>
                    <a:lnTo>
                      <a:pt x="12" y="9"/>
                    </a:lnTo>
                    <a:lnTo>
                      <a:pt x="12" y="9"/>
                    </a:lnTo>
                    <a:lnTo>
                      <a:pt x="15" y="9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6"/>
                    </a:lnTo>
                    <a:lnTo>
                      <a:pt x="12" y="3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13" name="Freeform 55"/>
              <p:cNvSpPr>
                <a:spLocks/>
              </p:cNvSpPr>
              <p:nvPr/>
            </p:nvSpPr>
            <p:spPr bwMode="auto">
              <a:xfrm>
                <a:off x="10366376" y="4783138"/>
                <a:ext cx="12700" cy="17463"/>
              </a:xfrm>
              <a:custGeom>
                <a:avLst/>
                <a:gdLst>
                  <a:gd name="T0" fmla="*/ 8 w 8"/>
                  <a:gd name="T1" fmla="*/ 0 h 11"/>
                  <a:gd name="T2" fmla="*/ 2 w 8"/>
                  <a:gd name="T3" fmla="*/ 3 h 11"/>
                  <a:gd name="T4" fmla="*/ 2 w 8"/>
                  <a:gd name="T5" fmla="*/ 11 h 11"/>
                  <a:gd name="T6" fmla="*/ 0 w 8"/>
                  <a:gd name="T7" fmla="*/ 11 h 11"/>
                  <a:gd name="T8" fmla="*/ 2 w 8"/>
                  <a:gd name="T9" fmla="*/ 11 h 11"/>
                  <a:gd name="T10" fmla="*/ 5 w 8"/>
                  <a:gd name="T11" fmla="*/ 3 h 11"/>
                  <a:gd name="T12" fmla="*/ 8 w 8"/>
                  <a:gd name="T13" fmla="*/ 0 h 11"/>
                  <a:gd name="T14" fmla="*/ 8 w 8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1">
                    <a:moveTo>
                      <a:pt x="8" y="0"/>
                    </a:moveTo>
                    <a:lnTo>
                      <a:pt x="2" y="3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2" y="11"/>
                    </a:lnTo>
                    <a:lnTo>
                      <a:pt x="5" y="3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14" name="Freeform 56"/>
              <p:cNvSpPr>
                <a:spLocks/>
              </p:cNvSpPr>
              <p:nvPr/>
            </p:nvSpPr>
            <p:spPr bwMode="auto">
              <a:xfrm>
                <a:off x="10421938" y="4824413"/>
                <a:ext cx="4763" cy="476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3 h 3"/>
                  <a:gd name="T6" fmla="*/ 3 w 3"/>
                  <a:gd name="T7" fmla="*/ 0 h 3"/>
                  <a:gd name="T8" fmla="*/ 0 w 3"/>
                  <a:gd name="T9" fmla="*/ 0 h 3"/>
                  <a:gd name="T10" fmla="*/ 0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15" name="Freeform 57"/>
              <p:cNvSpPr>
                <a:spLocks/>
              </p:cNvSpPr>
              <p:nvPr/>
            </p:nvSpPr>
            <p:spPr bwMode="auto">
              <a:xfrm>
                <a:off x="10402888" y="4810125"/>
                <a:ext cx="14288" cy="19050"/>
              </a:xfrm>
              <a:custGeom>
                <a:avLst/>
                <a:gdLst>
                  <a:gd name="T0" fmla="*/ 3 w 9"/>
                  <a:gd name="T1" fmla="*/ 3 h 12"/>
                  <a:gd name="T2" fmla="*/ 6 w 9"/>
                  <a:gd name="T3" fmla="*/ 6 h 12"/>
                  <a:gd name="T4" fmla="*/ 6 w 9"/>
                  <a:gd name="T5" fmla="*/ 6 h 12"/>
                  <a:gd name="T6" fmla="*/ 9 w 9"/>
                  <a:gd name="T7" fmla="*/ 9 h 12"/>
                  <a:gd name="T8" fmla="*/ 9 w 9"/>
                  <a:gd name="T9" fmla="*/ 9 h 12"/>
                  <a:gd name="T10" fmla="*/ 3 w 9"/>
                  <a:gd name="T11" fmla="*/ 12 h 12"/>
                  <a:gd name="T12" fmla="*/ 3 w 9"/>
                  <a:gd name="T13" fmla="*/ 12 h 12"/>
                  <a:gd name="T14" fmla="*/ 0 w 9"/>
                  <a:gd name="T15" fmla="*/ 12 h 12"/>
                  <a:gd name="T16" fmla="*/ 0 w 9"/>
                  <a:gd name="T17" fmla="*/ 9 h 12"/>
                  <a:gd name="T18" fmla="*/ 3 w 9"/>
                  <a:gd name="T19" fmla="*/ 9 h 12"/>
                  <a:gd name="T20" fmla="*/ 3 w 9"/>
                  <a:gd name="T21" fmla="*/ 9 h 12"/>
                  <a:gd name="T22" fmla="*/ 3 w 9"/>
                  <a:gd name="T23" fmla="*/ 6 h 12"/>
                  <a:gd name="T24" fmla="*/ 0 w 9"/>
                  <a:gd name="T25" fmla="*/ 6 h 12"/>
                  <a:gd name="T26" fmla="*/ 0 w 9"/>
                  <a:gd name="T27" fmla="*/ 3 h 12"/>
                  <a:gd name="T28" fmla="*/ 0 w 9"/>
                  <a:gd name="T29" fmla="*/ 0 h 12"/>
                  <a:gd name="T30" fmla="*/ 3 w 9"/>
                  <a:gd name="T31" fmla="*/ 3 h 12"/>
                  <a:gd name="T32" fmla="*/ 3 w 9"/>
                  <a:gd name="T33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12">
                    <a:moveTo>
                      <a:pt x="3" y="3"/>
                    </a:moveTo>
                    <a:lnTo>
                      <a:pt x="6" y="6"/>
                    </a:lnTo>
                    <a:lnTo>
                      <a:pt x="6" y="6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16" name="Freeform 58"/>
              <p:cNvSpPr>
                <a:spLocks/>
              </p:cNvSpPr>
              <p:nvPr/>
            </p:nvSpPr>
            <p:spPr bwMode="auto">
              <a:xfrm>
                <a:off x="10417176" y="4814888"/>
                <a:ext cx="4763" cy="4763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0 w 1"/>
                  <a:gd name="T7" fmla="*/ 1 h 1"/>
                  <a:gd name="T8" fmla="*/ 1 w 1"/>
                  <a:gd name="T9" fmla="*/ 1 h 1"/>
                  <a:gd name="T10" fmla="*/ 1 w 1"/>
                  <a:gd name="T11" fmla="*/ 1 h 1"/>
                  <a:gd name="T12" fmla="*/ 0 w 1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17" name="Freeform 59"/>
              <p:cNvSpPr>
                <a:spLocks/>
              </p:cNvSpPr>
              <p:nvPr/>
            </p:nvSpPr>
            <p:spPr bwMode="auto">
              <a:xfrm>
                <a:off x="10402888" y="4805363"/>
                <a:ext cx="9525" cy="9525"/>
              </a:xfrm>
              <a:custGeom>
                <a:avLst/>
                <a:gdLst>
                  <a:gd name="T0" fmla="*/ 3 w 6"/>
                  <a:gd name="T1" fmla="*/ 0 h 6"/>
                  <a:gd name="T2" fmla="*/ 3 w 6"/>
                  <a:gd name="T3" fmla="*/ 0 h 6"/>
                  <a:gd name="T4" fmla="*/ 0 w 6"/>
                  <a:gd name="T5" fmla="*/ 3 h 6"/>
                  <a:gd name="T6" fmla="*/ 3 w 6"/>
                  <a:gd name="T7" fmla="*/ 6 h 6"/>
                  <a:gd name="T8" fmla="*/ 6 w 6"/>
                  <a:gd name="T9" fmla="*/ 6 h 6"/>
                  <a:gd name="T10" fmla="*/ 6 w 6"/>
                  <a:gd name="T11" fmla="*/ 6 h 6"/>
                  <a:gd name="T12" fmla="*/ 3 w 6"/>
                  <a:gd name="T13" fmla="*/ 3 h 6"/>
                  <a:gd name="T14" fmla="*/ 3 w 6"/>
                  <a:gd name="T15" fmla="*/ 0 h 6"/>
                  <a:gd name="T16" fmla="*/ 3 w 6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18" name="Freeform 60"/>
              <p:cNvSpPr>
                <a:spLocks/>
              </p:cNvSpPr>
              <p:nvPr/>
            </p:nvSpPr>
            <p:spPr bwMode="auto">
              <a:xfrm>
                <a:off x="10412413" y="4800600"/>
                <a:ext cx="9525" cy="14288"/>
              </a:xfrm>
              <a:custGeom>
                <a:avLst/>
                <a:gdLst>
                  <a:gd name="T0" fmla="*/ 6 w 6"/>
                  <a:gd name="T1" fmla="*/ 0 h 9"/>
                  <a:gd name="T2" fmla="*/ 3 w 6"/>
                  <a:gd name="T3" fmla="*/ 3 h 9"/>
                  <a:gd name="T4" fmla="*/ 0 w 6"/>
                  <a:gd name="T5" fmla="*/ 3 h 9"/>
                  <a:gd name="T6" fmla="*/ 0 w 6"/>
                  <a:gd name="T7" fmla="*/ 6 h 9"/>
                  <a:gd name="T8" fmla="*/ 3 w 6"/>
                  <a:gd name="T9" fmla="*/ 6 h 9"/>
                  <a:gd name="T10" fmla="*/ 6 w 6"/>
                  <a:gd name="T11" fmla="*/ 9 h 9"/>
                  <a:gd name="T12" fmla="*/ 6 w 6"/>
                  <a:gd name="T13" fmla="*/ 6 h 9"/>
                  <a:gd name="T14" fmla="*/ 6 w 6"/>
                  <a:gd name="T15" fmla="*/ 3 h 9"/>
                  <a:gd name="T16" fmla="*/ 6 w 6"/>
                  <a:gd name="T17" fmla="*/ 3 h 9"/>
                  <a:gd name="T18" fmla="*/ 6 w 6"/>
                  <a:gd name="T19" fmla="*/ 3 h 9"/>
                  <a:gd name="T20" fmla="*/ 6 w 6"/>
                  <a:gd name="T21" fmla="*/ 0 h 9"/>
                  <a:gd name="T22" fmla="*/ 6 w 6"/>
                  <a:gd name="T23" fmla="*/ 0 h 9"/>
                  <a:gd name="T24" fmla="*/ 6 w 6"/>
                  <a:gd name="T2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9">
                    <a:moveTo>
                      <a:pt x="6" y="0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6" y="9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19" name="Freeform 61"/>
              <p:cNvSpPr>
                <a:spLocks/>
              </p:cNvSpPr>
              <p:nvPr/>
            </p:nvSpPr>
            <p:spPr bwMode="auto">
              <a:xfrm>
                <a:off x="10407651" y="47958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20" name="Freeform 62"/>
              <p:cNvSpPr>
                <a:spLocks/>
              </p:cNvSpPr>
              <p:nvPr/>
            </p:nvSpPr>
            <p:spPr bwMode="auto">
              <a:xfrm>
                <a:off x="10417176" y="4787900"/>
                <a:ext cx="4763" cy="3175"/>
              </a:xfrm>
              <a:custGeom>
                <a:avLst/>
                <a:gdLst>
                  <a:gd name="T0" fmla="*/ 0 w 3"/>
                  <a:gd name="T1" fmla="*/ 0 h 2"/>
                  <a:gd name="T2" fmla="*/ 3 w 3"/>
                  <a:gd name="T3" fmla="*/ 0 h 2"/>
                  <a:gd name="T4" fmla="*/ 3 w 3"/>
                  <a:gd name="T5" fmla="*/ 2 h 2"/>
                  <a:gd name="T6" fmla="*/ 3 w 3"/>
                  <a:gd name="T7" fmla="*/ 2 h 2"/>
                  <a:gd name="T8" fmla="*/ 0 w 3"/>
                  <a:gd name="T9" fmla="*/ 0 h 2"/>
                  <a:gd name="T10" fmla="*/ 0 w 3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21" name="Freeform 63"/>
              <p:cNvSpPr>
                <a:spLocks/>
              </p:cNvSpPr>
              <p:nvPr/>
            </p:nvSpPr>
            <p:spPr bwMode="auto">
              <a:xfrm>
                <a:off x="10407651" y="4787900"/>
                <a:ext cx="14288" cy="12700"/>
              </a:xfrm>
              <a:custGeom>
                <a:avLst/>
                <a:gdLst>
                  <a:gd name="T0" fmla="*/ 6 w 9"/>
                  <a:gd name="T1" fmla="*/ 0 h 8"/>
                  <a:gd name="T2" fmla="*/ 9 w 9"/>
                  <a:gd name="T3" fmla="*/ 2 h 8"/>
                  <a:gd name="T4" fmla="*/ 9 w 9"/>
                  <a:gd name="T5" fmla="*/ 2 h 8"/>
                  <a:gd name="T6" fmla="*/ 9 w 9"/>
                  <a:gd name="T7" fmla="*/ 5 h 8"/>
                  <a:gd name="T8" fmla="*/ 9 w 9"/>
                  <a:gd name="T9" fmla="*/ 8 h 8"/>
                  <a:gd name="T10" fmla="*/ 6 w 9"/>
                  <a:gd name="T11" fmla="*/ 8 h 8"/>
                  <a:gd name="T12" fmla="*/ 3 w 9"/>
                  <a:gd name="T13" fmla="*/ 8 h 8"/>
                  <a:gd name="T14" fmla="*/ 3 w 9"/>
                  <a:gd name="T15" fmla="*/ 8 h 8"/>
                  <a:gd name="T16" fmla="*/ 3 w 9"/>
                  <a:gd name="T17" fmla="*/ 8 h 8"/>
                  <a:gd name="T18" fmla="*/ 6 w 9"/>
                  <a:gd name="T19" fmla="*/ 5 h 8"/>
                  <a:gd name="T20" fmla="*/ 3 w 9"/>
                  <a:gd name="T21" fmla="*/ 5 h 8"/>
                  <a:gd name="T22" fmla="*/ 3 w 9"/>
                  <a:gd name="T23" fmla="*/ 5 h 8"/>
                  <a:gd name="T24" fmla="*/ 0 w 9"/>
                  <a:gd name="T25" fmla="*/ 2 h 8"/>
                  <a:gd name="T26" fmla="*/ 3 w 9"/>
                  <a:gd name="T27" fmla="*/ 2 h 8"/>
                  <a:gd name="T28" fmla="*/ 3 w 9"/>
                  <a:gd name="T29" fmla="*/ 0 h 8"/>
                  <a:gd name="T30" fmla="*/ 6 w 9"/>
                  <a:gd name="T31" fmla="*/ 0 h 8"/>
                  <a:gd name="T32" fmla="*/ 6 w 9"/>
                  <a:gd name="T3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8">
                    <a:moveTo>
                      <a:pt x="6" y="0"/>
                    </a:moveTo>
                    <a:lnTo>
                      <a:pt x="9" y="2"/>
                    </a:lnTo>
                    <a:lnTo>
                      <a:pt x="9" y="2"/>
                    </a:lnTo>
                    <a:lnTo>
                      <a:pt x="9" y="5"/>
                    </a:lnTo>
                    <a:lnTo>
                      <a:pt x="9" y="8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22" name="Freeform 64"/>
              <p:cNvSpPr>
                <a:spLocks/>
              </p:cNvSpPr>
              <p:nvPr/>
            </p:nvSpPr>
            <p:spPr bwMode="auto">
              <a:xfrm>
                <a:off x="10948988" y="4894263"/>
                <a:ext cx="9525" cy="9525"/>
              </a:xfrm>
              <a:custGeom>
                <a:avLst/>
                <a:gdLst>
                  <a:gd name="T0" fmla="*/ 3 w 6"/>
                  <a:gd name="T1" fmla="*/ 0 h 6"/>
                  <a:gd name="T2" fmla="*/ 0 w 6"/>
                  <a:gd name="T3" fmla="*/ 3 h 6"/>
                  <a:gd name="T4" fmla="*/ 3 w 6"/>
                  <a:gd name="T5" fmla="*/ 6 h 6"/>
                  <a:gd name="T6" fmla="*/ 3 w 6"/>
                  <a:gd name="T7" fmla="*/ 3 h 6"/>
                  <a:gd name="T8" fmla="*/ 6 w 6"/>
                  <a:gd name="T9" fmla="*/ 6 h 6"/>
                  <a:gd name="T10" fmla="*/ 6 w 6"/>
                  <a:gd name="T11" fmla="*/ 6 h 6"/>
                  <a:gd name="T12" fmla="*/ 3 w 6"/>
                  <a:gd name="T13" fmla="*/ 0 h 6"/>
                  <a:gd name="T14" fmla="*/ 3 w 6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3" y="0"/>
                    </a:moveTo>
                    <a:lnTo>
                      <a:pt x="0" y="3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23" name="Freeform 65"/>
              <p:cNvSpPr>
                <a:spLocks/>
              </p:cNvSpPr>
              <p:nvPr/>
            </p:nvSpPr>
            <p:spPr bwMode="auto">
              <a:xfrm>
                <a:off x="10906126" y="4876800"/>
                <a:ext cx="4763" cy="14288"/>
              </a:xfrm>
              <a:custGeom>
                <a:avLst/>
                <a:gdLst>
                  <a:gd name="T0" fmla="*/ 0 w 3"/>
                  <a:gd name="T1" fmla="*/ 0 h 9"/>
                  <a:gd name="T2" fmla="*/ 0 w 3"/>
                  <a:gd name="T3" fmla="*/ 3 h 9"/>
                  <a:gd name="T4" fmla="*/ 0 w 3"/>
                  <a:gd name="T5" fmla="*/ 3 h 9"/>
                  <a:gd name="T6" fmla="*/ 3 w 3"/>
                  <a:gd name="T7" fmla="*/ 3 h 9"/>
                  <a:gd name="T8" fmla="*/ 3 w 3"/>
                  <a:gd name="T9" fmla="*/ 6 h 9"/>
                  <a:gd name="T10" fmla="*/ 3 w 3"/>
                  <a:gd name="T11" fmla="*/ 9 h 9"/>
                  <a:gd name="T12" fmla="*/ 3 w 3"/>
                  <a:gd name="T13" fmla="*/ 9 h 9"/>
                  <a:gd name="T14" fmla="*/ 3 w 3"/>
                  <a:gd name="T15" fmla="*/ 6 h 9"/>
                  <a:gd name="T16" fmla="*/ 3 w 3"/>
                  <a:gd name="T17" fmla="*/ 0 h 9"/>
                  <a:gd name="T18" fmla="*/ 0 w 3"/>
                  <a:gd name="T19" fmla="*/ 0 h 9"/>
                  <a:gd name="T20" fmla="*/ 0 w 3"/>
                  <a:gd name="T2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" h="9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3" y="6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24" name="Freeform 66"/>
              <p:cNvSpPr>
                <a:spLocks/>
              </p:cNvSpPr>
              <p:nvPr/>
            </p:nvSpPr>
            <p:spPr bwMode="auto">
              <a:xfrm>
                <a:off x="10896601" y="4918075"/>
                <a:ext cx="14288" cy="14288"/>
              </a:xfrm>
              <a:custGeom>
                <a:avLst/>
                <a:gdLst>
                  <a:gd name="T0" fmla="*/ 0 w 9"/>
                  <a:gd name="T1" fmla="*/ 0 h 9"/>
                  <a:gd name="T2" fmla="*/ 0 w 9"/>
                  <a:gd name="T3" fmla="*/ 0 h 9"/>
                  <a:gd name="T4" fmla="*/ 3 w 9"/>
                  <a:gd name="T5" fmla="*/ 3 h 9"/>
                  <a:gd name="T6" fmla="*/ 3 w 9"/>
                  <a:gd name="T7" fmla="*/ 3 h 9"/>
                  <a:gd name="T8" fmla="*/ 6 w 9"/>
                  <a:gd name="T9" fmla="*/ 3 h 9"/>
                  <a:gd name="T10" fmla="*/ 6 w 9"/>
                  <a:gd name="T11" fmla="*/ 6 h 9"/>
                  <a:gd name="T12" fmla="*/ 9 w 9"/>
                  <a:gd name="T13" fmla="*/ 3 h 9"/>
                  <a:gd name="T14" fmla="*/ 9 w 9"/>
                  <a:gd name="T15" fmla="*/ 3 h 9"/>
                  <a:gd name="T16" fmla="*/ 9 w 9"/>
                  <a:gd name="T17" fmla="*/ 6 h 9"/>
                  <a:gd name="T18" fmla="*/ 9 w 9"/>
                  <a:gd name="T19" fmla="*/ 6 h 9"/>
                  <a:gd name="T20" fmla="*/ 6 w 9"/>
                  <a:gd name="T21" fmla="*/ 9 h 9"/>
                  <a:gd name="T22" fmla="*/ 6 w 9"/>
                  <a:gd name="T23" fmla="*/ 9 h 9"/>
                  <a:gd name="T24" fmla="*/ 3 w 9"/>
                  <a:gd name="T25" fmla="*/ 9 h 9"/>
                  <a:gd name="T26" fmla="*/ 3 w 9"/>
                  <a:gd name="T27" fmla="*/ 6 h 9"/>
                  <a:gd name="T28" fmla="*/ 3 w 9"/>
                  <a:gd name="T29" fmla="*/ 6 h 9"/>
                  <a:gd name="T30" fmla="*/ 0 w 9"/>
                  <a:gd name="T31" fmla="*/ 3 h 9"/>
                  <a:gd name="T32" fmla="*/ 0 w 9"/>
                  <a:gd name="T33" fmla="*/ 3 h 9"/>
                  <a:gd name="T34" fmla="*/ 0 w 9"/>
                  <a:gd name="T35" fmla="*/ 0 h 9"/>
                  <a:gd name="T36" fmla="*/ 0 w 9"/>
                  <a:gd name="T3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3" y="9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25" name="Freeform 67"/>
              <p:cNvSpPr>
                <a:spLocks/>
              </p:cNvSpPr>
              <p:nvPr/>
            </p:nvSpPr>
            <p:spPr bwMode="auto">
              <a:xfrm>
                <a:off x="10888663" y="4908550"/>
                <a:ext cx="12700" cy="9525"/>
              </a:xfrm>
              <a:custGeom>
                <a:avLst/>
                <a:gdLst>
                  <a:gd name="T0" fmla="*/ 0 w 8"/>
                  <a:gd name="T1" fmla="*/ 0 h 6"/>
                  <a:gd name="T2" fmla="*/ 2 w 8"/>
                  <a:gd name="T3" fmla="*/ 3 h 6"/>
                  <a:gd name="T4" fmla="*/ 2 w 8"/>
                  <a:gd name="T5" fmla="*/ 6 h 6"/>
                  <a:gd name="T6" fmla="*/ 5 w 8"/>
                  <a:gd name="T7" fmla="*/ 6 h 6"/>
                  <a:gd name="T8" fmla="*/ 5 w 8"/>
                  <a:gd name="T9" fmla="*/ 6 h 6"/>
                  <a:gd name="T10" fmla="*/ 8 w 8"/>
                  <a:gd name="T11" fmla="*/ 6 h 6"/>
                  <a:gd name="T12" fmla="*/ 5 w 8"/>
                  <a:gd name="T13" fmla="*/ 3 h 6"/>
                  <a:gd name="T14" fmla="*/ 5 w 8"/>
                  <a:gd name="T15" fmla="*/ 3 h 6"/>
                  <a:gd name="T16" fmla="*/ 5 w 8"/>
                  <a:gd name="T17" fmla="*/ 3 h 6"/>
                  <a:gd name="T18" fmla="*/ 5 w 8"/>
                  <a:gd name="T19" fmla="*/ 0 h 6"/>
                  <a:gd name="T20" fmla="*/ 2 w 8"/>
                  <a:gd name="T21" fmla="*/ 0 h 6"/>
                  <a:gd name="T22" fmla="*/ 2 w 8"/>
                  <a:gd name="T23" fmla="*/ 0 h 6"/>
                  <a:gd name="T24" fmla="*/ 0 w 8"/>
                  <a:gd name="T25" fmla="*/ 0 h 6"/>
                  <a:gd name="T26" fmla="*/ 0 w 8"/>
                  <a:gd name="T2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6">
                    <a:moveTo>
                      <a:pt x="0" y="0"/>
                    </a:moveTo>
                    <a:lnTo>
                      <a:pt x="2" y="3"/>
                    </a:lnTo>
                    <a:lnTo>
                      <a:pt x="2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8" y="6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26" name="Freeform 68"/>
              <p:cNvSpPr>
                <a:spLocks/>
              </p:cNvSpPr>
              <p:nvPr/>
            </p:nvSpPr>
            <p:spPr bwMode="auto">
              <a:xfrm>
                <a:off x="10879138" y="4903788"/>
                <a:ext cx="9525" cy="9525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3 h 6"/>
                  <a:gd name="T4" fmla="*/ 3 w 6"/>
                  <a:gd name="T5" fmla="*/ 3 h 6"/>
                  <a:gd name="T6" fmla="*/ 3 w 6"/>
                  <a:gd name="T7" fmla="*/ 6 h 6"/>
                  <a:gd name="T8" fmla="*/ 6 w 6"/>
                  <a:gd name="T9" fmla="*/ 6 h 6"/>
                  <a:gd name="T10" fmla="*/ 6 w 6"/>
                  <a:gd name="T11" fmla="*/ 3 h 6"/>
                  <a:gd name="T12" fmla="*/ 3 w 6"/>
                  <a:gd name="T13" fmla="*/ 0 h 6"/>
                  <a:gd name="T14" fmla="*/ 0 w 6"/>
                  <a:gd name="T15" fmla="*/ 0 h 6"/>
                  <a:gd name="T16" fmla="*/ 0 w 6"/>
                  <a:gd name="T17" fmla="*/ 0 h 6"/>
                  <a:gd name="T18" fmla="*/ 0 w 6"/>
                  <a:gd name="T1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0" y="3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27" name="Freeform 69"/>
              <p:cNvSpPr>
                <a:spLocks/>
              </p:cNvSpPr>
              <p:nvPr/>
            </p:nvSpPr>
            <p:spPr bwMode="auto">
              <a:xfrm>
                <a:off x="10728326" y="4857750"/>
                <a:ext cx="0" cy="4763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28" name="Freeform 70"/>
              <p:cNvSpPr>
                <a:spLocks/>
              </p:cNvSpPr>
              <p:nvPr/>
            </p:nvSpPr>
            <p:spPr bwMode="auto">
              <a:xfrm>
                <a:off x="10718801" y="4852988"/>
                <a:ext cx="0" cy="4763"/>
              </a:xfrm>
              <a:custGeom>
                <a:avLst/>
                <a:gdLst>
                  <a:gd name="T0" fmla="*/ 3 h 3"/>
                  <a:gd name="T1" fmla="*/ 3 h 3"/>
                  <a:gd name="T2" fmla="*/ 0 h 3"/>
                  <a:gd name="T3" fmla="*/ 3 h 3"/>
                  <a:gd name="T4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29" name="Freeform 71"/>
              <p:cNvSpPr>
                <a:spLocks/>
              </p:cNvSpPr>
              <p:nvPr/>
            </p:nvSpPr>
            <p:spPr bwMode="auto">
              <a:xfrm>
                <a:off x="10709276" y="4857750"/>
                <a:ext cx="4763" cy="0"/>
              </a:xfrm>
              <a:custGeom>
                <a:avLst/>
                <a:gdLst>
                  <a:gd name="T0" fmla="*/ 0 w 3"/>
                  <a:gd name="T1" fmla="*/ 0 w 3"/>
                  <a:gd name="T2" fmla="*/ 3 w 3"/>
                  <a:gd name="T3" fmla="*/ 3 w 3"/>
                  <a:gd name="T4" fmla="*/ 0 w 3"/>
                  <a:gd name="T5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30" name="Freeform 72"/>
              <p:cNvSpPr>
                <a:spLocks/>
              </p:cNvSpPr>
              <p:nvPr/>
            </p:nvSpPr>
            <p:spPr bwMode="auto">
              <a:xfrm>
                <a:off x="10714038" y="4852988"/>
                <a:ext cx="4763" cy="4763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0 h 3"/>
                  <a:gd name="T4" fmla="*/ 0 w 3"/>
                  <a:gd name="T5" fmla="*/ 0 h 3"/>
                  <a:gd name="T6" fmla="*/ 3 w 3"/>
                  <a:gd name="T7" fmla="*/ 0 h 3"/>
                  <a:gd name="T8" fmla="*/ 0 w 3"/>
                  <a:gd name="T9" fmla="*/ 3 h 3"/>
                  <a:gd name="T10" fmla="*/ 0 w 3"/>
                  <a:gd name="T11" fmla="*/ 3 h 3"/>
                  <a:gd name="T12" fmla="*/ 0 w 3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31" name="Freeform 73"/>
              <p:cNvSpPr>
                <a:spLocks/>
              </p:cNvSpPr>
              <p:nvPr/>
            </p:nvSpPr>
            <p:spPr bwMode="auto">
              <a:xfrm>
                <a:off x="10694988" y="4857750"/>
                <a:ext cx="4763" cy="476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3 h 3"/>
                  <a:gd name="T4" fmla="*/ 3 w 3"/>
                  <a:gd name="T5" fmla="*/ 3 h 3"/>
                  <a:gd name="T6" fmla="*/ 0 w 3"/>
                  <a:gd name="T7" fmla="*/ 0 h 3"/>
                  <a:gd name="T8" fmla="*/ 0 w 3"/>
                  <a:gd name="T9" fmla="*/ 0 h 3"/>
                  <a:gd name="T10" fmla="*/ 0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32" name="Freeform 74"/>
              <p:cNvSpPr>
                <a:spLocks/>
              </p:cNvSpPr>
              <p:nvPr/>
            </p:nvSpPr>
            <p:spPr bwMode="auto">
              <a:xfrm>
                <a:off x="10685463" y="4876800"/>
                <a:ext cx="9525" cy="4763"/>
              </a:xfrm>
              <a:custGeom>
                <a:avLst/>
                <a:gdLst>
                  <a:gd name="T0" fmla="*/ 0 w 2"/>
                  <a:gd name="T1" fmla="*/ 1 h 1"/>
                  <a:gd name="T2" fmla="*/ 1 w 2"/>
                  <a:gd name="T3" fmla="*/ 0 h 1"/>
                  <a:gd name="T4" fmla="*/ 2 w 2"/>
                  <a:gd name="T5" fmla="*/ 0 h 1"/>
                  <a:gd name="T6" fmla="*/ 1 w 2"/>
                  <a:gd name="T7" fmla="*/ 1 h 1"/>
                  <a:gd name="T8" fmla="*/ 0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33" name="Freeform 75"/>
              <p:cNvSpPr>
                <a:spLocks/>
              </p:cNvSpPr>
              <p:nvPr/>
            </p:nvSpPr>
            <p:spPr bwMode="auto">
              <a:xfrm>
                <a:off x="10685463" y="4881563"/>
                <a:ext cx="0" cy="4763"/>
              </a:xfrm>
              <a:custGeom>
                <a:avLst/>
                <a:gdLst>
                  <a:gd name="T0" fmla="*/ 3 h 3"/>
                  <a:gd name="T1" fmla="*/ 3 h 3"/>
                  <a:gd name="T2" fmla="*/ 0 h 3"/>
                  <a:gd name="T3" fmla="*/ 3 h 3"/>
                  <a:gd name="T4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34" name="Rectangle 76"/>
              <p:cNvSpPr>
                <a:spLocks noChangeArrowheads="1"/>
              </p:cNvSpPr>
              <p:nvPr/>
            </p:nvSpPr>
            <p:spPr bwMode="auto">
              <a:xfrm>
                <a:off x="10675938" y="4881563"/>
                <a:ext cx="4763" cy="15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35" name="Freeform 77"/>
              <p:cNvSpPr>
                <a:spLocks/>
              </p:cNvSpPr>
              <p:nvPr/>
            </p:nvSpPr>
            <p:spPr bwMode="auto">
              <a:xfrm>
                <a:off x="10675938" y="4886325"/>
                <a:ext cx="9525" cy="4763"/>
              </a:xfrm>
              <a:custGeom>
                <a:avLst/>
                <a:gdLst>
                  <a:gd name="T0" fmla="*/ 0 w 2"/>
                  <a:gd name="T1" fmla="*/ 0 h 1"/>
                  <a:gd name="T2" fmla="*/ 2 w 2"/>
                  <a:gd name="T3" fmla="*/ 0 h 1"/>
                  <a:gd name="T4" fmla="*/ 2 w 2"/>
                  <a:gd name="T5" fmla="*/ 1 h 1"/>
                  <a:gd name="T6" fmla="*/ 0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36" name="Freeform 78"/>
              <p:cNvSpPr>
                <a:spLocks/>
              </p:cNvSpPr>
              <p:nvPr/>
            </p:nvSpPr>
            <p:spPr bwMode="auto">
              <a:xfrm>
                <a:off x="10685463" y="4867275"/>
                <a:ext cx="4763" cy="4763"/>
              </a:xfrm>
              <a:custGeom>
                <a:avLst/>
                <a:gdLst>
                  <a:gd name="T0" fmla="*/ 0 w 3"/>
                  <a:gd name="T1" fmla="*/ 0 h 3"/>
                  <a:gd name="T2" fmla="*/ 3 w 3"/>
                  <a:gd name="T3" fmla="*/ 3 h 3"/>
                  <a:gd name="T4" fmla="*/ 0 w 3"/>
                  <a:gd name="T5" fmla="*/ 3 h 3"/>
                  <a:gd name="T6" fmla="*/ 0 w 3"/>
                  <a:gd name="T7" fmla="*/ 3 h 3"/>
                  <a:gd name="T8" fmla="*/ 0 w 3"/>
                  <a:gd name="T9" fmla="*/ 0 h 3"/>
                  <a:gd name="T10" fmla="*/ 0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37" name="Freeform 79"/>
              <p:cNvSpPr>
                <a:spLocks/>
              </p:cNvSpPr>
              <p:nvPr/>
            </p:nvSpPr>
            <p:spPr bwMode="auto">
              <a:xfrm>
                <a:off x="10690226" y="4857750"/>
                <a:ext cx="4763" cy="9525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2 h 2"/>
                  <a:gd name="T4" fmla="*/ 0 w 1"/>
                  <a:gd name="T5" fmla="*/ 1 h 2"/>
                  <a:gd name="T6" fmla="*/ 0 w 1"/>
                  <a:gd name="T7" fmla="*/ 0 h 2"/>
                  <a:gd name="T8" fmla="*/ 1 w 1"/>
                  <a:gd name="T9" fmla="*/ 2 h 2"/>
                  <a:gd name="T10" fmla="*/ 1 w 1"/>
                  <a:gd name="T11" fmla="*/ 2 h 2"/>
                  <a:gd name="T12" fmla="*/ 0 w 1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38" name="Freeform 80"/>
              <p:cNvSpPr>
                <a:spLocks/>
              </p:cNvSpPr>
              <p:nvPr/>
            </p:nvSpPr>
            <p:spPr bwMode="auto">
              <a:xfrm>
                <a:off x="10534651" y="4867275"/>
                <a:ext cx="9525" cy="9525"/>
              </a:xfrm>
              <a:custGeom>
                <a:avLst/>
                <a:gdLst>
                  <a:gd name="T0" fmla="*/ 0 w 6"/>
                  <a:gd name="T1" fmla="*/ 6 h 6"/>
                  <a:gd name="T2" fmla="*/ 3 w 6"/>
                  <a:gd name="T3" fmla="*/ 3 h 6"/>
                  <a:gd name="T4" fmla="*/ 3 w 6"/>
                  <a:gd name="T5" fmla="*/ 0 h 6"/>
                  <a:gd name="T6" fmla="*/ 6 w 6"/>
                  <a:gd name="T7" fmla="*/ 0 h 6"/>
                  <a:gd name="T8" fmla="*/ 6 w 6"/>
                  <a:gd name="T9" fmla="*/ 6 h 6"/>
                  <a:gd name="T10" fmla="*/ 6 w 6"/>
                  <a:gd name="T11" fmla="*/ 6 h 6"/>
                  <a:gd name="T12" fmla="*/ 3 w 6"/>
                  <a:gd name="T13" fmla="*/ 6 h 6"/>
                  <a:gd name="T14" fmla="*/ 0 w 6"/>
                  <a:gd name="T15" fmla="*/ 6 h 6"/>
                  <a:gd name="T16" fmla="*/ 0 w 6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39" name="Freeform 81"/>
              <p:cNvSpPr>
                <a:spLocks/>
              </p:cNvSpPr>
              <p:nvPr/>
            </p:nvSpPr>
            <p:spPr bwMode="auto">
              <a:xfrm>
                <a:off x="10506076" y="4848225"/>
                <a:ext cx="42863" cy="28575"/>
              </a:xfrm>
              <a:custGeom>
                <a:avLst/>
                <a:gdLst>
                  <a:gd name="T0" fmla="*/ 0 w 9"/>
                  <a:gd name="T1" fmla="*/ 6 h 6"/>
                  <a:gd name="T2" fmla="*/ 2 w 9"/>
                  <a:gd name="T3" fmla="*/ 6 h 6"/>
                  <a:gd name="T4" fmla="*/ 3 w 9"/>
                  <a:gd name="T5" fmla="*/ 6 h 6"/>
                  <a:gd name="T6" fmla="*/ 5 w 9"/>
                  <a:gd name="T7" fmla="*/ 6 h 6"/>
                  <a:gd name="T8" fmla="*/ 6 w 9"/>
                  <a:gd name="T9" fmla="*/ 5 h 6"/>
                  <a:gd name="T10" fmla="*/ 7 w 9"/>
                  <a:gd name="T11" fmla="*/ 4 h 6"/>
                  <a:gd name="T12" fmla="*/ 7 w 9"/>
                  <a:gd name="T13" fmla="*/ 4 h 6"/>
                  <a:gd name="T14" fmla="*/ 8 w 9"/>
                  <a:gd name="T15" fmla="*/ 3 h 6"/>
                  <a:gd name="T16" fmla="*/ 8 w 9"/>
                  <a:gd name="T17" fmla="*/ 3 h 6"/>
                  <a:gd name="T18" fmla="*/ 8 w 9"/>
                  <a:gd name="T19" fmla="*/ 2 h 6"/>
                  <a:gd name="T20" fmla="*/ 9 w 9"/>
                  <a:gd name="T21" fmla="*/ 1 h 6"/>
                  <a:gd name="T22" fmla="*/ 9 w 9"/>
                  <a:gd name="T23" fmla="*/ 1 h 6"/>
                  <a:gd name="T24" fmla="*/ 8 w 9"/>
                  <a:gd name="T25" fmla="*/ 0 h 6"/>
                  <a:gd name="T26" fmla="*/ 7 w 9"/>
                  <a:gd name="T27" fmla="*/ 0 h 6"/>
                  <a:gd name="T28" fmla="*/ 5 w 9"/>
                  <a:gd name="T29" fmla="*/ 0 h 6"/>
                  <a:gd name="T30" fmla="*/ 4 w 9"/>
                  <a:gd name="T31" fmla="*/ 0 h 6"/>
                  <a:gd name="T32" fmla="*/ 3 w 9"/>
                  <a:gd name="T33" fmla="*/ 2 h 6"/>
                  <a:gd name="T34" fmla="*/ 2 w 9"/>
                  <a:gd name="T35" fmla="*/ 3 h 6"/>
                  <a:gd name="T36" fmla="*/ 0 w 9"/>
                  <a:gd name="T3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" h="6">
                    <a:moveTo>
                      <a:pt x="0" y="6"/>
                    </a:moveTo>
                    <a:cubicBezTo>
                      <a:pt x="0" y="6"/>
                      <a:pt x="2" y="6"/>
                      <a:pt x="2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6"/>
                      <a:pt x="0" y="6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40" name="Freeform 82"/>
              <p:cNvSpPr>
                <a:spLocks/>
              </p:cNvSpPr>
              <p:nvPr/>
            </p:nvSpPr>
            <p:spPr bwMode="auto">
              <a:xfrm>
                <a:off x="10318751" y="4632325"/>
                <a:ext cx="577850" cy="319088"/>
              </a:xfrm>
              <a:custGeom>
                <a:avLst/>
                <a:gdLst>
                  <a:gd name="T0" fmla="*/ 74 w 364"/>
                  <a:gd name="T1" fmla="*/ 56 h 201"/>
                  <a:gd name="T2" fmla="*/ 65 w 364"/>
                  <a:gd name="T3" fmla="*/ 44 h 201"/>
                  <a:gd name="T4" fmla="*/ 59 w 364"/>
                  <a:gd name="T5" fmla="*/ 24 h 201"/>
                  <a:gd name="T6" fmla="*/ 50 w 364"/>
                  <a:gd name="T7" fmla="*/ 6 h 201"/>
                  <a:gd name="T8" fmla="*/ 15 w 364"/>
                  <a:gd name="T9" fmla="*/ 6 h 201"/>
                  <a:gd name="T10" fmla="*/ 0 w 364"/>
                  <a:gd name="T11" fmla="*/ 21 h 201"/>
                  <a:gd name="T12" fmla="*/ 15 w 364"/>
                  <a:gd name="T13" fmla="*/ 30 h 201"/>
                  <a:gd name="T14" fmla="*/ 35 w 364"/>
                  <a:gd name="T15" fmla="*/ 38 h 201"/>
                  <a:gd name="T16" fmla="*/ 53 w 364"/>
                  <a:gd name="T17" fmla="*/ 41 h 201"/>
                  <a:gd name="T18" fmla="*/ 35 w 364"/>
                  <a:gd name="T19" fmla="*/ 47 h 201"/>
                  <a:gd name="T20" fmla="*/ 18 w 364"/>
                  <a:gd name="T21" fmla="*/ 50 h 201"/>
                  <a:gd name="T22" fmla="*/ 32 w 364"/>
                  <a:gd name="T23" fmla="*/ 62 h 201"/>
                  <a:gd name="T24" fmla="*/ 41 w 364"/>
                  <a:gd name="T25" fmla="*/ 65 h 201"/>
                  <a:gd name="T26" fmla="*/ 47 w 364"/>
                  <a:gd name="T27" fmla="*/ 56 h 201"/>
                  <a:gd name="T28" fmla="*/ 59 w 364"/>
                  <a:gd name="T29" fmla="*/ 68 h 201"/>
                  <a:gd name="T30" fmla="*/ 71 w 364"/>
                  <a:gd name="T31" fmla="*/ 71 h 201"/>
                  <a:gd name="T32" fmla="*/ 77 w 364"/>
                  <a:gd name="T33" fmla="*/ 80 h 201"/>
                  <a:gd name="T34" fmla="*/ 118 w 364"/>
                  <a:gd name="T35" fmla="*/ 92 h 201"/>
                  <a:gd name="T36" fmla="*/ 130 w 364"/>
                  <a:gd name="T37" fmla="*/ 95 h 201"/>
                  <a:gd name="T38" fmla="*/ 130 w 364"/>
                  <a:gd name="T39" fmla="*/ 106 h 201"/>
                  <a:gd name="T40" fmla="*/ 142 w 364"/>
                  <a:gd name="T41" fmla="*/ 124 h 201"/>
                  <a:gd name="T42" fmla="*/ 148 w 364"/>
                  <a:gd name="T43" fmla="*/ 130 h 201"/>
                  <a:gd name="T44" fmla="*/ 145 w 364"/>
                  <a:gd name="T45" fmla="*/ 142 h 201"/>
                  <a:gd name="T46" fmla="*/ 154 w 364"/>
                  <a:gd name="T47" fmla="*/ 151 h 201"/>
                  <a:gd name="T48" fmla="*/ 163 w 364"/>
                  <a:gd name="T49" fmla="*/ 154 h 201"/>
                  <a:gd name="T50" fmla="*/ 187 w 364"/>
                  <a:gd name="T51" fmla="*/ 168 h 201"/>
                  <a:gd name="T52" fmla="*/ 210 w 364"/>
                  <a:gd name="T53" fmla="*/ 174 h 201"/>
                  <a:gd name="T54" fmla="*/ 222 w 364"/>
                  <a:gd name="T55" fmla="*/ 160 h 201"/>
                  <a:gd name="T56" fmla="*/ 201 w 364"/>
                  <a:gd name="T57" fmla="*/ 148 h 201"/>
                  <a:gd name="T58" fmla="*/ 198 w 364"/>
                  <a:gd name="T59" fmla="*/ 142 h 201"/>
                  <a:gd name="T60" fmla="*/ 213 w 364"/>
                  <a:gd name="T61" fmla="*/ 154 h 201"/>
                  <a:gd name="T62" fmla="*/ 225 w 364"/>
                  <a:gd name="T63" fmla="*/ 148 h 201"/>
                  <a:gd name="T64" fmla="*/ 231 w 364"/>
                  <a:gd name="T65" fmla="*/ 148 h 201"/>
                  <a:gd name="T66" fmla="*/ 234 w 364"/>
                  <a:gd name="T67" fmla="*/ 136 h 201"/>
                  <a:gd name="T68" fmla="*/ 243 w 364"/>
                  <a:gd name="T69" fmla="*/ 142 h 201"/>
                  <a:gd name="T70" fmla="*/ 252 w 364"/>
                  <a:gd name="T71" fmla="*/ 139 h 201"/>
                  <a:gd name="T72" fmla="*/ 261 w 364"/>
                  <a:gd name="T73" fmla="*/ 145 h 201"/>
                  <a:gd name="T74" fmla="*/ 287 w 364"/>
                  <a:gd name="T75" fmla="*/ 168 h 201"/>
                  <a:gd name="T76" fmla="*/ 311 w 364"/>
                  <a:gd name="T77" fmla="*/ 189 h 201"/>
                  <a:gd name="T78" fmla="*/ 338 w 364"/>
                  <a:gd name="T79" fmla="*/ 192 h 201"/>
                  <a:gd name="T80" fmla="*/ 350 w 364"/>
                  <a:gd name="T81" fmla="*/ 198 h 201"/>
                  <a:gd name="T82" fmla="*/ 359 w 364"/>
                  <a:gd name="T83" fmla="*/ 192 h 201"/>
                  <a:gd name="T84" fmla="*/ 347 w 364"/>
                  <a:gd name="T85" fmla="*/ 180 h 201"/>
                  <a:gd name="T86" fmla="*/ 335 w 364"/>
                  <a:gd name="T87" fmla="*/ 174 h 201"/>
                  <a:gd name="T88" fmla="*/ 326 w 364"/>
                  <a:gd name="T89" fmla="*/ 165 h 201"/>
                  <a:gd name="T90" fmla="*/ 308 w 364"/>
                  <a:gd name="T91" fmla="*/ 145 h 201"/>
                  <a:gd name="T92" fmla="*/ 296 w 364"/>
                  <a:gd name="T93" fmla="*/ 124 h 201"/>
                  <a:gd name="T94" fmla="*/ 299 w 364"/>
                  <a:gd name="T95" fmla="*/ 109 h 201"/>
                  <a:gd name="T96" fmla="*/ 276 w 364"/>
                  <a:gd name="T97" fmla="*/ 92 h 201"/>
                  <a:gd name="T98" fmla="*/ 258 w 364"/>
                  <a:gd name="T99" fmla="*/ 74 h 201"/>
                  <a:gd name="T100" fmla="*/ 237 w 364"/>
                  <a:gd name="T101" fmla="*/ 62 h 201"/>
                  <a:gd name="T102" fmla="*/ 207 w 364"/>
                  <a:gd name="T103" fmla="*/ 53 h 201"/>
                  <a:gd name="T104" fmla="*/ 181 w 364"/>
                  <a:gd name="T105" fmla="*/ 44 h 201"/>
                  <a:gd name="T106" fmla="*/ 166 w 364"/>
                  <a:gd name="T107" fmla="*/ 38 h 201"/>
                  <a:gd name="T108" fmla="*/ 127 w 364"/>
                  <a:gd name="T109" fmla="*/ 21 h 201"/>
                  <a:gd name="T110" fmla="*/ 104 w 364"/>
                  <a:gd name="T111" fmla="*/ 35 h 201"/>
                  <a:gd name="T112" fmla="*/ 89 w 364"/>
                  <a:gd name="T113" fmla="*/ 47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64" h="201">
                    <a:moveTo>
                      <a:pt x="89" y="53"/>
                    </a:moveTo>
                    <a:lnTo>
                      <a:pt x="86" y="53"/>
                    </a:lnTo>
                    <a:lnTo>
                      <a:pt x="86" y="53"/>
                    </a:lnTo>
                    <a:lnTo>
                      <a:pt x="83" y="56"/>
                    </a:lnTo>
                    <a:lnTo>
                      <a:pt x="80" y="59"/>
                    </a:lnTo>
                    <a:lnTo>
                      <a:pt x="77" y="59"/>
                    </a:lnTo>
                    <a:lnTo>
                      <a:pt x="74" y="56"/>
                    </a:lnTo>
                    <a:lnTo>
                      <a:pt x="71" y="53"/>
                    </a:lnTo>
                    <a:lnTo>
                      <a:pt x="71" y="50"/>
                    </a:lnTo>
                    <a:lnTo>
                      <a:pt x="68" y="50"/>
                    </a:lnTo>
                    <a:lnTo>
                      <a:pt x="68" y="47"/>
                    </a:lnTo>
                    <a:lnTo>
                      <a:pt x="68" y="44"/>
                    </a:lnTo>
                    <a:lnTo>
                      <a:pt x="65" y="41"/>
                    </a:lnTo>
                    <a:lnTo>
                      <a:pt x="65" y="44"/>
                    </a:lnTo>
                    <a:lnTo>
                      <a:pt x="65" y="47"/>
                    </a:lnTo>
                    <a:lnTo>
                      <a:pt x="62" y="47"/>
                    </a:lnTo>
                    <a:lnTo>
                      <a:pt x="59" y="47"/>
                    </a:lnTo>
                    <a:lnTo>
                      <a:pt x="59" y="41"/>
                    </a:lnTo>
                    <a:lnTo>
                      <a:pt x="59" y="32"/>
                    </a:lnTo>
                    <a:lnTo>
                      <a:pt x="56" y="30"/>
                    </a:lnTo>
                    <a:lnTo>
                      <a:pt x="59" y="24"/>
                    </a:lnTo>
                    <a:lnTo>
                      <a:pt x="62" y="21"/>
                    </a:lnTo>
                    <a:lnTo>
                      <a:pt x="59" y="18"/>
                    </a:lnTo>
                    <a:lnTo>
                      <a:pt x="56" y="15"/>
                    </a:lnTo>
                    <a:lnTo>
                      <a:pt x="56" y="12"/>
                    </a:lnTo>
                    <a:lnTo>
                      <a:pt x="56" y="9"/>
                    </a:lnTo>
                    <a:lnTo>
                      <a:pt x="56" y="6"/>
                    </a:lnTo>
                    <a:lnTo>
                      <a:pt x="50" y="6"/>
                    </a:lnTo>
                    <a:lnTo>
                      <a:pt x="44" y="6"/>
                    </a:lnTo>
                    <a:lnTo>
                      <a:pt x="38" y="3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21" y="3"/>
                    </a:lnTo>
                    <a:lnTo>
                      <a:pt x="18" y="6"/>
                    </a:lnTo>
                    <a:lnTo>
                      <a:pt x="15" y="6"/>
                    </a:lnTo>
                    <a:lnTo>
                      <a:pt x="12" y="9"/>
                    </a:lnTo>
                    <a:lnTo>
                      <a:pt x="6" y="9"/>
                    </a:lnTo>
                    <a:lnTo>
                      <a:pt x="3" y="12"/>
                    </a:lnTo>
                    <a:lnTo>
                      <a:pt x="3" y="15"/>
                    </a:lnTo>
                    <a:lnTo>
                      <a:pt x="3" y="18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3" y="24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9" y="21"/>
                    </a:lnTo>
                    <a:lnTo>
                      <a:pt x="15" y="24"/>
                    </a:lnTo>
                    <a:lnTo>
                      <a:pt x="18" y="27"/>
                    </a:lnTo>
                    <a:lnTo>
                      <a:pt x="15" y="30"/>
                    </a:lnTo>
                    <a:lnTo>
                      <a:pt x="18" y="32"/>
                    </a:lnTo>
                    <a:lnTo>
                      <a:pt x="21" y="35"/>
                    </a:lnTo>
                    <a:lnTo>
                      <a:pt x="24" y="35"/>
                    </a:lnTo>
                    <a:lnTo>
                      <a:pt x="27" y="35"/>
                    </a:lnTo>
                    <a:lnTo>
                      <a:pt x="30" y="38"/>
                    </a:lnTo>
                    <a:lnTo>
                      <a:pt x="32" y="35"/>
                    </a:lnTo>
                    <a:lnTo>
                      <a:pt x="35" y="38"/>
                    </a:lnTo>
                    <a:lnTo>
                      <a:pt x="38" y="35"/>
                    </a:lnTo>
                    <a:lnTo>
                      <a:pt x="41" y="35"/>
                    </a:lnTo>
                    <a:lnTo>
                      <a:pt x="44" y="35"/>
                    </a:lnTo>
                    <a:lnTo>
                      <a:pt x="41" y="35"/>
                    </a:lnTo>
                    <a:lnTo>
                      <a:pt x="53" y="35"/>
                    </a:lnTo>
                    <a:lnTo>
                      <a:pt x="53" y="38"/>
                    </a:lnTo>
                    <a:lnTo>
                      <a:pt x="53" y="41"/>
                    </a:lnTo>
                    <a:lnTo>
                      <a:pt x="50" y="41"/>
                    </a:lnTo>
                    <a:lnTo>
                      <a:pt x="47" y="44"/>
                    </a:lnTo>
                    <a:lnTo>
                      <a:pt x="47" y="47"/>
                    </a:lnTo>
                    <a:lnTo>
                      <a:pt x="44" y="44"/>
                    </a:lnTo>
                    <a:lnTo>
                      <a:pt x="38" y="41"/>
                    </a:lnTo>
                    <a:lnTo>
                      <a:pt x="35" y="41"/>
                    </a:lnTo>
                    <a:lnTo>
                      <a:pt x="35" y="47"/>
                    </a:lnTo>
                    <a:lnTo>
                      <a:pt x="32" y="47"/>
                    </a:lnTo>
                    <a:lnTo>
                      <a:pt x="30" y="47"/>
                    </a:lnTo>
                    <a:lnTo>
                      <a:pt x="24" y="47"/>
                    </a:lnTo>
                    <a:lnTo>
                      <a:pt x="24" y="44"/>
                    </a:lnTo>
                    <a:lnTo>
                      <a:pt x="18" y="44"/>
                    </a:lnTo>
                    <a:lnTo>
                      <a:pt x="18" y="47"/>
                    </a:lnTo>
                    <a:lnTo>
                      <a:pt x="18" y="50"/>
                    </a:lnTo>
                    <a:lnTo>
                      <a:pt x="21" y="50"/>
                    </a:lnTo>
                    <a:lnTo>
                      <a:pt x="27" y="53"/>
                    </a:lnTo>
                    <a:lnTo>
                      <a:pt x="27" y="56"/>
                    </a:lnTo>
                    <a:lnTo>
                      <a:pt x="30" y="59"/>
                    </a:lnTo>
                    <a:lnTo>
                      <a:pt x="30" y="59"/>
                    </a:lnTo>
                    <a:lnTo>
                      <a:pt x="32" y="59"/>
                    </a:lnTo>
                    <a:lnTo>
                      <a:pt x="32" y="62"/>
                    </a:lnTo>
                    <a:lnTo>
                      <a:pt x="30" y="65"/>
                    </a:lnTo>
                    <a:lnTo>
                      <a:pt x="30" y="65"/>
                    </a:lnTo>
                    <a:lnTo>
                      <a:pt x="32" y="71"/>
                    </a:lnTo>
                    <a:lnTo>
                      <a:pt x="35" y="74"/>
                    </a:lnTo>
                    <a:lnTo>
                      <a:pt x="38" y="71"/>
                    </a:lnTo>
                    <a:lnTo>
                      <a:pt x="44" y="68"/>
                    </a:lnTo>
                    <a:lnTo>
                      <a:pt x="41" y="65"/>
                    </a:lnTo>
                    <a:lnTo>
                      <a:pt x="44" y="59"/>
                    </a:lnTo>
                    <a:lnTo>
                      <a:pt x="47" y="59"/>
                    </a:lnTo>
                    <a:lnTo>
                      <a:pt x="47" y="56"/>
                    </a:lnTo>
                    <a:lnTo>
                      <a:pt x="50" y="53"/>
                    </a:lnTo>
                    <a:lnTo>
                      <a:pt x="50" y="47"/>
                    </a:lnTo>
                    <a:lnTo>
                      <a:pt x="50" y="53"/>
                    </a:lnTo>
                    <a:lnTo>
                      <a:pt x="47" y="56"/>
                    </a:lnTo>
                    <a:lnTo>
                      <a:pt x="50" y="59"/>
                    </a:lnTo>
                    <a:lnTo>
                      <a:pt x="50" y="65"/>
                    </a:lnTo>
                    <a:lnTo>
                      <a:pt x="53" y="65"/>
                    </a:lnTo>
                    <a:lnTo>
                      <a:pt x="53" y="65"/>
                    </a:lnTo>
                    <a:lnTo>
                      <a:pt x="56" y="65"/>
                    </a:lnTo>
                    <a:lnTo>
                      <a:pt x="56" y="65"/>
                    </a:lnTo>
                    <a:lnTo>
                      <a:pt x="59" y="68"/>
                    </a:lnTo>
                    <a:lnTo>
                      <a:pt x="59" y="68"/>
                    </a:lnTo>
                    <a:lnTo>
                      <a:pt x="62" y="68"/>
                    </a:lnTo>
                    <a:lnTo>
                      <a:pt x="62" y="68"/>
                    </a:lnTo>
                    <a:lnTo>
                      <a:pt x="65" y="71"/>
                    </a:lnTo>
                    <a:lnTo>
                      <a:pt x="68" y="68"/>
                    </a:lnTo>
                    <a:lnTo>
                      <a:pt x="71" y="68"/>
                    </a:lnTo>
                    <a:lnTo>
                      <a:pt x="71" y="71"/>
                    </a:lnTo>
                    <a:lnTo>
                      <a:pt x="68" y="71"/>
                    </a:lnTo>
                    <a:lnTo>
                      <a:pt x="65" y="71"/>
                    </a:lnTo>
                    <a:lnTo>
                      <a:pt x="65" y="74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7"/>
                    </a:lnTo>
                    <a:lnTo>
                      <a:pt x="77" y="80"/>
                    </a:lnTo>
                    <a:lnTo>
                      <a:pt x="83" y="80"/>
                    </a:lnTo>
                    <a:lnTo>
                      <a:pt x="92" y="83"/>
                    </a:lnTo>
                    <a:lnTo>
                      <a:pt x="104" y="86"/>
                    </a:lnTo>
                    <a:lnTo>
                      <a:pt x="107" y="86"/>
                    </a:lnTo>
                    <a:lnTo>
                      <a:pt x="113" y="86"/>
                    </a:lnTo>
                    <a:lnTo>
                      <a:pt x="113" y="92"/>
                    </a:lnTo>
                    <a:lnTo>
                      <a:pt x="118" y="92"/>
                    </a:lnTo>
                    <a:lnTo>
                      <a:pt x="121" y="92"/>
                    </a:lnTo>
                    <a:lnTo>
                      <a:pt x="124" y="92"/>
                    </a:lnTo>
                    <a:lnTo>
                      <a:pt x="121" y="95"/>
                    </a:lnTo>
                    <a:lnTo>
                      <a:pt x="121" y="95"/>
                    </a:lnTo>
                    <a:lnTo>
                      <a:pt x="124" y="95"/>
                    </a:lnTo>
                    <a:lnTo>
                      <a:pt x="127" y="98"/>
                    </a:lnTo>
                    <a:lnTo>
                      <a:pt x="130" y="95"/>
                    </a:lnTo>
                    <a:lnTo>
                      <a:pt x="127" y="98"/>
                    </a:lnTo>
                    <a:lnTo>
                      <a:pt x="130" y="100"/>
                    </a:lnTo>
                    <a:lnTo>
                      <a:pt x="127" y="100"/>
                    </a:lnTo>
                    <a:lnTo>
                      <a:pt x="130" y="103"/>
                    </a:lnTo>
                    <a:lnTo>
                      <a:pt x="133" y="100"/>
                    </a:lnTo>
                    <a:lnTo>
                      <a:pt x="130" y="103"/>
                    </a:lnTo>
                    <a:lnTo>
                      <a:pt x="130" y="106"/>
                    </a:lnTo>
                    <a:lnTo>
                      <a:pt x="133" y="109"/>
                    </a:lnTo>
                    <a:lnTo>
                      <a:pt x="133" y="115"/>
                    </a:lnTo>
                    <a:lnTo>
                      <a:pt x="133" y="118"/>
                    </a:lnTo>
                    <a:lnTo>
                      <a:pt x="136" y="118"/>
                    </a:lnTo>
                    <a:lnTo>
                      <a:pt x="142" y="121"/>
                    </a:lnTo>
                    <a:lnTo>
                      <a:pt x="145" y="124"/>
                    </a:lnTo>
                    <a:lnTo>
                      <a:pt x="142" y="124"/>
                    </a:lnTo>
                    <a:lnTo>
                      <a:pt x="139" y="124"/>
                    </a:lnTo>
                    <a:lnTo>
                      <a:pt x="139" y="127"/>
                    </a:lnTo>
                    <a:lnTo>
                      <a:pt x="142" y="130"/>
                    </a:lnTo>
                    <a:lnTo>
                      <a:pt x="145" y="130"/>
                    </a:lnTo>
                    <a:lnTo>
                      <a:pt x="148" y="130"/>
                    </a:lnTo>
                    <a:lnTo>
                      <a:pt x="151" y="130"/>
                    </a:lnTo>
                    <a:lnTo>
                      <a:pt x="148" y="130"/>
                    </a:lnTo>
                    <a:lnTo>
                      <a:pt x="145" y="133"/>
                    </a:lnTo>
                    <a:lnTo>
                      <a:pt x="145" y="133"/>
                    </a:lnTo>
                    <a:lnTo>
                      <a:pt x="142" y="133"/>
                    </a:lnTo>
                    <a:lnTo>
                      <a:pt x="145" y="136"/>
                    </a:lnTo>
                    <a:lnTo>
                      <a:pt x="145" y="136"/>
                    </a:lnTo>
                    <a:lnTo>
                      <a:pt x="145" y="142"/>
                    </a:lnTo>
                    <a:lnTo>
                      <a:pt x="145" y="142"/>
                    </a:lnTo>
                    <a:lnTo>
                      <a:pt x="145" y="145"/>
                    </a:lnTo>
                    <a:lnTo>
                      <a:pt x="145" y="148"/>
                    </a:lnTo>
                    <a:lnTo>
                      <a:pt x="142" y="148"/>
                    </a:lnTo>
                    <a:lnTo>
                      <a:pt x="145" y="151"/>
                    </a:lnTo>
                    <a:lnTo>
                      <a:pt x="148" y="148"/>
                    </a:lnTo>
                    <a:lnTo>
                      <a:pt x="151" y="151"/>
                    </a:lnTo>
                    <a:lnTo>
                      <a:pt x="154" y="151"/>
                    </a:lnTo>
                    <a:lnTo>
                      <a:pt x="157" y="148"/>
                    </a:lnTo>
                    <a:lnTo>
                      <a:pt x="163" y="148"/>
                    </a:lnTo>
                    <a:lnTo>
                      <a:pt x="163" y="148"/>
                    </a:lnTo>
                    <a:lnTo>
                      <a:pt x="166" y="142"/>
                    </a:lnTo>
                    <a:lnTo>
                      <a:pt x="166" y="148"/>
                    </a:lnTo>
                    <a:lnTo>
                      <a:pt x="163" y="151"/>
                    </a:lnTo>
                    <a:lnTo>
                      <a:pt x="163" y="154"/>
                    </a:lnTo>
                    <a:lnTo>
                      <a:pt x="166" y="154"/>
                    </a:lnTo>
                    <a:lnTo>
                      <a:pt x="169" y="157"/>
                    </a:lnTo>
                    <a:lnTo>
                      <a:pt x="169" y="160"/>
                    </a:lnTo>
                    <a:lnTo>
                      <a:pt x="172" y="163"/>
                    </a:lnTo>
                    <a:lnTo>
                      <a:pt x="175" y="165"/>
                    </a:lnTo>
                    <a:lnTo>
                      <a:pt x="181" y="168"/>
                    </a:lnTo>
                    <a:lnTo>
                      <a:pt x="187" y="168"/>
                    </a:lnTo>
                    <a:lnTo>
                      <a:pt x="190" y="168"/>
                    </a:lnTo>
                    <a:lnTo>
                      <a:pt x="193" y="168"/>
                    </a:lnTo>
                    <a:lnTo>
                      <a:pt x="204" y="168"/>
                    </a:lnTo>
                    <a:lnTo>
                      <a:pt x="204" y="168"/>
                    </a:lnTo>
                    <a:lnTo>
                      <a:pt x="207" y="171"/>
                    </a:lnTo>
                    <a:lnTo>
                      <a:pt x="207" y="174"/>
                    </a:lnTo>
                    <a:lnTo>
                      <a:pt x="210" y="174"/>
                    </a:lnTo>
                    <a:lnTo>
                      <a:pt x="216" y="171"/>
                    </a:lnTo>
                    <a:lnTo>
                      <a:pt x="222" y="168"/>
                    </a:lnTo>
                    <a:lnTo>
                      <a:pt x="222" y="168"/>
                    </a:lnTo>
                    <a:lnTo>
                      <a:pt x="225" y="168"/>
                    </a:lnTo>
                    <a:lnTo>
                      <a:pt x="225" y="168"/>
                    </a:lnTo>
                    <a:lnTo>
                      <a:pt x="225" y="163"/>
                    </a:lnTo>
                    <a:lnTo>
                      <a:pt x="222" y="160"/>
                    </a:lnTo>
                    <a:lnTo>
                      <a:pt x="216" y="157"/>
                    </a:lnTo>
                    <a:lnTo>
                      <a:pt x="210" y="157"/>
                    </a:lnTo>
                    <a:lnTo>
                      <a:pt x="210" y="154"/>
                    </a:lnTo>
                    <a:lnTo>
                      <a:pt x="207" y="154"/>
                    </a:lnTo>
                    <a:lnTo>
                      <a:pt x="204" y="154"/>
                    </a:lnTo>
                    <a:lnTo>
                      <a:pt x="204" y="151"/>
                    </a:lnTo>
                    <a:lnTo>
                      <a:pt x="201" y="148"/>
                    </a:lnTo>
                    <a:lnTo>
                      <a:pt x="198" y="142"/>
                    </a:lnTo>
                    <a:lnTo>
                      <a:pt x="196" y="142"/>
                    </a:lnTo>
                    <a:lnTo>
                      <a:pt x="196" y="139"/>
                    </a:lnTo>
                    <a:lnTo>
                      <a:pt x="193" y="136"/>
                    </a:lnTo>
                    <a:lnTo>
                      <a:pt x="196" y="139"/>
                    </a:lnTo>
                    <a:lnTo>
                      <a:pt x="196" y="142"/>
                    </a:lnTo>
                    <a:lnTo>
                      <a:pt x="198" y="142"/>
                    </a:lnTo>
                    <a:lnTo>
                      <a:pt x="201" y="145"/>
                    </a:lnTo>
                    <a:lnTo>
                      <a:pt x="204" y="148"/>
                    </a:lnTo>
                    <a:lnTo>
                      <a:pt x="204" y="151"/>
                    </a:lnTo>
                    <a:lnTo>
                      <a:pt x="204" y="151"/>
                    </a:lnTo>
                    <a:lnTo>
                      <a:pt x="210" y="154"/>
                    </a:lnTo>
                    <a:lnTo>
                      <a:pt x="213" y="154"/>
                    </a:lnTo>
                    <a:lnTo>
                      <a:pt x="213" y="154"/>
                    </a:lnTo>
                    <a:lnTo>
                      <a:pt x="219" y="154"/>
                    </a:lnTo>
                    <a:lnTo>
                      <a:pt x="225" y="154"/>
                    </a:lnTo>
                    <a:lnTo>
                      <a:pt x="228" y="154"/>
                    </a:lnTo>
                    <a:lnTo>
                      <a:pt x="231" y="154"/>
                    </a:lnTo>
                    <a:lnTo>
                      <a:pt x="231" y="151"/>
                    </a:lnTo>
                    <a:lnTo>
                      <a:pt x="228" y="148"/>
                    </a:lnTo>
                    <a:lnTo>
                      <a:pt x="225" y="148"/>
                    </a:lnTo>
                    <a:lnTo>
                      <a:pt x="222" y="148"/>
                    </a:lnTo>
                    <a:lnTo>
                      <a:pt x="222" y="145"/>
                    </a:lnTo>
                    <a:lnTo>
                      <a:pt x="225" y="145"/>
                    </a:lnTo>
                    <a:lnTo>
                      <a:pt x="228" y="145"/>
                    </a:lnTo>
                    <a:lnTo>
                      <a:pt x="231" y="148"/>
                    </a:lnTo>
                    <a:lnTo>
                      <a:pt x="234" y="148"/>
                    </a:lnTo>
                    <a:lnTo>
                      <a:pt x="231" y="148"/>
                    </a:lnTo>
                    <a:lnTo>
                      <a:pt x="231" y="145"/>
                    </a:lnTo>
                    <a:lnTo>
                      <a:pt x="234" y="142"/>
                    </a:lnTo>
                    <a:lnTo>
                      <a:pt x="234" y="142"/>
                    </a:lnTo>
                    <a:lnTo>
                      <a:pt x="234" y="139"/>
                    </a:lnTo>
                    <a:lnTo>
                      <a:pt x="231" y="136"/>
                    </a:lnTo>
                    <a:lnTo>
                      <a:pt x="231" y="133"/>
                    </a:lnTo>
                    <a:lnTo>
                      <a:pt x="234" y="136"/>
                    </a:lnTo>
                    <a:lnTo>
                      <a:pt x="237" y="139"/>
                    </a:lnTo>
                    <a:lnTo>
                      <a:pt x="240" y="142"/>
                    </a:lnTo>
                    <a:lnTo>
                      <a:pt x="243" y="142"/>
                    </a:lnTo>
                    <a:lnTo>
                      <a:pt x="243" y="139"/>
                    </a:lnTo>
                    <a:lnTo>
                      <a:pt x="243" y="139"/>
                    </a:lnTo>
                    <a:lnTo>
                      <a:pt x="243" y="139"/>
                    </a:lnTo>
                    <a:lnTo>
                      <a:pt x="243" y="142"/>
                    </a:lnTo>
                    <a:lnTo>
                      <a:pt x="246" y="142"/>
                    </a:lnTo>
                    <a:lnTo>
                      <a:pt x="246" y="139"/>
                    </a:lnTo>
                    <a:lnTo>
                      <a:pt x="243" y="136"/>
                    </a:lnTo>
                    <a:lnTo>
                      <a:pt x="246" y="133"/>
                    </a:lnTo>
                    <a:lnTo>
                      <a:pt x="246" y="136"/>
                    </a:lnTo>
                    <a:lnTo>
                      <a:pt x="252" y="136"/>
                    </a:lnTo>
                    <a:lnTo>
                      <a:pt x="252" y="139"/>
                    </a:lnTo>
                    <a:lnTo>
                      <a:pt x="255" y="139"/>
                    </a:lnTo>
                    <a:lnTo>
                      <a:pt x="258" y="139"/>
                    </a:lnTo>
                    <a:lnTo>
                      <a:pt x="258" y="142"/>
                    </a:lnTo>
                    <a:lnTo>
                      <a:pt x="261" y="139"/>
                    </a:lnTo>
                    <a:lnTo>
                      <a:pt x="261" y="142"/>
                    </a:lnTo>
                    <a:lnTo>
                      <a:pt x="261" y="145"/>
                    </a:lnTo>
                    <a:lnTo>
                      <a:pt x="261" y="145"/>
                    </a:lnTo>
                    <a:lnTo>
                      <a:pt x="264" y="145"/>
                    </a:lnTo>
                    <a:lnTo>
                      <a:pt x="276" y="148"/>
                    </a:lnTo>
                    <a:lnTo>
                      <a:pt x="279" y="151"/>
                    </a:lnTo>
                    <a:lnTo>
                      <a:pt x="281" y="154"/>
                    </a:lnTo>
                    <a:lnTo>
                      <a:pt x="281" y="160"/>
                    </a:lnTo>
                    <a:lnTo>
                      <a:pt x="287" y="165"/>
                    </a:lnTo>
                    <a:lnTo>
                      <a:pt x="287" y="168"/>
                    </a:lnTo>
                    <a:lnTo>
                      <a:pt x="290" y="168"/>
                    </a:lnTo>
                    <a:lnTo>
                      <a:pt x="293" y="171"/>
                    </a:lnTo>
                    <a:lnTo>
                      <a:pt x="293" y="174"/>
                    </a:lnTo>
                    <a:lnTo>
                      <a:pt x="302" y="183"/>
                    </a:lnTo>
                    <a:lnTo>
                      <a:pt x="302" y="186"/>
                    </a:lnTo>
                    <a:lnTo>
                      <a:pt x="305" y="186"/>
                    </a:lnTo>
                    <a:lnTo>
                      <a:pt x="311" y="189"/>
                    </a:lnTo>
                    <a:lnTo>
                      <a:pt x="314" y="189"/>
                    </a:lnTo>
                    <a:lnTo>
                      <a:pt x="314" y="189"/>
                    </a:lnTo>
                    <a:lnTo>
                      <a:pt x="317" y="189"/>
                    </a:lnTo>
                    <a:lnTo>
                      <a:pt x="323" y="189"/>
                    </a:lnTo>
                    <a:lnTo>
                      <a:pt x="326" y="189"/>
                    </a:lnTo>
                    <a:lnTo>
                      <a:pt x="332" y="189"/>
                    </a:lnTo>
                    <a:lnTo>
                      <a:pt x="338" y="192"/>
                    </a:lnTo>
                    <a:lnTo>
                      <a:pt x="338" y="192"/>
                    </a:lnTo>
                    <a:lnTo>
                      <a:pt x="344" y="192"/>
                    </a:lnTo>
                    <a:lnTo>
                      <a:pt x="344" y="195"/>
                    </a:lnTo>
                    <a:lnTo>
                      <a:pt x="350" y="195"/>
                    </a:lnTo>
                    <a:lnTo>
                      <a:pt x="350" y="195"/>
                    </a:lnTo>
                    <a:lnTo>
                      <a:pt x="347" y="198"/>
                    </a:lnTo>
                    <a:lnTo>
                      <a:pt x="350" y="198"/>
                    </a:lnTo>
                    <a:lnTo>
                      <a:pt x="356" y="201"/>
                    </a:lnTo>
                    <a:lnTo>
                      <a:pt x="359" y="198"/>
                    </a:lnTo>
                    <a:lnTo>
                      <a:pt x="361" y="198"/>
                    </a:lnTo>
                    <a:lnTo>
                      <a:pt x="356" y="195"/>
                    </a:lnTo>
                    <a:lnTo>
                      <a:pt x="356" y="195"/>
                    </a:lnTo>
                    <a:lnTo>
                      <a:pt x="356" y="192"/>
                    </a:lnTo>
                    <a:lnTo>
                      <a:pt x="359" y="192"/>
                    </a:lnTo>
                    <a:lnTo>
                      <a:pt x="361" y="192"/>
                    </a:lnTo>
                    <a:lnTo>
                      <a:pt x="364" y="189"/>
                    </a:lnTo>
                    <a:lnTo>
                      <a:pt x="359" y="189"/>
                    </a:lnTo>
                    <a:lnTo>
                      <a:pt x="350" y="189"/>
                    </a:lnTo>
                    <a:lnTo>
                      <a:pt x="344" y="186"/>
                    </a:lnTo>
                    <a:lnTo>
                      <a:pt x="344" y="183"/>
                    </a:lnTo>
                    <a:lnTo>
                      <a:pt x="347" y="180"/>
                    </a:lnTo>
                    <a:lnTo>
                      <a:pt x="350" y="180"/>
                    </a:lnTo>
                    <a:lnTo>
                      <a:pt x="353" y="180"/>
                    </a:lnTo>
                    <a:lnTo>
                      <a:pt x="350" y="180"/>
                    </a:lnTo>
                    <a:lnTo>
                      <a:pt x="344" y="180"/>
                    </a:lnTo>
                    <a:lnTo>
                      <a:pt x="335" y="177"/>
                    </a:lnTo>
                    <a:lnTo>
                      <a:pt x="335" y="177"/>
                    </a:lnTo>
                    <a:lnTo>
                      <a:pt x="335" y="174"/>
                    </a:lnTo>
                    <a:lnTo>
                      <a:pt x="335" y="171"/>
                    </a:lnTo>
                    <a:lnTo>
                      <a:pt x="338" y="168"/>
                    </a:lnTo>
                    <a:lnTo>
                      <a:pt x="335" y="165"/>
                    </a:lnTo>
                    <a:lnTo>
                      <a:pt x="332" y="165"/>
                    </a:lnTo>
                    <a:lnTo>
                      <a:pt x="332" y="168"/>
                    </a:lnTo>
                    <a:lnTo>
                      <a:pt x="329" y="165"/>
                    </a:lnTo>
                    <a:lnTo>
                      <a:pt x="326" y="165"/>
                    </a:lnTo>
                    <a:lnTo>
                      <a:pt x="323" y="163"/>
                    </a:lnTo>
                    <a:lnTo>
                      <a:pt x="323" y="160"/>
                    </a:lnTo>
                    <a:lnTo>
                      <a:pt x="320" y="157"/>
                    </a:lnTo>
                    <a:lnTo>
                      <a:pt x="317" y="148"/>
                    </a:lnTo>
                    <a:lnTo>
                      <a:pt x="314" y="148"/>
                    </a:lnTo>
                    <a:lnTo>
                      <a:pt x="314" y="145"/>
                    </a:lnTo>
                    <a:lnTo>
                      <a:pt x="308" y="145"/>
                    </a:lnTo>
                    <a:lnTo>
                      <a:pt x="305" y="145"/>
                    </a:lnTo>
                    <a:lnTo>
                      <a:pt x="305" y="139"/>
                    </a:lnTo>
                    <a:lnTo>
                      <a:pt x="299" y="136"/>
                    </a:lnTo>
                    <a:lnTo>
                      <a:pt x="299" y="130"/>
                    </a:lnTo>
                    <a:lnTo>
                      <a:pt x="296" y="130"/>
                    </a:lnTo>
                    <a:lnTo>
                      <a:pt x="293" y="124"/>
                    </a:lnTo>
                    <a:lnTo>
                      <a:pt x="296" y="124"/>
                    </a:lnTo>
                    <a:lnTo>
                      <a:pt x="302" y="124"/>
                    </a:lnTo>
                    <a:lnTo>
                      <a:pt x="308" y="121"/>
                    </a:lnTo>
                    <a:lnTo>
                      <a:pt x="311" y="118"/>
                    </a:lnTo>
                    <a:lnTo>
                      <a:pt x="311" y="112"/>
                    </a:lnTo>
                    <a:lnTo>
                      <a:pt x="305" y="109"/>
                    </a:lnTo>
                    <a:lnTo>
                      <a:pt x="302" y="106"/>
                    </a:lnTo>
                    <a:lnTo>
                      <a:pt x="299" y="109"/>
                    </a:lnTo>
                    <a:lnTo>
                      <a:pt x="296" y="106"/>
                    </a:lnTo>
                    <a:lnTo>
                      <a:pt x="290" y="103"/>
                    </a:lnTo>
                    <a:lnTo>
                      <a:pt x="287" y="100"/>
                    </a:lnTo>
                    <a:lnTo>
                      <a:pt x="281" y="100"/>
                    </a:lnTo>
                    <a:lnTo>
                      <a:pt x="273" y="98"/>
                    </a:lnTo>
                    <a:lnTo>
                      <a:pt x="273" y="95"/>
                    </a:lnTo>
                    <a:lnTo>
                      <a:pt x="276" y="92"/>
                    </a:lnTo>
                    <a:lnTo>
                      <a:pt x="276" y="89"/>
                    </a:lnTo>
                    <a:lnTo>
                      <a:pt x="273" y="86"/>
                    </a:lnTo>
                    <a:lnTo>
                      <a:pt x="267" y="77"/>
                    </a:lnTo>
                    <a:lnTo>
                      <a:pt x="264" y="77"/>
                    </a:lnTo>
                    <a:lnTo>
                      <a:pt x="264" y="80"/>
                    </a:lnTo>
                    <a:lnTo>
                      <a:pt x="261" y="77"/>
                    </a:lnTo>
                    <a:lnTo>
                      <a:pt x="258" y="74"/>
                    </a:lnTo>
                    <a:lnTo>
                      <a:pt x="258" y="71"/>
                    </a:lnTo>
                    <a:lnTo>
                      <a:pt x="252" y="71"/>
                    </a:lnTo>
                    <a:lnTo>
                      <a:pt x="252" y="68"/>
                    </a:lnTo>
                    <a:lnTo>
                      <a:pt x="249" y="68"/>
                    </a:lnTo>
                    <a:lnTo>
                      <a:pt x="246" y="65"/>
                    </a:lnTo>
                    <a:lnTo>
                      <a:pt x="243" y="65"/>
                    </a:lnTo>
                    <a:lnTo>
                      <a:pt x="237" y="62"/>
                    </a:lnTo>
                    <a:lnTo>
                      <a:pt x="234" y="62"/>
                    </a:lnTo>
                    <a:lnTo>
                      <a:pt x="225" y="56"/>
                    </a:lnTo>
                    <a:lnTo>
                      <a:pt x="216" y="56"/>
                    </a:lnTo>
                    <a:lnTo>
                      <a:pt x="213" y="53"/>
                    </a:lnTo>
                    <a:lnTo>
                      <a:pt x="210" y="53"/>
                    </a:lnTo>
                    <a:lnTo>
                      <a:pt x="207" y="53"/>
                    </a:lnTo>
                    <a:lnTo>
                      <a:pt x="207" y="53"/>
                    </a:lnTo>
                    <a:lnTo>
                      <a:pt x="201" y="50"/>
                    </a:lnTo>
                    <a:lnTo>
                      <a:pt x="198" y="47"/>
                    </a:lnTo>
                    <a:lnTo>
                      <a:pt x="196" y="47"/>
                    </a:lnTo>
                    <a:lnTo>
                      <a:pt x="190" y="44"/>
                    </a:lnTo>
                    <a:lnTo>
                      <a:pt x="187" y="44"/>
                    </a:lnTo>
                    <a:lnTo>
                      <a:pt x="184" y="44"/>
                    </a:lnTo>
                    <a:lnTo>
                      <a:pt x="181" y="44"/>
                    </a:lnTo>
                    <a:lnTo>
                      <a:pt x="181" y="41"/>
                    </a:lnTo>
                    <a:lnTo>
                      <a:pt x="181" y="41"/>
                    </a:lnTo>
                    <a:lnTo>
                      <a:pt x="178" y="38"/>
                    </a:lnTo>
                    <a:lnTo>
                      <a:pt x="175" y="38"/>
                    </a:lnTo>
                    <a:lnTo>
                      <a:pt x="169" y="38"/>
                    </a:lnTo>
                    <a:lnTo>
                      <a:pt x="166" y="38"/>
                    </a:lnTo>
                    <a:lnTo>
                      <a:pt x="166" y="38"/>
                    </a:lnTo>
                    <a:lnTo>
                      <a:pt x="154" y="32"/>
                    </a:lnTo>
                    <a:lnTo>
                      <a:pt x="148" y="32"/>
                    </a:lnTo>
                    <a:lnTo>
                      <a:pt x="145" y="32"/>
                    </a:lnTo>
                    <a:lnTo>
                      <a:pt x="142" y="30"/>
                    </a:lnTo>
                    <a:lnTo>
                      <a:pt x="136" y="27"/>
                    </a:lnTo>
                    <a:lnTo>
                      <a:pt x="130" y="24"/>
                    </a:lnTo>
                    <a:lnTo>
                      <a:pt x="127" y="21"/>
                    </a:lnTo>
                    <a:lnTo>
                      <a:pt x="121" y="21"/>
                    </a:lnTo>
                    <a:lnTo>
                      <a:pt x="113" y="27"/>
                    </a:lnTo>
                    <a:lnTo>
                      <a:pt x="113" y="30"/>
                    </a:lnTo>
                    <a:lnTo>
                      <a:pt x="113" y="32"/>
                    </a:lnTo>
                    <a:lnTo>
                      <a:pt x="113" y="35"/>
                    </a:lnTo>
                    <a:lnTo>
                      <a:pt x="107" y="35"/>
                    </a:lnTo>
                    <a:lnTo>
                      <a:pt x="104" y="35"/>
                    </a:lnTo>
                    <a:lnTo>
                      <a:pt x="101" y="35"/>
                    </a:lnTo>
                    <a:lnTo>
                      <a:pt x="101" y="35"/>
                    </a:lnTo>
                    <a:lnTo>
                      <a:pt x="98" y="38"/>
                    </a:lnTo>
                    <a:lnTo>
                      <a:pt x="98" y="41"/>
                    </a:lnTo>
                    <a:lnTo>
                      <a:pt x="95" y="44"/>
                    </a:lnTo>
                    <a:lnTo>
                      <a:pt x="92" y="44"/>
                    </a:lnTo>
                    <a:lnTo>
                      <a:pt x="89" y="47"/>
                    </a:lnTo>
                    <a:lnTo>
                      <a:pt x="89" y="53"/>
                    </a:lnTo>
                    <a:lnTo>
                      <a:pt x="89" y="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41" name="Freeform 83"/>
              <p:cNvSpPr>
                <a:spLocks/>
              </p:cNvSpPr>
              <p:nvPr/>
            </p:nvSpPr>
            <p:spPr bwMode="auto">
              <a:xfrm>
                <a:off x="10901363" y="5532438"/>
                <a:ext cx="4763" cy="9525"/>
              </a:xfrm>
              <a:custGeom>
                <a:avLst/>
                <a:gdLst>
                  <a:gd name="T0" fmla="*/ 0 w 3"/>
                  <a:gd name="T1" fmla="*/ 6 h 6"/>
                  <a:gd name="T2" fmla="*/ 3 w 3"/>
                  <a:gd name="T3" fmla="*/ 0 h 6"/>
                  <a:gd name="T4" fmla="*/ 3 w 3"/>
                  <a:gd name="T5" fmla="*/ 3 h 6"/>
                  <a:gd name="T6" fmla="*/ 0 w 3"/>
                  <a:gd name="T7" fmla="*/ 6 h 6"/>
                  <a:gd name="T8" fmla="*/ 0 w 3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6">
                    <a:moveTo>
                      <a:pt x="0" y="6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42" name="Freeform 84"/>
              <p:cNvSpPr>
                <a:spLocks/>
              </p:cNvSpPr>
              <p:nvPr/>
            </p:nvSpPr>
            <p:spPr bwMode="auto">
              <a:xfrm>
                <a:off x="10901363" y="5429250"/>
                <a:ext cx="14288" cy="42863"/>
              </a:xfrm>
              <a:custGeom>
                <a:avLst/>
                <a:gdLst>
                  <a:gd name="T0" fmla="*/ 3 w 9"/>
                  <a:gd name="T1" fmla="*/ 27 h 27"/>
                  <a:gd name="T2" fmla="*/ 0 w 9"/>
                  <a:gd name="T3" fmla="*/ 21 h 27"/>
                  <a:gd name="T4" fmla="*/ 3 w 9"/>
                  <a:gd name="T5" fmla="*/ 18 h 27"/>
                  <a:gd name="T6" fmla="*/ 3 w 9"/>
                  <a:gd name="T7" fmla="*/ 12 h 27"/>
                  <a:gd name="T8" fmla="*/ 6 w 9"/>
                  <a:gd name="T9" fmla="*/ 9 h 27"/>
                  <a:gd name="T10" fmla="*/ 6 w 9"/>
                  <a:gd name="T11" fmla="*/ 6 h 27"/>
                  <a:gd name="T12" fmla="*/ 6 w 9"/>
                  <a:gd name="T13" fmla="*/ 3 h 27"/>
                  <a:gd name="T14" fmla="*/ 6 w 9"/>
                  <a:gd name="T15" fmla="*/ 0 h 27"/>
                  <a:gd name="T16" fmla="*/ 9 w 9"/>
                  <a:gd name="T17" fmla="*/ 0 h 27"/>
                  <a:gd name="T18" fmla="*/ 9 w 9"/>
                  <a:gd name="T19" fmla="*/ 3 h 27"/>
                  <a:gd name="T20" fmla="*/ 9 w 9"/>
                  <a:gd name="T21" fmla="*/ 9 h 27"/>
                  <a:gd name="T22" fmla="*/ 6 w 9"/>
                  <a:gd name="T23" fmla="*/ 15 h 27"/>
                  <a:gd name="T24" fmla="*/ 3 w 9"/>
                  <a:gd name="T25" fmla="*/ 24 h 27"/>
                  <a:gd name="T26" fmla="*/ 6 w 9"/>
                  <a:gd name="T27" fmla="*/ 27 h 27"/>
                  <a:gd name="T28" fmla="*/ 3 w 9"/>
                  <a:gd name="T29" fmla="*/ 27 h 27"/>
                  <a:gd name="T30" fmla="*/ 3 w 9"/>
                  <a:gd name="T3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27">
                    <a:moveTo>
                      <a:pt x="3" y="27"/>
                    </a:moveTo>
                    <a:lnTo>
                      <a:pt x="0" y="21"/>
                    </a:lnTo>
                    <a:lnTo>
                      <a:pt x="3" y="18"/>
                    </a:lnTo>
                    <a:lnTo>
                      <a:pt x="3" y="12"/>
                    </a:lnTo>
                    <a:lnTo>
                      <a:pt x="6" y="9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9" y="3"/>
                    </a:lnTo>
                    <a:lnTo>
                      <a:pt x="9" y="9"/>
                    </a:lnTo>
                    <a:lnTo>
                      <a:pt x="6" y="15"/>
                    </a:lnTo>
                    <a:lnTo>
                      <a:pt x="3" y="24"/>
                    </a:lnTo>
                    <a:lnTo>
                      <a:pt x="6" y="27"/>
                    </a:lnTo>
                    <a:lnTo>
                      <a:pt x="3" y="27"/>
                    </a:lnTo>
                    <a:lnTo>
                      <a:pt x="3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43" name="Freeform 85"/>
              <p:cNvSpPr>
                <a:spLocks/>
              </p:cNvSpPr>
              <p:nvPr/>
            </p:nvSpPr>
            <p:spPr bwMode="auto">
              <a:xfrm>
                <a:off x="10855326" y="5383213"/>
                <a:ext cx="9525" cy="14288"/>
              </a:xfrm>
              <a:custGeom>
                <a:avLst/>
                <a:gdLst>
                  <a:gd name="T0" fmla="*/ 0 w 6"/>
                  <a:gd name="T1" fmla="*/ 0 h 9"/>
                  <a:gd name="T2" fmla="*/ 3 w 6"/>
                  <a:gd name="T3" fmla="*/ 6 h 9"/>
                  <a:gd name="T4" fmla="*/ 6 w 6"/>
                  <a:gd name="T5" fmla="*/ 9 h 9"/>
                  <a:gd name="T6" fmla="*/ 6 w 6"/>
                  <a:gd name="T7" fmla="*/ 6 h 9"/>
                  <a:gd name="T8" fmla="*/ 6 w 6"/>
                  <a:gd name="T9" fmla="*/ 3 h 9"/>
                  <a:gd name="T10" fmla="*/ 6 w 6"/>
                  <a:gd name="T11" fmla="*/ 0 h 9"/>
                  <a:gd name="T12" fmla="*/ 3 w 6"/>
                  <a:gd name="T13" fmla="*/ 0 h 9"/>
                  <a:gd name="T14" fmla="*/ 3 w 6"/>
                  <a:gd name="T15" fmla="*/ 0 h 9"/>
                  <a:gd name="T16" fmla="*/ 0 w 6"/>
                  <a:gd name="T17" fmla="*/ 0 h 9"/>
                  <a:gd name="T18" fmla="*/ 0 w 6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9">
                    <a:moveTo>
                      <a:pt x="0" y="0"/>
                    </a:moveTo>
                    <a:lnTo>
                      <a:pt x="3" y="6"/>
                    </a:lnTo>
                    <a:lnTo>
                      <a:pt x="6" y="9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44" name="Freeform 86"/>
              <p:cNvSpPr>
                <a:spLocks/>
              </p:cNvSpPr>
              <p:nvPr/>
            </p:nvSpPr>
            <p:spPr bwMode="auto">
              <a:xfrm>
                <a:off x="10845801" y="5335588"/>
                <a:ext cx="4763" cy="4763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0 h 3"/>
                  <a:gd name="T4" fmla="*/ 0 w 3"/>
                  <a:gd name="T5" fmla="*/ 3 h 3"/>
                  <a:gd name="T6" fmla="*/ 3 w 3"/>
                  <a:gd name="T7" fmla="*/ 3 h 3"/>
                  <a:gd name="T8" fmla="*/ 3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45" name="Freeform 87"/>
              <p:cNvSpPr>
                <a:spLocks/>
              </p:cNvSpPr>
              <p:nvPr/>
            </p:nvSpPr>
            <p:spPr bwMode="auto">
              <a:xfrm>
                <a:off x="10637838" y="4932363"/>
                <a:ext cx="4763" cy="4763"/>
              </a:xfrm>
              <a:custGeom>
                <a:avLst/>
                <a:gdLst>
                  <a:gd name="T0" fmla="*/ 0 w 3"/>
                  <a:gd name="T1" fmla="*/ 0 h 3"/>
                  <a:gd name="T2" fmla="*/ 3 w 3"/>
                  <a:gd name="T3" fmla="*/ 0 h 3"/>
                  <a:gd name="T4" fmla="*/ 3 w 3"/>
                  <a:gd name="T5" fmla="*/ 3 h 3"/>
                  <a:gd name="T6" fmla="*/ 0 w 3"/>
                  <a:gd name="T7" fmla="*/ 0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46" name="Freeform 88"/>
              <p:cNvSpPr>
                <a:spLocks/>
              </p:cNvSpPr>
              <p:nvPr/>
            </p:nvSpPr>
            <p:spPr bwMode="auto">
              <a:xfrm>
                <a:off x="10633076" y="4946650"/>
                <a:ext cx="9525" cy="9525"/>
              </a:xfrm>
              <a:custGeom>
                <a:avLst/>
                <a:gdLst>
                  <a:gd name="T0" fmla="*/ 0 w 6"/>
                  <a:gd name="T1" fmla="*/ 0 h 6"/>
                  <a:gd name="T2" fmla="*/ 3 w 6"/>
                  <a:gd name="T3" fmla="*/ 0 h 6"/>
                  <a:gd name="T4" fmla="*/ 6 w 6"/>
                  <a:gd name="T5" fmla="*/ 3 h 6"/>
                  <a:gd name="T6" fmla="*/ 3 w 6"/>
                  <a:gd name="T7" fmla="*/ 3 h 6"/>
                  <a:gd name="T8" fmla="*/ 0 w 6"/>
                  <a:gd name="T9" fmla="*/ 6 h 6"/>
                  <a:gd name="T10" fmla="*/ 0 w 6"/>
                  <a:gd name="T11" fmla="*/ 0 h 6"/>
                  <a:gd name="T12" fmla="*/ 0 w 6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47" name="Freeform 89"/>
              <p:cNvSpPr>
                <a:spLocks/>
              </p:cNvSpPr>
              <p:nvPr/>
            </p:nvSpPr>
            <p:spPr bwMode="auto">
              <a:xfrm>
                <a:off x="10450513" y="5045075"/>
                <a:ext cx="9525" cy="9525"/>
              </a:xfrm>
              <a:custGeom>
                <a:avLst/>
                <a:gdLst>
                  <a:gd name="T0" fmla="*/ 3 w 6"/>
                  <a:gd name="T1" fmla="*/ 6 h 6"/>
                  <a:gd name="T2" fmla="*/ 3 w 6"/>
                  <a:gd name="T3" fmla="*/ 3 h 6"/>
                  <a:gd name="T4" fmla="*/ 0 w 6"/>
                  <a:gd name="T5" fmla="*/ 6 h 6"/>
                  <a:gd name="T6" fmla="*/ 0 w 6"/>
                  <a:gd name="T7" fmla="*/ 3 h 6"/>
                  <a:gd name="T8" fmla="*/ 3 w 6"/>
                  <a:gd name="T9" fmla="*/ 0 h 6"/>
                  <a:gd name="T10" fmla="*/ 6 w 6"/>
                  <a:gd name="T11" fmla="*/ 3 h 6"/>
                  <a:gd name="T12" fmla="*/ 3 w 6"/>
                  <a:gd name="T13" fmla="*/ 6 h 6"/>
                  <a:gd name="T14" fmla="*/ 3 w 6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3" y="6"/>
                    </a:moveTo>
                    <a:lnTo>
                      <a:pt x="3" y="3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48" name="Freeform 90"/>
              <p:cNvSpPr>
                <a:spLocks/>
              </p:cNvSpPr>
              <p:nvPr/>
            </p:nvSpPr>
            <p:spPr bwMode="auto">
              <a:xfrm>
                <a:off x="10460038" y="5049838"/>
                <a:ext cx="14288" cy="14288"/>
              </a:xfrm>
              <a:custGeom>
                <a:avLst/>
                <a:gdLst>
                  <a:gd name="T0" fmla="*/ 0 w 9"/>
                  <a:gd name="T1" fmla="*/ 9 h 9"/>
                  <a:gd name="T2" fmla="*/ 0 w 9"/>
                  <a:gd name="T3" fmla="*/ 9 h 9"/>
                  <a:gd name="T4" fmla="*/ 0 w 9"/>
                  <a:gd name="T5" fmla="*/ 9 h 9"/>
                  <a:gd name="T6" fmla="*/ 3 w 9"/>
                  <a:gd name="T7" fmla="*/ 9 h 9"/>
                  <a:gd name="T8" fmla="*/ 9 w 9"/>
                  <a:gd name="T9" fmla="*/ 9 h 9"/>
                  <a:gd name="T10" fmla="*/ 9 w 9"/>
                  <a:gd name="T11" fmla="*/ 6 h 9"/>
                  <a:gd name="T12" fmla="*/ 9 w 9"/>
                  <a:gd name="T13" fmla="*/ 6 h 9"/>
                  <a:gd name="T14" fmla="*/ 6 w 9"/>
                  <a:gd name="T15" fmla="*/ 6 h 9"/>
                  <a:gd name="T16" fmla="*/ 6 w 9"/>
                  <a:gd name="T17" fmla="*/ 6 h 9"/>
                  <a:gd name="T18" fmla="*/ 9 w 9"/>
                  <a:gd name="T19" fmla="*/ 3 h 9"/>
                  <a:gd name="T20" fmla="*/ 9 w 9"/>
                  <a:gd name="T21" fmla="*/ 0 h 9"/>
                  <a:gd name="T22" fmla="*/ 6 w 9"/>
                  <a:gd name="T23" fmla="*/ 3 h 9"/>
                  <a:gd name="T24" fmla="*/ 6 w 9"/>
                  <a:gd name="T25" fmla="*/ 0 h 9"/>
                  <a:gd name="T26" fmla="*/ 3 w 9"/>
                  <a:gd name="T27" fmla="*/ 0 h 9"/>
                  <a:gd name="T28" fmla="*/ 3 w 9"/>
                  <a:gd name="T29" fmla="*/ 3 h 9"/>
                  <a:gd name="T30" fmla="*/ 0 w 9"/>
                  <a:gd name="T31" fmla="*/ 3 h 9"/>
                  <a:gd name="T32" fmla="*/ 0 w 9"/>
                  <a:gd name="T33" fmla="*/ 3 h 9"/>
                  <a:gd name="T34" fmla="*/ 0 w 9"/>
                  <a:gd name="T35" fmla="*/ 3 h 9"/>
                  <a:gd name="T36" fmla="*/ 0 w 9"/>
                  <a:gd name="T37" fmla="*/ 9 h 9"/>
                  <a:gd name="T38" fmla="*/ 0 w 9"/>
                  <a:gd name="T3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" h="9">
                    <a:moveTo>
                      <a:pt x="0" y="9"/>
                    </a:moveTo>
                    <a:lnTo>
                      <a:pt x="0" y="9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9" y="9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9" y="3"/>
                    </a:lnTo>
                    <a:lnTo>
                      <a:pt x="9" y="0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49" name="Freeform 91"/>
              <p:cNvSpPr>
                <a:spLocks/>
              </p:cNvSpPr>
              <p:nvPr/>
            </p:nvSpPr>
            <p:spPr bwMode="auto">
              <a:xfrm>
                <a:off x="10464801" y="4960938"/>
                <a:ext cx="9525" cy="14288"/>
              </a:xfrm>
              <a:custGeom>
                <a:avLst/>
                <a:gdLst>
                  <a:gd name="T0" fmla="*/ 0 w 6"/>
                  <a:gd name="T1" fmla="*/ 6 h 9"/>
                  <a:gd name="T2" fmla="*/ 3 w 6"/>
                  <a:gd name="T3" fmla="*/ 9 h 9"/>
                  <a:gd name="T4" fmla="*/ 3 w 6"/>
                  <a:gd name="T5" fmla="*/ 6 h 9"/>
                  <a:gd name="T6" fmla="*/ 6 w 6"/>
                  <a:gd name="T7" fmla="*/ 3 h 9"/>
                  <a:gd name="T8" fmla="*/ 6 w 6"/>
                  <a:gd name="T9" fmla="*/ 0 h 9"/>
                  <a:gd name="T10" fmla="*/ 3 w 6"/>
                  <a:gd name="T11" fmla="*/ 6 h 9"/>
                  <a:gd name="T12" fmla="*/ 0 w 6"/>
                  <a:gd name="T13" fmla="*/ 6 h 9"/>
                  <a:gd name="T14" fmla="*/ 0 w 6"/>
                  <a:gd name="T15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9">
                    <a:moveTo>
                      <a:pt x="0" y="6"/>
                    </a:moveTo>
                    <a:lnTo>
                      <a:pt x="3" y="9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50" name="Freeform 92"/>
              <p:cNvSpPr>
                <a:spLocks/>
              </p:cNvSpPr>
              <p:nvPr/>
            </p:nvSpPr>
            <p:spPr bwMode="auto">
              <a:xfrm>
                <a:off x="10460038" y="4975225"/>
                <a:ext cx="4763" cy="4763"/>
              </a:xfrm>
              <a:custGeom>
                <a:avLst/>
                <a:gdLst>
                  <a:gd name="T0" fmla="*/ 0 w 3"/>
                  <a:gd name="T1" fmla="*/ 0 h 3"/>
                  <a:gd name="T2" fmla="*/ 3 w 3"/>
                  <a:gd name="T3" fmla="*/ 3 h 3"/>
                  <a:gd name="T4" fmla="*/ 3 w 3"/>
                  <a:gd name="T5" fmla="*/ 0 h 3"/>
                  <a:gd name="T6" fmla="*/ 0 w 3"/>
                  <a:gd name="T7" fmla="*/ 0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51" name="Freeform 93"/>
              <p:cNvSpPr>
                <a:spLocks/>
              </p:cNvSpPr>
              <p:nvPr/>
            </p:nvSpPr>
            <p:spPr bwMode="auto">
              <a:xfrm>
                <a:off x="10455276" y="4979988"/>
                <a:ext cx="4763" cy="0"/>
              </a:xfrm>
              <a:custGeom>
                <a:avLst/>
                <a:gdLst>
                  <a:gd name="T0" fmla="*/ 0 w 3"/>
                  <a:gd name="T1" fmla="*/ 0 w 3"/>
                  <a:gd name="T2" fmla="*/ 3 w 3"/>
                  <a:gd name="T3" fmla="*/ 0 w 3"/>
                  <a:gd name="T4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52" name="Freeform 94"/>
              <p:cNvSpPr>
                <a:spLocks/>
              </p:cNvSpPr>
              <p:nvPr/>
            </p:nvSpPr>
            <p:spPr bwMode="auto">
              <a:xfrm>
                <a:off x="10445751" y="4979988"/>
                <a:ext cx="0" cy="4763"/>
              </a:xfrm>
              <a:custGeom>
                <a:avLst/>
                <a:gdLst>
                  <a:gd name="T0" fmla="*/ 3 h 3"/>
                  <a:gd name="T1" fmla="*/ 3 h 3"/>
                  <a:gd name="T2" fmla="*/ 0 h 3"/>
                  <a:gd name="T3" fmla="*/ 3 h 3"/>
                  <a:gd name="T4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53" name="Freeform 95"/>
              <p:cNvSpPr>
                <a:spLocks/>
              </p:cNvSpPr>
              <p:nvPr/>
            </p:nvSpPr>
            <p:spPr bwMode="auto">
              <a:xfrm>
                <a:off x="10436226" y="4984750"/>
                <a:ext cx="9525" cy="9525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3 h 6"/>
                  <a:gd name="T4" fmla="*/ 3 w 6"/>
                  <a:gd name="T5" fmla="*/ 0 h 6"/>
                  <a:gd name="T6" fmla="*/ 6 w 6"/>
                  <a:gd name="T7" fmla="*/ 0 h 6"/>
                  <a:gd name="T8" fmla="*/ 6 w 6"/>
                  <a:gd name="T9" fmla="*/ 3 h 6"/>
                  <a:gd name="T10" fmla="*/ 3 w 6"/>
                  <a:gd name="T11" fmla="*/ 3 h 6"/>
                  <a:gd name="T12" fmla="*/ 0 w 6"/>
                  <a:gd name="T13" fmla="*/ 6 h 6"/>
                  <a:gd name="T14" fmla="*/ 0 w 6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54" name="Freeform 96"/>
              <p:cNvSpPr>
                <a:spLocks/>
              </p:cNvSpPr>
              <p:nvPr/>
            </p:nvSpPr>
            <p:spPr bwMode="auto">
              <a:xfrm>
                <a:off x="10426701" y="4994275"/>
                <a:ext cx="9525" cy="4763"/>
              </a:xfrm>
              <a:custGeom>
                <a:avLst/>
                <a:gdLst>
                  <a:gd name="T0" fmla="*/ 0 w 6"/>
                  <a:gd name="T1" fmla="*/ 0 h 3"/>
                  <a:gd name="T2" fmla="*/ 3 w 6"/>
                  <a:gd name="T3" fmla="*/ 3 h 3"/>
                  <a:gd name="T4" fmla="*/ 6 w 6"/>
                  <a:gd name="T5" fmla="*/ 0 h 3"/>
                  <a:gd name="T6" fmla="*/ 6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lnTo>
                      <a:pt x="3" y="3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55" name="Freeform 97"/>
              <p:cNvSpPr>
                <a:spLocks/>
              </p:cNvSpPr>
              <p:nvPr/>
            </p:nvSpPr>
            <p:spPr bwMode="auto">
              <a:xfrm>
                <a:off x="11447463" y="5983288"/>
                <a:ext cx="4763" cy="0"/>
              </a:xfrm>
              <a:custGeom>
                <a:avLst/>
                <a:gdLst>
                  <a:gd name="T0" fmla="*/ 0 w 3"/>
                  <a:gd name="T1" fmla="*/ 3 w 3"/>
                  <a:gd name="T2" fmla="*/ 3 w 3"/>
                  <a:gd name="T3" fmla="*/ 0 w 3"/>
                  <a:gd name="T4" fmla="*/ 0 w 3"/>
                  <a:gd name="T5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56" name="Freeform 98"/>
              <p:cNvSpPr>
                <a:spLocks/>
              </p:cNvSpPr>
              <p:nvPr/>
            </p:nvSpPr>
            <p:spPr bwMode="auto">
              <a:xfrm>
                <a:off x="11452226" y="5954713"/>
                <a:ext cx="4763" cy="4763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0 h 3"/>
                  <a:gd name="T4" fmla="*/ 3 w 3"/>
                  <a:gd name="T5" fmla="*/ 0 h 3"/>
                  <a:gd name="T6" fmla="*/ 0 w 3"/>
                  <a:gd name="T7" fmla="*/ 3 h 3"/>
                  <a:gd name="T8" fmla="*/ 0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57" name="Freeform 99"/>
              <p:cNvSpPr>
                <a:spLocks/>
              </p:cNvSpPr>
              <p:nvPr/>
            </p:nvSpPr>
            <p:spPr bwMode="auto">
              <a:xfrm>
                <a:off x="11461751" y="5946775"/>
                <a:ext cx="4763" cy="12700"/>
              </a:xfrm>
              <a:custGeom>
                <a:avLst/>
                <a:gdLst>
                  <a:gd name="T0" fmla="*/ 3 w 3"/>
                  <a:gd name="T1" fmla="*/ 8 h 8"/>
                  <a:gd name="T2" fmla="*/ 0 w 3"/>
                  <a:gd name="T3" fmla="*/ 5 h 8"/>
                  <a:gd name="T4" fmla="*/ 3 w 3"/>
                  <a:gd name="T5" fmla="*/ 0 h 8"/>
                  <a:gd name="T6" fmla="*/ 3 w 3"/>
                  <a:gd name="T7" fmla="*/ 3 h 8"/>
                  <a:gd name="T8" fmla="*/ 3 w 3"/>
                  <a:gd name="T9" fmla="*/ 5 h 8"/>
                  <a:gd name="T10" fmla="*/ 3 w 3"/>
                  <a:gd name="T11" fmla="*/ 5 h 8"/>
                  <a:gd name="T12" fmla="*/ 3 w 3"/>
                  <a:gd name="T13" fmla="*/ 8 h 8"/>
                  <a:gd name="T14" fmla="*/ 3 w 3"/>
                  <a:gd name="T15" fmla="*/ 8 h 8"/>
                  <a:gd name="T16" fmla="*/ 3 w 3"/>
                  <a:gd name="T1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8">
                    <a:moveTo>
                      <a:pt x="3" y="8"/>
                    </a:moveTo>
                    <a:lnTo>
                      <a:pt x="0" y="5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58" name="Freeform 100"/>
              <p:cNvSpPr>
                <a:spLocks/>
              </p:cNvSpPr>
              <p:nvPr/>
            </p:nvSpPr>
            <p:spPr bwMode="auto">
              <a:xfrm>
                <a:off x="11368088" y="5856288"/>
                <a:ext cx="169863" cy="347663"/>
              </a:xfrm>
              <a:custGeom>
                <a:avLst/>
                <a:gdLst>
                  <a:gd name="T0" fmla="*/ 6 w 107"/>
                  <a:gd name="T1" fmla="*/ 210 h 219"/>
                  <a:gd name="T2" fmla="*/ 9 w 107"/>
                  <a:gd name="T3" fmla="*/ 213 h 219"/>
                  <a:gd name="T4" fmla="*/ 15 w 107"/>
                  <a:gd name="T5" fmla="*/ 219 h 219"/>
                  <a:gd name="T6" fmla="*/ 35 w 107"/>
                  <a:gd name="T7" fmla="*/ 198 h 219"/>
                  <a:gd name="T8" fmla="*/ 50 w 107"/>
                  <a:gd name="T9" fmla="*/ 187 h 219"/>
                  <a:gd name="T10" fmla="*/ 59 w 107"/>
                  <a:gd name="T11" fmla="*/ 172 h 219"/>
                  <a:gd name="T12" fmla="*/ 62 w 107"/>
                  <a:gd name="T13" fmla="*/ 160 h 219"/>
                  <a:gd name="T14" fmla="*/ 59 w 107"/>
                  <a:gd name="T15" fmla="*/ 157 h 219"/>
                  <a:gd name="T16" fmla="*/ 80 w 107"/>
                  <a:gd name="T17" fmla="*/ 148 h 219"/>
                  <a:gd name="T18" fmla="*/ 86 w 107"/>
                  <a:gd name="T19" fmla="*/ 148 h 219"/>
                  <a:gd name="T20" fmla="*/ 86 w 107"/>
                  <a:gd name="T21" fmla="*/ 136 h 219"/>
                  <a:gd name="T22" fmla="*/ 95 w 107"/>
                  <a:gd name="T23" fmla="*/ 133 h 219"/>
                  <a:gd name="T24" fmla="*/ 101 w 107"/>
                  <a:gd name="T25" fmla="*/ 116 h 219"/>
                  <a:gd name="T26" fmla="*/ 101 w 107"/>
                  <a:gd name="T27" fmla="*/ 107 h 219"/>
                  <a:gd name="T28" fmla="*/ 98 w 107"/>
                  <a:gd name="T29" fmla="*/ 104 h 219"/>
                  <a:gd name="T30" fmla="*/ 80 w 107"/>
                  <a:gd name="T31" fmla="*/ 116 h 219"/>
                  <a:gd name="T32" fmla="*/ 65 w 107"/>
                  <a:gd name="T33" fmla="*/ 101 h 219"/>
                  <a:gd name="T34" fmla="*/ 62 w 107"/>
                  <a:gd name="T35" fmla="*/ 86 h 219"/>
                  <a:gd name="T36" fmla="*/ 62 w 107"/>
                  <a:gd name="T37" fmla="*/ 77 h 219"/>
                  <a:gd name="T38" fmla="*/ 59 w 107"/>
                  <a:gd name="T39" fmla="*/ 71 h 219"/>
                  <a:gd name="T40" fmla="*/ 56 w 107"/>
                  <a:gd name="T41" fmla="*/ 77 h 219"/>
                  <a:gd name="T42" fmla="*/ 56 w 107"/>
                  <a:gd name="T43" fmla="*/ 86 h 219"/>
                  <a:gd name="T44" fmla="*/ 50 w 107"/>
                  <a:gd name="T45" fmla="*/ 83 h 219"/>
                  <a:gd name="T46" fmla="*/ 41 w 107"/>
                  <a:gd name="T47" fmla="*/ 80 h 219"/>
                  <a:gd name="T48" fmla="*/ 44 w 107"/>
                  <a:gd name="T49" fmla="*/ 71 h 219"/>
                  <a:gd name="T50" fmla="*/ 47 w 107"/>
                  <a:gd name="T51" fmla="*/ 60 h 219"/>
                  <a:gd name="T52" fmla="*/ 44 w 107"/>
                  <a:gd name="T53" fmla="*/ 48 h 219"/>
                  <a:gd name="T54" fmla="*/ 50 w 107"/>
                  <a:gd name="T55" fmla="*/ 45 h 219"/>
                  <a:gd name="T56" fmla="*/ 50 w 107"/>
                  <a:gd name="T57" fmla="*/ 30 h 219"/>
                  <a:gd name="T58" fmla="*/ 44 w 107"/>
                  <a:gd name="T59" fmla="*/ 27 h 219"/>
                  <a:gd name="T60" fmla="*/ 44 w 107"/>
                  <a:gd name="T61" fmla="*/ 21 h 219"/>
                  <a:gd name="T62" fmla="*/ 35 w 107"/>
                  <a:gd name="T63" fmla="*/ 18 h 219"/>
                  <a:gd name="T64" fmla="*/ 35 w 107"/>
                  <a:gd name="T65" fmla="*/ 12 h 219"/>
                  <a:gd name="T66" fmla="*/ 29 w 107"/>
                  <a:gd name="T67" fmla="*/ 15 h 219"/>
                  <a:gd name="T68" fmla="*/ 29 w 107"/>
                  <a:gd name="T69" fmla="*/ 3 h 219"/>
                  <a:gd name="T70" fmla="*/ 27 w 107"/>
                  <a:gd name="T71" fmla="*/ 0 h 219"/>
                  <a:gd name="T72" fmla="*/ 27 w 107"/>
                  <a:gd name="T73" fmla="*/ 12 h 219"/>
                  <a:gd name="T74" fmla="*/ 24 w 107"/>
                  <a:gd name="T75" fmla="*/ 24 h 219"/>
                  <a:gd name="T76" fmla="*/ 29 w 107"/>
                  <a:gd name="T77" fmla="*/ 33 h 219"/>
                  <a:gd name="T78" fmla="*/ 29 w 107"/>
                  <a:gd name="T79" fmla="*/ 42 h 219"/>
                  <a:gd name="T80" fmla="*/ 32 w 107"/>
                  <a:gd name="T81" fmla="*/ 65 h 219"/>
                  <a:gd name="T82" fmla="*/ 35 w 107"/>
                  <a:gd name="T83" fmla="*/ 57 h 219"/>
                  <a:gd name="T84" fmla="*/ 38 w 107"/>
                  <a:gd name="T85" fmla="*/ 60 h 219"/>
                  <a:gd name="T86" fmla="*/ 38 w 107"/>
                  <a:gd name="T87" fmla="*/ 65 h 219"/>
                  <a:gd name="T88" fmla="*/ 35 w 107"/>
                  <a:gd name="T89" fmla="*/ 68 h 219"/>
                  <a:gd name="T90" fmla="*/ 38 w 107"/>
                  <a:gd name="T91" fmla="*/ 83 h 219"/>
                  <a:gd name="T92" fmla="*/ 41 w 107"/>
                  <a:gd name="T93" fmla="*/ 86 h 219"/>
                  <a:gd name="T94" fmla="*/ 38 w 107"/>
                  <a:gd name="T95" fmla="*/ 95 h 219"/>
                  <a:gd name="T96" fmla="*/ 38 w 107"/>
                  <a:gd name="T97" fmla="*/ 107 h 219"/>
                  <a:gd name="T98" fmla="*/ 32 w 107"/>
                  <a:gd name="T99" fmla="*/ 113 h 219"/>
                  <a:gd name="T100" fmla="*/ 29 w 107"/>
                  <a:gd name="T101" fmla="*/ 122 h 219"/>
                  <a:gd name="T102" fmla="*/ 21 w 107"/>
                  <a:gd name="T103" fmla="*/ 139 h 219"/>
                  <a:gd name="T104" fmla="*/ 3 w 107"/>
                  <a:gd name="T105" fmla="*/ 145 h 219"/>
                  <a:gd name="T106" fmla="*/ 12 w 107"/>
                  <a:gd name="T107" fmla="*/ 160 h 219"/>
                  <a:gd name="T108" fmla="*/ 21 w 107"/>
                  <a:gd name="T109" fmla="*/ 178 h 219"/>
                  <a:gd name="T110" fmla="*/ 21 w 107"/>
                  <a:gd name="T111" fmla="*/ 187 h 219"/>
                  <a:gd name="T112" fmla="*/ 0 w 107"/>
                  <a:gd name="T113" fmla="*/ 21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7" h="219">
                    <a:moveTo>
                      <a:pt x="0" y="210"/>
                    </a:moveTo>
                    <a:lnTo>
                      <a:pt x="3" y="210"/>
                    </a:lnTo>
                    <a:lnTo>
                      <a:pt x="6" y="210"/>
                    </a:lnTo>
                    <a:lnTo>
                      <a:pt x="6" y="210"/>
                    </a:lnTo>
                    <a:lnTo>
                      <a:pt x="6" y="213"/>
                    </a:lnTo>
                    <a:lnTo>
                      <a:pt x="6" y="213"/>
                    </a:lnTo>
                    <a:lnTo>
                      <a:pt x="9" y="213"/>
                    </a:lnTo>
                    <a:lnTo>
                      <a:pt x="9" y="213"/>
                    </a:lnTo>
                    <a:lnTo>
                      <a:pt x="9" y="216"/>
                    </a:lnTo>
                    <a:lnTo>
                      <a:pt x="9" y="219"/>
                    </a:lnTo>
                    <a:lnTo>
                      <a:pt x="12" y="219"/>
                    </a:lnTo>
                    <a:lnTo>
                      <a:pt x="15" y="219"/>
                    </a:lnTo>
                    <a:lnTo>
                      <a:pt x="21" y="213"/>
                    </a:lnTo>
                    <a:lnTo>
                      <a:pt x="27" y="210"/>
                    </a:lnTo>
                    <a:lnTo>
                      <a:pt x="32" y="204"/>
                    </a:lnTo>
                    <a:lnTo>
                      <a:pt x="35" y="198"/>
                    </a:lnTo>
                    <a:lnTo>
                      <a:pt x="44" y="190"/>
                    </a:lnTo>
                    <a:lnTo>
                      <a:pt x="47" y="187"/>
                    </a:lnTo>
                    <a:lnTo>
                      <a:pt x="50" y="187"/>
                    </a:lnTo>
                    <a:lnTo>
                      <a:pt x="50" y="187"/>
                    </a:lnTo>
                    <a:lnTo>
                      <a:pt x="50" y="184"/>
                    </a:lnTo>
                    <a:lnTo>
                      <a:pt x="53" y="181"/>
                    </a:lnTo>
                    <a:lnTo>
                      <a:pt x="56" y="181"/>
                    </a:lnTo>
                    <a:lnTo>
                      <a:pt x="59" y="172"/>
                    </a:lnTo>
                    <a:lnTo>
                      <a:pt x="62" y="166"/>
                    </a:lnTo>
                    <a:lnTo>
                      <a:pt x="62" y="166"/>
                    </a:lnTo>
                    <a:lnTo>
                      <a:pt x="65" y="163"/>
                    </a:lnTo>
                    <a:lnTo>
                      <a:pt x="62" y="160"/>
                    </a:lnTo>
                    <a:lnTo>
                      <a:pt x="59" y="160"/>
                    </a:lnTo>
                    <a:lnTo>
                      <a:pt x="56" y="160"/>
                    </a:lnTo>
                    <a:lnTo>
                      <a:pt x="59" y="157"/>
                    </a:lnTo>
                    <a:lnTo>
                      <a:pt x="59" y="157"/>
                    </a:lnTo>
                    <a:lnTo>
                      <a:pt x="68" y="148"/>
                    </a:lnTo>
                    <a:lnTo>
                      <a:pt x="71" y="148"/>
                    </a:lnTo>
                    <a:lnTo>
                      <a:pt x="77" y="148"/>
                    </a:lnTo>
                    <a:lnTo>
                      <a:pt x="80" y="148"/>
                    </a:lnTo>
                    <a:lnTo>
                      <a:pt x="80" y="151"/>
                    </a:lnTo>
                    <a:lnTo>
                      <a:pt x="80" y="154"/>
                    </a:lnTo>
                    <a:lnTo>
                      <a:pt x="83" y="151"/>
                    </a:lnTo>
                    <a:lnTo>
                      <a:pt x="86" y="148"/>
                    </a:lnTo>
                    <a:lnTo>
                      <a:pt x="83" y="148"/>
                    </a:lnTo>
                    <a:lnTo>
                      <a:pt x="83" y="145"/>
                    </a:lnTo>
                    <a:lnTo>
                      <a:pt x="86" y="139"/>
                    </a:lnTo>
                    <a:lnTo>
                      <a:pt x="86" y="136"/>
                    </a:lnTo>
                    <a:lnTo>
                      <a:pt x="89" y="136"/>
                    </a:lnTo>
                    <a:lnTo>
                      <a:pt x="92" y="136"/>
                    </a:lnTo>
                    <a:lnTo>
                      <a:pt x="92" y="136"/>
                    </a:lnTo>
                    <a:lnTo>
                      <a:pt x="95" y="133"/>
                    </a:lnTo>
                    <a:lnTo>
                      <a:pt x="101" y="125"/>
                    </a:lnTo>
                    <a:lnTo>
                      <a:pt x="101" y="122"/>
                    </a:lnTo>
                    <a:lnTo>
                      <a:pt x="98" y="119"/>
                    </a:lnTo>
                    <a:lnTo>
                      <a:pt x="101" y="116"/>
                    </a:lnTo>
                    <a:lnTo>
                      <a:pt x="104" y="113"/>
                    </a:lnTo>
                    <a:lnTo>
                      <a:pt x="107" y="110"/>
                    </a:lnTo>
                    <a:lnTo>
                      <a:pt x="107" y="110"/>
                    </a:lnTo>
                    <a:lnTo>
                      <a:pt x="101" y="107"/>
                    </a:lnTo>
                    <a:lnTo>
                      <a:pt x="101" y="107"/>
                    </a:lnTo>
                    <a:lnTo>
                      <a:pt x="101" y="104"/>
                    </a:lnTo>
                    <a:lnTo>
                      <a:pt x="101" y="104"/>
                    </a:lnTo>
                    <a:lnTo>
                      <a:pt x="98" y="104"/>
                    </a:lnTo>
                    <a:lnTo>
                      <a:pt x="95" y="107"/>
                    </a:lnTo>
                    <a:lnTo>
                      <a:pt x="86" y="113"/>
                    </a:lnTo>
                    <a:lnTo>
                      <a:pt x="83" y="113"/>
                    </a:lnTo>
                    <a:lnTo>
                      <a:pt x="80" y="116"/>
                    </a:lnTo>
                    <a:lnTo>
                      <a:pt x="77" y="113"/>
                    </a:lnTo>
                    <a:lnTo>
                      <a:pt x="68" y="107"/>
                    </a:lnTo>
                    <a:lnTo>
                      <a:pt x="68" y="107"/>
                    </a:lnTo>
                    <a:lnTo>
                      <a:pt x="65" y="101"/>
                    </a:lnTo>
                    <a:lnTo>
                      <a:pt x="62" y="98"/>
                    </a:lnTo>
                    <a:lnTo>
                      <a:pt x="65" y="98"/>
                    </a:lnTo>
                    <a:lnTo>
                      <a:pt x="65" y="92"/>
                    </a:lnTo>
                    <a:lnTo>
                      <a:pt x="62" y="86"/>
                    </a:lnTo>
                    <a:lnTo>
                      <a:pt x="62" y="83"/>
                    </a:lnTo>
                    <a:lnTo>
                      <a:pt x="62" y="83"/>
                    </a:lnTo>
                    <a:lnTo>
                      <a:pt x="62" y="80"/>
                    </a:lnTo>
                    <a:lnTo>
                      <a:pt x="62" y="77"/>
                    </a:lnTo>
                    <a:lnTo>
                      <a:pt x="62" y="77"/>
                    </a:lnTo>
                    <a:lnTo>
                      <a:pt x="59" y="71"/>
                    </a:lnTo>
                    <a:lnTo>
                      <a:pt x="59" y="68"/>
                    </a:lnTo>
                    <a:lnTo>
                      <a:pt x="59" y="71"/>
                    </a:lnTo>
                    <a:lnTo>
                      <a:pt x="56" y="68"/>
                    </a:lnTo>
                    <a:lnTo>
                      <a:pt x="53" y="71"/>
                    </a:lnTo>
                    <a:lnTo>
                      <a:pt x="56" y="71"/>
                    </a:lnTo>
                    <a:lnTo>
                      <a:pt x="56" y="77"/>
                    </a:lnTo>
                    <a:lnTo>
                      <a:pt x="56" y="77"/>
                    </a:lnTo>
                    <a:lnTo>
                      <a:pt x="53" y="80"/>
                    </a:lnTo>
                    <a:lnTo>
                      <a:pt x="53" y="83"/>
                    </a:lnTo>
                    <a:lnTo>
                      <a:pt x="56" y="86"/>
                    </a:lnTo>
                    <a:lnTo>
                      <a:pt x="56" y="89"/>
                    </a:lnTo>
                    <a:lnTo>
                      <a:pt x="53" y="89"/>
                    </a:lnTo>
                    <a:lnTo>
                      <a:pt x="53" y="86"/>
                    </a:lnTo>
                    <a:lnTo>
                      <a:pt x="50" y="83"/>
                    </a:lnTo>
                    <a:lnTo>
                      <a:pt x="47" y="83"/>
                    </a:lnTo>
                    <a:lnTo>
                      <a:pt x="47" y="80"/>
                    </a:lnTo>
                    <a:lnTo>
                      <a:pt x="44" y="80"/>
                    </a:lnTo>
                    <a:lnTo>
                      <a:pt x="41" y="80"/>
                    </a:lnTo>
                    <a:lnTo>
                      <a:pt x="41" y="77"/>
                    </a:lnTo>
                    <a:lnTo>
                      <a:pt x="44" y="77"/>
                    </a:lnTo>
                    <a:lnTo>
                      <a:pt x="47" y="74"/>
                    </a:lnTo>
                    <a:lnTo>
                      <a:pt x="44" y="71"/>
                    </a:lnTo>
                    <a:lnTo>
                      <a:pt x="44" y="68"/>
                    </a:lnTo>
                    <a:lnTo>
                      <a:pt x="47" y="68"/>
                    </a:lnTo>
                    <a:lnTo>
                      <a:pt x="50" y="62"/>
                    </a:lnTo>
                    <a:lnTo>
                      <a:pt x="47" y="60"/>
                    </a:lnTo>
                    <a:lnTo>
                      <a:pt x="47" y="60"/>
                    </a:lnTo>
                    <a:lnTo>
                      <a:pt x="47" y="57"/>
                    </a:lnTo>
                    <a:lnTo>
                      <a:pt x="47" y="51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7" y="48"/>
                    </a:lnTo>
                    <a:lnTo>
                      <a:pt x="50" y="48"/>
                    </a:lnTo>
                    <a:lnTo>
                      <a:pt x="50" y="45"/>
                    </a:lnTo>
                    <a:lnTo>
                      <a:pt x="50" y="42"/>
                    </a:lnTo>
                    <a:lnTo>
                      <a:pt x="50" y="36"/>
                    </a:lnTo>
                    <a:lnTo>
                      <a:pt x="50" y="33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44" y="33"/>
                    </a:lnTo>
                    <a:lnTo>
                      <a:pt x="41" y="27"/>
                    </a:lnTo>
                    <a:lnTo>
                      <a:pt x="44" y="27"/>
                    </a:lnTo>
                    <a:lnTo>
                      <a:pt x="41" y="24"/>
                    </a:lnTo>
                    <a:lnTo>
                      <a:pt x="41" y="24"/>
                    </a:lnTo>
                    <a:lnTo>
                      <a:pt x="41" y="21"/>
                    </a:lnTo>
                    <a:lnTo>
                      <a:pt x="44" y="21"/>
                    </a:lnTo>
                    <a:lnTo>
                      <a:pt x="44" y="18"/>
                    </a:lnTo>
                    <a:lnTo>
                      <a:pt x="41" y="18"/>
                    </a:lnTo>
                    <a:lnTo>
                      <a:pt x="38" y="15"/>
                    </a:lnTo>
                    <a:lnTo>
                      <a:pt x="35" y="18"/>
                    </a:lnTo>
                    <a:lnTo>
                      <a:pt x="35" y="12"/>
                    </a:lnTo>
                    <a:lnTo>
                      <a:pt x="35" y="12"/>
                    </a:lnTo>
                    <a:lnTo>
                      <a:pt x="38" y="12"/>
                    </a:lnTo>
                    <a:lnTo>
                      <a:pt x="35" y="12"/>
                    </a:lnTo>
                    <a:lnTo>
                      <a:pt x="35" y="12"/>
                    </a:lnTo>
                    <a:lnTo>
                      <a:pt x="35" y="15"/>
                    </a:lnTo>
                    <a:lnTo>
                      <a:pt x="32" y="18"/>
                    </a:lnTo>
                    <a:lnTo>
                      <a:pt x="29" y="15"/>
                    </a:lnTo>
                    <a:lnTo>
                      <a:pt x="32" y="12"/>
                    </a:lnTo>
                    <a:lnTo>
                      <a:pt x="29" y="9"/>
                    </a:lnTo>
                    <a:lnTo>
                      <a:pt x="29" y="6"/>
                    </a:lnTo>
                    <a:lnTo>
                      <a:pt x="29" y="3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4" y="3"/>
                    </a:lnTo>
                    <a:lnTo>
                      <a:pt x="27" y="12"/>
                    </a:lnTo>
                    <a:lnTo>
                      <a:pt x="29" y="18"/>
                    </a:lnTo>
                    <a:lnTo>
                      <a:pt x="27" y="24"/>
                    </a:lnTo>
                    <a:lnTo>
                      <a:pt x="27" y="24"/>
                    </a:lnTo>
                    <a:lnTo>
                      <a:pt x="24" y="24"/>
                    </a:lnTo>
                    <a:lnTo>
                      <a:pt x="24" y="27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9" y="33"/>
                    </a:lnTo>
                    <a:lnTo>
                      <a:pt x="32" y="33"/>
                    </a:lnTo>
                    <a:lnTo>
                      <a:pt x="32" y="33"/>
                    </a:lnTo>
                    <a:lnTo>
                      <a:pt x="29" y="36"/>
                    </a:lnTo>
                    <a:lnTo>
                      <a:pt x="29" y="42"/>
                    </a:lnTo>
                    <a:lnTo>
                      <a:pt x="32" y="45"/>
                    </a:lnTo>
                    <a:lnTo>
                      <a:pt x="32" y="57"/>
                    </a:lnTo>
                    <a:lnTo>
                      <a:pt x="32" y="60"/>
                    </a:lnTo>
                    <a:lnTo>
                      <a:pt x="32" y="65"/>
                    </a:lnTo>
                    <a:lnTo>
                      <a:pt x="35" y="62"/>
                    </a:lnTo>
                    <a:lnTo>
                      <a:pt x="35" y="60"/>
                    </a:lnTo>
                    <a:lnTo>
                      <a:pt x="35" y="60"/>
                    </a:lnTo>
                    <a:lnTo>
                      <a:pt x="35" y="57"/>
                    </a:lnTo>
                    <a:lnTo>
                      <a:pt x="38" y="60"/>
                    </a:lnTo>
                    <a:lnTo>
                      <a:pt x="38" y="62"/>
                    </a:lnTo>
                    <a:lnTo>
                      <a:pt x="38" y="62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41" y="60"/>
                    </a:lnTo>
                    <a:lnTo>
                      <a:pt x="41" y="62"/>
                    </a:lnTo>
                    <a:lnTo>
                      <a:pt x="38" y="65"/>
                    </a:lnTo>
                    <a:lnTo>
                      <a:pt x="38" y="68"/>
                    </a:lnTo>
                    <a:lnTo>
                      <a:pt x="38" y="71"/>
                    </a:lnTo>
                    <a:lnTo>
                      <a:pt x="35" y="71"/>
                    </a:lnTo>
                    <a:lnTo>
                      <a:pt x="35" y="68"/>
                    </a:lnTo>
                    <a:lnTo>
                      <a:pt x="32" y="68"/>
                    </a:lnTo>
                    <a:lnTo>
                      <a:pt x="32" y="74"/>
                    </a:lnTo>
                    <a:lnTo>
                      <a:pt x="35" y="80"/>
                    </a:lnTo>
                    <a:lnTo>
                      <a:pt x="38" y="83"/>
                    </a:lnTo>
                    <a:lnTo>
                      <a:pt x="38" y="80"/>
                    </a:lnTo>
                    <a:lnTo>
                      <a:pt x="41" y="83"/>
                    </a:lnTo>
                    <a:lnTo>
                      <a:pt x="41" y="86"/>
                    </a:lnTo>
                    <a:lnTo>
                      <a:pt x="41" y="86"/>
                    </a:lnTo>
                    <a:lnTo>
                      <a:pt x="38" y="89"/>
                    </a:lnTo>
                    <a:lnTo>
                      <a:pt x="38" y="89"/>
                    </a:lnTo>
                    <a:lnTo>
                      <a:pt x="38" y="92"/>
                    </a:lnTo>
                    <a:lnTo>
                      <a:pt x="38" y="95"/>
                    </a:lnTo>
                    <a:lnTo>
                      <a:pt x="35" y="101"/>
                    </a:lnTo>
                    <a:lnTo>
                      <a:pt x="35" y="104"/>
                    </a:lnTo>
                    <a:lnTo>
                      <a:pt x="35" y="104"/>
                    </a:lnTo>
                    <a:lnTo>
                      <a:pt x="38" y="107"/>
                    </a:lnTo>
                    <a:lnTo>
                      <a:pt x="35" y="107"/>
                    </a:lnTo>
                    <a:lnTo>
                      <a:pt x="35" y="110"/>
                    </a:lnTo>
                    <a:lnTo>
                      <a:pt x="32" y="113"/>
                    </a:lnTo>
                    <a:lnTo>
                      <a:pt x="32" y="113"/>
                    </a:lnTo>
                    <a:lnTo>
                      <a:pt x="35" y="116"/>
                    </a:lnTo>
                    <a:lnTo>
                      <a:pt x="32" y="116"/>
                    </a:lnTo>
                    <a:lnTo>
                      <a:pt x="29" y="116"/>
                    </a:lnTo>
                    <a:lnTo>
                      <a:pt x="29" y="122"/>
                    </a:lnTo>
                    <a:lnTo>
                      <a:pt x="27" y="133"/>
                    </a:lnTo>
                    <a:lnTo>
                      <a:pt x="27" y="136"/>
                    </a:lnTo>
                    <a:lnTo>
                      <a:pt x="24" y="139"/>
                    </a:lnTo>
                    <a:lnTo>
                      <a:pt x="21" y="139"/>
                    </a:lnTo>
                    <a:lnTo>
                      <a:pt x="18" y="136"/>
                    </a:lnTo>
                    <a:lnTo>
                      <a:pt x="15" y="139"/>
                    </a:lnTo>
                    <a:lnTo>
                      <a:pt x="6" y="142"/>
                    </a:lnTo>
                    <a:lnTo>
                      <a:pt x="3" y="145"/>
                    </a:lnTo>
                    <a:lnTo>
                      <a:pt x="3" y="148"/>
                    </a:lnTo>
                    <a:lnTo>
                      <a:pt x="3" y="154"/>
                    </a:lnTo>
                    <a:lnTo>
                      <a:pt x="6" y="157"/>
                    </a:lnTo>
                    <a:lnTo>
                      <a:pt x="12" y="160"/>
                    </a:lnTo>
                    <a:lnTo>
                      <a:pt x="15" y="166"/>
                    </a:lnTo>
                    <a:lnTo>
                      <a:pt x="21" y="169"/>
                    </a:lnTo>
                    <a:lnTo>
                      <a:pt x="21" y="169"/>
                    </a:lnTo>
                    <a:lnTo>
                      <a:pt x="21" y="178"/>
                    </a:lnTo>
                    <a:lnTo>
                      <a:pt x="24" y="178"/>
                    </a:lnTo>
                    <a:lnTo>
                      <a:pt x="21" y="178"/>
                    </a:lnTo>
                    <a:lnTo>
                      <a:pt x="21" y="184"/>
                    </a:lnTo>
                    <a:lnTo>
                      <a:pt x="21" y="187"/>
                    </a:lnTo>
                    <a:lnTo>
                      <a:pt x="12" y="195"/>
                    </a:lnTo>
                    <a:lnTo>
                      <a:pt x="9" y="201"/>
                    </a:lnTo>
                    <a:lnTo>
                      <a:pt x="3" y="207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59" name="Freeform 102"/>
              <p:cNvSpPr>
                <a:spLocks/>
              </p:cNvSpPr>
              <p:nvPr/>
            </p:nvSpPr>
            <p:spPr bwMode="auto">
              <a:xfrm>
                <a:off x="10939463" y="6630988"/>
                <a:ext cx="19050" cy="19050"/>
              </a:xfrm>
              <a:custGeom>
                <a:avLst/>
                <a:gdLst>
                  <a:gd name="T0" fmla="*/ 0 w 12"/>
                  <a:gd name="T1" fmla="*/ 9 h 12"/>
                  <a:gd name="T2" fmla="*/ 9 w 12"/>
                  <a:gd name="T3" fmla="*/ 0 h 12"/>
                  <a:gd name="T4" fmla="*/ 12 w 12"/>
                  <a:gd name="T5" fmla="*/ 0 h 12"/>
                  <a:gd name="T6" fmla="*/ 12 w 12"/>
                  <a:gd name="T7" fmla="*/ 3 h 12"/>
                  <a:gd name="T8" fmla="*/ 9 w 12"/>
                  <a:gd name="T9" fmla="*/ 6 h 12"/>
                  <a:gd name="T10" fmla="*/ 9 w 12"/>
                  <a:gd name="T11" fmla="*/ 9 h 12"/>
                  <a:gd name="T12" fmla="*/ 9 w 12"/>
                  <a:gd name="T13" fmla="*/ 12 h 12"/>
                  <a:gd name="T14" fmla="*/ 6 w 12"/>
                  <a:gd name="T15" fmla="*/ 12 h 12"/>
                  <a:gd name="T16" fmla="*/ 3 w 12"/>
                  <a:gd name="T17" fmla="*/ 12 h 12"/>
                  <a:gd name="T18" fmla="*/ 0 w 12"/>
                  <a:gd name="T19" fmla="*/ 9 h 12"/>
                  <a:gd name="T20" fmla="*/ 0 w 12"/>
                  <a:gd name="T2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2">
                    <a:moveTo>
                      <a:pt x="0" y="9"/>
                    </a:moveTo>
                    <a:lnTo>
                      <a:pt x="9" y="0"/>
                    </a:lnTo>
                    <a:lnTo>
                      <a:pt x="12" y="0"/>
                    </a:lnTo>
                    <a:lnTo>
                      <a:pt x="12" y="3"/>
                    </a:lnTo>
                    <a:lnTo>
                      <a:pt x="9" y="6"/>
                    </a:lnTo>
                    <a:lnTo>
                      <a:pt x="9" y="9"/>
                    </a:lnTo>
                    <a:lnTo>
                      <a:pt x="9" y="12"/>
                    </a:lnTo>
                    <a:lnTo>
                      <a:pt x="6" y="12"/>
                    </a:lnTo>
                    <a:lnTo>
                      <a:pt x="3" y="12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60" name="Freeform 103"/>
              <p:cNvSpPr>
                <a:spLocks/>
              </p:cNvSpPr>
              <p:nvPr/>
            </p:nvSpPr>
            <p:spPr bwMode="auto">
              <a:xfrm>
                <a:off x="11349038" y="6157913"/>
                <a:ext cx="9525" cy="12700"/>
              </a:xfrm>
              <a:custGeom>
                <a:avLst/>
                <a:gdLst>
                  <a:gd name="T0" fmla="*/ 0 w 6"/>
                  <a:gd name="T1" fmla="*/ 5 h 8"/>
                  <a:gd name="T2" fmla="*/ 0 w 6"/>
                  <a:gd name="T3" fmla="*/ 3 h 8"/>
                  <a:gd name="T4" fmla="*/ 3 w 6"/>
                  <a:gd name="T5" fmla="*/ 0 h 8"/>
                  <a:gd name="T6" fmla="*/ 6 w 6"/>
                  <a:gd name="T7" fmla="*/ 3 h 8"/>
                  <a:gd name="T8" fmla="*/ 6 w 6"/>
                  <a:gd name="T9" fmla="*/ 3 h 8"/>
                  <a:gd name="T10" fmla="*/ 3 w 6"/>
                  <a:gd name="T11" fmla="*/ 5 h 8"/>
                  <a:gd name="T12" fmla="*/ 0 w 6"/>
                  <a:gd name="T13" fmla="*/ 8 h 8"/>
                  <a:gd name="T14" fmla="*/ 0 w 6"/>
                  <a:gd name="T15" fmla="*/ 8 h 8"/>
                  <a:gd name="T16" fmla="*/ 0 w 6"/>
                  <a:gd name="T17" fmla="*/ 5 h 8"/>
                  <a:gd name="T18" fmla="*/ 0 w 6"/>
                  <a:gd name="T1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8">
                    <a:moveTo>
                      <a:pt x="0" y="5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3" y="5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61" name="Freeform 104"/>
              <p:cNvSpPr>
                <a:spLocks/>
              </p:cNvSpPr>
              <p:nvPr/>
            </p:nvSpPr>
            <p:spPr bwMode="auto">
              <a:xfrm>
                <a:off x="11349038" y="6170613"/>
                <a:ext cx="4763" cy="4763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0 h 3"/>
                  <a:gd name="T4" fmla="*/ 3 w 3"/>
                  <a:gd name="T5" fmla="*/ 0 h 3"/>
                  <a:gd name="T6" fmla="*/ 0 w 3"/>
                  <a:gd name="T7" fmla="*/ 3 h 3"/>
                  <a:gd name="T8" fmla="*/ 0 w 3"/>
                  <a:gd name="T9" fmla="*/ 3 h 3"/>
                  <a:gd name="T10" fmla="*/ 0 w 3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62" name="Freeform 105"/>
              <p:cNvSpPr>
                <a:spLocks/>
              </p:cNvSpPr>
              <p:nvPr/>
            </p:nvSpPr>
            <p:spPr bwMode="auto">
              <a:xfrm>
                <a:off x="11344276" y="6170613"/>
                <a:ext cx="4763" cy="4763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3 h 3"/>
                  <a:gd name="T4" fmla="*/ 3 w 3"/>
                  <a:gd name="T5" fmla="*/ 0 h 3"/>
                  <a:gd name="T6" fmla="*/ 3 w 3"/>
                  <a:gd name="T7" fmla="*/ 0 h 3"/>
                  <a:gd name="T8" fmla="*/ 0 w 3"/>
                  <a:gd name="T9" fmla="*/ 3 h 3"/>
                  <a:gd name="T10" fmla="*/ 0 w 3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63" name="Rectangle 106"/>
              <p:cNvSpPr>
                <a:spLocks noChangeArrowheads="1"/>
              </p:cNvSpPr>
              <p:nvPr/>
            </p:nvSpPr>
            <p:spPr bwMode="auto">
              <a:xfrm>
                <a:off x="11099801" y="6448425"/>
                <a:ext cx="4763" cy="15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64" name="Freeform 107"/>
              <p:cNvSpPr>
                <a:spLocks/>
              </p:cNvSpPr>
              <p:nvPr/>
            </p:nvSpPr>
            <p:spPr bwMode="auto">
              <a:xfrm>
                <a:off x="11066463" y="6434138"/>
                <a:ext cx="28575" cy="28575"/>
              </a:xfrm>
              <a:custGeom>
                <a:avLst/>
                <a:gdLst>
                  <a:gd name="T0" fmla="*/ 3 w 18"/>
                  <a:gd name="T1" fmla="*/ 15 h 18"/>
                  <a:gd name="T2" fmla="*/ 0 w 18"/>
                  <a:gd name="T3" fmla="*/ 18 h 18"/>
                  <a:gd name="T4" fmla="*/ 0 w 18"/>
                  <a:gd name="T5" fmla="*/ 18 h 18"/>
                  <a:gd name="T6" fmla="*/ 0 w 18"/>
                  <a:gd name="T7" fmla="*/ 18 h 18"/>
                  <a:gd name="T8" fmla="*/ 3 w 18"/>
                  <a:gd name="T9" fmla="*/ 15 h 18"/>
                  <a:gd name="T10" fmla="*/ 3 w 18"/>
                  <a:gd name="T11" fmla="*/ 12 h 18"/>
                  <a:gd name="T12" fmla="*/ 3 w 18"/>
                  <a:gd name="T13" fmla="*/ 12 h 18"/>
                  <a:gd name="T14" fmla="*/ 6 w 18"/>
                  <a:gd name="T15" fmla="*/ 9 h 18"/>
                  <a:gd name="T16" fmla="*/ 9 w 18"/>
                  <a:gd name="T17" fmla="*/ 6 h 18"/>
                  <a:gd name="T18" fmla="*/ 9 w 18"/>
                  <a:gd name="T19" fmla="*/ 3 h 18"/>
                  <a:gd name="T20" fmla="*/ 9 w 18"/>
                  <a:gd name="T21" fmla="*/ 0 h 18"/>
                  <a:gd name="T22" fmla="*/ 12 w 18"/>
                  <a:gd name="T23" fmla="*/ 0 h 18"/>
                  <a:gd name="T24" fmla="*/ 15 w 18"/>
                  <a:gd name="T25" fmla="*/ 3 h 18"/>
                  <a:gd name="T26" fmla="*/ 15 w 18"/>
                  <a:gd name="T27" fmla="*/ 6 h 18"/>
                  <a:gd name="T28" fmla="*/ 18 w 18"/>
                  <a:gd name="T29" fmla="*/ 9 h 18"/>
                  <a:gd name="T30" fmla="*/ 18 w 18"/>
                  <a:gd name="T31" fmla="*/ 9 h 18"/>
                  <a:gd name="T32" fmla="*/ 15 w 18"/>
                  <a:gd name="T33" fmla="*/ 9 h 18"/>
                  <a:gd name="T34" fmla="*/ 15 w 18"/>
                  <a:gd name="T35" fmla="*/ 9 h 18"/>
                  <a:gd name="T36" fmla="*/ 12 w 18"/>
                  <a:gd name="T37" fmla="*/ 9 h 18"/>
                  <a:gd name="T38" fmla="*/ 12 w 18"/>
                  <a:gd name="T39" fmla="*/ 9 h 18"/>
                  <a:gd name="T40" fmla="*/ 15 w 18"/>
                  <a:gd name="T41" fmla="*/ 12 h 18"/>
                  <a:gd name="T42" fmla="*/ 18 w 18"/>
                  <a:gd name="T43" fmla="*/ 12 h 18"/>
                  <a:gd name="T44" fmla="*/ 18 w 18"/>
                  <a:gd name="T45" fmla="*/ 12 h 18"/>
                  <a:gd name="T46" fmla="*/ 15 w 18"/>
                  <a:gd name="T47" fmla="*/ 15 h 18"/>
                  <a:gd name="T48" fmla="*/ 15 w 18"/>
                  <a:gd name="T49" fmla="*/ 15 h 18"/>
                  <a:gd name="T50" fmla="*/ 9 w 18"/>
                  <a:gd name="T51" fmla="*/ 15 h 18"/>
                  <a:gd name="T52" fmla="*/ 9 w 18"/>
                  <a:gd name="T53" fmla="*/ 18 h 18"/>
                  <a:gd name="T54" fmla="*/ 6 w 18"/>
                  <a:gd name="T55" fmla="*/ 18 h 18"/>
                  <a:gd name="T56" fmla="*/ 6 w 18"/>
                  <a:gd name="T57" fmla="*/ 15 h 18"/>
                  <a:gd name="T58" fmla="*/ 3 w 18"/>
                  <a:gd name="T59" fmla="*/ 15 h 18"/>
                  <a:gd name="T60" fmla="*/ 3 w 18"/>
                  <a:gd name="T61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" h="18">
                    <a:moveTo>
                      <a:pt x="3" y="15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3" y="15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6" y="9"/>
                    </a:lnTo>
                    <a:lnTo>
                      <a:pt x="9" y="6"/>
                    </a:lnTo>
                    <a:lnTo>
                      <a:pt x="9" y="3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3"/>
                    </a:lnTo>
                    <a:lnTo>
                      <a:pt x="15" y="6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5" y="9"/>
                    </a:lnTo>
                    <a:lnTo>
                      <a:pt x="15" y="9"/>
                    </a:lnTo>
                    <a:lnTo>
                      <a:pt x="12" y="9"/>
                    </a:lnTo>
                    <a:lnTo>
                      <a:pt x="12" y="9"/>
                    </a:lnTo>
                    <a:lnTo>
                      <a:pt x="15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9" y="15"/>
                    </a:lnTo>
                    <a:lnTo>
                      <a:pt x="9" y="18"/>
                    </a:lnTo>
                    <a:lnTo>
                      <a:pt x="6" y="18"/>
                    </a:lnTo>
                    <a:lnTo>
                      <a:pt x="6" y="15"/>
                    </a:lnTo>
                    <a:lnTo>
                      <a:pt x="3" y="15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  <p:sp>
            <p:nvSpPr>
              <p:cNvPr id="365" name="Freeform 108"/>
              <p:cNvSpPr>
                <a:spLocks/>
              </p:cNvSpPr>
              <p:nvPr/>
            </p:nvSpPr>
            <p:spPr bwMode="auto">
              <a:xfrm>
                <a:off x="11061701" y="6153150"/>
                <a:ext cx="301625" cy="290513"/>
              </a:xfrm>
              <a:custGeom>
                <a:avLst/>
                <a:gdLst>
                  <a:gd name="T0" fmla="*/ 3 w 190"/>
                  <a:gd name="T1" fmla="*/ 153 h 183"/>
                  <a:gd name="T2" fmla="*/ 9 w 190"/>
                  <a:gd name="T3" fmla="*/ 147 h 183"/>
                  <a:gd name="T4" fmla="*/ 9 w 190"/>
                  <a:gd name="T5" fmla="*/ 141 h 183"/>
                  <a:gd name="T6" fmla="*/ 15 w 190"/>
                  <a:gd name="T7" fmla="*/ 133 h 183"/>
                  <a:gd name="T8" fmla="*/ 18 w 190"/>
                  <a:gd name="T9" fmla="*/ 127 h 183"/>
                  <a:gd name="T10" fmla="*/ 30 w 190"/>
                  <a:gd name="T11" fmla="*/ 121 h 183"/>
                  <a:gd name="T12" fmla="*/ 36 w 190"/>
                  <a:gd name="T13" fmla="*/ 112 h 183"/>
                  <a:gd name="T14" fmla="*/ 42 w 190"/>
                  <a:gd name="T15" fmla="*/ 106 h 183"/>
                  <a:gd name="T16" fmla="*/ 57 w 190"/>
                  <a:gd name="T17" fmla="*/ 94 h 183"/>
                  <a:gd name="T18" fmla="*/ 68 w 190"/>
                  <a:gd name="T19" fmla="*/ 94 h 183"/>
                  <a:gd name="T20" fmla="*/ 71 w 190"/>
                  <a:gd name="T21" fmla="*/ 88 h 183"/>
                  <a:gd name="T22" fmla="*/ 86 w 190"/>
                  <a:gd name="T23" fmla="*/ 76 h 183"/>
                  <a:gd name="T24" fmla="*/ 104 w 190"/>
                  <a:gd name="T25" fmla="*/ 68 h 183"/>
                  <a:gd name="T26" fmla="*/ 122 w 190"/>
                  <a:gd name="T27" fmla="*/ 53 h 183"/>
                  <a:gd name="T28" fmla="*/ 128 w 190"/>
                  <a:gd name="T29" fmla="*/ 41 h 183"/>
                  <a:gd name="T30" fmla="*/ 137 w 190"/>
                  <a:gd name="T31" fmla="*/ 32 h 183"/>
                  <a:gd name="T32" fmla="*/ 145 w 190"/>
                  <a:gd name="T33" fmla="*/ 23 h 183"/>
                  <a:gd name="T34" fmla="*/ 157 w 190"/>
                  <a:gd name="T35" fmla="*/ 3 h 183"/>
                  <a:gd name="T36" fmla="*/ 166 w 190"/>
                  <a:gd name="T37" fmla="*/ 3 h 183"/>
                  <a:gd name="T38" fmla="*/ 169 w 190"/>
                  <a:gd name="T39" fmla="*/ 6 h 183"/>
                  <a:gd name="T40" fmla="*/ 172 w 190"/>
                  <a:gd name="T41" fmla="*/ 11 h 183"/>
                  <a:gd name="T42" fmla="*/ 172 w 190"/>
                  <a:gd name="T43" fmla="*/ 20 h 183"/>
                  <a:gd name="T44" fmla="*/ 181 w 190"/>
                  <a:gd name="T45" fmla="*/ 14 h 183"/>
                  <a:gd name="T46" fmla="*/ 184 w 190"/>
                  <a:gd name="T47" fmla="*/ 17 h 183"/>
                  <a:gd name="T48" fmla="*/ 187 w 190"/>
                  <a:gd name="T49" fmla="*/ 14 h 183"/>
                  <a:gd name="T50" fmla="*/ 184 w 190"/>
                  <a:gd name="T51" fmla="*/ 20 h 183"/>
                  <a:gd name="T52" fmla="*/ 181 w 190"/>
                  <a:gd name="T53" fmla="*/ 26 h 183"/>
                  <a:gd name="T54" fmla="*/ 187 w 190"/>
                  <a:gd name="T55" fmla="*/ 38 h 183"/>
                  <a:gd name="T56" fmla="*/ 166 w 190"/>
                  <a:gd name="T57" fmla="*/ 56 h 183"/>
                  <a:gd name="T58" fmla="*/ 160 w 190"/>
                  <a:gd name="T59" fmla="*/ 65 h 183"/>
                  <a:gd name="T60" fmla="*/ 142 w 190"/>
                  <a:gd name="T61" fmla="*/ 79 h 183"/>
                  <a:gd name="T62" fmla="*/ 139 w 190"/>
                  <a:gd name="T63" fmla="*/ 91 h 183"/>
                  <a:gd name="T64" fmla="*/ 139 w 190"/>
                  <a:gd name="T65" fmla="*/ 100 h 183"/>
                  <a:gd name="T66" fmla="*/ 137 w 190"/>
                  <a:gd name="T67" fmla="*/ 97 h 183"/>
                  <a:gd name="T68" fmla="*/ 131 w 190"/>
                  <a:gd name="T69" fmla="*/ 100 h 183"/>
                  <a:gd name="T70" fmla="*/ 128 w 190"/>
                  <a:gd name="T71" fmla="*/ 97 h 183"/>
                  <a:gd name="T72" fmla="*/ 125 w 190"/>
                  <a:gd name="T73" fmla="*/ 94 h 183"/>
                  <a:gd name="T74" fmla="*/ 122 w 190"/>
                  <a:gd name="T75" fmla="*/ 103 h 183"/>
                  <a:gd name="T76" fmla="*/ 113 w 190"/>
                  <a:gd name="T77" fmla="*/ 106 h 183"/>
                  <a:gd name="T78" fmla="*/ 104 w 190"/>
                  <a:gd name="T79" fmla="*/ 112 h 183"/>
                  <a:gd name="T80" fmla="*/ 98 w 190"/>
                  <a:gd name="T81" fmla="*/ 130 h 183"/>
                  <a:gd name="T82" fmla="*/ 83 w 190"/>
                  <a:gd name="T83" fmla="*/ 144 h 183"/>
                  <a:gd name="T84" fmla="*/ 77 w 190"/>
                  <a:gd name="T85" fmla="*/ 156 h 183"/>
                  <a:gd name="T86" fmla="*/ 77 w 190"/>
                  <a:gd name="T87" fmla="*/ 159 h 183"/>
                  <a:gd name="T88" fmla="*/ 62 w 190"/>
                  <a:gd name="T89" fmla="*/ 171 h 183"/>
                  <a:gd name="T90" fmla="*/ 57 w 190"/>
                  <a:gd name="T91" fmla="*/ 171 h 183"/>
                  <a:gd name="T92" fmla="*/ 42 w 190"/>
                  <a:gd name="T93" fmla="*/ 180 h 183"/>
                  <a:gd name="T94" fmla="*/ 30 w 190"/>
                  <a:gd name="T95" fmla="*/ 180 h 183"/>
                  <a:gd name="T96" fmla="*/ 24 w 190"/>
                  <a:gd name="T97" fmla="*/ 174 h 183"/>
                  <a:gd name="T98" fmla="*/ 18 w 190"/>
                  <a:gd name="T99" fmla="*/ 168 h 183"/>
                  <a:gd name="T100" fmla="*/ 12 w 190"/>
                  <a:gd name="T101" fmla="*/ 162 h 183"/>
                  <a:gd name="T102" fmla="*/ 6 w 190"/>
                  <a:gd name="T103" fmla="*/ 162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90" h="183">
                    <a:moveTo>
                      <a:pt x="3" y="162"/>
                    </a:moveTo>
                    <a:lnTo>
                      <a:pt x="3" y="159"/>
                    </a:lnTo>
                    <a:lnTo>
                      <a:pt x="3" y="156"/>
                    </a:lnTo>
                    <a:lnTo>
                      <a:pt x="3" y="153"/>
                    </a:lnTo>
                    <a:lnTo>
                      <a:pt x="3" y="153"/>
                    </a:lnTo>
                    <a:lnTo>
                      <a:pt x="0" y="153"/>
                    </a:lnTo>
                    <a:lnTo>
                      <a:pt x="6" y="147"/>
                    </a:lnTo>
                    <a:lnTo>
                      <a:pt x="9" y="147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4"/>
                    </a:lnTo>
                    <a:lnTo>
                      <a:pt x="9" y="141"/>
                    </a:lnTo>
                    <a:lnTo>
                      <a:pt x="9" y="141"/>
                    </a:lnTo>
                    <a:lnTo>
                      <a:pt x="12" y="136"/>
                    </a:lnTo>
                    <a:lnTo>
                      <a:pt x="12" y="133"/>
                    </a:lnTo>
                    <a:lnTo>
                      <a:pt x="15" y="133"/>
                    </a:lnTo>
                    <a:lnTo>
                      <a:pt x="15" y="133"/>
                    </a:lnTo>
                    <a:lnTo>
                      <a:pt x="18" y="136"/>
                    </a:lnTo>
                    <a:lnTo>
                      <a:pt x="18" y="133"/>
                    </a:lnTo>
                    <a:lnTo>
                      <a:pt x="18" y="127"/>
                    </a:lnTo>
                    <a:lnTo>
                      <a:pt x="21" y="127"/>
                    </a:lnTo>
                    <a:lnTo>
                      <a:pt x="21" y="127"/>
                    </a:lnTo>
                    <a:lnTo>
                      <a:pt x="27" y="118"/>
                    </a:lnTo>
                    <a:lnTo>
                      <a:pt x="30" y="121"/>
                    </a:lnTo>
                    <a:lnTo>
                      <a:pt x="30" y="118"/>
                    </a:lnTo>
                    <a:lnTo>
                      <a:pt x="30" y="115"/>
                    </a:lnTo>
                    <a:lnTo>
                      <a:pt x="33" y="112"/>
                    </a:lnTo>
                    <a:lnTo>
                      <a:pt x="36" y="112"/>
                    </a:lnTo>
                    <a:lnTo>
                      <a:pt x="36" y="112"/>
                    </a:lnTo>
                    <a:lnTo>
                      <a:pt x="39" y="115"/>
                    </a:lnTo>
                    <a:lnTo>
                      <a:pt x="39" y="109"/>
                    </a:lnTo>
                    <a:lnTo>
                      <a:pt x="42" y="106"/>
                    </a:lnTo>
                    <a:lnTo>
                      <a:pt x="45" y="106"/>
                    </a:lnTo>
                    <a:lnTo>
                      <a:pt x="48" y="100"/>
                    </a:lnTo>
                    <a:lnTo>
                      <a:pt x="51" y="97"/>
                    </a:lnTo>
                    <a:lnTo>
                      <a:pt x="57" y="94"/>
                    </a:lnTo>
                    <a:lnTo>
                      <a:pt x="59" y="94"/>
                    </a:lnTo>
                    <a:lnTo>
                      <a:pt x="62" y="94"/>
                    </a:lnTo>
                    <a:lnTo>
                      <a:pt x="65" y="94"/>
                    </a:lnTo>
                    <a:lnTo>
                      <a:pt x="68" y="94"/>
                    </a:lnTo>
                    <a:lnTo>
                      <a:pt x="68" y="94"/>
                    </a:lnTo>
                    <a:lnTo>
                      <a:pt x="71" y="97"/>
                    </a:lnTo>
                    <a:lnTo>
                      <a:pt x="71" y="91"/>
                    </a:lnTo>
                    <a:lnTo>
                      <a:pt x="71" y="88"/>
                    </a:lnTo>
                    <a:lnTo>
                      <a:pt x="71" y="88"/>
                    </a:lnTo>
                    <a:lnTo>
                      <a:pt x="77" y="82"/>
                    </a:lnTo>
                    <a:lnTo>
                      <a:pt x="80" y="82"/>
                    </a:lnTo>
                    <a:lnTo>
                      <a:pt x="86" y="76"/>
                    </a:lnTo>
                    <a:lnTo>
                      <a:pt x="95" y="74"/>
                    </a:lnTo>
                    <a:lnTo>
                      <a:pt x="98" y="74"/>
                    </a:lnTo>
                    <a:lnTo>
                      <a:pt x="98" y="71"/>
                    </a:lnTo>
                    <a:lnTo>
                      <a:pt x="104" y="68"/>
                    </a:lnTo>
                    <a:lnTo>
                      <a:pt x="107" y="68"/>
                    </a:lnTo>
                    <a:lnTo>
                      <a:pt x="113" y="62"/>
                    </a:lnTo>
                    <a:lnTo>
                      <a:pt x="122" y="56"/>
                    </a:lnTo>
                    <a:lnTo>
                      <a:pt x="122" y="53"/>
                    </a:lnTo>
                    <a:lnTo>
                      <a:pt x="122" y="50"/>
                    </a:lnTo>
                    <a:lnTo>
                      <a:pt x="122" y="47"/>
                    </a:lnTo>
                    <a:lnTo>
                      <a:pt x="125" y="44"/>
                    </a:lnTo>
                    <a:lnTo>
                      <a:pt x="128" y="41"/>
                    </a:lnTo>
                    <a:lnTo>
                      <a:pt x="128" y="38"/>
                    </a:lnTo>
                    <a:lnTo>
                      <a:pt x="128" y="35"/>
                    </a:lnTo>
                    <a:lnTo>
                      <a:pt x="134" y="32"/>
                    </a:lnTo>
                    <a:lnTo>
                      <a:pt x="137" y="32"/>
                    </a:lnTo>
                    <a:lnTo>
                      <a:pt x="139" y="32"/>
                    </a:lnTo>
                    <a:lnTo>
                      <a:pt x="139" y="29"/>
                    </a:lnTo>
                    <a:lnTo>
                      <a:pt x="145" y="23"/>
                    </a:lnTo>
                    <a:lnTo>
                      <a:pt x="145" y="23"/>
                    </a:lnTo>
                    <a:lnTo>
                      <a:pt x="148" y="17"/>
                    </a:lnTo>
                    <a:lnTo>
                      <a:pt x="154" y="8"/>
                    </a:lnTo>
                    <a:lnTo>
                      <a:pt x="154" y="6"/>
                    </a:lnTo>
                    <a:lnTo>
                      <a:pt x="157" y="3"/>
                    </a:lnTo>
                    <a:lnTo>
                      <a:pt x="160" y="3"/>
                    </a:lnTo>
                    <a:lnTo>
                      <a:pt x="163" y="0"/>
                    </a:lnTo>
                    <a:lnTo>
                      <a:pt x="166" y="0"/>
                    </a:lnTo>
                    <a:lnTo>
                      <a:pt x="166" y="3"/>
                    </a:lnTo>
                    <a:lnTo>
                      <a:pt x="163" y="6"/>
                    </a:lnTo>
                    <a:lnTo>
                      <a:pt x="166" y="6"/>
                    </a:lnTo>
                    <a:lnTo>
                      <a:pt x="166" y="6"/>
                    </a:lnTo>
                    <a:lnTo>
                      <a:pt x="169" y="6"/>
                    </a:lnTo>
                    <a:lnTo>
                      <a:pt x="169" y="6"/>
                    </a:lnTo>
                    <a:lnTo>
                      <a:pt x="169" y="8"/>
                    </a:lnTo>
                    <a:lnTo>
                      <a:pt x="172" y="8"/>
                    </a:lnTo>
                    <a:lnTo>
                      <a:pt x="172" y="11"/>
                    </a:lnTo>
                    <a:lnTo>
                      <a:pt x="169" y="11"/>
                    </a:lnTo>
                    <a:lnTo>
                      <a:pt x="166" y="14"/>
                    </a:lnTo>
                    <a:lnTo>
                      <a:pt x="169" y="17"/>
                    </a:lnTo>
                    <a:lnTo>
                      <a:pt x="172" y="20"/>
                    </a:lnTo>
                    <a:lnTo>
                      <a:pt x="175" y="17"/>
                    </a:lnTo>
                    <a:lnTo>
                      <a:pt x="175" y="14"/>
                    </a:lnTo>
                    <a:lnTo>
                      <a:pt x="178" y="14"/>
                    </a:lnTo>
                    <a:lnTo>
                      <a:pt x="181" y="14"/>
                    </a:lnTo>
                    <a:lnTo>
                      <a:pt x="181" y="17"/>
                    </a:lnTo>
                    <a:lnTo>
                      <a:pt x="181" y="20"/>
                    </a:lnTo>
                    <a:lnTo>
                      <a:pt x="184" y="17"/>
                    </a:lnTo>
                    <a:lnTo>
                      <a:pt x="184" y="17"/>
                    </a:lnTo>
                    <a:lnTo>
                      <a:pt x="184" y="17"/>
                    </a:lnTo>
                    <a:lnTo>
                      <a:pt x="184" y="11"/>
                    </a:lnTo>
                    <a:lnTo>
                      <a:pt x="187" y="11"/>
                    </a:lnTo>
                    <a:lnTo>
                      <a:pt x="187" y="14"/>
                    </a:lnTo>
                    <a:lnTo>
                      <a:pt x="190" y="14"/>
                    </a:lnTo>
                    <a:lnTo>
                      <a:pt x="187" y="17"/>
                    </a:lnTo>
                    <a:lnTo>
                      <a:pt x="184" y="20"/>
                    </a:lnTo>
                    <a:lnTo>
                      <a:pt x="184" y="20"/>
                    </a:lnTo>
                    <a:lnTo>
                      <a:pt x="187" y="20"/>
                    </a:lnTo>
                    <a:lnTo>
                      <a:pt x="184" y="23"/>
                    </a:lnTo>
                    <a:lnTo>
                      <a:pt x="184" y="23"/>
                    </a:lnTo>
                    <a:lnTo>
                      <a:pt x="181" y="26"/>
                    </a:lnTo>
                    <a:lnTo>
                      <a:pt x="181" y="29"/>
                    </a:lnTo>
                    <a:lnTo>
                      <a:pt x="184" y="35"/>
                    </a:lnTo>
                    <a:lnTo>
                      <a:pt x="184" y="38"/>
                    </a:lnTo>
                    <a:lnTo>
                      <a:pt x="187" y="38"/>
                    </a:lnTo>
                    <a:lnTo>
                      <a:pt x="184" y="41"/>
                    </a:lnTo>
                    <a:lnTo>
                      <a:pt x="172" y="47"/>
                    </a:lnTo>
                    <a:lnTo>
                      <a:pt x="172" y="50"/>
                    </a:lnTo>
                    <a:lnTo>
                      <a:pt x="166" y="56"/>
                    </a:lnTo>
                    <a:lnTo>
                      <a:pt x="166" y="59"/>
                    </a:lnTo>
                    <a:lnTo>
                      <a:pt x="163" y="59"/>
                    </a:lnTo>
                    <a:lnTo>
                      <a:pt x="160" y="62"/>
                    </a:lnTo>
                    <a:lnTo>
                      <a:pt x="160" y="65"/>
                    </a:lnTo>
                    <a:lnTo>
                      <a:pt x="154" y="71"/>
                    </a:lnTo>
                    <a:lnTo>
                      <a:pt x="154" y="74"/>
                    </a:lnTo>
                    <a:lnTo>
                      <a:pt x="148" y="76"/>
                    </a:lnTo>
                    <a:lnTo>
                      <a:pt x="142" y="79"/>
                    </a:lnTo>
                    <a:lnTo>
                      <a:pt x="139" y="79"/>
                    </a:lnTo>
                    <a:lnTo>
                      <a:pt x="139" y="85"/>
                    </a:lnTo>
                    <a:lnTo>
                      <a:pt x="139" y="88"/>
                    </a:lnTo>
                    <a:lnTo>
                      <a:pt x="139" y="91"/>
                    </a:lnTo>
                    <a:lnTo>
                      <a:pt x="142" y="91"/>
                    </a:lnTo>
                    <a:lnTo>
                      <a:pt x="142" y="94"/>
                    </a:lnTo>
                    <a:lnTo>
                      <a:pt x="142" y="100"/>
                    </a:lnTo>
                    <a:lnTo>
                      <a:pt x="139" y="100"/>
                    </a:lnTo>
                    <a:lnTo>
                      <a:pt x="139" y="100"/>
                    </a:lnTo>
                    <a:lnTo>
                      <a:pt x="139" y="94"/>
                    </a:lnTo>
                    <a:lnTo>
                      <a:pt x="139" y="94"/>
                    </a:lnTo>
                    <a:lnTo>
                      <a:pt x="137" y="97"/>
                    </a:lnTo>
                    <a:lnTo>
                      <a:pt x="137" y="97"/>
                    </a:lnTo>
                    <a:lnTo>
                      <a:pt x="137" y="100"/>
                    </a:lnTo>
                    <a:lnTo>
                      <a:pt x="134" y="100"/>
                    </a:lnTo>
                    <a:lnTo>
                      <a:pt x="131" y="100"/>
                    </a:lnTo>
                    <a:lnTo>
                      <a:pt x="134" y="97"/>
                    </a:lnTo>
                    <a:lnTo>
                      <a:pt x="134" y="97"/>
                    </a:lnTo>
                    <a:lnTo>
                      <a:pt x="131" y="94"/>
                    </a:lnTo>
                    <a:lnTo>
                      <a:pt x="128" y="97"/>
                    </a:lnTo>
                    <a:lnTo>
                      <a:pt x="128" y="97"/>
                    </a:lnTo>
                    <a:lnTo>
                      <a:pt x="125" y="100"/>
                    </a:lnTo>
                    <a:lnTo>
                      <a:pt x="125" y="100"/>
                    </a:lnTo>
                    <a:lnTo>
                      <a:pt x="125" y="94"/>
                    </a:lnTo>
                    <a:lnTo>
                      <a:pt x="122" y="94"/>
                    </a:lnTo>
                    <a:lnTo>
                      <a:pt x="122" y="97"/>
                    </a:lnTo>
                    <a:lnTo>
                      <a:pt x="122" y="100"/>
                    </a:lnTo>
                    <a:lnTo>
                      <a:pt x="122" y="103"/>
                    </a:lnTo>
                    <a:lnTo>
                      <a:pt x="119" y="103"/>
                    </a:lnTo>
                    <a:lnTo>
                      <a:pt x="116" y="103"/>
                    </a:lnTo>
                    <a:lnTo>
                      <a:pt x="116" y="106"/>
                    </a:lnTo>
                    <a:lnTo>
                      <a:pt x="113" y="106"/>
                    </a:lnTo>
                    <a:lnTo>
                      <a:pt x="110" y="103"/>
                    </a:lnTo>
                    <a:lnTo>
                      <a:pt x="110" y="106"/>
                    </a:lnTo>
                    <a:lnTo>
                      <a:pt x="107" y="109"/>
                    </a:lnTo>
                    <a:lnTo>
                      <a:pt x="104" y="112"/>
                    </a:lnTo>
                    <a:lnTo>
                      <a:pt x="104" y="115"/>
                    </a:lnTo>
                    <a:lnTo>
                      <a:pt x="101" y="118"/>
                    </a:lnTo>
                    <a:lnTo>
                      <a:pt x="98" y="124"/>
                    </a:lnTo>
                    <a:lnTo>
                      <a:pt x="98" y="130"/>
                    </a:lnTo>
                    <a:lnTo>
                      <a:pt x="95" y="133"/>
                    </a:lnTo>
                    <a:lnTo>
                      <a:pt x="86" y="139"/>
                    </a:lnTo>
                    <a:lnTo>
                      <a:pt x="83" y="141"/>
                    </a:lnTo>
                    <a:lnTo>
                      <a:pt x="83" y="144"/>
                    </a:lnTo>
                    <a:lnTo>
                      <a:pt x="80" y="150"/>
                    </a:lnTo>
                    <a:lnTo>
                      <a:pt x="77" y="156"/>
                    </a:lnTo>
                    <a:lnTo>
                      <a:pt x="77" y="156"/>
                    </a:lnTo>
                    <a:lnTo>
                      <a:pt x="77" y="156"/>
                    </a:lnTo>
                    <a:lnTo>
                      <a:pt x="74" y="159"/>
                    </a:lnTo>
                    <a:lnTo>
                      <a:pt x="77" y="159"/>
                    </a:lnTo>
                    <a:lnTo>
                      <a:pt x="77" y="159"/>
                    </a:lnTo>
                    <a:lnTo>
                      <a:pt x="77" y="159"/>
                    </a:lnTo>
                    <a:lnTo>
                      <a:pt x="71" y="159"/>
                    </a:lnTo>
                    <a:lnTo>
                      <a:pt x="65" y="162"/>
                    </a:lnTo>
                    <a:lnTo>
                      <a:pt x="62" y="165"/>
                    </a:lnTo>
                    <a:lnTo>
                      <a:pt x="62" y="171"/>
                    </a:lnTo>
                    <a:lnTo>
                      <a:pt x="57" y="171"/>
                    </a:lnTo>
                    <a:lnTo>
                      <a:pt x="59" y="168"/>
                    </a:lnTo>
                    <a:lnTo>
                      <a:pt x="57" y="168"/>
                    </a:lnTo>
                    <a:lnTo>
                      <a:pt x="57" y="171"/>
                    </a:lnTo>
                    <a:lnTo>
                      <a:pt x="57" y="171"/>
                    </a:lnTo>
                    <a:lnTo>
                      <a:pt x="54" y="174"/>
                    </a:lnTo>
                    <a:lnTo>
                      <a:pt x="48" y="180"/>
                    </a:lnTo>
                    <a:lnTo>
                      <a:pt x="42" y="180"/>
                    </a:lnTo>
                    <a:lnTo>
                      <a:pt x="36" y="183"/>
                    </a:lnTo>
                    <a:lnTo>
                      <a:pt x="33" y="180"/>
                    </a:lnTo>
                    <a:lnTo>
                      <a:pt x="33" y="180"/>
                    </a:lnTo>
                    <a:lnTo>
                      <a:pt x="30" y="180"/>
                    </a:lnTo>
                    <a:lnTo>
                      <a:pt x="27" y="180"/>
                    </a:lnTo>
                    <a:lnTo>
                      <a:pt x="30" y="180"/>
                    </a:lnTo>
                    <a:lnTo>
                      <a:pt x="27" y="177"/>
                    </a:lnTo>
                    <a:lnTo>
                      <a:pt x="24" y="174"/>
                    </a:lnTo>
                    <a:lnTo>
                      <a:pt x="24" y="171"/>
                    </a:lnTo>
                    <a:lnTo>
                      <a:pt x="24" y="168"/>
                    </a:lnTo>
                    <a:lnTo>
                      <a:pt x="21" y="168"/>
                    </a:lnTo>
                    <a:lnTo>
                      <a:pt x="18" y="168"/>
                    </a:lnTo>
                    <a:lnTo>
                      <a:pt x="18" y="165"/>
                    </a:lnTo>
                    <a:lnTo>
                      <a:pt x="18" y="162"/>
                    </a:lnTo>
                    <a:lnTo>
                      <a:pt x="15" y="162"/>
                    </a:lnTo>
                    <a:lnTo>
                      <a:pt x="12" y="162"/>
                    </a:lnTo>
                    <a:lnTo>
                      <a:pt x="12" y="165"/>
                    </a:lnTo>
                    <a:lnTo>
                      <a:pt x="12" y="165"/>
                    </a:lnTo>
                    <a:lnTo>
                      <a:pt x="12" y="162"/>
                    </a:lnTo>
                    <a:lnTo>
                      <a:pt x="6" y="162"/>
                    </a:lnTo>
                    <a:lnTo>
                      <a:pt x="3" y="162"/>
                    </a:lnTo>
                    <a:lnTo>
                      <a:pt x="3" y="1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2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9459840"/>
      </p:ext>
    </p:extLst>
  </p:cSld>
  <p:clrMapOvr>
    <a:masterClrMapping/>
  </p:clrMapOvr>
  <p:transition spd="slow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69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94" indent="-533277" algn="l">
              <a:lnSpc>
                <a:spcPct val="90000"/>
              </a:lnSpc>
              <a:defRPr sz="6133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018010"/>
      </p:ext>
    </p:extLst>
  </p:cSld>
  <p:clrMapOvr>
    <a:masterClrMapping/>
  </p:clrMapOvr>
  <p:transition spd="slow"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800" y="812801"/>
            <a:ext cx="0" cy="5312833"/>
          </a:xfrm>
          <a:prstGeom prst="line">
            <a:avLst/>
          </a:prstGeom>
          <a:ln w="38100" cap="flat" cmpd="sng">
            <a:solidFill>
              <a:srgbClr val="65D7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18351" y="1918747"/>
            <a:ext cx="5093797" cy="302051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91430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63360" y="872691"/>
            <a:ext cx="5154507" cy="512064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2133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6233063"/>
      </p:ext>
    </p:extLst>
  </p:cSld>
  <p:clrMapOvr>
    <a:masterClrMapping/>
  </p:clrMapOvr>
  <p:transition spd="slow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latin typeface="+mj-lt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6905" y="6167967"/>
            <a:ext cx="565573" cy="35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220243"/>
            <a:ext cx="4882699" cy="42242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50000"/>
              <a:buFont typeface="Arial"/>
              <a:buChar char="•"/>
              <a:defRPr sz="2667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50000"/>
              <a:buFont typeface="Arial"/>
              <a:buChar char="•"/>
              <a:defRPr sz="24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537620" indent="-152396">
              <a:buClr>
                <a:schemeClr val="tx2"/>
              </a:buClr>
              <a:buSzPct val="50000"/>
              <a:buFont typeface="Arial"/>
              <a:buChar char="•"/>
              <a:defRPr sz="2133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690016" indent="-152396">
              <a:buClr>
                <a:schemeClr val="tx2"/>
              </a:buClr>
              <a:buSzPct val="50000"/>
              <a:buFont typeface="Arial"/>
              <a:buChar char="•"/>
              <a:defRPr sz="1867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842412" indent="-152396">
              <a:buClr>
                <a:schemeClr val="tx2"/>
              </a:buClr>
              <a:buSzPct val="5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5"/>
            <a:ext cx="4915412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1997645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259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10"/>
          <a:stretch/>
        </p:blipFill>
        <p:spPr>
          <a:xfrm>
            <a:off x="629263" y="2519034"/>
            <a:ext cx="10931516" cy="1799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805741"/>
      </p:ext>
    </p:extLst>
  </p:cSld>
  <p:clrMapOvr>
    <a:masterClrMapping/>
  </p:clrMapOvr>
  <p:transition spd="slow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_Page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2209800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709083"/>
            <a:ext cx="4734983" cy="5412316"/>
          </a:xfrm>
          <a:prstGeom prst="rect">
            <a:avLst/>
          </a:prstGeom>
        </p:spPr>
        <p:txBody>
          <a:bodyPr lIns="0" rIns="0" anchor="ctr" anchorCtr="0"/>
          <a:lstStyle>
            <a:lvl1pPr marL="304732" indent="-228548" algn="l" defTabSz="912261" rtl="0" eaLnBrk="1" fontAlgn="base" hangingPunct="1">
              <a:lnSpc>
                <a:spcPct val="95000"/>
              </a:lnSpc>
              <a:spcBef>
                <a:spcPts val="148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320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455073" indent="-222245">
              <a:lnSpc>
                <a:spcPct val="100000"/>
              </a:lnSpc>
              <a:buClr>
                <a:schemeClr val="tx1"/>
              </a:buClr>
              <a:buSzPct val="80000"/>
              <a:buFont typeface="CiscoSans Thin" panose="020B0203020201020303" pitchFamily="34" charset="0"/>
              <a:buChar char="•"/>
              <a:defRPr sz="3200"/>
            </a:lvl2pPr>
            <a:lvl3pPr marL="609585" indent="-154513">
              <a:lnSpc>
                <a:spcPct val="100000"/>
              </a:lnSpc>
              <a:buClr>
                <a:schemeClr val="tx1"/>
              </a:buClr>
              <a:buSzPct val="80000"/>
              <a:buFont typeface="CiscoSans Thin" panose="020B0203020201020303" pitchFamily="34" charset="0"/>
              <a:buChar char="•"/>
              <a:defRPr sz="2667"/>
            </a:lvl3pPr>
            <a:lvl4pPr marL="842412" indent="-232828">
              <a:lnSpc>
                <a:spcPct val="100000"/>
              </a:lnSpc>
              <a:buClr>
                <a:schemeClr val="tx1"/>
              </a:buClr>
              <a:buSzPct val="80000"/>
              <a:buFont typeface="CiscoSans Thin" panose="020B0203020201020303" pitchFamily="34" charset="0"/>
              <a:buChar char="•"/>
              <a:tabLst/>
              <a:defRPr sz="2400"/>
            </a:lvl4pPr>
            <a:lvl5pPr marL="1064657" indent="-222245">
              <a:lnSpc>
                <a:spcPct val="100000"/>
              </a:lnSpc>
              <a:buClr>
                <a:schemeClr val="tx1"/>
              </a:buClr>
              <a:buSzPct val="80000"/>
              <a:buFont typeface="CiscoSans Thin" panose="020B0203020201020303" pitchFamily="34" charset="0"/>
              <a:buChar char="•"/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6905" y="6167967"/>
            <a:ext cx="565573" cy="35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8009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_Page_Blu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680720"/>
            <a:ext cx="5078396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680720"/>
            <a:ext cx="4734983" cy="5440680"/>
          </a:xfrm>
          <a:prstGeom prst="rect">
            <a:avLst/>
          </a:prstGeom>
        </p:spPr>
        <p:txBody>
          <a:bodyPr lIns="0" rIns="0"/>
          <a:lstStyle>
            <a:lvl1pPr marL="533373" indent="-457189">
              <a:lnSpc>
                <a:spcPct val="100000"/>
              </a:lnSpc>
              <a:buClr>
                <a:schemeClr val="tx1"/>
              </a:buClr>
              <a:buSzPct val="50000"/>
              <a:defRPr lang="en-US" sz="320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304792" indent="-152396">
              <a:lnSpc>
                <a:spcPct val="100000"/>
              </a:lnSpc>
              <a:buClr>
                <a:schemeClr val="tx1"/>
              </a:buClr>
              <a:buSzPct val="50000"/>
              <a:defRPr sz="2667"/>
            </a:lvl2pPr>
            <a:lvl3pPr marL="457189" indent="-152396">
              <a:lnSpc>
                <a:spcPct val="100000"/>
              </a:lnSpc>
              <a:buClr>
                <a:schemeClr val="tx1"/>
              </a:buClr>
              <a:buSzPct val="50000"/>
              <a:defRPr sz="2400"/>
            </a:lvl3pPr>
            <a:lvl4pPr marL="609585" indent="-165096">
              <a:lnSpc>
                <a:spcPct val="100000"/>
              </a:lnSpc>
              <a:buClr>
                <a:schemeClr val="tx1"/>
              </a:buClr>
              <a:buSzPct val="50000"/>
              <a:defRPr sz="2133"/>
            </a:lvl4pPr>
            <a:lvl5pPr marL="766214" indent="-156629">
              <a:lnSpc>
                <a:spcPct val="100000"/>
              </a:lnSpc>
              <a:buClr>
                <a:schemeClr val="tx1"/>
              </a:buClr>
              <a:buSzPct val="50000"/>
              <a:defRPr sz="2133"/>
            </a:lvl5pPr>
          </a:lstStyle>
          <a:p>
            <a:pPr marL="304732" lvl="0" indent="-228548" algn="l" defTabSz="912261" rtl="0" eaLnBrk="1" fontAlgn="base" hangingPunct="1">
              <a:lnSpc>
                <a:spcPct val="95000"/>
              </a:lnSpc>
              <a:spcBef>
                <a:spcPts val="148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689" y="2213124"/>
            <a:ext cx="5078396" cy="3697817"/>
          </a:xfrm>
          <a:prstGeom prst="rect">
            <a:avLst/>
          </a:prstGeom>
        </p:spPr>
        <p:txBody>
          <a:bodyPr/>
          <a:lstStyle>
            <a:lvl1pPr marL="152396" indent="-152396">
              <a:buClr>
                <a:schemeClr val="tx2"/>
              </a:buClr>
              <a:buSzPct val="50000"/>
              <a:defRPr lang="en-US" sz="2667" kern="1200" dirty="0" smtClean="0">
                <a:solidFill>
                  <a:schemeClr val="tx2"/>
                </a:solidFill>
                <a:latin typeface="+mn-lt"/>
                <a:ea typeface="ＭＳ Ｐゴシック" charset="0"/>
                <a:cs typeface="CiscoSans"/>
              </a:defRPr>
            </a:lvl1pPr>
            <a:lvl2pPr marL="304792" indent="-152396">
              <a:buClr>
                <a:schemeClr val="tx2"/>
              </a:buClr>
              <a:buSzPct val="50000"/>
              <a:defRPr sz="2667">
                <a:solidFill>
                  <a:schemeClr val="tx2"/>
                </a:solidFill>
              </a:defRPr>
            </a:lvl2pPr>
            <a:lvl3pPr marL="457189" indent="-152396">
              <a:buClr>
                <a:schemeClr val="tx2"/>
              </a:buClr>
              <a:buSzPct val="50000"/>
              <a:defRPr sz="2400">
                <a:solidFill>
                  <a:schemeClr val="tx2"/>
                </a:solidFill>
              </a:defRPr>
            </a:lvl3pPr>
            <a:lvl4pPr marL="609585" indent="-165096">
              <a:buClr>
                <a:schemeClr val="tx2"/>
              </a:buClr>
              <a:buSzPct val="50000"/>
              <a:defRPr sz="2133">
                <a:solidFill>
                  <a:schemeClr val="tx2"/>
                </a:solidFill>
              </a:defRPr>
            </a:lvl4pPr>
            <a:lvl5pPr marL="766214" indent="-156629">
              <a:buClr>
                <a:schemeClr val="tx2"/>
              </a:buClr>
              <a:buSzPct val="50000"/>
              <a:defRPr sz="21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6905" y="6167967"/>
            <a:ext cx="565573" cy="35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9153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267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3689" y="1797051"/>
            <a:ext cx="5201497" cy="411079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2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2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086392" y="1797051"/>
            <a:ext cx="5624613" cy="411079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2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2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799773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_Page_Blu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6034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6905" y="6167967"/>
            <a:ext cx="565573" cy="35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711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196">
          <p15:clr>
            <a:srgbClr val="FBAE40"/>
          </p15:clr>
        </p15:guide>
        <p15:guide id="2" pos="2675">
          <p15:clr>
            <a:srgbClr val="FBAE40"/>
          </p15:clr>
        </p15:guide>
        <p15:guide id="3" pos="320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7135B-AE5C-8041-8800-8968DE66E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3E0484-7653-4949-A30E-A2C2EAF445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80530C-2581-BC44-93E6-ECDFDEB45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D8110-A292-5241-B630-D6774E40F8D8}" type="datetimeFigureOut">
              <a:rPr lang="en-US" smtClean="0"/>
              <a:t>1/1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787632-4298-D946-ABE2-6BC385F1F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DE16F1-BFF0-4044-9417-6C7B1205D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55991-60D6-4E43-B72D-641256C7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9935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7"/>
            <a:ext cx="11127317" cy="354753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0" y="5530961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2133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8985473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_Page_Blu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786034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6905" y="6167967"/>
            <a:ext cx="565573" cy="35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925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6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1"/>
            <a:ext cx="11127317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0" y="5530961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2133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8957492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_Page_Blu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106790" y="0"/>
            <a:ext cx="6085209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6905" y="6167967"/>
            <a:ext cx="565573" cy="35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849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_Page_Blu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4" y="709084"/>
            <a:ext cx="4745567" cy="44864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6034" y="5416468"/>
            <a:ext cx="4745567" cy="7001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6905" y="6167967"/>
            <a:ext cx="565573" cy="35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3587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085" y="617220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751" y="4672195"/>
            <a:ext cx="10852149" cy="620876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230394" indent="0">
              <a:lnSpc>
                <a:spcPts val="4907"/>
              </a:lnSpc>
              <a:spcBef>
                <a:spcPts val="0"/>
              </a:spcBef>
              <a:buNone/>
              <a:defRPr sz="3200" i="1">
                <a:solidFill>
                  <a:srgbClr val="58585B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9185487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085" y="617220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2806154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5" y="5142315"/>
            <a:ext cx="11061895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>
                    <a:lumMod val="75000"/>
                  </a:schemeClr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5" y="5430226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798350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3" y="4058205"/>
            <a:ext cx="11070167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>
                    <a:lumMod val="75000"/>
                  </a:schemeClr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7" y="3296223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>
                    <a:lumMod val="75000"/>
                  </a:schemeClr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625995" y="521745"/>
            <a:ext cx="1060704" cy="563500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10"/>
          <a:stretch/>
        </p:blipFill>
        <p:spPr>
          <a:xfrm>
            <a:off x="7761828" y="312637"/>
            <a:ext cx="4191536" cy="68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393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680720"/>
            <a:ext cx="5078396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680720"/>
            <a:ext cx="4734983" cy="5440680"/>
          </a:xfrm>
          <a:prstGeom prst="rect">
            <a:avLst/>
          </a:prstGeom>
        </p:spPr>
        <p:txBody>
          <a:bodyPr lIns="0" rIns="0"/>
          <a:lstStyle>
            <a:lvl1pPr marL="152396" indent="-152396">
              <a:lnSpc>
                <a:spcPct val="100000"/>
              </a:lnSpc>
              <a:buClr>
                <a:schemeClr val="tx1"/>
              </a:buClr>
              <a:buSzPct val="60000"/>
              <a:defRPr sz="2667"/>
            </a:lvl1pPr>
            <a:lvl2pPr marL="304792" indent="-152396">
              <a:lnSpc>
                <a:spcPct val="100000"/>
              </a:lnSpc>
              <a:buClr>
                <a:schemeClr val="tx1"/>
              </a:buClr>
              <a:buSzPct val="60000"/>
              <a:defRPr sz="2667"/>
            </a:lvl2pPr>
            <a:lvl3pPr marL="457189" indent="-152396">
              <a:lnSpc>
                <a:spcPct val="100000"/>
              </a:lnSpc>
              <a:buClr>
                <a:schemeClr val="tx1"/>
              </a:buClr>
              <a:buSzPct val="60000"/>
              <a:defRPr sz="2400"/>
            </a:lvl3pPr>
            <a:lvl4pPr marL="609585" indent="-165096">
              <a:lnSpc>
                <a:spcPct val="100000"/>
              </a:lnSpc>
              <a:buClr>
                <a:schemeClr val="tx1"/>
              </a:buClr>
              <a:buSzPct val="60000"/>
              <a:defRPr sz="2133"/>
            </a:lvl4pPr>
            <a:lvl5pPr marL="766214" indent="-156629">
              <a:lnSpc>
                <a:spcPct val="100000"/>
              </a:lnSpc>
              <a:buClr>
                <a:schemeClr val="tx1"/>
              </a:buClr>
              <a:buSzPct val="60000"/>
              <a:defRPr sz="21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689" y="2213123"/>
            <a:ext cx="5078396" cy="3908277"/>
          </a:xfrm>
          <a:prstGeom prst="rect">
            <a:avLst/>
          </a:prstGeom>
        </p:spPr>
        <p:txBody>
          <a:bodyPr/>
          <a:lstStyle>
            <a:lvl1pPr marL="152396" indent="-152396">
              <a:buClr>
                <a:schemeClr val="tx2"/>
              </a:buClr>
              <a:buSzPct val="60000"/>
              <a:defRPr lang="en-US" sz="2667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1pPr>
            <a:lvl2pPr marL="304792" indent="-152396">
              <a:buClr>
                <a:schemeClr val="tx2"/>
              </a:buClr>
              <a:buSzPct val="60000"/>
              <a:defRPr sz="2667">
                <a:solidFill>
                  <a:schemeClr val="bg1">
                    <a:lumMod val="75000"/>
                  </a:schemeClr>
                </a:solidFill>
              </a:defRPr>
            </a:lvl2pPr>
            <a:lvl3pPr marL="457189" indent="-152396">
              <a:buClr>
                <a:schemeClr val="tx2"/>
              </a:buClr>
              <a:buSzPct val="60000"/>
              <a:defRPr sz="2400">
                <a:solidFill>
                  <a:schemeClr val="bg1">
                    <a:lumMod val="75000"/>
                  </a:schemeClr>
                </a:solidFill>
              </a:defRPr>
            </a:lvl3pPr>
            <a:lvl4pPr marL="609585" indent="-165096">
              <a:buClr>
                <a:schemeClr val="tx2"/>
              </a:buClr>
              <a:buSzPct val="60000"/>
              <a:defRPr sz="2133">
                <a:solidFill>
                  <a:schemeClr val="bg1">
                    <a:lumMod val="75000"/>
                  </a:schemeClr>
                </a:solidFill>
              </a:defRPr>
            </a:lvl4pPr>
            <a:lvl5pPr marL="766214" indent="-156629">
              <a:buClr>
                <a:schemeClr val="tx2"/>
              </a:buClr>
              <a:buSzPct val="60000"/>
              <a:defRPr sz="2133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5" y="6322205"/>
            <a:ext cx="447895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38444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5" y="5158358"/>
            <a:ext cx="11061895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2133" b="0" i="0">
                <a:solidFill>
                  <a:schemeClr val="bg2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5" y="5478354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798350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3" y="4281951"/>
            <a:ext cx="11070167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7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625995" y="521745"/>
            <a:ext cx="1060704" cy="563500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-1925889" y="519071"/>
            <a:ext cx="14117889" cy="2823024"/>
            <a:chOff x="-1444417" y="389303"/>
            <a:chExt cx="10588417" cy="2117268"/>
          </a:xfrm>
        </p:grpSpPr>
        <p:sp>
          <p:nvSpPr>
            <p:cNvPr id="9" name="Freeform: Shape 2"/>
            <p:cNvSpPr/>
            <p:nvPr/>
          </p:nvSpPr>
          <p:spPr>
            <a:xfrm>
              <a:off x="4672025" y="1717771"/>
              <a:ext cx="341330" cy="34133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4842689" y="1710517"/>
              <a:ext cx="0" cy="225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4842689" y="2051083"/>
              <a:ext cx="0" cy="225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4903395" y="1724262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4773965" y="2039247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4956085" y="1764733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4713641" y="2004122"/>
              <a:ext cx="16035" cy="1527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 flipH="1">
              <a:off x="4990064" y="1823530"/>
              <a:ext cx="20617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 flipH="1">
              <a:off x="4674315" y="1951815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 flipH="1">
              <a:off x="5001518" y="1891491"/>
              <a:ext cx="225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 flipH="1">
              <a:off x="4661334" y="1892254"/>
              <a:ext cx="2214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 flipH="1" flipV="1">
              <a:off x="4990064" y="1951815"/>
              <a:ext cx="21000" cy="80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 flipH="1" flipV="1">
              <a:off x="4674315" y="1823912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4715169" y="1763206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4954558" y="2005267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4769766" y="1725788"/>
              <a:ext cx="9162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4906831" y="2037719"/>
              <a:ext cx="8781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19"/>
            <p:cNvSpPr/>
            <p:nvPr/>
          </p:nvSpPr>
          <p:spPr>
            <a:xfrm>
              <a:off x="4788855" y="1885382"/>
              <a:ext cx="106904" cy="31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4685005" y="2182422"/>
              <a:ext cx="0" cy="1164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1"/>
            <p:cNvSpPr/>
            <p:nvPr/>
          </p:nvSpPr>
          <p:spPr>
            <a:xfrm>
              <a:off x="5098113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22"/>
            <p:cNvSpPr/>
            <p:nvPr/>
          </p:nvSpPr>
          <p:spPr>
            <a:xfrm>
              <a:off x="5131330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5121021" y="2025502"/>
              <a:ext cx="11339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24"/>
            <p:cNvSpPr/>
            <p:nvPr/>
          </p:nvSpPr>
          <p:spPr>
            <a:xfrm>
              <a:off x="4714404" y="1929671"/>
              <a:ext cx="376837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4898814" y="2211439"/>
              <a:ext cx="18097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26"/>
            <p:cNvSpPr/>
            <p:nvPr/>
          </p:nvSpPr>
          <p:spPr>
            <a:xfrm>
              <a:off x="5829643" y="1929671"/>
              <a:ext cx="376455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 flipH="1">
              <a:off x="5841097" y="2211439"/>
              <a:ext cx="18135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4728532" y="2304217"/>
              <a:ext cx="2138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5256942" y="1939979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5256942" y="196670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5256942" y="201748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5256942" y="2198458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5256942" y="2250383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34"/>
            <p:cNvSpPr/>
            <p:nvPr/>
          </p:nvSpPr>
          <p:spPr>
            <a:xfrm>
              <a:off x="5094677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35"/>
            <p:cNvSpPr/>
            <p:nvPr/>
          </p:nvSpPr>
          <p:spPr>
            <a:xfrm>
              <a:off x="5222962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36"/>
            <p:cNvSpPr/>
            <p:nvPr/>
          </p:nvSpPr>
          <p:spPr>
            <a:xfrm>
              <a:off x="5120258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37"/>
            <p:cNvSpPr/>
            <p:nvPr/>
          </p:nvSpPr>
          <p:spPr>
            <a:xfrm>
              <a:off x="5162638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38"/>
            <p:cNvSpPr/>
            <p:nvPr/>
          </p:nvSpPr>
          <p:spPr>
            <a:xfrm>
              <a:off x="5663942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Freeform: Shape 39"/>
            <p:cNvSpPr/>
            <p:nvPr/>
          </p:nvSpPr>
          <p:spPr>
            <a:xfrm>
              <a:off x="5697158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5686468" y="2025502"/>
              <a:ext cx="11377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Freeform: Shape 41"/>
            <p:cNvSpPr/>
            <p:nvPr/>
          </p:nvSpPr>
          <p:spPr>
            <a:xfrm>
              <a:off x="5660505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Freeform: Shape 42"/>
            <p:cNvSpPr/>
            <p:nvPr/>
          </p:nvSpPr>
          <p:spPr>
            <a:xfrm>
              <a:off x="5788409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43"/>
            <p:cNvSpPr/>
            <p:nvPr/>
          </p:nvSpPr>
          <p:spPr>
            <a:xfrm>
              <a:off x="5685704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44"/>
            <p:cNvSpPr/>
            <p:nvPr/>
          </p:nvSpPr>
          <p:spPr>
            <a:xfrm>
              <a:off x="7548126" y="2107208"/>
              <a:ext cx="272224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45"/>
            <p:cNvSpPr/>
            <p:nvPr/>
          </p:nvSpPr>
          <p:spPr>
            <a:xfrm>
              <a:off x="5728466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5051152" y="2304217"/>
              <a:ext cx="7937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5167601" y="2337815"/>
              <a:ext cx="0" cy="5421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5229071" y="2335143"/>
              <a:ext cx="455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5366519" y="2379431"/>
              <a:ext cx="1664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5413099" y="2407685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7335463" y="2432502"/>
              <a:ext cx="16646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7382044" y="2461137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7582107" y="2402721"/>
              <a:ext cx="400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5837279" y="2329797"/>
              <a:ext cx="0" cy="80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 flipH="1">
              <a:off x="5862096" y="2340106"/>
              <a:ext cx="3634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 flipV="1">
              <a:off x="5862096" y="2218312"/>
              <a:ext cx="0" cy="45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57"/>
            <p:cNvSpPr/>
            <p:nvPr/>
          </p:nvSpPr>
          <p:spPr>
            <a:xfrm>
              <a:off x="5902185" y="2277109"/>
              <a:ext cx="303913" cy="423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58"/>
            <p:cNvSpPr/>
            <p:nvPr/>
          </p:nvSpPr>
          <p:spPr>
            <a:xfrm>
              <a:off x="5998781" y="1627666"/>
              <a:ext cx="83996" cy="5906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59"/>
            <p:cNvSpPr/>
            <p:nvPr/>
          </p:nvSpPr>
          <p:spPr>
            <a:xfrm>
              <a:off x="6051086" y="1503962"/>
              <a:ext cx="285969" cy="73343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0"/>
            <p:cNvSpPr/>
            <p:nvPr/>
          </p:nvSpPr>
          <p:spPr>
            <a:xfrm>
              <a:off x="6083159" y="1555888"/>
              <a:ext cx="104995" cy="6624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6210680" y="1979305"/>
              <a:ext cx="305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6224043" y="2021303"/>
              <a:ext cx="0" cy="213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63"/>
            <p:cNvSpPr/>
            <p:nvPr/>
          </p:nvSpPr>
          <p:spPr>
            <a:xfrm>
              <a:off x="6261078" y="1471892"/>
              <a:ext cx="76360" cy="7307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64"/>
            <p:cNvSpPr/>
            <p:nvPr/>
          </p:nvSpPr>
          <p:spPr>
            <a:xfrm>
              <a:off x="6337819" y="1130562"/>
              <a:ext cx="112249" cy="11538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6359582" y="1332153"/>
              <a:ext cx="0" cy="95335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66"/>
            <p:cNvSpPr/>
            <p:nvPr/>
          </p:nvSpPr>
          <p:spPr>
            <a:xfrm>
              <a:off x="6337819" y="1413858"/>
              <a:ext cx="161883" cy="87126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67"/>
            <p:cNvSpPr/>
            <p:nvPr/>
          </p:nvSpPr>
          <p:spPr>
            <a:xfrm>
              <a:off x="6450449" y="1387132"/>
              <a:ext cx="113395" cy="73114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6492449" y="1513126"/>
              <a:ext cx="0" cy="5853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69"/>
            <p:cNvSpPr/>
            <p:nvPr/>
          </p:nvSpPr>
          <p:spPr>
            <a:xfrm>
              <a:off x="6447777" y="2136225"/>
              <a:ext cx="400127" cy="1466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6323311" y="2317198"/>
              <a:ext cx="1966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6304985" y="2329797"/>
              <a:ext cx="0" cy="5994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6579880" y="1944179"/>
              <a:ext cx="794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6602406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6626461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Freeform: Shape 75"/>
            <p:cNvSpPr/>
            <p:nvPr/>
          </p:nvSpPr>
          <p:spPr>
            <a:xfrm>
              <a:off x="6602406" y="2021303"/>
              <a:ext cx="40471" cy="9125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Freeform: Shape 76"/>
            <p:cNvSpPr/>
            <p:nvPr/>
          </p:nvSpPr>
          <p:spPr>
            <a:xfrm>
              <a:off x="6487102" y="2255346"/>
              <a:ext cx="77124" cy="316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Freeform: Shape 77"/>
            <p:cNvSpPr/>
            <p:nvPr/>
          </p:nvSpPr>
          <p:spPr>
            <a:xfrm>
              <a:off x="6636006" y="2283218"/>
              <a:ext cx="179064" cy="442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Freeform: Shape 78"/>
            <p:cNvSpPr/>
            <p:nvPr/>
          </p:nvSpPr>
          <p:spPr>
            <a:xfrm>
              <a:off x="6282840" y="2106062"/>
              <a:ext cx="54597" cy="9048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6277113" y="171471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6277113" y="174526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6277113" y="177580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6277113" y="180596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6277113" y="183651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6277113" y="186705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6277113" y="189759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6277113" y="192814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6277113" y="195868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6277113" y="198961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6277113" y="201977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6277113" y="205031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6529483" y="1636830"/>
              <a:ext cx="347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6736801" y="2353469"/>
              <a:ext cx="22029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6880358" y="2279400"/>
              <a:ext cx="26573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94"/>
            <p:cNvSpPr/>
            <p:nvPr/>
          </p:nvSpPr>
          <p:spPr>
            <a:xfrm>
              <a:off x="6659295" y="1445929"/>
              <a:ext cx="302768" cy="7853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95"/>
            <p:cNvSpPr/>
            <p:nvPr/>
          </p:nvSpPr>
          <p:spPr>
            <a:xfrm>
              <a:off x="6926937" y="2010994"/>
              <a:ext cx="335603" cy="2256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7010934" y="2337815"/>
              <a:ext cx="5482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97"/>
            <p:cNvSpPr/>
            <p:nvPr/>
          </p:nvSpPr>
          <p:spPr>
            <a:xfrm>
              <a:off x="6930755" y="2066355"/>
              <a:ext cx="57270" cy="1867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98"/>
            <p:cNvSpPr/>
            <p:nvPr/>
          </p:nvSpPr>
          <p:spPr>
            <a:xfrm>
              <a:off x="7018570" y="2194640"/>
              <a:ext cx="111104" cy="2596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6957099" y="1882326"/>
              <a:ext cx="0" cy="332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0"/>
            <p:cNvSpPr/>
            <p:nvPr/>
          </p:nvSpPr>
          <p:spPr>
            <a:xfrm>
              <a:off x="6977334" y="1437912"/>
              <a:ext cx="255043" cy="736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1"/>
            <p:cNvSpPr/>
            <p:nvPr/>
          </p:nvSpPr>
          <p:spPr>
            <a:xfrm>
              <a:off x="7071639" y="1514654"/>
              <a:ext cx="105377" cy="1217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2"/>
            <p:cNvSpPr/>
            <p:nvPr/>
          </p:nvSpPr>
          <p:spPr>
            <a:xfrm>
              <a:off x="7054077" y="1597504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03"/>
            <p:cNvSpPr/>
            <p:nvPr/>
          </p:nvSpPr>
          <p:spPr>
            <a:xfrm>
              <a:off x="7036514" y="1681118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04"/>
            <p:cNvSpPr/>
            <p:nvPr/>
          </p:nvSpPr>
          <p:spPr>
            <a:xfrm>
              <a:off x="7018570" y="1763206"/>
              <a:ext cx="185937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05"/>
            <p:cNvSpPr/>
            <p:nvPr/>
          </p:nvSpPr>
          <p:spPr>
            <a:xfrm>
              <a:off x="7001007" y="1847583"/>
              <a:ext cx="206172" cy="2309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06"/>
            <p:cNvSpPr/>
            <p:nvPr/>
          </p:nvSpPr>
          <p:spPr>
            <a:xfrm>
              <a:off x="7033841" y="1522290"/>
              <a:ext cx="105759" cy="12217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Freeform: Shape 107"/>
            <p:cNvSpPr/>
            <p:nvPr/>
          </p:nvSpPr>
          <p:spPr>
            <a:xfrm>
              <a:off x="7022005" y="1605140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108"/>
            <p:cNvSpPr/>
            <p:nvPr/>
          </p:nvSpPr>
          <p:spPr>
            <a:xfrm>
              <a:off x="7015897" y="1689135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109"/>
            <p:cNvSpPr/>
            <p:nvPr/>
          </p:nvSpPr>
          <p:spPr>
            <a:xfrm>
              <a:off x="7006733" y="1770842"/>
              <a:ext cx="185555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Freeform: Shape 110"/>
            <p:cNvSpPr/>
            <p:nvPr/>
          </p:nvSpPr>
          <p:spPr>
            <a:xfrm>
              <a:off x="7097983" y="1855601"/>
              <a:ext cx="111868" cy="15577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Freeform: Shape 111"/>
            <p:cNvSpPr/>
            <p:nvPr/>
          </p:nvSpPr>
          <p:spPr>
            <a:xfrm>
              <a:off x="7289647" y="1637211"/>
              <a:ext cx="247407" cy="59102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Freeform: Shape 112"/>
            <p:cNvSpPr/>
            <p:nvPr/>
          </p:nvSpPr>
          <p:spPr>
            <a:xfrm>
              <a:off x="7251467" y="1601322"/>
              <a:ext cx="57270" cy="6204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Freeform: Shape 113"/>
            <p:cNvSpPr/>
            <p:nvPr/>
          </p:nvSpPr>
          <p:spPr>
            <a:xfrm>
              <a:off x="7288120" y="1574214"/>
              <a:ext cx="267642" cy="5425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7315227" y="1687991"/>
              <a:ext cx="200064" cy="11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7316756" y="1717390"/>
              <a:ext cx="197009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7318665" y="1746788"/>
              <a:ext cx="193573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7320574" y="1776187"/>
              <a:ext cx="190137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 flipV="1">
              <a:off x="7322483" y="1805204"/>
              <a:ext cx="18708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7324392" y="1834602"/>
              <a:ext cx="183646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 flipV="1">
              <a:off x="7326301" y="1864001"/>
              <a:ext cx="18059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 flipV="1">
              <a:off x="7328210" y="1893400"/>
              <a:ext cx="17677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 flipV="1">
              <a:off x="7329736" y="1922797"/>
              <a:ext cx="173719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 flipV="1">
              <a:off x="7331645" y="1952197"/>
              <a:ext cx="170665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 flipV="1">
              <a:off x="7333554" y="1981595"/>
              <a:ext cx="167230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7335463" y="2010994"/>
              <a:ext cx="164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 flipV="1">
              <a:off x="7337372" y="2040392"/>
              <a:ext cx="160739" cy="3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7339281" y="2069791"/>
              <a:ext cx="15730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7340809" y="2099190"/>
              <a:ext cx="15424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7342718" y="2128589"/>
              <a:ext cx="15119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7344627" y="2157987"/>
              <a:ext cx="1477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7346536" y="2187386"/>
              <a:ext cx="14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7348062" y="2216784"/>
              <a:ext cx="1412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7223977" y="2077809"/>
              <a:ext cx="416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7242686" y="2133552"/>
              <a:ext cx="0" cy="61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7303775" y="2253437"/>
              <a:ext cx="1630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7519110" y="2275964"/>
              <a:ext cx="49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7666103" y="2284745"/>
              <a:ext cx="0" cy="874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7735973" y="2322543"/>
              <a:ext cx="69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7741318" y="2358432"/>
              <a:ext cx="5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7529036" y="2119044"/>
              <a:ext cx="93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7761935" y="2115225"/>
              <a:ext cx="542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7795533" y="2074372"/>
              <a:ext cx="0" cy="408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7808515" y="2194640"/>
              <a:ext cx="0" cy="736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7606923" y="2040392"/>
              <a:ext cx="0" cy="515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7632505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7658466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7684430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7710392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7735973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7761935" y="2041538"/>
              <a:ext cx="0" cy="5039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7587070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7783698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7595852" y="201443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154"/>
            <p:cNvSpPr/>
            <p:nvPr/>
          </p:nvSpPr>
          <p:spPr>
            <a:xfrm>
              <a:off x="7598524" y="1885764"/>
              <a:ext cx="170665" cy="1019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7666103" y="1861328"/>
              <a:ext cx="3703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7672594" y="1837275"/>
              <a:ext cx="255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7685575" y="1759006"/>
              <a:ext cx="0" cy="465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7650831" y="2232820"/>
              <a:ext cx="683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7854331" y="2068263"/>
              <a:ext cx="7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7840204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7940999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7845166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786883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789212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791541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793870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Freeform: Shape 167"/>
            <p:cNvSpPr/>
            <p:nvPr/>
          </p:nvSpPr>
          <p:spPr>
            <a:xfrm>
              <a:off x="7836386" y="1858274"/>
              <a:ext cx="105759" cy="908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Freeform: Shape 168"/>
            <p:cNvSpPr/>
            <p:nvPr/>
          </p:nvSpPr>
          <p:spPr>
            <a:xfrm>
              <a:off x="7867694" y="1990377"/>
              <a:ext cx="46580" cy="465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7863112" y="1940743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7863112" y="1959069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7863876" y="1905235"/>
              <a:ext cx="507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Freeform: Shape 172"/>
            <p:cNvSpPr/>
            <p:nvPr/>
          </p:nvSpPr>
          <p:spPr>
            <a:xfrm>
              <a:off x="7863876" y="1818185"/>
              <a:ext cx="50016" cy="397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7890220" y="1873164"/>
              <a:ext cx="0" cy="217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 flipV="1">
              <a:off x="7889456" y="1780005"/>
              <a:ext cx="0" cy="3856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7983378" y="2125534"/>
              <a:ext cx="0" cy="862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7955890" y="2211821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7879911" y="2358432"/>
              <a:ext cx="4394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Freeform: Shape 178"/>
            <p:cNvSpPr/>
            <p:nvPr/>
          </p:nvSpPr>
          <p:spPr>
            <a:xfrm>
              <a:off x="7996361" y="1052675"/>
              <a:ext cx="322621" cy="128704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8157100" y="1147741"/>
              <a:ext cx="130534" cy="1183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8301037" y="2174023"/>
              <a:ext cx="1286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8352962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9072656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8526300" y="2358432"/>
              <a:ext cx="26611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8577843" y="2389740"/>
              <a:ext cx="771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8315164" y="2014812"/>
              <a:ext cx="67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8476284" y="2014812"/>
              <a:ext cx="1496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8385797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Freeform: Shape 188"/>
            <p:cNvSpPr/>
            <p:nvPr/>
          </p:nvSpPr>
          <p:spPr>
            <a:xfrm>
              <a:off x="8476284" y="1918598"/>
              <a:ext cx="353929" cy="3260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8429704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8429704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8359835" y="1900272"/>
              <a:ext cx="14203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192"/>
            <p:cNvSpPr/>
            <p:nvPr/>
          </p:nvSpPr>
          <p:spPr>
            <a:xfrm>
              <a:off x="8371289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8430849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8629004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8719491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8673293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8673293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8603422" y="1900272"/>
              <a:ext cx="14203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0"/>
            <p:cNvSpPr/>
            <p:nvPr/>
          </p:nvSpPr>
          <p:spPr>
            <a:xfrm>
              <a:off x="8614876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8674438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Freeform: Shape 202"/>
            <p:cNvSpPr/>
            <p:nvPr/>
          </p:nvSpPr>
          <p:spPr>
            <a:xfrm>
              <a:off x="8746217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03"/>
            <p:cNvSpPr/>
            <p:nvPr/>
          </p:nvSpPr>
          <p:spPr>
            <a:xfrm>
              <a:off x="8838612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Freeform: Shape 204"/>
            <p:cNvSpPr/>
            <p:nvPr/>
          </p:nvSpPr>
          <p:spPr>
            <a:xfrm>
              <a:off x="8931008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05"/>
            <p:cNvSpPr/>
            <p:nvPr/>
          </p:nvSpPr>
          <p:spPr>
            <a:xfrm>
              <a:off x="9023403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Freeform: Shape 206"/>
            <p:cNvSpPr/>
            <p:nvPr/>
          </p:nvSpPr>
          <p:spPr>
            <a:xfrm>
              <a:off x="8374725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07"/>
            <p:cNvSpPr/>
            <p:nvPr/>
          </p:nvSpPr>
          <p:spPr>
            <a:xfrm>
              <a:off x="8614495" y="2287418"/>
              <a:ext cx="200063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Freeform: Shape 208"/>
            <p:cNvSpPr/>
            <p:nvPr/>
          </p:nvSpPr>
          <p:spPr>
            <a:xfrm>
              <a:off x="8854266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9112745" y="1956778"/>
              <a:ext cx="0" cy="584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0" y="2215257"/>
              <a:ext cx="165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53002" y="2248474"/>
              <a:ext cx="0" cy="1233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201523" y="2145770"/>
              <a:ext cx="568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327899" y="2190822"/>
              <a:ext cx="30734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425258" y="2233584"/>
              <a:ext cx="1130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831112" y="2115988"/>
              <a:ext cx="0" cy="347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871201" y="2150733"/>
              <a:ext cx="3798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226"/>
            <p:cNvSpPr/>
            <p:nvPr/>
          </p:nvSpPr>
          <p:spPr>
            <a:xfrm>
              <a:off x="918926" y="1782296"/>
              <a:ext cx="547883" cy="350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227"/>
            <p:cNvSpPr/>
            <p:nvPr/>
          </p:nvSpPr>
          <p:spPr>
            <a:xfrm>
              <a:off x="1501935" y="1459292"/>
              <a:ext cx="339039" cy="71434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8"/>
            <p:cNvSpPr/>
            <p:nvPr/>
          </p:nvSpPr>
          <p:spPr>
            <a:xfrm>
              <a:off x="1702380" y="2028939"/>
              <a:ext cx="277951" cy="2172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1879918" y="1983123"/>
              <a:ext cx="843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1905880" y="1931961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1651219" y="1338262"/>
              <a:ext cx="423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1620675" y="1375296"/>
              <a:ext cx="1030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Freeform: Shape 233"/>
            <p:cNvSpPr/>
            <p:nvPr/>
          </p:nvSpPr>
          <p:spPr>
            <a:xfrm>
              <a:off x="1597768" y="1403931"/>
              <a:ext cx="151575" cy="549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1588604" y="2263364"/>
              <a:ext cx="1977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 flipV="1">
              <a:off x="1895190" y="2072081"/>
              <a:ext cx="0" cy="1679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 flipV="1">
              <a:off x="203798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216932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238"/>
            <p:cNvSpPr/>
            <p:nvPr/>
          </p:nvSpPr>
          <p:spPr>
            <a:xfrm>
              <a:off x="2044475" y="1496708"/>
              <a:ext cx="116831" cy="358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2103653" y="1382169"/>
              <a:ext cx="0" cy="1145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40"/>
            <p:cNvSpPr/>
            <p:nvPr/>
          </p:nvSpPr>
          <p:spPr>
            <a:xfrm>
              <a:off x="2074254" y="1557033"/>
              <a:ext cx="58034" cy="320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241"/>
            <p:cNvSpPr/>
            <p:nvPr/>
          </p:nvSpPr>
          <p:spPr>
            <a:xfrm>
              <a:off x="2058982" y="1619649"/>
              <a:ext cx="87050" cy="164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2"/>
            <p:cNvSpPr/>
            <p:nvPr/>
          </p:nvSpPr>
          <p:spPr>
            <a:xfrm>
              <a:off x="2055546" y="165973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3"/>
            <p:cNvSpPr/>
            <p:nvPr/>
          </p:nvSpPr>
          <p:spPr>
            <a:xfrm>
              <a:off x="2055546" y="169142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4"/>
            <p:cNvSpPr/>
            <p:nvPr/>
          </p:nvSpPr>
          <p:spPr>
            <a:xfrm>
              <a:off x="2055546" y="172273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5"/>
            <p:cNvSpPr/>
            <p:nvPr/>
          </p:nvSpPr>
          <p:spPr>
            <a:xfrm>
              <a:off x="2055546" y="1754041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6"/>
            <p:cNvSpPr/>
            <p:nvPr/>
          </p:nvSpPr>
          <p:spPr>
            <a:xfrm>
              <a:off x="2055546" y="178535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7"/>
            <p:cNvSpPr/>
            <p:nvPr/>
          </p:nvSpPr>
          <p:spPr>
            <a:xfrm>
              <a:off x="2055546" y="181665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8"/>
            <p:cNvSpPr/>
            <p:nvPr/>
          </p:nvSpPr>
          <p:spPr>
            <a:xfrm>
              <a:off x="2055546" y="184796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9"/>
            <p:cNvSpPr/>
            <p:nvPr/>
          </p:nvSpPr>
          <p:spPr>
            <a:xfrm>
              <a:off x="2055546" y="187965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50"/>
            <p:cNvSpPr/>
            <p:nvPr/>
          </p:nvSpPr>
          <p:spPr>
            <a:xfrm>
              <a:off x="2055546" y="191096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51"/>
            <p:cNvSpPr/>
            <p:nvPr/>
          </p:nvSpPr>
          <p:spPr>
            <a:xfrm>
              <a:off x="2055546" y="194226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2"/>
            <p:cNvSpPr/>
            <p:nvPr/>
          </p:nvSpPr>
          <p:spPr>
            <a:xfrm>
              <a:off x="2055546" y="197395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3"/>
            <p:cNvSpPr/>
            <p:nvPr/>
          </p:nvSpPr>
          <p:spPr>
            <a:xfrm>
              <a:off x="2055546" y="200564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4"/>
            <p:cNvSpPr/>
            <p:nvPr/>
          </p:nvSpPr>
          <p:spPr>
            <a:xfrm>
              <a:off x="2055546" y="203695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5"/>
            <p:cNvSpPr/>
            <p:nvPr/>
          </p:nvSpPr>
          <p:spPr>
            <a:xfrm>
              <a:off x="2186122" y="173838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6"/>
            <p:cNvSpPr/>
            <p:nvPr/>
          </p:nvSpPr>
          <p:spPr>
            <a:xfrm>
              <a:off x="2186122" y="175976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7"/>
            <p:cNvSpPr/>
            <p:nvPr/>
          </p:nvSpPr>
          <p:spPr>
            <a:xfrm>
              <a:off x="2186122" y="1780768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8"/>
            <p:cNvSpPr/>
            <p:nvPr/>
          </p:nvSpPr>
          <p:spPr>
            <a:xfrm>
              <a:off x="2186122" y="180214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9"/>
            <p:cNvSpPr/>
            <p:nvPr/>
          </p:nvSpPr>
          <p:spPr>
            <a:xfrm>
              <a:off x="2186122" y="1823530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60"/>
            <p:cNvSpPr/>
            <p:nvPr/>
          </p:nvSpPr>
          <p:spPr>
            <a:xfrm>
              <a:off x="2186122" y="184491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61"/>
            <p:cNvSpPr/>
            <p:nvPr/>
          </p:nvSpPr>
          <p:spPr>
            <a:xfrm>
              <a:off x="2186122" y="186629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2"/>
            <p:cNvSpPr/>
            <p:nvPr/>
          </p:nvSpPr>
          <p:spPr>
            <a:xfrm>
              <a:off x="2186122" y="188805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3"/>
            <p:cNvSpPr/>
            <p:nvPr/>
          </p:nvSpPr>
          <p:spPr>
            <a:xfrm>
              <a:off x="2186122" y="1909053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4"/>
            <p:cNvSpPr/>
            <p:nvPr/>
          </p:nvSpPr>
          <p:spPr>
            <a:xfrm>
              <a:off x="2186122" y="193043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5"/>
            <p:cNvSpPr/>
            <p:nvPr/>
          </p:nvSpPr>
          <p:spPr>
            <a:xfrm>
              <a:off x="2186122" y="1951815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6"/>
            <p:cNvSpPr/>
            <p:nvPr/>
          </p:nvSpPr>
          <p:spPr>
            <a:xfrm>
              <a:off x="2186122" y="197319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7"/>
            <p:cNvSpPr/>
            <p:nvPr/>
          </p:nvSpPr>
          <p:spPr>
            <a:xfrm>
              <a:off x="2186122" y="199457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8"/>
            <p:cNvSpPr/>
            <p:nvPr/>
          </p:nvSpPr>
          <p:spPr>
            <a:xfrm>
              <a:off x="2186122" y="201595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9"/>
            <p:cNvSpPr/>
            <p:nvPr/>
          </p:nvSpPr>
          <p:spPr>
            <a:xfrm>
              <a:off x="2186122" y="203771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2348770" y="1733807"/>
              <a:ext cx="0" cy="30887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71"/>
            <p:cNvSpPr/>
            <p:nvPr/>
          </p:nvSpPr>
          <p:spPr>
            <a:xfrm>
              <a:off x="2077308" y="2059865"/>
              <a:ext cx="652497" cy="1061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272"/>
            <p:cNvSpPr/>
            <p:nvPr/>
          </p:nvSpPr>
          <p:spPr>
            <a:xfrm>
              <a:off x="2465599" y="2177077"/>
              <a:ext cx="483740" cy="523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2000185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2018129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Freeform: Shape 275"/>
            <p:cNvSpPr/>
            <p:nvPr/>
          </p:nvSpPr>
          <p:spPr>
            <a:xfrm>
              <a:off x="2025765" y="2113317"/>
              <a:ext cx="190137" cy="10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Freeform: Shape 276"/>
            <p:cNvSpPr/>
            <p:nvPr/>
          </p:nvSpPr>
          <p:spPr>
            <a:xfrm>
              <a:off x="2055546" y="2140043"/>
              <a:ext cx="103086" cy="26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7"/>
            <p:cNvSpPr/>
            <p:nvPr/>
          </p:nvSpPr>
          <p:spPr>
            <a:xfrm>
              <a:off x="2300280" y="2078572"/>
              <a:ext cx="146611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8"/>
            <p:cNvSpPr/>
            <p:nvPr/>
          </p:nvSpPr>
          <p:spPr>
            <a:xfrm>
              <a:off x="2519433" y="2066355"/>
              <a:ext cx="88960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9"/>
            <p:cNvSpPr/>
            <p:nvPr/>
          </p:nvSpPr>
          <p:spPr>
            <a:xfrm>
              <a:off x="2746986" y="2060246"/>
              <a:ext cx="82469" cy="553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80"/>
            <p:cNvSpPr/>
            <p:nvPr/>
          </p:nvSpPr>
          <p:spPr>
            <a:xfrm>
              <a:off x="2763022" y="2147297"/>
              <a:ext cx="31308" cy="534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81"/>
            <p:cNvSpPr/>
            <p:nvPr/>
          </p:nvSpPr>
          <p:spPr>
            <a:xfrm>
              <a:off x="2415965" y="1897981"/>
              <a:ext cx="60324" cy="198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2"/>
            <p:cNvSpPr/>
            <p:nvPr/>
          </p:nvSpPr>
          <p:spPr>
            <a:xfrm>
              <a:off x="2396876" y="1879655"/>
              <a:ext cx="137066" cy="1603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3"/>
            <p:cNvSpPr/>
            <p:nvPr/>
          </p:nvSpPr>
          <p:spPr>
            <a:xfrm>
              <a:off x="1424430" y="1971287"/>
              <a:ext cx="42380" cy="614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4"/>
            <p:cNvSpPr/>
            <p:nvPr/>
          </p:nvSpPr>
          <p:spPr>
            <a:xfrm>
              <a:off x="1396177" y="2175168"/>
              <a:ext cx="74069" cy="244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5"/>
            <p:cNvSpPr/>
            <p:nvPr/>
          </p:nvSpPr>
          <p:spPr>
            <a:xfrm>
              <a:off x="3682016" y="2012521"/>
              <a:ext cx="34362" cy="6299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6"/>
            <p:cNvSpPr/>
            <p:nvPr/>
          </p:nvSpPr>
          <p:spPr>
            <a:xfrm>
              <a:off x="3733942" y="2120189"/>
              <a:ext cx="59561" cy="225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7"/>
            <p:cNvSpPr/>
            <p:nvPr/>
          </p:nvSpPr>
          <p:spPr>
            <a:xfrm>
              <a:off x="3845809" y="2051083"/>
              <a:ext cx="160356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2187267" y="1657447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2187267" y="1683409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2187267" y="1709754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2202158" y="1608958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259197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2614120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263626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265840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2680553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270269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272522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274698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347966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364498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2"/>
            <p:cNvSpPr/>
            <p:nvPr/>
          </p:nvSpPr>
          <p:spPr>
            <a:xfrm>
              <a:off x="2571358" y="1523435"/>
              <a:ext cx="193573" cy="5303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2559141" y="1494417"/>
              <a:ext cx="2210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2816856" y="1931961"/>
              <a:ext cx="0" cy="545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2785930" y="1991904"/>
              <a:ext cx="6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3149786" y="2004885"/>
              <a:ext cx="1084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3242945" y="1971287"/>
              <a:ext cx="0" cy="309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3350995" y="1997249"/>
              <a:ext cx="1160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3410556" y="1935779"/>
              <a:ext cx="0" cy="45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3396047" y="2181659"/>
              <a:ext cx="0" cy="855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3504860" y="2236256"/>
              <a:ext cx="185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3496461" y="2143097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3496461" y="1983504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3496461" y="1827730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3516697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3547241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3577785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3607946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3516697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3547241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3577785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3607946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3516697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3547241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3577785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3607946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7"/>
            <p:cNvSpPr/>
            <p:nvPr/>
          </p:nvSpPr>
          <p:spPr>
            <a:xfrm>
              <a:off x="3489970" y="1584905"/>
              <a:ext cx="144321" cy="8285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8"/>
            <p:cNvSpPr/>
            <p:nvPr/>
          </p:nvSpPr>
          <p:spPr>
            <a:xfrm>
              <a:off x="2304861" y="2233584"/>
              <a:ext cx="1040406" cy="419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9"/>
            <p:cNvSpPr/>
            <p:nvPr/>
          </p:nvSpPr>
          <p:spPr>
            <a:xfrm>
              <a:off x="2818001" y="2076664"/>
              <a:ext cx="439834" cy="11683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0"/>
            <p:cNvSpPr/>
            <p:nvPr/>
          </p:nvSpPr>
          <p:spPr>
            <a:xfrm>
              <a:off x="3286089" y="2025502"/>
              <a:ext cx="59179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31"/>
            <p:cNvSpPr/>
            <p:nvPr/>
          </p:nvSpPr>
          <p:spPr>
            <a:xfrm>
              <a:off x="3340686" y="2088118"/>
              <a:ext cx="101559" cy="416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2"/>
            <p:cNvSpPr/>
            <p:nvPr/>
          </p:nvSpPr>
          <p:spPr>
            <a:xfrm>
              <a:off x="3753795" y="1663937"/>
              <a:ext cx="267260" cy="391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3811064" y="2194640"/>
              <a:ext cx="855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4035945" y="2167532"/>
              <a:ext cx="331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4386437" y="2143097"/>
              <a:ext cx="0" cy="116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6"/>
            <p:cNvSpPr/>
            <p:nvPr/>
          </p:nvSpPr>
          <p:spPr>
            <a:xfrm>
              <a:off x="4109633" y="2012521"/>
              <a:ext cx="442507" cy="1817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4306259" y="2036956"/>
              <a:ext cx="0" cy="4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3677052" y="1947615"/>
              <a:ext cx="0" cy="278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39"/>
            <p:cNvSpPr/>
            <p:nvPr/>
          </p:nvSpPr>
          <p:spPr>
            <a:xfrm>
              <a:off x="4048926" y="1718535"/>
              <a:ext cx="34744" cy="3581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1571805" y="2359960"/>
              <a:ext cx="0" cy="7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2744696" y="2373323"/>
              <a:ext cx="0" cy="683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2"/>
            <p:cNvSpPr/>
            <p:nvPr/>
          </p:nvSpPr>
          <p:spPr>
            <a:xfrm>
              <a:off x="667320" y="2189295"/>
              <a:ext cx="3895510" cy="1183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3"/>
            <p:cNvSpPr/>
            <p:nvPr/>
          </p:nvSpPr>
          <p:spPr>
            <a:xfrm>
              <a:off x="848293" y="2215257"/>
              <a:ext cx="507413" cy="328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1028503" y="2339342"/>
              <a:ext cx="3428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1158315" y="2387449"/>
              <a:ext cx="109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1654655" y="2338197"/>
              <a:ext cx="15745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3315869" y="2353851"/>
              <a:ext cx="3130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3481570" y="2396231"/>
              <a:ext cx="15844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3950803" y="2339342"/>
              <a:ext cx="5856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2187267" y="2236256"/>
              <a:ext cx="530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351"/>
            <p:cNvSpPr/>
            <p:nvPr/>
          </p:nvSpPr>
          <p:spPr>
            <a:xfrm>
              <a:off x="2866872" y="1561997"/>
              <a:ext cx="281769" cy="623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2866872" y="165362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2866872" y="169600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2866872" y="172807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2866872" y="176015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2866872" y="179184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2866872" y="182353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2866872" y="185560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2866872" y="188767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2866872" y="191936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2866872" y="195143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2866872" y="198312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2866872" y="201519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2866872" y="2047265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2866872" y="207933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2866872" y="2107208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2866872" y="2139279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2866872" y="217135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Freeform: Shape 369"/>
            <p:cNvSpPr/>
            <p:nvPr/>
          </p:nvSpPr>
          <p:spPr>
            <a:xfrm>
              <a:off x="2916124" y="1522290"/>
              <a:ext cx="81323" cy="813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3018446" y="1589868"/>
              <a:ext cx="7750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153286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153286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153286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153286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153286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153286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153286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153286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153286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153286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153286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153286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153286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153286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153286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153286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153286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156302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156302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156302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156302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156302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156302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156302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156302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156302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156302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156302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156302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156302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1563023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1563023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1563023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1563023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1593567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1593567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1593567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1593567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1593567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1593567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1593567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1593567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1593567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1593567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1593567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1593567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1593567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1593567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1593567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1593567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1593567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162411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162411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162411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162411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162411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162411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162411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162411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162411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162411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162411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162411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162411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162411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162411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162411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162411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1654655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1654655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1654655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1654655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1654655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1654655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1654655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1654655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1654655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1654655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1654655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1654655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1654655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1654655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1654655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1654655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1654655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1685199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1685199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1685199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1685199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1685199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1685199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1685199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1685199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1685199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1685199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1685199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1685199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1685199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1685199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1685199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1685199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1685199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1806994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1806994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1806994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1806994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1806994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1806994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1806994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1806994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1806994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1806994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1806994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1806994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1806994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177645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177645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177645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177645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177645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177645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177645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177645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177645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177645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177645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177645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177645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1745906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1745906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1745906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1745906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1745906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1745906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1745906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1745906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1745906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1745906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1745906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1745906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1745906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171574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171574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171574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171574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171574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171574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171574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171574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171574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171574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171574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171574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171574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Freeform: Shape 525"/>
            <p:cNvSpPr/>
            <p:nvPr/>
          </p:nvSpPr>
          <p:spPr>
            <a:xfrm>
              <a:off x="345080" y="2270618"/>
              <a:ext cx="67960" cy="161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345843" y="2436702"/>
              <a:ext cx="385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7"/>
            <p:cNvSpPr/>
            <p:nvPr/>
          </p:nvSpPr>
          <p:spPr>
            <a:xfrm>
              <a:off x="4941957" y="2269090"/>
              <a:ext cx="57652" cy="13630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4942721" y="2409594"/>
              <a:ext cx="324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9"/>
            <p:cNvSpPr/>
            <p:nvPr/>
          </p:nvSpPr>
          <p:spPr>
            <a:xfrm>
              <a:off x="549343" y="2275964"/>
              <a:ext cx="95068" cy="2237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551252" y="2506571"/>
              <a:ext cx="534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31"/>
            <p:cNvSpPr/>
            <p:nvPr/>
          </p:nvSpPr>
          <p:spPr>
            <a:xfrm>
              <a:off x="4536486" y="2218312"/>
              <a:ext cx="116831" cy="2760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4538394" y="2502753"/>
              <a:ext cx="656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-1" y="2014812"/>
              <a:ext cx="10052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53002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912817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Freeform: Shape 536"/>
            <p:cNvSpPr/>
            <p:nvPr/>
          </p:nvSpPr>
          <p:spPr>
            <a:xfrm>
              <a:off x="54911" y="1800622"/>
              <a:ext cx="857524" cy="16226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122490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172888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225576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276738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327899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379060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430603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840657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789877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737571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686409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635248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584087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532544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481765" y="1963269"/>
              <a:ext cx="0" cy="488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839131" y="2014812"/>
              <a:ext cx="1721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Freeform: Shape 562"/>
            <p:cNvSpPr/>
            <p:nvPr/>
          </p:nvSpPr>
          <p:spPr>
            <a:xfrm>
              <a:off x="915108" y="1804822"/>
              <a:ext cx="174101" cy="10957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981923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1033084" y="1888054"/>
              <a:ext cx="0" cy="9926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1085391" y="1914780"/>
              <a:ext cx="0" cy="57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Freeform: Shape 566"/>
            <p:cNvSpPr/>
            <p:nvPr/>
          </p:nvSpPr>
          <p:spPr>
            <a:xfrm>
              <a:off x="8772561" y="1252357"/>
              <a:ext cx="296277" cy="7445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Freeform: Shape 567"/>
            <p:cNvSpPr/>
            <p:nvPr/>
          </p:nvSpPr>
          <p:spPr>
            <a:xfrm>
              <a:off x="8843956" y="1400877"/>
              <a:ext cx="159593" cy="2084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8911153" y="1435621"/>
              <a:ext cx="232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8904664" y="1469219"/>
              <a:ext cx="358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8898937" y="1502817"/>
              <a:ext cx="4734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8892828" y="1536033"/>
              <a:ext cx="591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8886719" y="1569633"/>
              <a:ext cx="713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8880610" y="1603231"/>
              <a:ext cx="832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8874500" y="1636830"/>
              <a:ext cx="9545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8868775" y="1670428"/>
              <a:ext cx="1072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8862666" y="1704027"/>
              <a:ext cx="11912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8856557" y="1737625"/>
              <a:ext cx="13095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8850448" y="1770842"/>
              <a:ext cx="143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8844339" y="1804058"/>
              <a:ext cx="15501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8838230" y="1837657"/>
              <a:ext cx="1672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8832502" y="1871255"/>
              <a:ext cx="17868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8826012" y="1904854"/>
              <a:ext cx="1912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8820286" y="1938452"/>
              <a:ext cx="20311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8814177" y="1972050"/>
              <a:ext cx="21495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Arc 578"/>
            <p:cNvSpPr/>
            <p:nvPr/>
          </p:nvSpPr>
          <p:spPr>
            <a:xfrm>
              <a:off x="-1444417" y="389303"/>
              <a:ext cx="1707410" cy="1707410"/>
            </a:xfrm>
            <a:prstGeom prst="arc">
              <a:avLst>
                <a:gd name="adj1" fmla="val 2456154"/>
                <a:gd name="adj2" fmla="val 2779844"/>
              </a:avLst>
            </a:prstGeom>
            <a:ln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0" name="Straight Connector 579"/>
            <p:cNvSpPr/>
            <p:nvPr userDrawn="1"/>
          </p:nvSpPr>
          <p:spPr>
            <a:xfrm>
              <a:off x="8721398" y="2014813"/>
              <a:ext cx="42260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 userDrawn="1"/>
          </p:nvSpPr>
          <p:spPr>
            <a:xfrm>
              <a:off x="9023402" y="2105024"/>
              <a:ext cx="1205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 userDrawn="1"/>
          </p:nvSpPr>
          <p:spPr>
            <a:xfrm>
              <a:off x="9023402" y="2060575"/>
              <a:ext cx="0" cy="417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43702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EE770-3071-0740-B34A-D816A4657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9CC5D7-F11E-B841-AC3A-963927672D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2FDB98-397F-A14B-9E0D-BD2283C362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D81405-A733-AE4C-9B11-D7648012E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D8110-A292-5241-B630-D6774E40F8D8}" type="datetimeFigureOut">
              <a:rPr lang="en-US" smtClean="0"/>
              <a:t>1/16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606988-31B0-5E4E-8B29-6215DEEE43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D4C488-8F45-944D-856B-0D2F98EA71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55991-60D6-4E43-B72D-641256C7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7883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5" y="5158358"/>
            <a:ext cx="11061895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2133" b="0" i="0">
                <a:solidFill>
                  <a:schemeClr val="tx2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5" y="5478354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798350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3" y="4281951"/>
            <a:ext cx="11070167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7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625995" y="521745"/>
            <a:ext cx="1060704" cy="563500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-1925889" y="519071"/>
            <a:ext cx="14117889" cy="2823024"/>
            <a:chOff x="-1444417" y="389303"/>
            <a:chExt cx="10588417" cy="2117268"/>
          </a:xfrm>
        </p:grpSpPr>
        <p:sp>
          <p:nvSpPr>
            <p:cNvPr id="9" name="Freeform: Shape 2"/>
            <p:cNvSpPr/>
            <p:nvPr/>
          </p:nvSpPr>
          <p:spPr>
            <a:xfrm>
              <a:off x="4672025" y="1717771"/>
              <a:ext cx="341330" cy="34133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4842689" y="1710517"/>
              <a:ext cx="0" cy="225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4842689" y="2051083"/>
              <a:ext cx="0" cy="225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4903395" y="1724262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4773965" y="2039247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4956085" y="1764733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4713641" y="2004122"/>
              <a:ext cx="16035" cy="1527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 flipH="1">
              <a:off x="4990064" y="1823530"/>
              <a:ext cx="20617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 flipH="1">
              <a:off x="4674315" y="1951815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 flipH="1">
              <a:off x="5001518" y="1891491"/>
              <a:ext cx="225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 flipH="1">
              <a:off x="4661334" y="1892254"/>
              <a:ext cx="2214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 flipH="1" flipV="1">
              <a:off x="4990064" y="1951815"/>
              <a:ext cx="21000" cy="80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 flipH="1" flipV="1">
              <a:off x="4674315" y="1823912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4715169" y="1763206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4954558" y="2005267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4769766" y="1725788"/>
              <a:ext cx="9162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4906831" y="2037719"/>
              <a:ext cx="8781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19"/>
            <p:cNvSpPr/>
            <p:nvPr/>
          </p:nvSpPr>
          <p:spPr>
            <a:xfrm>
              <a:off x="4788855" y="1885382"/>
              <a:ext cx="106904" cy="31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4685005" y="2182422"/>
              <a:ext cx="0" cy="1164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1"/>
            <p:cNvSpPr/>
            <p:nvPr/>
          </p:nvSpPr>
          <p:spPr>
            <a:xfrm>
              <a:off x="5098113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22"/>
            <p:cNvSpPr/>
            <p:nvPr/>
          </p:nvSpPr>
          <p:spPr>
            <a:xfrm>
              <a:off x="5131330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5121021" y="2025502"/>
              <a:ext cx="11339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24"/>
            <p:cNvSpPr/>
            <p:nvPr/>
          </p:nvSpPr>
          <p:spPr>
            <a:xfrm>
              <a:off x="4714404" y="1929671"/>
              <a:ext cx="376837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4898814" y="2211439"/>
              <a:ext cx="18097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26"/>
            <p:cNvSpPr/>
            <p:nvPr/>
          </p:nvSpPr>
          <p:spPr>
            <a:xfrm>
              <a:off x="5829643" y="1929671"/>
              <a:ext cx="376455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 flipH="1">
              <a:off x="5841097" y="2211439"/>
              <a:ext cx="18135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4728532" y="2304217"/>
              <a:ext cx="2138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5256942" y="1939979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5256942" y="196670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5256942" y="201748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5256942" y="2198458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5256942" y="2250383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34"/>
            <p:cNvSpPr/>
            <p:nvPr/>
          </p:nvSpPr>
          <p:spPr>
            <a:xfrm>
              <a:off x="5094677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35"/>
            <p:cNvSpPr/>
            <p:nvPr/>
          </p:nvSpPr>
          <p:spPr>
            <a:xfrm>
              <a:off x="5222962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36"/>
            <p:cNvSpPr/>
            <p:nvPr/>
          </p:nvSpPr>
          <p:spPr>
            <a:xfrm>
              <a:off x="5120258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37"/>
            <p:cNvSpPr/>
            <p:nvPr/>
          </p:nvSpPr>
          <p:spPr>
            <a:xfrm>
              <a:off x="5162638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38"/>
            <p:cNvSpPr/>
            <p:nvPr/>
          </p:nvSpPr>
          <p:spPr>
            <a:xfrm>
              <a:off x="5663942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Freeform: Shape 39"/>
            <p:cNvSpPr/>
            <p:nvPr/>
          </p:nvSpPr>
          <p:spPr>
            <a:xfrm>
              <a:off x="5697158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5686468" y="2025502"/>
              <a:ext cx="11377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Freeform: Shape 41"/>
            <p:cNvSpPr/>
            <p:nvPr/>
          </p:nvSpPr>
          <p:spPr>
            <a:xfrm>
              <a:off x="5660505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Freeform: Shape 42"/>
            <p:cNvSpPr/>
            <p:nvPr/>
          </p:nvSpPr>
          <p:spPr>
            <a:xfrm>
              <a:off x="5788409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43"/>
            <p:cNvSpPr/>
            <p:nvPr/>
          </p:nvSpPr>
          <p:spPr>
            <a:xfrm>
              <a:off x="5685704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44"/>
            <p:cNvSpPr/>
            <p:nvPr/>
          </p:nvSpPr>
          <p:spPr>
            <a:xfrm>
              <a:off x="7548126" y="2107208"/>
              <a:ext cx="272224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45"/>
            <p:cNvSpPr/>
            <p:nvPr/>
          </p:nvSpPr>
          <p:spPr>
            <a:xfrm>
              <a:off x="5728466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5051152" y="2304217"/>
              <a:ext cx="7937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5167601" y="2337815"/>
              <a:ext cx="0" cy="5421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5229071" y="2335143"/>
              <a:ext cx="455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5366519" y="2379431"/>
              <a:ext cx="1664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5413099" y="2407685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7335463" y="2432502"/>
              <a:ext cx="16646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7382044" y="2461137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7582107" y="2402721"/>
              <a:ext cx="400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5837279" y="2329797"/>
              <a:ext cx="0" cy="80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 flipH="1">
              <a:off x="5862096" y="2340106"/>
              <a:ext cx="3634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 flipV="1">
              <a:off x="5862096" y="2218312"/>
              <a:ext cx="0" cy="45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57"/>
            <p:cNvSpPr/>
            <p:nvPr/>
          </p:nvSpPr>
          <p:spPr>
            <a:xfrm>
              <a:off x="5902185" y="2277109"/>
              <a:ext cx="303913" cy="423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58"/>
            <p:cNvSpPr/>
            <p:nvPr/>
          </p:nvSpPr>
          <p:spPr>
            <a:xfrm>
              <a:off x="5998781" y="1627666"/>
              <a:ext cx="83996" cy="5906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59"/>
            <p:cNvSpPr/>
            <p:nvPr/>
          </p:nvSpPr>
          <p:spPr>
            <a:xfrm>
              <a:off x="6051086" y="1503962"/>
              <a:ext cx="285969" cy="73343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0"/>
            <p:cNvSpPr/>
            <p:nvPr/>
          </p:nvSpPr>
          <p:spPr>
            <a:xfrm>
              <a:off x="6083159" y="1555888"/>
              <a:ext cx="104995" cy="6624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6210680" y="1979305"/>
              <a:ext cx="305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6224043" y="2021303"/>
              <a:ext cx="0" cy="213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63"/>
            <p:cNvSpPr/>
            <p:nvPr/>
          </p:nvSpPr>
          <p:spPr>
            <a:xfrm>
              <a:off x="6261078" y="1471892"/>
              <a:ext cx="76360" cy="7307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64"/>
            <p:cNvSpPr/>
            <p:nvPr/>
          </p:nvSpPr>
          <p:spPr>
            <a:xfrm>
              <a:off x="6337819" y="1130562"/>
              <a:ext cx="112249" cy="11538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6359582" y="1332153"/>
              <a:ext cx="0" cy="95335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66"/>
            <p:cNvSpPr/>
            <p:nvPr/>
          </p:nvSpPr>
          <p:spPr>
            <a:xfrm>
              <a:off x="6337819" y="1413858"/>
              <a:ext cx="161883" cy="87126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67"/>
            <p:cNvSpPr/>
            <p:nvPr/>
          </p:nvSpPr>
          <p:spPr>
            <a:xfrm>
              <a:off x="6450449" y="1387132"/>
              <a:ext cx="113395" cy="73114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6492449" y="1513126"/>
              <a:ext cx="0" cy="5853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69"/>
            <p:cNvSpPr/>
            <p:nvPr/>
          </p:nvSpPr>
          <p:spPr>
            <a:xfrm>
              <a:off x="6447777" y="2136225"/>
              <a:ext cx="400127" cy="1466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6323311" y="2317198"/>
              <a:ext cx="1966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6304985" y="2329797"/>
              <a:ext cx="0" cy="5994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6579880" y="1944179"/>
              <a:ext cx="794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6602406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6626461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Freeform: Shape 75"/>
            <p:cNvSpPr/>
            <p:nvPr/>
          </p:nvSpPr>
          <p:spPr>
            <a:xfrm>
              <a:off x="6602406" y="2021303"/>
              <a:ext cx="40471" cy="9125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Freeform: Shape 76"/>
            <p:cNvSpPr/>
            <p:nvPr/>
          </p:nvSpPr>
          <p:spPr>
            <a:xfrm>
              <a:off x="6487102" y="2255346"/>
              <a:ext cx="77124" cy="316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Freeform: Shape 77"/>
            <p:cNvSpPr/>
            <p:nvPr/>
          </p:nvSpPr>
          <p:spPr>
            <a:xfrm>
              <a:off x="6636006" y="2283218"/>
              <a:ext cx="179064" cy="442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Freeform: Shape 78"/>
            <p:cNvSpPr/>
            <p:nvPr/>
          </p:nvSpPr>
          <p:spPr>
            <a:xfrm>
              <a:off x="6282840" y="2106062"/>
              <a:ext cx="54597" cy="9048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6277113" y="171471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6277113" y="174526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6277113" y="177580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6277113" y="180596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6277113" y="183651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6277113" y="186705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6277113" y="189759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6277113" y="192814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6277113" y="195868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6277113" y="198961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6277113" y="201977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6277113" y="205031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6529483" y="1636830"/>
              <a:ext cx="347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6736801" y="2353469"/>
              <a:ext cx="22029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6880358" y="2279400"/>
              <a:ext cx="26573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94"/>
            <p:cNvSpPr/>
            <p:nvPr/>
          </p:nvSpPr>
          <p:spPr>
            <a:xfrm>
              <a:off x="6659295" y="1445929"/>
              <a:ext cx="302768" cy="7853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95"/>
            <p:cNvSpPr/>
            <p:nvPr/>
          </p:nvSpPr>
          <p:spPr>
            <a:xfrm>
              <a:off x="6926937" y="2010994"/>
              <a:ext cx="335603" cy="2256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7010934" y="2337815"/>
              <a:ext cx="5482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97"/>
            <p:cNvSpPr/>
            <p:nvPr/>
          </p:nvSpPr>
          <p:spPr>
            <a:xfrm>
              <a:off x="6930755" y="2066355"/>
              <a:ext cx="57270" cy="1867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98"/>
            <p:cNvSpPr/>
            <p:nvPr/>
          </p:nvSpPr>
          <p:spPr>
            <a:xfrm>
              <a:off x="7018570" y="2194640"/>
              <a:ext cx="111104" cy="2596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6957099" y="1882326"/>
              <a:ext cx="0" cy="332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0"/>
            <p:cNvSpPr/>
            <p:nvPr/>
          </p:nvSpPr>
          <p:spPr>
            <a:xfrm>
              <a:off x="6977334" y="1437912"/>
              <a:ext cx="255043" cy="736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1"/>
            <p:cNvSpPr/>
            <p:nvPr/>
          </p:nvSpPr>
          <p:spPr>
            <a:xfrm>
              <a:off x="7071639" y="1514654"/>
              <a:ext cx="105377" cy="1217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2"/>
            <p:cNvSpPr/>
            <p:nvPr/>
          </p:nvSpPr>
          <p:spPr>
            <a:xfrm>
              <a:off x="7054077" y="1597504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03"/>
            <p:cNvSpPr/>
            <p:nvPr/>
          </p:nvSpPr>
          <p:spPr>
            <a:xfrm>
              <a:off x="7036514" y="1681118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04"/>
            <p:cNvSpPr/>
            <p:nvPr/>
          </p:nvSpPr>
          <p:spPr>
            <a:xfrm>
              <a:off x="7018570" y="1763206"/>
              <a:ext cx="185937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05"/>
            <p:cNvSpPr/>
            <p:nvPr/>
          </p:nvSpPr>
          <p:spPr>
            <a:xfrm>
              <a:off x="7001007" y="1847583"/>
              <a:ext cx="206172" cy="2309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06"/>
            <p:cNvSpPr/>
            <p:nvPr/>
          </p:nvSpPr>
          <p:spPr>
            <a:xfrm>
              <a:off x="7033841" y="1522290"/>
              <a:ext cx="105759" cy="12217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Freeform: Shape 107"/>
            <p:cNvSpPr/>
            <p:nvPr/>
          </p:nvSpPr>
          <p:spPr>
            <a:xfrm>
              <a:off x="7022005" y="1605140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108"/>
            <p:cNvSpPr/>
            <p:nvPr/>
          </p:nvSpPr>
          <p:spPr>
            <a:xfrm>
              <a:off x="7015897" y="1689135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109"/>
            <p:cNvSpPr/>
            <p:nvPr/>
          </p:nvSpPr>
          <p:spPr>
            <a:xfrm>
              <a:off x="7006733" y="1770842"/>
              <a:ext cx="185555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Freeform: Shape 110"/>
            <p:cNvSpPr/>
            <p:nvPr/>
          </p:nvSpPr>
          <p:spPr>
            <a:xfrm>
              <a:off x="7097983" y="1855601"/>
              <a:ext cx="111868" cy="15577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Freeform: Shape 111"/>
            <p:cNvSpPr/>
            <p:nvPr/>
          </p:nvSpPr>
          <p:spPr>
            <a:xfrm>
              <a:off x="7289647" y="1637211"/>
              <a:ext cx="247407" cy="59102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Freeform: Shape 112"/>
            <p:cNvSpPr/>
            <p:nvPr/>
          </p:nvSpPr>
          <p:spPr>
            <a:xfrm>
              <a:off x="7251467" y="1601322"/>
              <a:ext cx="57270" cy="6204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Freeform: Shape 113"/>
            <p:cNvSpPr/>
            <p:nvPr/>
          </p:nvSpPr>
          <p:spPr>
            <a:xfrm>
              <a:off x="7288120" y="1574214"/>
              <a:ext cx="267642" cy="5425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7315227" y="1687991"/>
              <a:ext cx="200064" cy="11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7316756" y="1717390"/>
              <a:ext cx="197009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7318665" y="1746788"/>
              <a:ext cx="193573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7320574" y="1776187"/>
              <a:ext cx="190137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 flipV="1">
              <a:off x="7322483" y="1805204"/>
              <a:ext cx="18708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7324392" y="1834602"/>
              <a:ext cx="183646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 flipV="1">
              <a:off x="7326301" y="1864001"/>
              <a:ext cx="18059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 flipV="1">
              <a:off x="7328210" y="1893400"/>
              <a:ext cx="17677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 flipV="1">
              <a:off x="7329736" y="1922797"/>
              <a:ext cx="173719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 flipV="1">
              <a:off x="7331645" y="1952197"/>
              <a:ext cx="170665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 flipV="1">
              <a:off x="7333554" y="1981595"/>
              <a:ext cx="167230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7335463" y="2010994"/>
              <a:ext cx="164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 flipV="1">
              <a:off x="7337372" y="2040392"/>
              <a:ext cx="160739" cy="3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7339281" y="2069791"/>
              <a:ext cx="15730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7340809" y="2099190"/>
              <a:ext cx="15424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7342718" y="2128589"/>
              <a:ext cx="15119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7344627" y="2157987"/>
              <a:ext cx="1477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7346536" y="2187386"/>
              <a:ext cx="14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7348062" y="2216784"/>
              <a:ext cx="1412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7223977" y="2077809"/>
              <a:ext cx="416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7242686" y="2133552"/>
              <a:ext cx="0" cy="61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7303775" y="2253437"/>
              <a:ext cx="1630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7519110" y="2275964"/>
              <a:ext cx="49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7666103" y="2284745"/>
              <a:ext cx="0" cy="874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7735973" y="2322543"/>
              <a:ext cx="69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7741318" y="2358432"/>
              <a:ext cx="5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7529036" y="2119044"/>
              <a:ext cx="93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7761935" y="2115225"/>
              <a:ext cx="542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7795533" y="2074372"/>
              <a:ext cx="0" cy="408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7808515" y="2194640"/>
              <a:ext cx="0" cy="736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7606923" y="2040392"/>
              <a:ext cx="0" cy="515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7632505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7658466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7684430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7710392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7735973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7761935" y="2041538"/>
              <a:ext cx="0" cy="5039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7587070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7783698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7595852" y="201443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154"/>
            <p:cNvSpPr/>
            <p:nvPr/>
          </p:nvSpPr>
          <p:spPr>
            <a:xfrm>
              <a:off x="7598524" y="1885764"/>
              <a:ext cx="170665" cy="1019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7666103" y="1861328"/>
              <a:ext cx="3703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7672594" y="1837275"/>
              <a:ext cx="255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7685575" y="1759006"/>
              <a:ext cx="0" cy="465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7650831" y="2232820"/>
              <a:ext cx="683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7854331" y="2068263"/>
              <a:ext cx="7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7840204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7940999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7845166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786883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789212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791541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793870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Freeform: Shape 167"/>
            <p:cNvSpPr/>
            <p:nvPr/>
          </p:nvSpPr>
          <p:spPr>
            <a:xfrm>
              <a:off x="7836386" y="1858274"/>
              <a:ext cx="105759" cy="908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Freeform: Shape 168"/>
            <p:cNvSpPr/>
            <p:nvPr/>
          </p:nvSpPr>
          <p:spPr>
            <a:xfrm>
              <a:off x="7867694" y="1990377"/>
              <a:ext cx="46580" cy="465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7863112" y="1940743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7863112" y="1959069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7863876" y="1905235"/>
              <a:ext cx="507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Freeform: Shape 172"/>
            <p:cNvSpPr/>
            <p:nvPr/>
          </p:nvSpPr>
          <p:spPr>
            <a:xfrm>
              <a:off x="7863876" y="1818185"/>
              <a:ext cx="50016" cy="397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7890220" y="1873164"/>
              <a:ext cx="0" cy="217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 flipV="1">
              <a:off x="7889456" y="1780005"/>
              <a:ext cx="0" cy="3856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7983378" y="2125534"/>
              <a:ext cx="0" cy="862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7955890" y="2211821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7879911" y="2358432"/>
              <a:ext cx="4394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Freeform: Shape 178"/>
            <p:cNvSpPr/>
            <p:nvPr/>
          </p:nvSpPr>
          <p:spPr>
            <a:xfrm>
              <a:off x="7996361" y="1052675"/>
              <a:ext cx="322621" cy="128704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8157100" y="1147741"/>
              <a:ext cx="130534" cy="1183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8301037" y="2174023"/>
              <a:ext cx="1286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8352962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9072656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8526300" y="2358432"/>
              <a:ext cx="26611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8577843" y="2389740"/>
              <a:ext cx="771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8315164" y="2014812"/>
              <a:ext cx="67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8476284" y="2014812"/>
              <a:ext cx="1496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8385797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Freeform: Shape 188"/>
            <p:cNvSpPr/>
            <p:nvPr/>
          </p:nvSpPr>
          <p:spPr>
            <a:xfrm>
              <a:off x="8476284" y="1918598"/>
              <a:ext cx="353929" cy="3260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8429704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8429704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8359835" y="1900272"/>
              <a:ext cx="14203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192"/>
            <p:cNvSpPr/>
            <p:nvPr/>
          </p:nvSpPr>
          <p:spPr>
            <a:xfrm>
              <a:off x="8371289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8430849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8629004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8719491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8673293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8673293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8603422" y="1900272"/>
              <a:ext cx="14203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0"/>
            <p:cNvSpPr/>
            <p:nvPr/>
          </p:nvSpPr>
          <p:spPr>
            <a:xfrm>
              <a:off x="8614876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8674438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Freeform: Shape 202"/>
            <p:cNvSpPr/>
            <p:nvPr/>
          </p:nvSpPr>
          <p:spPr>
            <a:xfrm>
              <a:off x="8746217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03"/>
            <p:cNvSpPr/>
            <p:nvPr/>
          </p:nvSpPr>
          <p:spPr>
            <a:xfrm>
              <a:off x="8838612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Freeform: Shape 204"/>
            <p:cNvSpPr/>
            <p:nvPr/>
          </p:nvSpPr>
          <p:spPr>
            <a:xfrm>
              <a:off x="8931008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05"/>
            <p:cNvSpPr/>
            <p:nvPr/>
          </p:nvSpPr>
          <p:spPr>
            <a:xfrm>
              <a:off x="9023403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Freeform: Shape 206"/>
            <p:cNvSpPr/>
            <p:nvPr/>
          </p:nvSpPr>
          <p:spPr>
            <a:xfrm>
              <a:off x="8374725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07"/>
            <p:cNvSpPr/>
            <p:nvPr/>
          </p:nvSpPr>
          <p:spPr>
            <a:xfrm>
              <a:off x="8614495" y="2287418"/>
              <a:ext cx="200063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Freeform: Shape 208"/>
            <p:cNvSpPr/>
            <p:nvPr/>
          </p:nvSpPr>
          <p:spPr>
            <a:xfrm>
              <a:off x="8854266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9112745" y="1956778"/>
              <a:ext cx="0" cy="584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0" y="2215257"/>
              <a:ext cx="165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53002" y="2248474"/>
              <a:ext cx="0" cy="1233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201523" y="2145770"/>
              <a:ext cx="568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327899" y="2190822"/>
              <a:ext cx="30734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425258" y="2233584"/>
              <a:ext cx="1130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831112" y="2115988"/>
              <a:ext cx="0" cy="347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871201" y="2150733"/>
              <a:ext cx="3798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226"/>
            <p:cNvSpPr/>
            <p:nvPr/>
          </p:nvSpPr>
          <p:spPr>
            <a:xfrm>
              <a:off x="918926" y="1782296"/>
              <a:ext cx="547883" cy="350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227"/>
            <p:cNvSpPr/>
            <p:nvPr/>
          </p:nvSpPr>
          <p:spPr>
            <a:xfrm>
              <a:off x="1501935" y="1459292"/>
              <a:ext cx="339039" cy="71434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8"/>
            <p:cNvSpPr/>
            <p:nvPr/>
          </p:nvSpPr>
          <p:spPr>
            <a:xfrm>
              <a:off x="1702380" y="2028939"/>
              <a:ext cx="277951" cy="2172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1879918" y="1983123"/>
              <a:ext cx="843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1905880" y="1931961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1651219" y="1338262"/>
              <a:ext cx="423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1620675" y="1375296"/>
              <a:ext cx="1030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Freeform: Shape 233"/>
            <p:cNvSpPr/>
            <p:nvPr/>
          </p:nvSpPr>
          <p:spPr>
            <a:xfrm>
              <a:off x="1597768" y="1403931"/>
              <a:ext cx="151575" cy="549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1588604" y="2263364"/>
              <a:ext cx="1977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 flipV="1">
              <a:off x="1895190" y="2072081"/>
              <a:ext cx="0" cy="1679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 flipV="1">
              <a:off x="203798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216932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238"/>
            <p:cNvSpPr/>
            <p:nvPr/>
          </p:nvSpPr>
          <p:spPr>
            <a:xfrm>
              <a:off x="2044475" y="1496708"/>
              <a:ext cx="116831" cy="358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2103653" y="1382169"/>
              <a:ext cx="0" cy="1145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40"/>
            <p:cNvSpPr/>
            <p:nvPr/>
          </p:nvSpPr>
          <p:spPr>
            <a:xfrm>
              <a:off x="2074254" y="1557033"/>
              <a:ext cx="58034" cy="320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241"/>
            <p:cNvSpPr/>
            <p:nvPr/>
          </p:nvSpPr>
          <p:spPr>
            <a:xfrm>
              <a:off x="2058982" y="1619649"/>
              <a:ext cx="87050" cy="164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2"/>
            <p:cNvSpPr/>
            <p:nvPr/>
          </p:nvSpPr>
          <p:spPr>
            <a:xfrm>
              <a:off x="2055546" y="165973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3"/>
            <p:cNvSpPr/>
            <p:nvPr/>
          </p:nvSpPr>
          <p:spPr>
            <a:xfrm>
              <a:off x="2055546" y="169142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4"/>
            <p:cNvSpPr/>
            <p:nvPr/>
          </p:nvSpPr>
          <p:spPr>
            <a:xfrm>
              <a:off x="2055546" y="172273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5"/>
            <p:cNvSpPr/>
            <p:nvPr/>
          </p:nvSpPr>
          <p:spPr>
            <a:xfrm>
              <a:off x="2055546" y="1754041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6"/>
            <p:cNvSpPr/>
            <p:nvPr/>
          </p:nvSpPr>
          <p:spPr>
            <a:xfrm>
              <a:off x="2055546" y="178535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7"/>
            <p:cNvSpPr/>
            <p:nvPr/>
          </p:nvSpPr>
          <p:spPr>
            <a:xfrm>
              <a:off x="2055546" y="181665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8"/>
            <p:cNvSpPr/>
            <p:nvPr/>
          </p:nvSpPr>
          <p:spPr>
            <a:xfrm>
              <a:off x="2055546" y="184796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9"/>
            <p:cNvSpPr/>
            <p:nvPr/>
          </p:nvSpPr>
          <p:spPr>
            <a:xfrm>
              <a:off x="2055546" y="187965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50"/>
            <p:cNvSpPr/>
            <p:nvPr/>
          </p:nvSpPr>
          <p:spPr>
            <a:xfrm>
              <a:off x="2055546" y="191096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51"/>
            <p:cNvSpPr/>
            <p:nvPr/>
          </p:nvSpPr>
          <p:spPr>
            <a:xfrm>
              <a:off x="2055546" y="194226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2"/>
            <p:cNvSpPr/>
            <p:nvPr/>
          </p:nvSpPr>
          <p:spPr>
            <a:xfrm>
              <a:off x="2055546" y="197395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3"/>
            <p:cNvSpPr/>
            <p:nvPr/>
          </p:nvSpPr>
          <p:spPr>
            <a:xfrm>
              <a:off x="2055546" y="200564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4"/>
            <p:cNvSpPr/>
            <p:nvPr/>
          </p:nvSpPr>
          <p:spPr>
            <a:xfrm>
              <a:off x="2055546" y="203695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5"/>
            <p:cNvSpPr/>
            <p:nvPr/>
          </p:nvSpPr>
          <p:spPr>
            <a:xfrm>
              <a:off x="2186122" y="173838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6"/>
            <p:cNvSpPr/>
            <p:nvPr/>
          </p:nvSpPr>
          <p:spPr>
            <a:xfrm>
              <a:off x="2186122" y="175976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7"/>
            <p:cNvSpPr/>
            <p:nvPr/>
          </p:nvSpPr>
          <p:spPr>
            <a:xfrm>
              <a:off x="2186122" y="1780768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8"/>
            <p:cNvSpPr/>
            <p:nvPr/>
          </p:nvSpPr>
          <p:spPr>
            <a:xfrm>
              <a:off x="2186122" y="180214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9"/>
            <p:cNvSpPr/>
            <p:nvPr/>
          </p:nvSpPr>
          <p:spPr>
            <a:xfrm>
              <a:off x="2186122" y="1823530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60"/>
            <p:cNvSpPr/>
            <p:nvPr/>
          </p:nvSpPr>
          <p:spPr>
            <a:xfrm>
              <a:off x="2186122" y="184491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61"/>
            <p:cNvSpPr/>
            <p:nvPr/>
          </p:nvSpPr>
          <p:spPr>
            <a:xfrm>
              <a:off x="2186122" y="186629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2"/>
            <p:cNvSpPr/>
            <p:nvPr/>
          </p:nvSpPr>
          <p:spPr>
            <a:xfrm>
              <a:off x="2186122" y="188805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3"/>
            <p:cNvSpPr/>
            <p:nvPr/>
          </p:nvSpPr>
          <p:spPr>
            <a:xfrm>
              <a:off x="2186122" y="1909053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4"/>
            <p:cNvSpPr/>
            <p:nvPr/>
          </p:nvSpPr>
          <p:spPr>
            <a:xfrm>
              <a:off x="2186122" y="193043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5"/>
            <p:cNvSpPr/>
            <p:nvPr/>
          </p:nvSpPr>
          <p:spPr>
            <a:xfrm>
              <a:off x="2186122" y="1951815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6"/>
            <p:cNvSpPr/>
            <p:nvPr/>
          </p:nvSpPr>
          <p:spPr>
            <a:xfrm>
              <a:off x="2186122" y="197319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7"/>
            <p:cNvSpPr/>
            <p:nvPr/>
          </p:nvSpPr>
          <p:spPr>
            <a:xfrm>
              <a:off x="2186122" y="199457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8"/>
            <p:cNvSpPr/>
            <p:nvPr/>
          </p:nvSpPr>
          <p:spPr>
            <a:xfrm>
              <a:off x="2186122" y="201595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9"/>
            <p:cNvSpPr/>
            <p:nvPr/>
          </p:nvSpPr>
          <p:spPr>
            <a:xfrm>
              <a:off x="2186122" y="203771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2348770" y="1733807"/>
              <a:ext cx="0" cy="30887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71"/>
            <p:cNvSpPr/>
            <p:nvPr/>
          </p:nvSpPr>
          <p:spPr>
            <a:xfrm>
              <a:off x="2077308" y="2059865"/>
              <a:ext cx="652497" cy="1061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272"/>
            <p:cNvSpPr/>
            <p:nvPr/>
          </p:nvSpPr>
          <p:spPr>
            <a:xfrm>
              <a:off x="2465599" y="2177077"/>
              <a:ext cx="483740" cy="523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2000185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2018129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Freeform: Shape 275"/>
            <p:cNvSpPr/>
            <p:nvPr/>
          </p:nvSpPr>
          <p:spPr>
            <a:xfrm>
              <a:off x="2025765" y="2113317"/>
              <a:ext cx="190137" cy="10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Freeform: Shape 276"/>
            <p:cNvSpPr/>
            <p:nvPr/>
          </p:nvSpPr>
          <p:spPr>
            <a:xfrm>
              <a:off x="2055546" y="2140043"/>
              <a:ext cx="103086" cy="26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7"/>
            <p:cNvSpPr/>
            <p:nvPr/>
          </p:nvSpPr>
          <p:spPr>
            <a:xfrm>
              <a:off x="2300280" y="2078572"/>
              <a:ext cx="146611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8"/>
            <p:cNvSpPr/>
            <p:nvPr/>
          </p:nvSpPr>
          <p:spPr>
            <a:xfrm>
              <a:off x="2519433" y="2066355"/>
              <a:ext cx="88960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9"/>
            <p:cNvSpPr/>
            <p:nvPr/>
          </p:nvSpPr>
          <p:spPr>
            <a:xfrm>
              <a:off x="2746986" y="2060246"/>
              <a:ext cx="82469" cy="553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80"/>
            <p:cNvSpPr/>
            <p:nvPr/>
          </p:nvSpPr>
          <p:spPr>
            <a:xfrm>
              <a:off x="2763022" y="2147297"/>
              <a:ext cx="31308" cy="534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81"/>
            <p:cNvSpPr/>
            <p:nvPr/>
          </p:nvSpPr>
          <p:spPr>
            <a:xfrm>
              <a:off x="2415965" y="1897981"/>
              <a:ext cx="60324" cy="198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2"/>
            <p:cNvSpPr/>
            <p:nvPr/>
          </p:nvSpPr>
          <p:spPr>
            <a:xfrm>
              <a:off x="2396876" y="1879655"/>
              <a:ext cx="137066" cy="1603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3"/>
            <p:cNvSpPr/>
            <p:nvPr/>
          </p:nvSpPr>
          <p:spPr>
            <a:xfrm>
              <a:off x="1424430" y="1971287"/>
              <a:ext cx="42380" cy="614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4"/>
            <p:cNvSpPr/>
            <p:nvPr/>
          </p:nvSpPr>
          <p:spPr>
            <a:xfrm>
              <a:off x="1396177" y="2175168"/>
              <a:ext cx="74069" cy="244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5"/>
            <p:cNvSpPr/>
            <p:nvPr/>
          </p:nvSpPr>
          <p:spPr>
            <a:xfrm>
              <a:off x="3682016" y="2012521"/>
              <a:ext cx="34362" cy="6299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6"/>
            <p:cNvSpPr/>
            <p:nvPr/>
          </p:nvSpPr>
          <p:spPr>
            <a:xfrm>
              <a:off x="3733942" y="2120189"/>
              <a:ext cx="59561" cy="225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7"/>
            <p:cNvSpPr/>
            <p:nvPr/>
          </p:nvSpPr>
          <p:spPr>
            <a:xfrm>
              <a:off x="3845809" y="2051083"/>
              <a:ext cx="160356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2187267" y="1657447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2187267" y="1683409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2187267" y="1709754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2202158" y="1608958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259197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2614120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263626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265840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2680553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270269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272522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274698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347966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364498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2"/>
            <p:cNvSpPr/>
            <p:nvPr/>
          </p:nvSpPr>
          <p:spPr>
            <a:xfrm>
              <a:off x="2571358" y="1523435"/>
              <a:ext cx="193573" cy="5303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2559141" y="1494417"/>
              <a:ext cx="2210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2816856" y="1931961"/>
              <a:ext cx="0" cy="545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2785930" y="1991904"/>
              <a:ext cx="6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3149786" y="2004885"/>
              <a:ext cx="1084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3242945" y="1971287"/>
              <a:ext cx="0" cy="309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3350995" y="1997249"/>
              <a:ext cx="1160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3410556" y="1935779"/>
              <a:ext cx="0" cy="45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3396047" y="2181659"/>
              <a:ext cx="0" cy="855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3504860" y="2236256"/>
              <a:ext cx="185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3496461" y="2143097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3496461" y="1983504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3496461" y="1827730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3516697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3547241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3577785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3607946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3516697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3547241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3577785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3607946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3516697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3547241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3577785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3607946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7"/>
            <p:cNvSpPr/>
            <p:nvPr/>
          </p:nvSpPr>
          <p:spPr>
            <a:xfrm>
              <a:off x="3489970" y="1584905"/>
              <a:ext cx="144321" cy="8285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8"/>
            <p:cNvSpPr/>
            <p:nvPr/>
          </p:nvSpPr>
          <p:spPr>
            <a:xfrm>
              <a:off x="2304861" y="2233584"/>
              <a:ext cx="1040406" cy="419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9"/>
            <p:cNvSpPr/>
            <p:nvPr/>
          </p:nvSpPr>
          <p:spPr>
            <a:xfrm>
              <a:off x="2818001" y="2076664"/>
              <a:ext cx="439834" cy="11683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0"/>
            <p:cNvSpPr/>
            <p:nvPr/>
          </p:nvSpPr>
          <p:spPr>
            <a:xfrm>
              <a:off x="3286089" y="2025502"/>
              <a:ext cx="59179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31"/>
            <p:cNvSpPr/>
            <p:nvPr/>
          </p:nvSpPr>
          <p:spPr>
            <a:xfrm>
              <a:off x="3340686" y="2088118"/>
              <a:ext cx="101559" cy="416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2"/>
            <p:cNvSpPr/>
            <p:nvPr/>
          </p:nvSpPr>
          <p:spPr>
            <a:xfrm>
              <a:off x="3753795" y="1663937"/>
              <a:ext cx="267260" cy="391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3811064" y="2194640"/>
              <a:ext cx="855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4035945" y="2167532"/>
              <a:ext cx="331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4386437" y="2143097"/>
              <a:ext cx="0" cy="116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6"/>
            <p:cNvSpPr/>
            <p:nvPr/>
          </p:nvSpPr>
          <p:spPr>
            <a:xfrm>
              <a:off x="4109633" y="2012521"/>
              <a:ext cx="442507" cy="1817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4306259" y="2036956"/>
              <a:ext cx="0" cy="4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3677052" y="1947615"/>
              <a:ext cx="0" cy="278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39"/>
            <p:cNvSpPr/>
            <p:nvPr/>
          </p:nvSpPr>
          <p:spPr>
            <a:xfrm>
              <a:off x="4048926" y="1718535"/>
              <a:ext cx="34744" cy="3581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1571805" y="2359960"/>
              <a:ext cx="0" cy="7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2744696" y="2373323"/>
              <a:ext cx="0" cy="683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2"/>
            <p:cNvSpPr/>
            <p:nvPr/>
          </p:nvSpPr>
          <p:spPr>
            <a:xfrm>
              <a:off x="667320" y="2189295"/>
              <a:ext cx="3895510" cy="1183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3"/>
            <p:cNvSpPr/>
            <p:nvPr/>
          </p:nvSpPr>
          <p:spPr>
            <a:xfrm>
              <a:off x="848293" y="2215257"/>
              <a:ext cx="507413" cy="328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1028503" y="2339342"/>
              <a:ext cx="3428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1158315" y="2387449"/>
              <a:ext cx="109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1654655" y="2338197"/>
              <a:ext cx="15745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3315869" y="2353851"/>
              <a:ext cx="3130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3481570" y="2396231"/>
              <a:ext cx="15844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3950803" y="2339342"/>
              <a:ext cx="5856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2187267" y="2236256"/>
              <a:ext cx="530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351"/>
            <p:cNvSpPr/>
            <p:nvPr/>
          </p:nvSpPr>
          <p:spPr>
            <a:xfrm>
              <a:off x="2866872" y="1561997"/>
              <a:ext cx="281769" cy="623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2866872" y="165362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2866872" y="169600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2866872" y="172807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2866872" y="176015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2866872" y="179184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2866872" y="182353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2866872" y="185560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2866872" y="188767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2866872" y="191936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2866872" y="195143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2866872" y="198312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2866872" y="201519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2866872" y="2047265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2866872" y="207933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2866872" y="2107208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2866872" y="2139279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2866872" y="217135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Freeform: Shape 369"/>
            <p:cNvSpPr/>
            <p:nvPr/>
          </p:nvSpPr>
          <p:spPr>
            <a:xfrm>
              <a:off x="2916124" y="1522290"/>
              <a:ext cx="81323" cy="813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3018446" y="1589868"/>
              <a:ext cx="7750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153286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153286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153286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153286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153286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153286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153286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153286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153286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153286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153286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153286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153286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153286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153286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153286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153286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156302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156302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156302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156302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156302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156302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156302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156302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156302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156302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156302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156302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156302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1563023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1563023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1563023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1563023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1593567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1593567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1593567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1593567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1593567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1593567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1593567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1593567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1593567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1593567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1593567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1593567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1593567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1593567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1593567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1593567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1593567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162411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162411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162411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162411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162411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162411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162411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162411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162411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162411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162411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162411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162411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162411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162411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162411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162411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1654655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1654655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1654655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1654655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1654655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1654655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1654655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1654655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1654655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1654655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1654655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1654655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1654655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1654655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1654655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1654655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1654655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1685199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1685199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1685199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1685199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1685199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1685199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1685199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1685199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1685199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1685199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1685199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1685199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1685199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1685199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1685199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1685199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1685199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1806994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1806994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1806994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1806994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1806994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1806994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1806994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1806994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1806994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1806994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1806994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1806994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1806994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177645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177645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177645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177645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177645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177645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177645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177645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177645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177645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177645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177645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177645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1745906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1745906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1745906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1745906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1745906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1745906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1745906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1745906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1745906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1745906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1745906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1745906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1745906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171574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171574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171574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171574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171574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171574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171574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171574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171574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171574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171574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171574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171574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Freeform: Shape 525"/>
            <p:cNvSpPr/>
            <p:nvPr/>
          </p:nvSpPr>
          <p:spPr>
            <a:xfrm>
              <a:off x="345080" y="2270618"/>
              <a:ext cx="67960" cy="161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345843" y="2436702"/>
              <a:ext cx="385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7"/>
            <p:cNvSpPr/>
            <p:nvPr/>
          </p:nvSpPr>
          <p:spPr>
            <a:xfrm>
              <a:off x="4941957" y="2269090"/>
              <a:ext cx="57652" cy="13630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4942721" y="2409594"/>
              <a:ext cx="324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9"/>
            <p:cNvSpPr/>
            <p:nvPr/>
          </p:nvSpPr>
          <p:spPr>
            <a:xfrm>
              <a:off x="549343" y="2275964"/>
              <a:ext cx="95068" cy="2237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551252" y="2506571"/>
              <a:ext cx="534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31"/>
            <p:cNvSpPr/>
            <p:nvPr/>
          </p:nvSpPr>
          <p:spPr>
            <a:xfrm>
              <a:off x="4536486" y="2218312"/>
              <a:ext cx="116831" cy="2760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4538394" y="2502753"/>
              <a:ext cx="656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-1" y="2014812"/>
              <a:ext cx="10052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53002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912817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Freeform: Shape 536"/>
            <p:cNvSpPr/>
            <p:nvPr/>
          </p:nvSpPr>
          <p:spPr>
            <a:xfrm>
              <a:off x="54911" y="1800622"/>
              <a:ext cx="857524" cy="16226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122490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172888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225576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276738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327899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379060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430603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840657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789877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737571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686409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635248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584087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532544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481765" y="1963269"/>
              <a:ext cx="0" cy="488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839131" y="2014812"/>
              <a:ext cx="1721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Freeform: Shape 562"/>
            <p:cNvSpPr/>
            <p:nvPr/>
          </p:nvSpPr>
          <p:spPr>
            <a:xfrm>
              <a:off x="915108" y="1804822"/>
              <a:ext cx="174101" cy="10957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981923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1033084" y="1888054"/>
              <a:ext cx="0" cy="9926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1085391" y="1914780"/>
              <a:ext cx="0" cy="57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Freeform: Shape 566"/>
            <p:cNvSpPr/>
            <p:nvPr/>
          </p:nvSpPr>
          <p:spPr>
            <a:xfrm>
              <a:off x="8772561" y="1252357"/>
              <a:ext cx="296277" cy="7445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Freeform: Shape 567"/>
            <p:cNvSpPr/>
            <p:nvPr/>
          </p:nvSpPr>
          <p:spPr>
            <a:xfrm>
              <a:off x="8843956" y="1400877"/>
              <a:ext cx="159593" cy="2084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8911153" y="1435621"/>
              <a:ext cx="232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8904664" y="1469219"/>
              <a:ext cx="358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8898937" y="1502817"/>
              <a:ext cx="4734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8892828" y="1536033"/>
              <a:ext cx="591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8886719" y="1569633"/>
              <a:ext cx="713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8880610" y="1603231"/>
              <a:ext cx="832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8874500" y="1636830"/>
              <a:ext cx="9545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8868775" y="1670428"/>
              <a:ext cx="1072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8862666" y="1704027"/>
              <a:ext cx="11912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8856557" y="1737625"/>
              <a:ext cx="13095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8850448" y="1770842"/>
              <a:ext cx="143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8844339" y="1804058"/>
              <a:ext cx="15501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8838230" y="1837657"/>
              <a:ext cx="1672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8832502" y="1871255"/>
              <a:ext cx="17868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8826012" y="1904854"/>
              <a:ext cx="1912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8820286" y="1938452"/>
              <a:ext cx="20311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8814177" y="1972050"/>
              <a:ext cx="21495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Arc 578"/>
            <p:cNvSpPr/>
            <p:nvPr/>
          </p:nvSpPr>
          <p:spPr>
            <a:xfrm>
              <a:off x="-1444417" y="389303"/>
              <a:ext cx="1707410" cy="1707410"/>
            </a:xfrm>
            <a:prstGeom prst="arc">
              <a:avLst>
                <a:gd name="adj1" fmla="val 2456154"/>
                <a:gd name="adj2" fmla="val 2779844"/>
              </a:avLst>
            </a:prstGeom>
            <a:ln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0" name="Straight Connector 579"/>
            <p:cNvSpPr/>
            <p:nvPr userDrawn="1"/>
          </p:nvSpPr>
          <p:spPr>
            <a:xfrm>
              <a:off x="8721398" y="2014813"/>
              <a:ext cx="42260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 userDrawn="1"/>
          </p:nvSpPr>
          <p:spPr>
            <a:xfrm>
              <a:off x="9023402" y="2105024"/>
              <a:ext cx="1205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 userDrawn="1"/>
          </p:nvSpPr>
          <p:spPr>
            <a:xfrm>
              <a:off x="9023402" y="2060575"/>
              <a:ext cx="0" cy="417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3088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0010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3410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69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94" indent="-533277" algn="l">
              <a:lnSpc>
                <a:spcPct val="90000"/>
              </a:lnSpc>
              <a:defRPr sz="5333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7958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69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94" indent="-533277" algn="l">
              <a:lnSpc>
                <a:spcPct val="90000"/>
              </a:lnSpc>
              <a:defRPr sz="5333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0196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751" y="5233661"/>
            <a:ext cx="10852149" cy="663195"/>
          </a:xfrm>
          <a:prstGeom prst="rect">
            <a:avLst/>
          </a:prstGeom>
          <a:noFill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3867"/>
              </a:lnSpc>
              <a:spcBef>
                <a:spcPts val="0"/>
              </a:spcBef>
              <a:buNone/>
              <a:defRPr sz="32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75981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12401551" cy="3790949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8380" y="4072691"/>
            <a:ext cx="11152315" cy="716158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4267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03129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27672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24267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636906" y="6322205"/>
            <a:ext cx="462238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2"/>
            <a:ext cx="11307184" cy="5688861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90895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42421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34C190-B9D7-564F-8B24-52DC7EDEB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6C7AAA-4218-3341-A7DA-D6E168FD8B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4C8E404-56AC-BC43-A9B2-AAC1759E93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684D15-2204-D547-9108-FBB5EF1533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E837E1-6A78-2048-86E2-495D4108222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48C3D17-7BE5-5A40-9563-A7C928DDC1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D8110-A292-5241-B630-D6774E40F8D8}" type="datetimeFigureOut">
              <a:rPr lang="en-US" smtClean="0"/>
              <a:t>1/16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2808ABD-867A-8642-A749-E6C1B8179C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52F2EB-0E12-474A-866F-F2DA857EF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55991-60D6-4E43-B72D-641256C7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1753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15256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05926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10207555" y="6055616"/>
            <a:ext cx="1984445" cy="399993"/>
            <a:chOff x="1743075" y="4356100"/>
            <a:chExt cx="3654425" cy="736600"/>
          </a:xfrm>
        </p:grpSpPr>
        <p:sp>
          <p:nvSpPr>
            <p:cNvPr id="5" name="Freeform 41"/>
            <p:cNvSpPr>
              <a:spLocks noChangeArrowheads="1"/>
            </p:cNvSpPr>
            <p:nvPr/>
          </p:nvSpPr>
          <p:spPr bwMode="auto">
            <a:xfrm>
              <a:off x="1743075" y="4356100"/>
              <a:ext cx="2854325" cy="520700"/>
            </a:xfrm>
            <a:custGeom>
              <a:avLst/>
              <a:gdLst>
                <a:gd name="T0" fmla="*/ 567 w 7927"/>
                <a:gd name="T1" fmla="*/ 1444 h 1445"/>
                <a:gd name="T2" fmla="*/ 84 w 7927"/>
                <a:gd name="T3" fmla="*/ 987 h 1445"/>
                <a:gd name="T4" fmla="*/ 296 w 7927"/>
                <a:gd name="T5" fmla="*/ 781 h 1445"/>
                <a:gd name="T6" fmla="*/ 2198 w 7927"/>
                <a:gd name="T7" fmla="*/ 496 h 1445"/>
                <a:gd name="T8" fmla="*/ 4450 w 7927"/>
                <a:gd name="T9" fmla="*/ 0 h 1445"/>
                <a:gd name="T10" fmla="*/ 7926 w 7927"/>
                <a:gd name="T11" fmla="*/ 677 h 1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27" h="1445">
                  <a:moveTo>
                    <a:pt x="567" y="1444"/>
                  </a:moveTo>
                  <a:cubicBezTo>
                    <a:pt x="567" y="1444"/>
                    <a:pt x="166" y="1069"/>
                    <a:pt x="84" y="987"/>
                  </a:cubicBezTo>
                  <a:cubicBezTo>
                    <a:pt x="0" y="903"/>
                    <a:pt x="53" y="826"/>
                    <a:pt x="296" y="781"/>
                  </a:cubicBezTo>
                  <a:cubicBezTo>
                    <a:pt x="541" y="736"/>
                    <a:pt x="1380" y="414"/>
                    <a:pt x="2198" y="496"/>
                  </a:cubicBezTo>
                  <a:cubicBezTo>
                    <a:pt x="3016" y="581"/>
                    <a:pt x="3708" y="0"/>
                    <a:pt x="4450" y="0"/>
                  </a:cubicBezTo>
                  <a:cubicBezTo>
                    <a:pt x="6180" y="0"/>
                    <a:pt x="6648" y="677"/>
                    <a:pt x="7926" y="67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6" name="Line 42"/>
            <p:cNvSpPr>
              <a:spLocks noChangeShapeType="1"/>
            </p:cNvSpPr>
            <p:nvPr/>
          </p:nvSpPr>
          <p:spPr bwMode="auto">
            <a:xfrm>
              <a:off x="4146550" y="4927600"/>
              <a:ext cx="339725" cy="1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7" name="Line 43"/>
            <p:cNvSpPr>
              <a:spLocks noChangeShapeType="1"/>
            </p:cNvSpPr>
            <p:nvPr/>
          </p:nvSpPr>
          <p:spPr bwMode="auto">
            <a:xfrm>
              <a:off x="2640013" y="4927600"/>
              <a:ext cx="1039812" cy="1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8" name="Line 44"/>
            <p:cNvSpPr>
              <a:spLocks noChangeShapeType="1"/>
            </p:cNvSpPr>
            <p:nvPr/>
          </p:nvSpPr>
          <p:spPr bwMode="auto">
            <a:xfrm>
              <a:off x="1866900" y="4927600"/>
              <a:ext cx="307975" cy="1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9" name="Freeform 45"/>
            <p:cNvSpPr>
              <a:spLocks noChangeArrowheads="1"/>
            </p:cNvSpPr>
            <p:nvPr/>
          </p:nvSpPr>
          <p:spPr bwMode="auto">
            <a:xfrm>
              <a:off x="2843213" y="4481513"/>
              <a:ext cx="727075" cy="177800"/>
            </a:xfrm>
            <a:custGeom>
              <a:avLst/>
              <a:gdLst>
                <a:gd name="T0" fmla="*/ 844 w 2021"/>
                <a:gd name="T1" fmla="*/ 0 h 495"/>
                <a:gd name="T2" fmla="*/ 0 w 2021"/>
                <a:gd name="T3" fmla="*/ 489 h 495"/>
                <a:gd name="T4" fmla="*/ 2020 w 2021"/>
                <a:gd name="T5" fmla="*/ 350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21" h="495">
                  <a:moveTo>
                    <a:pt x="844" y="0"/>
                  </a:moveTo>
                  <a:cubicBezTo>
                    <a:pt x="844" y="0"/>
                    <a:pt x="530" y="96"/>
                    <a:pt x="0" y="489"/>
                  </a:cubicBezTo>
                  <a:cubicBezTo>
                    <a:pt x="0" y="489"/>
                    <a:pt x="1479" y="494"/>
                    <a:pt x="2020" y="35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0" name="Line 46"/>
            <p:cNvSpPr>
              <a:spLocks noChangeShapeType="1"/>
            </p:cNvSpPr>
            <p:nvPr/>
          </p:nvSpPr>
          <p:spPr bwMode="auto">
            <a:xfrm flipH="1">
              <a:off x="3608388" y="4491038"/>
              <a:ext cx="60325" cy="7461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1" name="Line 47"/>
            <p:cNvSpPr>
              <a:spLocks noChangeShapeType="1"/>
            </p:cNvSpPr>
            <p:nvPr/>
          </p:nvSpPr>
          <p:spPr bwMode="auto">
            <a:xfrm flipH="1">
              <a:off x="3684588" y="4491038"/>
              <a:ext cx="60325" cy="7461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2" name="Freeform 48"/>
            <p:cNvSpPr>
              <a:spLocks noChangeArrowheads="1"/>
            </p:cNvSpPr>
            <p:nvPr/>
          </p:nvSpPr>
          <p:spPr bwMode="auto">
            <a:xfrm>
              <a:off x="2238375" y="4754563"/>
              <a:ext cx="338138" cy="338137"/>
            </a:xfrm>
            <a:custGeom>
              <a:avLst/>
              <a:gdLst>
                <a:gd name="T0" fmla="*/ 937 w 938"/>
                <a:gd name="T1" fmla="*/ 468 h 938"/>
                <a:gd name="T2" fmla="*/ 874 w 938"/>
                <a:gd name="T3" fmla="*/ 702 h 938"/>
                <a:gd name="T4" fmla="*/ 702 w 938"/>
                <a:gd name="T5" fmla="*/ 874 h 938"/>
                <a:gd name="T6" fmla="*/ 468 w 938"/>
                <a:gd name="T7" fmla="*/ 937 h 938"/>
                <a:gd name="T8" fmla="*/ 234 w 938"/>
                <a:gd name="T9" fmla="*/ 874 h 938"/>
                <a:gd name="T10" fmla="*/ 62 w 938"/>
                <a:gd name="T11" fmla="*/ 702 h 938"/>
                <a:gd name="T12" fmla="*/ 0 w 938"/>
                <a:gd name="T13" fmla="*/ 468 h 938"/>
                <a:gd name="T14" fmla="*/ 62 w 938"/>
                <a:gd name="T15" fmla="*/ 234 h 938"/>
                <a:gd name="T16" fmla="*/ 234 w 938"/>
                <a:gd name="T17" fmla="*/ 63 h 938"/>
                <a:gd name="T18" fmla="*/ 468 w 938"/>
                <a:gd name="T19" fmla="*/ 0 h 938"/>
                <a:gd name="T20" fmla="*/ 702 w 938"/>
                <a:gd name="T21" fmla="*/ 63 h 938"/>
                <a:gd name="T22" fmla="*/ 874 w 938"/>
                <a:gd name="T23" fmla="*/ 234 h 938"/>
                <a:gd name="T24" fmla="*/ 937 w 938"/>
                <a:gd name="T25" fmla="*/ 468 h 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8" h="938">
                  <a:moveTo>
                    <a:pt x="937" y="468"/>
                  </a:moveTo>
                  <a:cubicBezTo>
                    <a:pt x="937" y="554"/>
                    <a:pt x="917" y="628"/>
                    <a:pt x="874" y="702"/>
                  </a:cubicBezTo>
                  <a:cubicBezTo>
                    <a:pt x="831" y="777"/>
                    <a:pt x="776" y="831"/>
                    <a:pt x="702" y="874"/>
                  </a:cubicBezTo>
                  <a:cubicBezTo>
                    <a:pt x="627" y="917"/>
                    <a:pt x="554" y="937"/>
                    <a:pt x="468" y="937"/>
                  </a:cubicBezTo>
                  <a:cubicBezTo>
                    <a:pt x="382" y="937"/>
                    <a:pt x="309" y="917"/>
                    <a:pt x="234" y="874"/>
                  </a:cubicBezTo>
                  <a:cubicBezTo>
                    <a:pt x="159" y="831"/>
                    <a:pt x="105" y="777"/>
                    <a:pt x="62" y="702"/>
                  </a:cubicBezTo>
                  <a:cubicBezTo>
                    <a:pt x="18" y="628"/>
                    <a:pt x="0" y="554"/>
                    <a:pt x="0" y="468"/>
                  </a:cubicBezTo>
                  <a:cubicBezTo>
                    <a:pt x="0" y="382"/>
                    <a:pt x="18" y="309"/>
                    <a:pt x="62" y="234"/>
                  </a:cubicBezTo>
                  <a:cubicBezTo>
                    <a:pt x="105" y="159"/>
                    <a:pt x="159" y="107"/>
                    <a:pt x="234" y="63"/>
                  </a:cubicBezTo>
                  <a:cubicBezTo>
                    <a:pt x="309" y="20"/>
                    <a:pt x="382" y="0"/>
                    <a:pt x="468" y="0"/>
                  </a:cubicBezTo>
                  <a:cubicBezTo>
                    <a:pt x="554" y="0"/>
                    <a:pt x="627" y="20"/>
                    <a:pt x="702" y="63"/>
                  </a:cubicBezTo>
                  <a:cubicBezTo>
                    <a:pt x="776" y="107"/>
                    <a:pt x="831" y="159"/>
                    <a:pt x="874" y="234"/>
                  </a:cubicBezTo>
                  <a:cubicBezTo>
                    <a:pt x="917" y="309"/>
                    <a:pt x="937" y="382"/>
                    <a:pt x="937" y="46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3" name="Freeform 49"/>
            <p:cNvSpPr>
              <a:spLocks noChangeArrowheads="1"/>
            </p:cNvSpPr>
            <p:nvPr/>
          </p:nvSpPr>
          <p:spPr bwMode="auto">
            <a:xfrm>
              <a:off x="2176463" y="4692650"/>
              <a:ext cx="461962" cy="230188"/>
            </a:xfrm>
            <a:custGeom>
              <a:avLst/>
              <a:gdLst>
                <a:gd name="T0" fmla="*/ 0 w 1282"/>
                <a:gd name="T1" fmla="*/ 640 h 641"/>
                <a:gd name="T2" fmla="*/ 640 w 1282"/>
                <a:gd name="T3" fmla="*/ 0 h 641"/>
                <a:gd name="T4" fmla="*/ 1281 w 1282"/>
                <a:gd name="T5" fmla="*/ 640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82" h="641">
                  <a:moveTo>
                    <a:pt x="0" y="640"/>
                  </a:moveTo>
                  <a:cubicBezTo>
                    <a:pt x="0" y="287"/>
                    <a:pt x="287" y="0"/>
                    <a:pt x="640" y="0"/>
                  </a:cubicBezTo>
                  <a:cubicBezTo>
                    <a:pt x="993" y="0"/>
                    <a:pt x="1281" y="287"/>
                    <a:pt x="1281" y="64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4" name="Freeform 50"/>
            <p:cNvSpPr>
              <a:spLocks noChangeArrowheads="1"/>
            </p:cNvSpPr>
            <p:nvPr/>
          </p:nvSpPr>
          <p:spPr bwMode="auto">
            <a:xfrm>
              <a:off x="3743325" y="4754563"/>
              <a:ext cx="338138" cy="338137"/>
            </a:xfrm>
            <a:custGeom>
              <a:avLst/>
              <a:gdLst>
                <a:gd name="T0" fmla="*/ 937 w 938"/>
                <a:gd name="T1" fmla="*/ 468 h 938"/>
                <a:gd name="T2" fmla="*/ 874 w 938"/>
                <a:gd name="T3" fmla="*/ 702 h 938"/>
                <a:gd name="T4" fmla="*/ 703 w 938"/>
                <a:gd name="T5" fmla="*/ 874 h 938"/>
                <a:gd name="T6" fmla="*/ 468 w 938"/>
                <a:gd name="T7" fmla="*/ 937 h 938"/>
                <a:gd name="T8" fmla="*/ 234 w 938"/>
                <a:gd name="T9" fmla="*/ 874 h 938"/>
                <a:gd name="T10" fmla="*/ 63 w 938"/>
                <a:gd name="T11" fmla="*/ 702 h 938"/>
                <a:gd name="T12" fmla="*/ 0 w 938"/>
                <a:gd name="T13" fmla="*/ 468 h 938"/>
                <a:gd name="T14" fmla="*/ 63 w 938"/>
                <a:gd name="T15" fmla="*/ 234 h 938"/>
                <a:gd name="T16" fmla="*/ 234 w 938"/>
                <a:gd name="T17" fmla="*/ 63 h 938"/>
                <a:gd name="T18" fmla="*/ 468 w 938"/>
                <a:gd name="T19" fmla="*/ 0 h 938"/>
                <a:gd name="T20" fmla="*/ 703 w 938"/>
                <a:gd name="T21" fmla="*/ 63 h 938"/>
                <a:gd name="T22" fmla="*/ 874 w 938"/>
                <a:gd name="T23" fmla="*/ 234 h 938"/>
                <a:gd name="T24" fmla="*/ 937 w 938"/>
                <a:gd name="T25" fmla="*/ 468 h 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8" h="938">
                  <a:moveTo>
                    <a:pt x="937" y="468"/>
                  </a:moveTo>
                  <a:cubicBezTo>
                    <a:pt x="937" y="554"/>
                    <a:pt x="917" y="628"/>
                    <a:pt x="874" y="702"/>
                  </a:cubicBezTo>
                  <a:cubicBezTo>
                    <a:pt x="831" y="777"/>
                    <a:pt x="777" y="831"/>
                    <a:pt x="703" y="874"/>
                  </a:cubicBezTo>
                  <a:cubicBezTo>
                    <a:pt x="628" y="917"/>
                    <a:pt x="554" y="937"/>
                    <a:pt x="468" y="937"/>
                  </a:cubicBezTo>
                  <a:cubicBezTo>
                    <a:pt x="381" y="937"/>
                    <a:pt x="308" y="917"/>
                    <a:pt x="234" y="874"/>
                  </a:cubicBezTo>
                  <a:cubicBezTo>
                    <a:pt x="159" y="831"/>
                    <a:pt x="106" y="777"/>
                    <a:pt x="63" y="702"/>
                  </a:cubicBezTo>
                  <a:cubicBezTo>
                    <a:pt x="20" y="628"/>
                    <a:pt x="0" y="554"/>
                    <a:pt x="0" y="468"/>
                  </a:cubicBezTo>
                  <a:cubicBezTo>
                    <a:pt x="0" y="382"/>
                    <a:pt x="20" y="309"/>
                    <a:pt x="63" y="234"/>
                  </a:cubicBezTo>
                  <a:cubicBezTo>
                    <a:pt x="106" y="159"/>
                    <a:pt x="159" y="107"/>
                    <a:pt x="234" y="63"/>
                  </a:cubicBezTo>
                  <a:cubicBezTo>
                    <a:pt x="308" y="20"/>
                    <a:pt x="382" y="0"/>
                    <a:pt x="468" y="0"/>
                  </a:cubicBezTo>
                  <a:cubicBezTo>
                    <a:pt x="555" y="0"/>
                    <a:pt x="628" y="20"/>
                    <a:pt x="703" y="63"/>
                  </a:cubicBezTo>
                  <a:cubicBezTo>
                    <a:pt x="777" y="107"/>
                    <a:pt x="831" y="159"/>
                    <a:pt x="874" y="234"/>
                  </a:cubicBezTo>
                  <a:cubicBezTo>
                    <a:pt x="917" y="309"/>
                    <a:pt x="937" y="382"/>
                    <a:pt x="937" y="46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5" name="Freeform 51"/>
            <p:cNvSpPr>
              <a:spLocks noChangeArrowheads="1"/>
            </p:cNvSpPr>
            <p:nvPr/>
          </p:nvSpPr>
          <p:spPr bwMode="auto">
            <a:xfrm>
              <a:off x="3681413" y="4692650"/>
              <a:ext cx="461962" cy="230188"/>
            </a:xfrm>
            <a:custGeom>
              <a:avLst/>
              <a:gdLst>
                <a:gd name="T0" fmla="*/ 0 w 1282"/>
                <a:gd name="T1" fmla="*/ 640 h 641"/>
                <a:gd name="T2" fmla="*/ 640 w 1282"/>
                <a:gd name="T3" fmla="*/ 0 h 641"/>
                <a:gd name="T4" fmla="*/ 1281 w 1282"/>
                <a:gd name="T5" fmla="*/ 640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82" h="641">
                  <a:moveTo>
                    <a:pt x="0" y="640"/>
                  </a:moveTo>
                  <a:cubicBezTo>
                    <a:pt x="0" y="287"/>
                    <a:pt x="287" y="0"/>
                    <a:pt x="640" y="0"/>
                  </a:cubicBezTo>
                  <a:cubicBezTo>
                    <a:pt x="992" y="0"/>
                    <a:pt x="1281" y="287"/>
                    <a:pt x="1281" y="64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6" name="Freeform 52"/>
            <p:cNvSpPr>
              <a:spLocks noChangeArrowheads="1"/>
            </p:cNvSpPr>
            <p:nvPr/>
          </p:nvSpPr>
          <p:spPr bwMode="auto">
            <a:xfrm>
              <a:off x="2336800" y="4854575"/>
              <a:ext cx="138113" cy="138113"/>
            </a:xfrm>
            <a:custGeom>
              <a:avLst/>
              <a:gdLst>
                <a:gd name="T0" fmla="*/ 384 w 385"/>
                <a:gd name="T1" fmla="*/ 192 h 385"/>
                <a:gd name="T2" fmla="*/ 358 w 385"/>
                <a:gd name="T3" fmla="*/ 288 h 385"/>
                <a:gd name="T4" fmla="*/ 288 w 385"/>
                <a:gd name="T5" fmla="*/ 358 h 385"/>
                <a:gd name="T6" fmla="*/ 192 w 385"/>
                <a:gd name="T7" fmla="*/ 384 h 385"/>
                <a:gd name="T8" fmla="*/ 96 w 385"/>
                <a:gd name="T9" fmla="*/ 358 h 385"/>
                <a:gd name="T10" fmla="*/ 26 w 385"/>
                <a:gd name="T11" fmla="*/ 288 h 385"/>
                <a:gd name="T12" fmla="*/ 0 w 385"/>
                <a:gd name="T13" fmla="*/ 192 h 385"/>
                <a:gd name="T14" fmla="*/ 26 w 385"/>
                <a:gd name="T15" fmla="*/ 96 h 385"/>
                <a:gd name="T16" fmla="*/ 96 w 385"/>
                <a:gd name="T17" fmla="*/ 26 h 385"/>
                <a:gd name="T18" fmla="*/ 192 w 385"/>
                <a:gd name="T19" fmla="*/ 0 h 385"/>
                <a:gd name="T20" fmla="*/ 288 w 385"/>
                <a:gd name="T21" fmla="*/ 26 h 385"/>
                <a:gd name="T22" fmla="*/ 358 w 385"/>
                <a:gd name="T23" fmla="*/ 96 h 385"/>
                <a:gd name="T24" fmla="*/ 384 w 385"/>
                <a:gd name="T25" fmla="*/ 19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5" h="385">
                  <a:moveTo>
                    <a:pt x="384" y="192"/>
                  </a:moveTo>
                  <a:cubicBezTo>
                    <a:pt x="384" y="228"/>
                    <a:pt x="375" y="258"/>
                    <a:pt x="358" y="288"/>
                  </a:cubicBezTo>
                  <a:cubicBezTo>
                    <a:pt x="340" y="319"/>
                    <a:pt x="319" y="341"/>
                    <a:pt x="288" y="358"/>
                  </a:cubicBezTo>
                  <a:cubicBezTo>
                    <a:pt x="257" y="376"/>
                    <a:pt x="227" y="384"/>
                    <a:pt x="192" y="384"/>
                  </a:cubicBezTo>
                  <a:cubicBezTo>
                    <a:pt x="157" y="384"/>
                    <a:pt x="126" y="376"/>
                    <a:pt x="96" y="358"/>
                  </a:cubicBezTo>
                  <a:cubicBezTo>
                    <a:pt x="65" y="341"/>
                    <a:pt x="44" y="319"/>
                    <a:pt x="26" y="288"/>
                  </a:cubicBezTo>
                  <a:cubicBezTo>
                    <a:pt x="8" y="258"/>
                    <a:pt x="0" y="228"/>
                    <a:pt x="0" y="192"/>
                  </a:cubicBezTo>
                  <a:cubicBezTo>
                    <a:pt x="0" y="157"/>
                    <a:pt x="8" y="127"/>
                    <a:pt x="26" y="96"/>
                  </a:cubicBezTo>
                  <a:cubicBezTo>
                    <a:pt x="44" y="66"/>
                    <a:pt x="65" y="44"/>
                    <a:pt x="96" y="26"/>
                  </a:cubicBezTo>
                  <a:cubicBezTo>
                    <a:pt x="126" y="8"/>
                    <a:pt x="157" y="0"/>
                    <a:pt x="192" y="0"/>
                  </a:cubicBezTo>
                  <a:cubicBezTo>
                    <a:pt x="227" y="0"/>
                    <a:pt x="257" y="8"/>
                    <a:pt x="288" y="26"/>
                  </a:cubicBezTo>
                  <a:cubicBezTo>
                    <a:pt x="319" y="44"/>
                    <a:pt x="340" y="66"/>
                    <a:pt x="358" y="96"/>
                  </a:cubicBezTo>
                  <a:cubicBezTo>
                    <a:pt x="375" y="127"/>
                    <a:pt x="384" y="157"/>
                    <a:pt x="384" y="19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7" name="Freeform 53"/>
            <p:cNvSpPr>
              <a:spLocks noChangeArrowheads="1"/>
            </p:cNvSpPr>
            <p:nvPr/>
          </p:nvSpPr>
          <p:spPr bwMode="auto">
            <a:xfrm>
              <a:off x="3849688" y="4854575"/>
              <a:ext cx="138112" cy="138113"/>
            </a:xfrm>
            <a:custGeom>
              <a:avLst/>
              <a:gdLst>
                <a:gd name="T0" fmla="*/ 384 w 385"/>
                <a:gd name="T1" fmla="*/ 192 h 385"/>
                <a:gd name="T2" fmla="*/ 359 w 385"/>
                <a:gd name="T3" fmla="*/ 288 h 385"/>
                <a:gd name="T4" fmla="*/ 288 w 385"/>
                <a:gd name="T5" fmla="*/ 358 h 385"/>
                <a:gd name="T6" fmla="*/ 192 w 385"/>
                <a:gd name="T7" fmla="*/ 384 h 385"/>
                <a:gd name="T8" fmla="*/ 96 w 385"/>
                <a:gd name="T9" fmla="*/ 358 h 385"/>
                <a:gd name="T10" fmla="*/ 26 w 385"/>
                <a:gd name="T11" fmla="*/ 288 h 385"/>
                <a:gd name="T12" fmla="*/ 0 w 385"/>
                <a:gd name="T13" fmla="*/ 192 h 385"/>
                <a:gd name="T14" fmla="*/ 26 w 385"/>
                <a:gd name="T15" fmla="*/ 96 h 385"/>
                <a:gd name="T16" fmla="*/ 96 w 385"/>
                <a:gd name="T17" fmla="*/ 26 h 385"/>
                <a:gd name="T18" fmla="*/ 192 w 385"/>
                <a:gd name="T19" fmla="*/ 0 h 385"/>
                <a:gd name="T20" fmla="*/ 288 w 385"/>
                <a:gd name="T21" fmla="*/ 26 h 385"/>
                <a:gd name="T22" fmla="*/ 359 w 385"/>
                <a:gd name="T23" fmla="*/ 96 h 385"/>
                <a:gd name="T24" fmla="*/ 384 w 385"/>
                <a:gd name="T25" fmla="*/ 19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5" h="385">
                  <a:moveTo>
                    <a:pt x="384" y="192"/>
                  </a:moveTo>
                  <a:cubicBezTo>
                    <a:pt x="384" y="228"/>
                    <a:pt x="376" y="258"/>
                    <a:pt x="359" y="288"/>
                  </a:cubicBezTo>
                  <a:cubicBezTo>
                    <a:pt x="341" y="319"/>
                    <a:pt x="318" y="341"/>
                    <a:pt x="288" y="358"/>
                  </a:cubicBezTo>
                  <a:cubicBezTo>
                    <a:pt x="257" y="376"/>
                    <a:pt x="227" y="384"/>
                    <a:pt x="192" y="384"/>
                  </a:cubicBezTo>
                  <a:cubicBezTo>
                    <a:pt x="156" y="384"/>
                    <a:pt x="126" y="376"/>
                    <a:pt x="96" y="358"/>
                  </a:cubicBezTo>
                  <a:cubicBezTo>
                    <a:pt x="65" y="341"/>
                    <a:pt x="43" y="319"/>
                    <a:pt x="26" y="288"/>
                  </a:cubicBezTo>
                  <a:cubicBezTo>
                    <a:pt x="8" y="258"/>
                    <a:pt x="0" y="228"/>
                    <a:pt x="0" y="192"/>
                  </a:cubicBezTo>
                  <a:cubicBezTo>
                    <a:pt x="0" y="157"/>
                    <a:pt x="8" y="127"/>
                    <a:pt x="26" y="96"/>
                  </a:cubicBezTo>
                  <a:cubicBezTo>
                    <a:pt x="43" y="66"/>
                    <a:pt x="65" y="44"/>
                    <a:pt x="96" y="26"/>
                  </a:cubicBezTo>
                  <a:cubicBezTo>
                    <a:pt x="126" y="8"/>
                    <a:pt x="157" y="0"/>
                    <a:pt x="192" y="0"/>
                  </a:cubicBezTo>
                  <a:cubicBezTo>
                    <a:pt x="228" y="0"/>
                    <a:pt x="257" y="8"/>
                    <a:pt x="288" y="26"/>
                  </a:cubicBezTo>
                  <a:cubicBezTo>
                    <a:pt x="318" y="44"/>
                    <a:pt x="341" y="66"/>
                    <a:pt x="359" y="96"/>
                  </a:cubicBezTo>
                  <a:cubicBezTo>
                    <a:pt x="376" y="127"/>
                    <a:pt x="384" y="157"/>
                    <a:pt x="384" y="19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18" name="Line 54"/>
            <p:cNvSpPr>
              <a:spLocks noChangeShapeType="1"/>
            </p:cNvSpPr>
            <p:nvPr/>
          </p:nvSpPr>
          <p:spPr bwMode="auto">
            <a:xfrm flipH="1">
              <a:off x="4514850" y="4699000"/>
              <a:ext cx="30163" cy="1651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9" name="Line 55"/>
            <p:cNvSpPr>
              <a:spLocks noChangeShapeType="1"/>
            </p:cNvSpPr>
            <p:nvPr/>
          </p:nvSpPr>
          <p:spPr bwMode="auto">
            <a:xfrm>
              <a:off x="4738688" y="4686300"/>
              <a:ext cx="65881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20" name="Line 56"/>
            <p:cNvSpPr>
              <a:spLocks noChangeShapeType="1"/>
            </p:cNvSpPr>
            <p:nvPr/>
          </p:nvSpPr>
          <p:spPr bwMode="auto">
            <a:xfrm>
              <a:off x="4783138" y="4600575"/>
              <a:ext cx="2587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21" name="Line 57"/>
            <p:cNvSpPr>
              <a:spLocks noChangeShapeType="1"/>
            </p:cNvSpPr>
            <p:nvPr/>
          </p:nvSpPr>
          <p:spPr bwMode="auto">
            <a:xfrm>
              <a:off x="4227513" y="4464050"/>
              <a:ext cx="406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22" name="Line 58"/>
            <p:cNvSpPr>
              <a:spLocks noChangeShapeType="1"/>
            </p:cNvSpPr>
            <p:nvPr/>
          </p:nvSpPr>
          <p:spPr bwMode="auto">
            <a:xfrm>
              <a:off x="5116513" y="4600575"/>
              <a:ext cx="555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23" name="Line 59"/>
            <p:cNvSpPr>
              <a:spLocks noChangeShapeType="1"/>
            </p:cNvSpPr>
            <p:nvPr/>
          </p:nvSpPr>
          <p:spPr bwMode="auto">
            <a:xfrm>
              <a:off x="4684713" y="4806950"/>
              <a:ext cx="2492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2227356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8985512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 rot="20700000">
            <a:off x="9704976" y="534351"/>
            <a:ext cx="1957721" cy="468095"/>
            <a:chOff x="781050" y="1370013"/>
            <a:chExt cx="3605213" cy="862012"/>
          </a:xfrm>
        </p:grpSpPr>
        <p:sp>
          <p:nvSpPr>
            <p:cNvPr id="5" name="Freeform 1"/>
            <p:cNvSpPr>
              <a:spLocks noChangeArrowheads="1"/>
            </p:cNvSpPr>
            <p:nvPr/>
          </p:nvSpPr>
          <p:spPr bwMode="auto">
            <a:xfrm>
              <a:off x="1449388" y="1616075"/>
              <a:ext cx="2936875" cy="407988"/>
            </a:xfrm>
            <a:custGeom>
              <a:avLst/>
              <a:gdLst>
                <a:gd name="T0" fmla="*/ 3494 w 8156"/>
                <a:gd name="T1" fmla="*/ 28 h 1132"/>
                <a:gd name="T2" fmla="*/ 6392 w 8156"/>
                <a:gd name="T3" fmla="*/ 0 h 1132"/>
                <a:gd name="T4" fmla="*/ 7985 w 8156"/>
                <a:gd name="T5" fmla="*/ 759 h 1132"/>
                <a:gd name="T6" fmla="*/ 7822 w 8156"/>
                <a:gd name="T7" fmla="*/ 1131 h 1132"/>
                <a:gd name="T8" fmla="*/ 0 w 8156"/>
                <a:gd name="T9" fmla="*/ 1131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56" h="1132">
                  <a:moveTo>
                    <a:pt x="3494" y="28"/>
                  </a:moveTo>
                  <a:cubicBezTo>
                    <a:pt x="4831" y="14"/>
                    <a:pt x="6254" y="0"/>
                    <a:pt x="6392" y="0"/>
                  </a:cubicBezTo>
                  <a:cubicBezTo>
                    <a:pt x="6756" y="0"/>
                    <a:pt x="7278" y="48"/>
                    <a:pt x="7985" y="759"/>
                  </a:cubicBezTo>
                  <a:cubicBezTo>
                    <a:pt x="8155" y="928"/>
                    <a:pt x="8031" y="1131"/>
                    <a:pt x="7822" y="1131"/>
                  </a:cubicBezTo>
                  <a:cubicBezTo>
                    <a:pt x="7613" y="1131"/>
                    <a:pt x="0" y="1131"/>
                    <a:pt x="0" y="113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6" name="Freeform 2"/>
            <p:cNvSpPr>
              <a:spLocks noChangeArrowheads="1"/>
            </p:cNvSpPr>
            <p:nvPr/>
          </p:nvSpPr>
          <p:spPr bwMode="auto">
            <a:xfrm>
              <a:off x="1222375" y="1370013"/>
              <a:ext cx="944563" cy="652462"/>
            </a:xfrm>
            <a:custGeom>
              <a:avLst/>
              <a:gdLst>
                <a:gd name="T0" fmla="*/ 1341 w 2623"/>
                <a:gd name="T1" fmla="*/ 1812 h 1813"/>
                <a:gd name="T2" fmla="*/ 1279 w 2623"/>
                <a:gd name="T3" fmla="*/ 1470 h 1813"/>
                <a:gd name="T4" fmla="*/ 0 w 2623"/>
                <a:gd name="T5" fmla="*/ 0 h 1813"/>
                <a:gd name="T6" fmla="*/ 441 w 2623"/>
                <a:gd name="T7" fmla="*/ 0 h 1813"/>
                <a:gd name="T8" fmla="*/ 906 w 2623"/>
                <a:gd name="T9" fmla="*/ 155 h 1813"/>
                <a:gd name="T10" fmla="*/ 1688 w 2623"/>
                <a:gd name="T11" fmla="*/ 736 h 1813"/>
                <a:gd name="T12" fmla="*/ 2622 w 2623"/>
                <a:gd name="T13" fmla="*/ 725 h 1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3" h="1813">
                  <a:moveTo>
                    <a:pt x="1341" y="1812"/>
                  </a:moveTo>
                  <a:cubicBezTo>
                    <a:pt x="1341" y="1812"/>
                    <a:pt x="1395" y="1648"/>
                    <a:pt x="1279" y="1470"/>
                  </a:cubicBezTo>
                  <a:cubicBezTo>
                    <a:pt x="1163" y="1292"/>
                    <a:pt x="0" y="0"/>
                    <a:pt x="0" y="0"/>
                  </a:cubicBezTo>
                  <a:cubicBezTo>
                    <a:pt x="0" y="0"/>
                    <a:pt x="257" y="0"/>
                    <a:pt x="441" y="0"/>
                  </a:cubicBezTo>
                  <a:cubicBezTo>
                    <a:pt x="624" y="0"/>
                    <a:pt x="734" y="31"/>
                    <a:pt x="906" y="155"/>
                  </a:cubicBezTo>
                  <a:cubicBezTo>
                    <a:pt x="1078" y="279"/>
                    <a:pt x="1688" y="736"/>
                    <a:pt x="1688" y="736"/>
                  </a:cubicBezTo>
                  <a:cubicBezTo>
                    <a:pt x="1688" y="736"/>
                    <a:pt x="2066" y="734"/>
                    <a:pt x="2622" y="72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7" name="Line 3"/>
            <p:cNvSpPr>
              <a:spLocks noChangeShapeType="1"/>
            </p:cNvSpPr>
            <p:nvPr/>
          </p:nvSpPr>
          <p:spPr bwMode="auto">
            <a:xfrm>
              <a:off x="3581400" y="2232025"/>
              <a:ext cx="49053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8" name="Line 4"/>
            <p:cNvSpPr>
              <a:spLocks noChangeShapeType="1"/>
            </p:cNvSpPr>
            <p:nvPr/>
          </p:nvSpPr>
          <p:spPr bwMode="auto">
            <a:xfrm>
              <a:off x="3246438" y="2232025"/>
              <a:ext cx="1428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9" name="Line 5"/>
            <p:cNvSpPr>
              <a:spLocks noChangeShapeType="1"/>
            </p:cNvSpPr>
            <p:nvPr/>
          </p:nvSpPr>
          <p:spPr bwMode="auto">
            <a:xfrm>
              <a:off x="1385888" y="2232025"/>
              <a:ext cx="5508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0" name="Line 6"/>
            <p:cNvSpPr>
              <a:spLocks noChangeShapeType="1"/>
            </p:cNvSpPr>
            <p:nvPr/>
          </p:nvSpPr>
          <p:spPr bwMode="auto">
            <a:xfrm>
              <a:off x="982663" y="2022475"/>
              <a:ext cx="2190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1" name="Line 7"/>
            <p:cNvSpPr>
              <a:spLocks noChangeShapeType="1"/>
            </p:cNvSpPr>
            <p:nvPr/>
          </p:nvSpPr>
          <p:spPr bwMode="auto">
            <a:xfrm>
              <a:off x="781050" y="2022475"/>
              <a:ext cx="809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2" name="Line 8"/>
            <p:cNvSpPr>
              <a:spLocks noChangeShapeType="1"/>
            </p:cNvSpPr>
            <p:nvPr/>
          </p:nvSpPr>
          <p:spPr bwMode="auto">
            <a:xfrm>
              <a:off x="1092200" y="2232025"/>
              <a:ext cx="8572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3" name="Freeform 9"/>
            <p:cNvSpPr>
              <a:spLocks noChangeArrowheads="1"/>
            </p:cNvSpPr>
            <p:nvPr/>
          </p:nvSpPr>
          <p:spPr bwMode="auto">
            <a:xfrm>
              <a:off x="1914525" y="1455738"/>
              <a:ext cx="1425575" cy="414337"/>
            </a:xfrm>
            <a:custGeom>
              <a:avLst/>
              <a:gdLst>
                <a:gd name="T0" fmla="*/ 1685 w 3958"/>
                <a:gd name="T1" fmla="*/ 1148 h 1149"/>
                <a:gd name="T2" fmla="*/ 0 w 3958"/>
                <a:gd name="T3" fmla="*/ 0 h 1149"/>
                <a:gd name="T4" fmla="*/ 830 w 3958"/>
                <a:gd name="T5" fmla="*/ 0 h 1149"/>
                <a:gd name="T6" fmla="*/ 3375 w 3958"/>
                <a:gd name="T7" fmla="*/ 973 h 1149"/>
                <a:gd name="T8" fmla="*/ 3957 w 3958"/>
                <a:gd name="T9" fmla="*/ 1089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58" h="1149">
                  <a:moveTo>
                    <a:pt x="1685" y="1148"/>
                  </a:moveTo>
                  <a:lnTo>
                    <a:pt x="0" y="0"/>
                  </a:lnTo>
                  <a:cubicBezTo>
                    <a:pt x="0" y="0"/>
                    <a:pt x="627" y="0"/>
                    <a:pt x="830" y="0"/>
                  </a:cubicBezTo>
                  <a:cubicBezTo>
                    <a:pt x="1225" y="0"/>
                    <a:pt x="1750" y="304"/>
                    <a:pt x="3375" y="973"/>
                  </a:cubicBezTo>
                  <a:cubicBezTo>
                    <a:pt x="3545" y="1044"/>
                    <a:pt x="3641" y="1089"/>
                    <a:pt x="3957" y="108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4" name="Freeform 10"/>
            <p:cNvSpPr>
              <a:spLocks noChangeArrowheads="1"/>
            </p:cNvSpPr>
            <p:nvPr/>
          </p:nvSpPr>
          <p:spPr bwMode="auto">
            <a:xfrm>
              <a:off x="3848100" y="1728788"/>
              <a:ext cx="381000" cy="79375"/>
            </a:xfrm>
            <a:custGeom>
              <a:avLst/>
              <a:gdLst>
                <a:gd name="T0" fmla="*/ 0 w 1058"/>
                <a:gd name="T1" fmla="*/ 0 h 221"/>
                <a:gd name="T2" fmla="*/ 398 w 1058"/>
                <a:gd name="T3" fmla="*/ 220 h 221"/>
                <a:gd name="T4" fmla="*/ 1057 w 1058"/>
                <a:gd name="T5" fmla="*/ 22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58" h="221">
                  <a:moveTo>
                    <a:pt x="0" y="0"/>
                  </a:moveTo>
                  <a:cubicBezTo>
                    <a:pt x="0" y="0"/>
                    <a:pt x="107" y="220"/>
                    <a:pt x="398" y="220"/>
                  </a:cubicBezTo>
                  <a:cubicBezTo>
                    <a:pt x="688" y="220"/>
                    <a:pt x="1057" y="220"/>
                    <a:pt x="1057" y="2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5" name="Line 11"/>
            <p:cNvSpPr>
              <a:spLocks noChangeShapeType="1"/>
            </p:cNvSpPr>
            <p:nvPr/>
          </p:nvSpPr>
          <p:spPr bwMode="auto">
            <a:xfrm>
              <a:off x="3397250" y="1722438"/>
              <a:ext cx="49213" cy="650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6" name="Line 12"/>
            <p:cNvSpPr>
              <a:spLocks noChangeShapeType="1"/>
            </p:cNvSpPr>
            <p:nvPr/>
          </p:nvSpPr>
          <p:spPr bwMode="auto">
            <a:xfrm>
              <a:off x="3608388" y="1722438"/>
              <a:ext cx="50800" cy="650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7" name="Freeform 13"/>
            <p:cNvSpPr>
              <a:spLocks noChangeArrowheads="1"/>
            </p:cNvSpPr>
            <p:nvPr/>
          </p:nvSpPr>
          <p:spPr bwMode="auto">
            <a:xfrm>
              <a:off x="2528888" y="2022475"/>
              <a:ext cx="581025" cy="177800"/>
            </a:xfrm>
            <a:custGeom>
              <a:avLst/>
              <a:gdLst>
                <a:gd name="T0" fmla="*/ 570 w 1615"/>
                <a:gd name="T1" fmla="*/ 0 h 492"/>
                <a:gd name="T2" fmla="*/ 0 w 1615"/>
                <a:gd name="T3" fmla="*/ 491 h 492"/>
                <a:gd name="T4" fmla="*/ 369 w 1615"/>
                <a:gd name="T5" fmla="*/ 491 h 492"/>
                <a:gd name="T6" fmla="*/ 1614 w 1615"/>
                <a:gd name="T7" fmla="*/ 3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5" h="492">
                  <a:moveTo>
                    <a:pt x="570" y="0"/>
                  </a:moveTo>
                  <a:lnTo>
                    <a:pt x="0" y="491"/>
                  </a:lnTo>
                  <a:cubicBezTo>
                    <a:pt x="0" y="491"/>
                    <a:pt x="254" y="491"/>
                    <a:pt x="369" y="491"/>
                  </a:cubicBezTo>
                  <a:cubicBezTo>
                    <a:pt x="711" y="491"/>
                    <a:pt x="852" y="415"/>
                    <a:pt x="1614" y="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8147510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10401265" y="5331485"/>
            <a:ext cx="1120323" cy="1172163"/>
            <a:chOff x="1639439" y="4759559"/>
            <a:chExt cx="420121" cy="439561"/>
          </a:xfrm>
        </p:grpSpPr>
        <p:sp>
          <p:nvSpPr>
            <p:cNvPr id="5" name="Freeform: Shape 49"/>
            <p:cNvSpPr/>
            <p:nvPr/>
          </p:nvSpPr>
          <p:spPr>
            <a:xfrm>
              <a:off x="1707120" y="4766399"/>
              <a:ext cx="32220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6" h="895">
                  <a:moveTo>
                    <a:pt x="896" y="448"/>
                  </a:moveTo>
                  <a:cubicBezTo>
                    <a:pt x="896" y="530"/>
                    <a:pt x="877" y="600"/>
                    <a:pt x="836" y="672"/>
                  </a:cubicBezTo>
                  <a:cubicBezTo>
                    <a:pt x="795" y="743"/>
                    <a:pt x="743" y="793"/>
                    <a:pt x="672" y="835"/>
                  </a:cubicBezTo>
                  <a:cubicBezTo>
                    <a:pt x="601" y="876"/>
                    <a:pt x="530" y="895"/>
                    <a:pt x="448" y="895"/>
                  </a:cubicBezTo>
                  <a:cubicBezTo>
                    <a:pt x="366" y="895"/>
                    <a:pt x="295" y="876"/>
                    <a:pt x="224" y="835"/>
                  </a:cubicBezTo>
                  <a:cubicBezTo>
                    <a:pt x="152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2" y="101"/>
                    <a:pt x="224" y="60"/>
                  </a:cubicBezTo>
                  <a:cubicBezTo>
                    <a:pt x="295" y="19"/>
                    <a:pt x="366" y="0"/>
                    <a:pt x="448" y="0"/>
                  </a:cubicBezTo>
                  <a:cubicBezTo>
                    <a:pt x="530" y="0"/>
                    <a:pt x="601" y="19"/>
                    <a:pt x="672" y="60"/>
                  </a:cubicBezTo>
                  <a:cubicBezTo>
                    <a:pt x="743" y="101"/>
                    <a:pt x="795" y="153"/>
                    <a:pt x="836" y="224"/>
                  </a:cubicBezTo>
                  <a:cubicBezTo>
                    <a:pt x="877" y="295"/>
                    <a:pt x="896" y="365"/>
                    <a:pt x="896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1868399" y="4759559"/>
              <a:ext cx="0" cy="212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1868399" y="508104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 flipH="1">
              <a:off x="1925640" y="477252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 flipH="1">
              <a:off x="1803600" y="5069880"/>
              <a:ext cx="7920" cy="194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1975320" y="4810680"/>
              <a:ext cx="15120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1746360" y="5036400"/>
              <a:ext cx="15120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2007720" y="486648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1709640" y="4987440"/>
              <a:ext cx="19799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2018519" y="4930560"/>
              <a:ext cx="21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1697400" y="4931279"/>
              <a:ext cx="20880" cy="3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 flipV="1">
              <a:off x="2007720" y="4987440"/>
              <a:ext cx="19799" cy="7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 flipV="1">
              <a:off x="1709640" y="4866840"/>
              <a:ext cx="19440" cy="79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1748160" y="480924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1973880" y="5037840"/>
              <a:ext cx="1511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1799640" y="4773960"/>
              <a:ext cx="864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1928879" y="5068440"/>
              <a:ext cx="8281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66"/>
            <p:cNvSpPr/>
            <p:nvPr/>
          </p:nvSpPr>
          <p:spPr>
            <a:xfrm>
              <a:off x="1829520" y="4924800"/>
              <a:ext cx="88920" cy="236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8" h="658" fill="none">
                  <a:moveTo>
                    <a:pt x="0" y="658"/>
                  </a:moveTo>
                  <a:lnTo>
                    <a:pt x="126" y="0"/>
                  </a:lnTo>
                  <a:lnTo>
                    <a:pt x="248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1639439" y="5187240"/>
              <a:ext cx="244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>
              <a:off x="1692000" y="5135400"/>
              <a:ext cx="35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69"/>
            <p:cNvSpPr/>
            <p:nvPr/>
          </p:nvSpPr>
          <p:spPr>
            <a:xfrm>
              <a:off x="1782360" y="5161680"/>
              <a:ext cx="27684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0" h="105" fill="none">
                  <a:moveTo>
                    <a:pt x="770" y="105"/>
                  </a:moveTo>
                  <a:lnTo>
                    <a:pt x="532" y="105"/>
                  </a:lnTo>
                  <a:lnTo>
                    <a:pt x="532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70"/>
            <p:cNvSpPr/>
            <p:nvPr/>
          </p:nvSpPr>
          <p:spPr>
            <a:xfrm>
              <a:off x="2004840" y="5149800"/>
              <a:ext cx="54720" cy="23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67">
                  <a:moveTo>
                    <a:pt x="153" y="33"/>
                  </a:moveTo>
                  <a:lnTo>
                    <a:pt x="153" y="6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153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966515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9555539" y="5423253"/>
            <a:ext cx="2068613" cy="1081935"/>
            <a:chOff x="11040120" y="2278080"/>
            <a:chExt cx="1015938" cy="531360"/>
          </a:xfrm>
        </p:grpSpPr>
        <p:sp>
          <p:nvSpPr>
            <p:cNvPr id="5" name="Straight Connector 4"/>
            <p:cNvSpPr/>
            <p:nvPr/>
          </p:nvSpPr>
          <p:spPr>
            <a:xfrm flipH="1">
              <a:off x="11201400" y="2593440"/>
              <a:ext cx="17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Freeform: Shape 568"/>
            <p:cNvSpPr/>
            <p:nvPr/>
          </p:nvSpPr>
          <p:spPr>
            <a:xfrm>
              <a:off x="11201760" y="2607120"/>
              <a:ext cx="324000" cy="61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01" h="172" fill="none">
                  <a:moveTo>
                    <a:pt x="0" y="0"/>
                  </a:moveTo>
                  <a:lnTo>
                    <a:pt x="484" y="0"/>
                  </a:lnTo>
                  <a:lnTo>
                    <a:pt x="484" y="105"/>
                  </a:lnTo>
                  <a:lnTo>
                    <a:pt x="901" y="105"/>
                  </a:lnTo>
                  <a:lnTo>
                    <a:pt x="901" y="17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Freeform: Shape 569"/>
            <p:cNvSpPr/>
            <p:nvPr/>
          </p:nvSpPr>
          <p:spPr>
            <a:xfrm>
              <a:off x="11372040" y="2675160"/>
              <a:ext cx="2815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3" h="85" fill="none">
                  <a:moveTo>
                    <a:pt x="0" y="0"/>
                  </a:moveTo>
                  <a:lnTo>
                    <a:pt x="304" y="0"/>
                  </a:lnTo>
                  <a:lnTo>
                    <a:pt x="304" y="85"/>
                  </a:lnTo>
                  <a:lnTo>
                    <a:pt x="783" y="8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Freeform: Shape 570"/>
            <p:cNvSpPr/>
            <p:nvPr/>
          </p:nvSpPr>
          <p:spPr>
            <a:xfrm>
              <a:off x="11161440" y="2638080"/>
              <a:ext cx="80280" cy="5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" h="165" fill="none">
                  <a:moveTo>
                    <a:pt x="0" y="165"/>
                  </a:moveTo>
                  <a:lnTo>
                    <a:pt x="0" y="0"/>
                  </a:lnTo>
                  <a:lnTo>
                    <a:pt x="224" y="0"/>
                  </a:lnTo>
                  <a:lnTo>
                    <a:pt x="224" y="1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Freeform: Shape 571"/>
            <p:cNvSpPr/>
            <p:nvPr/>
          </p:nvSpPr>
          <p:spPr>
            <a:xfrm>
              <a:off x="11178360" y="2653560"/>
              <a:ext cx="29880" cy="1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" h="43">
                  <a:moveTo>
                    <a:pt x="42" y="43"/>
                  </a:moveTo>
                  <a:lnTo>
                    <a:pt x="0" y="43"/>
                  </a:lnTo>
                  <a:lnTo>
                    <a:pt x="0" y="0"/>
                  </a:lnTo>
                  <a:lnTo>
                    <a:pt x="84" y="0"/>
                  </a:lnTo>
                  <a:lnTo>
                    <a:pt x="84" y="4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Freeform: Shape 572"/>
            <p:cNvSpPr/>
            <p:nvPr/>
          </p:nvSpPr>
          <p:spPr>
            <a:xfrm>
              <a:off x="11275920" y="2617920"/>
              <a:ext cx="84960" cy="13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7" h="39">
                  <a:moveTo>
                    <a:pt x="119" y="39"/>
                  </a:moveTo>
                  <a:lnTo>
                    <a:pt x="0" y="39"/>
                  </a:lnTo>
                  <a:lnTo>
                    <a:pt x="0" y="0"/>
                  </a:lnTo>
                  <a:lnTo>
                    <a:pt x="237" y="0"/>
                  </a:lnTo>
                  <a:lnTo>
                    <a:pt x="237" y="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Freeform: Shape 573"/>
            <p:cNvSpPr/>
            <p:nvPr/>
          </p:nvSpPr>
          <p:spPr>
            <a:xfrm>
              <a:off x="11403360" y="2610720"/>
              <a:ext cx="51840" cy="13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5" h="39">
                  <a:moveTo>
                    <a:pt x="73" y="39"/>
                  </a:moveTo>
                  <a:lnTo>
                    <a:pt x="0" y="39"/>
                  </a:lnTo>
                  <a:lnTo>
                    <a:pt x="0" y="0"/>
                  </a:lnTo>
                  <a:lnTo>
                    <a:pt x="145" y="0"/>
                  </a:lnTo>
                  <a:lnTo>
                    <a:pt x="145" y="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Freeform: Shape 574"/>
            <p:cNvSpPr/>
            <p:nvPr/>
          </p:nvSpPr>
          <p:spPr>
            <a:xfrm>
              <a:off x="11535839" y="2607120"/>
              <a:ext cx="47880" cy="32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4" h="90">
                  <a:moveTo>
                    <a:pt x="67" y="90"/>
                  </a:moveTo>
                  <a:lnTo>
                    <a:pt x="0" y="90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Freeform: Shape 575"/>
            <p:cNvSpPr/>
            <p:nvPr/>
          </p:nvSpPr>
          <p:spPr>
            <a:xfrm>
              <a:off x="11545200" y="2657520"/>
              <a:ext cx="18000" cy="31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1" h="88">
                  <a:moveTo>
                    <a:pt x="26" y="88"/>
                  </a:moveTo>
                  <a:lnTo>
                    <a:pt x="0" y="88"/>
                  </a:lnTo>
                  <a:lnTo>
                    <a:pt x="0" y="0"/>
                  </a:lnTo>
                  <a:lnTo>
                    <a:pt x="51" y="0"/>
                  </a:lnTo>
                  <a:lnTo>
                    <a:pt x="51" y="8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Freeform: Shape 576"/>
            <p:cNvSpPr/>
            <p:nvPr/>
          </p:nvSpPr>
          <p:spPr>
            <a:xfrm>
              <a:off x="11080440" y="2697840"/>
              <a:ext cx="1800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1" h="87">
                  <a:moveTo>
                    <a:pt x="26" y="87"/>
                  </a:moveTo>
                  <a:lnTo>
                    <a:pt x="0" y="87"/>
                  </a:lnTo>
                  <a:lnTo>
                    <a:pt x="0" y="0"/>
                  </a:lnTo>
                  <a:lnTo>
                    <a:pt x="51" y="0"/>
                  </a:lnTo>
                  <a:lnTo>
                    <a:pt x="51" y="8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Freeform: Shape 577"/>
            <p:cNvSpPr/>
            <p:nvPr/>
          </p:nvSpPr>
          <p:spPr>
            <a:xfrm>
              <a:off x="11343240" y="2512800"/>
              <a:ext cx="34920" cy="1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" h="33">
                  <a:moveTo>
                    <a:pt x="49" y="33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98" y="0"/>
                  </a:lnTo>
                  <a:lnTo>
                    <a:pt x="98" y="3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Freeform: Shape 578"/>
            <p:cNvSpPr/>
            <p:nvPr/>
          </p:nvSpPr>
          <p:spPr>
            <a:xfrm>
              <a:off x="11974320" y="2719440"/>
              <a:ext cx="34920" cy="1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" h="33">
                  <a:moveTo>
                    <a:pt x="49" y="33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98" y="0"/>
                  </a:lnTo>
                  <a:lnTo>
                    <a:pt x="98" y="3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eform: Shape 579"/>
            <p:cNvSpPr/>
            <p:nvPr/>
          </p:nvSpPr>
          <p:spPr>
            <a:xfrm>
              <a:off x="11332080" y="2502000"/>
              <a:ext cx="79560" cy="93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2" h="260" fill="none">
                  <a:moveTo>
                    <a:pt x="0" y="260"/>
                  </a:moveTo>
                  <a:lnTo>
                    <a:pt x="0" y="0"/>
                  </a:lnTo>
                  <a:lnTo>
                    <a:pt x="222" y="0"/>
                  </a:lnTo>
                  <a:lnTo>
                    <a:pt x="222" y="26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1144584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1145844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1147140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1148436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1149732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1151028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>
              <a:off x="1152324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11535839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588"/>
            <p:cNvSpPr/>
            <p:nvPr/>
          </p:nvSpPr>
          <p:spPr>
            <a:xfrm>
              <a:off x="11433600" y="2295000"/>
              <a:ext cx="112680" cy="30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4" h="858" fill="none">
                  <a:moveTo>
                    <a:pt x="0" y="858"/>
                  </a:moveTo>
                  <a:lnTo>
                    <a:pt x="0" y="0"/>
                  </a:lnTo>
                  <a:lnTo>
                    <a:pt x="314" y="0"/>
                  </a:lnTo>
                  <a:lnTo>
                    <a:pt x="314" y="8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11426400" y="2278080"/>
              <a:ext cx="128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11576519" y="2532600"/>
              <a:ext cx="0" cy="316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11558520" y="2567160"/>
              <a:ext cx="36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11770560" y="2575080"/>
              <a:ext cx="629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11824559" y="255528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11913840" y="2677680"/>
              <a:ext cx="0" cy="49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595"/>
            <p:cNvSpPr/>
            <p:nvPr/>
          </p:nvSpPr>
          <p:spPr>
            <a:xfrm>
              <a:off x="11278440" y="2707920"/>
              <a:ext cx="60552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83" h="69" fill="none">
                  <a:moveTo>
                    <a:pt x="0" y="56"/>
                  </a:moveTo>
                  <a:lnTo>
                    <a:pt x="117" y="0"/>
                  </a:lnTo>
                  <a:lnTo>
                    <a:pt x="483" y="0"/>
                  </a:lnTo>
                  <a:lnTo>
                    <a:pt x="483" y="69"/>
                  </a:lnTo>
                  <a:lnTo>
                    <a:pt x="1683" y="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596"/>
            <p:cNvSpPr/>
            <p:nvPr/>
          </p:nvSpPr>
          <p:spPr>
            <a:xfrm>
              <a:off x="11577240" y="2616480"/>
              <a:ext cx="255960" cy="6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2" h="190" fill="none">
                  <a:moveTo>
                    <a:pt x="0" y="190"/>
                  </a:moveTo>
                  <a:lnTo>
                    <a:pt x="406" y="190"/>
                  </a:lnTo>
                  <a:lnTo>
                    <a:pt x="406" y="55"/>
                  </a:lnTo>
                  <a:lnTo>
                    <a:pt x="601" y="55"/>
                  </a:lnTo>
                  <a:lnTo>
                    <a:pt x="601" y="0"/>
                  </a:lnTo>
                  <a:lnTo>
                    <a:pt x="712" y="0"/>
                  </a:lnTo>
                  <a:lnTo>
                    <a:pt x="712" y="146"/>
                  </a:lnTo>
                  <a:lnTo>
                    <a:pt x="578" y="14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597"/>
            <p:cNvSpPr/>
            <p:nvPr/>
          </p:nvSpPr>
          <p:spPr>
            <a:xfrm>
              <a:off x="11849759" y="2586960"/>
              <a:ext cx="34200" cy="23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6" h="66" fill="none">
                  <a:moveTo>
                    <a:pt x="0" y="58"/>
                  </a:moveTo>
                  <a:lnTo>
                    <a:pt x="0" y="0"/>
                  </a:lnTo>
                  <a:lnTo>
                    <a:pt x="96" y="0"/>
                  </a:lnTo>
                  <a:lnTo>
                    <a:pt x="96" y="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598"/>
            <p:cNvSpPr/>
            <p:nvPr/>
          </p:nvSpPr>
          <p:spPr>
            <a:xfrm>
              <a:off x="11881440" y="2623320"/>
              <a:ext cx="59040" cy="24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5" h="68" fill="none">
                  <a:moveTo>
                    <a:pt x="103" y="0"/>
                  </a:moveTo>
                  <a:lnTo>
                    <a:pt x="0" y="0"/>
                  </a:lnTo>
                  <a:lnTo>
                    <a:pt x="0" y="68"/>
                  </a:lnTo>
                  <a:lnTo>
                    <a:pt x="165" y="6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11534400" y="2777760"/>
              <a:ext cx="0" cy="3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 flipH="1">
              <a:off x="11040120" y="2750760"/>
              <a:ext cx="101593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>
              <a:off x="11605680" y="2777760"/>
              <a:ext cx="398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11792880" y="2802600"/>
              <a:ext cx="92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11140199" y="2769480"/>
              <a:ext cx="54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11210040" y="2709360"/>
              <a:ext cx="30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605"/>
            <p:cNvSpPr/>
            <p:nvPr/>
          </p:nvSpPr>
          <p:spPr>
            <a:xfrm>
              <a:off x="11605680" y="2317320"/>
              <a:ext cx="164160" cy="362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1009" fill="none">
                  <a:moveTo>
                    <a:pt x="0" y="1009"/>
                  </a:moveTo>
                  <a:lnTo>
                    <a:pt x="0" y="0"/>
                  </a:lnTo>
                  <a:lnTo>
                    <a:pt x="457" y="0"/>
                  </a:lnTo>
                  <a:lnTo>
                    <a:pt x="457" y="84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11605680" y="237060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11605680" y="2395439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>
              <a:off x="11605680" y="241416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>
              <a:off x="11605680" y="243252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11605680" y="245088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11605680" y="246924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11605680" y="248796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11605680" y="250668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11605680" y="2525039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11605680" y="254376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11605680" y="256248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11605680" y="258084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1605680" y="259956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11605680" y="261828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11605680" y="2634480"/>
              <a:ext cx="104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11605680" y="2653200"/>
              <a:ext cx="104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11605680" y="2671560"/>
              <a:ext cx="104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623"/>
            <p:cNvSpPr/>
            <p:nvPr/>
          </p:nvSpPr>
          <p:spPr>
            <a:xfrm>
              <a:off x="11634119" y="2294280"/>
              <a:ext cx="4752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" h="132">
                  <a:moveTo>
                    <a:pt x="133" y="66"/>
                  </a:moveTo>
                  <a:cubicBezTo>
                    <a:pt x="133" y="78"/>
                    <a:pt x="130" y="88"/>
                    <a:pt x="124" y="99"/>
                  </a:cubicBezTo>
                  <a:cubicBezTo>
                    <a:pt x="118" y="109"/>
                    <a:pt x="110" y="117"/>
                    <a:pt x="100" y="123"/>
                  </a:cubicBezTo>
                  <a:cubicBezTo>
                    <a:pt x="89" y="129"/>
                    <a:pt x="79" y="132"/>
                    <a:pt x="67" y="132"/>
                  </a:cubicBezTo>
                  <a:cubicBezTo>
                    <a:pt x="54" y="132"/>
                    <a:pt x="45" y="129"/>
                    <a:pt x="34" y="123"/>
                  </a:cubicBezTo>
                  <a:cubicBezTo>
                    <a:pt x="23" y="117"/>
                    <a:pt x="15" y="109"/>
                    <a:pt x="9" y="99"/>
                  </a:cubicBezTo>
                  <a:cubicBezTo>
                    <a:pt x="3" y="88"/>
                    <a:pt x="0" y="78"/>
                    <a:pt x="0" y="66"/>
                  </a:cubicBezTo>
                  <a:cubicBezTo>
                    <a:pt x="0" y="53"/>
                    <a:pt x="3" y="43"/>
                    <a:pt x="9" y="33"/>
                  </a:cubicBezTo>
                  <a:cubicBezTo>
                    <a:pt x="15" y="22"/>
                    <a:pt x="23" y="14"/>
                    <a:pt x="34" y="8"/>
                  </a:cubicBezTo>
                  <a:cubicBezTo>
                    <a:pt x="45" y="2"/>
                    <a:pt x="54" y="0"/>
                    <a:pt x="67" y="0"/>
                  </a:cubicBezTo>
                  <a:cubicBezTo>
                    <a:pt x="79" y="0"/>
                    <a:pt x="89" y="2"/>
                    <a:pt x="100" y="8"/>
                  </a:cubicBezTo>
                  <a:cubicBezTo>
                    <a:pt x="110" y="14"/>
                    <a:pt x="118" y="22"/>
                    <a:pt x="124" y="33"/>
                  </a:cubicBezTo>
                  <a:cubicBezTo>
                    <a:pt x="130" y="43"/>
                    <a:pt x="133" y="53"/>
                    <a:pt x="133" y="66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11693879" y="2333520"/>
              <a:ext cx="45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8460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8503680" y="5398296"/>
            <a:ext cx="3688320" cy="1061045"/>
            <a:chOff x="-319680" y="4767120"/>
            <a:chExt cx="1624320" cy="467280"/>
          </a:xfrm>
        </p:grpSpPr>
        <p:sp>
          <p:nvSpPr>
            <p:cNvPr id="5" name="Straight Connector 4"/>
            <p:cNvSpPr/>
            <p:nvPr/>
          </p:nvSpPr>
          <p:spPr>
            <a:xfrm>
              <a:off x="17280" y="4994640"/>
              <a:ext cx="96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87120" y="476712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897839" y="476712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Freeform: Shape 5"/>
            <p:cNvSpPr/>
            <p:nvPr/>
          </p:nvSpPr>
          <p:spPr>
            <a:xfrm>
              <a:off x="88920" y="479268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152640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200160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249840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298080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>
              <a:off x="34632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>
              <a:off x="39456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>
              <a:off x="443159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>
              <a:off x="829799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>
              <a:off x="781919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732599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684359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63612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58788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539280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491400" y="494604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>
              <a:off x="-319680" y="499464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2"/>
            <p:cNvSpPr/>
            <p:nvPr/>
          </p:nvSpPr>
          <p:spPr>
            <a:xfrm>
              <a:off x="-319680" y="479268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>
              <a:off x="19080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-28800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78480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-126720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-17532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-22356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-271800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 flipH="1">
              <a:off x="810719" y="4994640"/>
              <a:ext cx="49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31"/>
            <p:cNvSpPr/>
            <p:nvPr/>
          </p:nvSpPr>
          <p:spPr>
            <a:xfrm>
              <a:off x="898199" y="479268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0" y="0"/>
                  </a:moveTo>
                  <a:cubicBezTo>
                    <a:pt x="276" y="261"/>
                    <a:pt x="680" y="426"/>
                    <a:pt x="1129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966240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1013759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1063440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1111680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>
              <a:off x="116028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120852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1256759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314280" y="5066640"/>
              <a:ext cx="535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433440" y="510948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380160" y="5149800"/>
              <a:ext cx="106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40680" y="5195160"/>
              <a:ext cx="75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>
              <a:off x="-7560" y="5195160"/>
              <a:ext cx="15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>
              <a:off x="335520" y="5149800"/>
              <a:ext cx="15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5"/>
            <p:cNvSpPr/>
            <p:nvPr/>
          </p:nvSpPr>
          <p:spPr>
            <a:xfrm>
              <a:off x="188280" y="5110560"/>
              <a:ext cx="50760" cy="11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2" h="334">
                  <a:moveTo>
                    <a:pt x="142" y="0"/>
                  </a:moveTo>
                  <a:lnTo>
                    <a:pt x="142" y="334"/>
                  </a:lnTo>
                  <a:lnTo>
                    <a:pt x="0" y="22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189000" y="523440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1010520" y="5052240"/>
              <a:ext cx="33840" cy="80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5" h="225">
                  <a:moveTo>
                    <a:pt x="95" y="0"/>
                  </a:moveTo>
                  <a:lnTo>
                    <a:pt x="95" y="225"/>
                  </a:lnTo>
                  <a:lnTo>
                    <a:pt x="0" y="15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1010879" y="5135400"/>
              <a:ext cx="1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0494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0" y="5014061"/>
            <a:ext cx="4318352" cy="1238067"/>
            <a:chOff x="-198360" y="2843280"/>
            <a:chExt cx="7830359" cy="2244959"/>
          </a:xfrm>
        </p:grpSpPr>
        <p:sp>
          <p:nvSpPr>
            <p:cNvPr id="5" name="Straight Connector 4"/>
            <p:cNvSpPr/>
            <p:nvPr/>
          </p:nvSpPr>
          <p:spPr>
            <a:xfrm>
              <a:off x="2844720" y="446256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2928959" y="4534560"/>
              <a:ext cx="790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Freeform: Shape 3"/>
            <p:cNvSpPr/>
            <p:nvPr/>
          </p:nvSpPr>
          <p:spPr>
            <a:xfrm>
              <a:off x="3028320" y="3767400"/>
              <a:ext cx="1139760" cy="729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67" h="2027" fill="none">
                  <a:moveTo>
                    <a:pt x="0" y="2027"/>
                  </a:moveTo>
                  <a:lnTo>
                    <a:pt x="1583" y="0"/>
                  </a:lnTo>
                  <a:lnTo>
                    <a:pt x="3167" y="2027"/>
                  </a:lnTo>
                  <a:lnTo>
                    <a:pt x="3167" y="167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Freeform: Shape 4"/>
            <p:cNvSpPr/>
            <p:nvPr/>
          </p:nvSpPr>
          <p:spPr>
            <a:xfrm>
              <a:off x="4240079" y="3094200"/>
              <a:ext cx="706680" cy="14882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64" h="4135" fill="none">
                  <a:moveTo>
                    <a:pt x="0" y="4135"/>
                  </a:moveTo>
                  <a:lnTo>
                    <a:pt x="0" y="0"/>
                  </a:lnTo>
                  <a:lnTo>
                    <a:pt x="1964" y="0"/>
                  </a:lnTo>
                  <a:lnTo>
                    <a:pt x="1964" y="31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Freeform: Shape 5"/>
            <p:cNvSpPr/>
            <p:nvPr/>
          </p:nvSpPr>
          <p:spPr>
            <a:xfrm>
              <a:off x="4657680" y="4280760"/>
              <a:ext cx="578520" cy="453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08" h="1261" fill="none">
                  <a:moveTo>
                    <a:pt x="0" y="1261"/>
                  </a:moveTo>
                  <a:lnTo>
                    <a:pt x="0" y="0"/>
                  </a:lnTo>
                  <a:lnTo>
                    <a:pt x="1608" y="0"/>
                  </a:lnTo>
                  <a:lnTo>
                    <a:pt x="1608" y="125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5026320" y="4186079"/>
              <a:ext cx="17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5081400" y="4079520"/>
              <a:ext cx="0" cy="58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4551120" y="2843280"/>
              <a:ext cx="8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>
              <a:off x="4488120" y="2919600"/>
              <a:ext cx="21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Freeform: Shape 10"/>
            <p:cNvSpPr/>
            <p:nvPr/>
          </p:nvSpPr>
          <p:spPr>
            <a:xfrm>
              <a:off x="4440240" y="2980440"/>
              <a:ext cx="315720" cy="113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78" h="316" fill="none">
                  <a:moveTo>
                    <a:pt x="0" y="316"/>
                  </a:moveTo>
                  <a:lnTo>
                    <a:pt x="0" y="0"/>
                  </a:lnTo>
                  <a:lnTo>
                    <a:pt x="878" y="0"/>
                  </a:lnTo>
                  <a:lnTo>
                    <a:pt x="878" y="31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>
              <a:off x="4420800" y="4768200"/>
              <a:ext cx="411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V="1">
              <a:off x="5059080" y="4371120"/>
              <a:ext cx="0" cy="349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V="1">
              <a:off x="5356440" y="3223440"/>
              <a:ext cx="0" cy="109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 flipV="1">
              <a:off x="5630040" y="3223440"/>
              <a:ext cx="0" cy="109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15"/>
            <p:cNvSpPr/>
            <p:nvPr/>
          </p:nvSpPr>
          <p:spPr>
            <a:xfrm>
              <a:off x="5369760" y="3173760"/>
              <a:ext cx="243360" cy="73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77" h="206" fill="none">
                  <a:moveTo>
                    <a:pt x="0" y="206"/>
                  </a:moveTo>
                  <a:lnTo>
                    <a:pt x="342" y="0"/>
                  </a:lnTo>
                  <a:lnTo>
                    <a:pt x="677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 flipV="1">
              <a:off x="5492880" y="2977559"/>
              <a:ext cx="0" cy="1962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Freeform: Shape 17"/>
            <p:cNvSpPr/>
            <p:nvPr/>
          </p:nvSpPr>
          <p:spPr>
            <a:xfrm>
              <a:off x="5431680" y="3298680"/>
              <a:ext cx="120600" cy="6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36" h="189">
                  <a:moveTo>
                    <a:pt x="168" y="189"/>
                  </a:moveTo>
                  <a:lnTo>
                    <a:pt x="0" y="189"/>
                  </a:lnTo>
                  <a:lnTo>
                    <a:pt x="0" y="0"/>
                  </a:lnTo>
                  <a:lnTo>
                    <a:pt x="336" y="0"/>
                  </a:lnTo>
                  <a:lnTo>
                    <a:pt x="336" y="18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8"/>
            <p:cNvSpPr/>
            <p:nvPr/>
          </p:nvSpPr>
          <p:spPr>
            <a:xfrm>
              <a:off x="5399280" y="3428639"/>
              <a:ext cx="181440" cy="34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5" h="96">
                  <a:moveTo>
                    <a:pt x="253" y="96"/>
                  </a:moveTo>
                  <a:lnTo>
                    <a:pt x="0" y="96"/>
                  </a:lnTo>
                  <a:lnTo>
                    <a:pt x="0" y="0"/>
                  </a:lnTo>
                  <a:lnTo>
                    <a:pt x="505" y="0"/>
                  </a:lnTo>
                  <a:lnTo>
                    <a:pt x="505" y="9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19"/>
            <p:cNvSpPr/>
            <p:nvPr/>
          </p:nvSpPr>
          <p:spPr>
            <a:xfrm>
              <a:off x="5392080" y="351180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0"/>
            <p:cNvSpPr/>
            <p:nvPr/>
          </p:nvSpPr>
          <p:spPr>
            <a:xfrm>
              <a:off x="5392080" y="35780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1"/>
            <p:cNvSpPr/>
            <p:nvPr/>
          </p:nvSpPr>
          <p:spPr>
            <a:xfrm>
              <a:off x="5392080" y="36428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2"/>
            <p:cNvSpPr/>
            <p:nvPr/>
          </p:nvSpPr>
          <p:spPr>
            <a:xfrm>
              <a:off x="5392080" y="370908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3"/>
            <p:cNvSpPr/>
            <p:nvPr/>
          </p:nvSpPr>
          <p:spPr>
            <a:xfrm>
              <a:off x="5392080" y="377352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eform: Shape 24"/>
            <p:cNvSpPr/>
            <p:nvPr/>
          </p:nvSpPr>
          <p:spPr>
            <a:xfrm>
              <a:off x="5392080" y="383868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5"/>
            <p:cNvSpPr/>
            <p:nvPr/>
          </p:nvSpPr>
          <p:spPr>
            <a:xfrm>
              <a:off x="5392080" y="390456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Freeform: Shape 26"/>
            <p:cNvSpPr/>
            <p:nvPr/>
          </p:nvSpPr>
          <p:spPr>
            <a:xfrm>
              <a:off x="5392080" y="397080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7"/>
            <p:cNvSpPr/>
            <p:nvPr/>
          </p:nvSpPr>
          <p:spPr>
            <a:xfrm>
              <a:off x="5392080" y="4035599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Freeform: Shape 28"/>
            <p:cNvSpPr/>
            <p:nvPr/>
          </p:nvSpPr>
          <p:spPr>
            <a:xfrm>
              <a:off x="5392080" y="410076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9"/>
            <p:cNvSpPr/>
            <p:nvPr/>
          </p:nvSpPr>
          <p:spPr>
            <a:xfrm>
              <a:off x="5392080" y="41666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30"/>
            <p:cNvSpPr/>
            <p:nvPr/>
          </p:nvSpPr>
          <p:spPr>
            <a:xfrm>
              <a:off x="5392080" y="423180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31"/>
            <p:cNvSpPr/>
            <p:nvPr/>
          </p:nvSpPr>
          <p:spPr>
            <a:xfrm>
              <a:off x="5392080" y="42980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32"/>
            <p:cNvSpPr/>
            <p:nvPr/>
          </p:nvSpPr>
          <p:spPr>
            <a:xfrm>
              <a:off x="5664600" y="3675599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3"/>
            <p:cNvSpPr/>
            <p:nvPr/>
          </p:nvSpPr>
          <p:spPr>
            <a:xfrm>
              <a:off x="5664600" y="37202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4"/>
            <p:cNvSpPr/>
            <p:nvPr/>
          </p:nvSpPr>
          <p:spPr>
            <a:xfrm>
              <a:off x="5664600" y="376452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5"/>
            <p:cNvSpPr/>
            <p:nvPr/>
          </p:nvSpPr>
          <p:spPr>
            <a:xfrm>
              <a:off x="5664600" y="380916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6"/>
            <p:cNvSpPr/>
            <p:nvPr/>
          </p:nvSpPr>
          <p:spPr>
            <a:xfrm>
              <a:off x="5664600" y="385380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7"/>
            <p:cNvSpPr/>
            <p:nvPr/>
          </p:nvSpPr>
          <p:spPr>
            <a:xfrm>
              <a:off x="5664600" y="38984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5664600" y="39434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39"/>
            <p:cNvSpPr/>
            <p:nvPr/>
          </p:nvSpPr>
          <p:spPr>
            <a:xfrm>
              <a:off x="5664600" y="398700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0"/>
            <p:cNvSpPr/>
            <p:nvPr/>
          </p:nvSpPr>
          <p:spPr>
            <a:xfrm>
              <a:off x="5664600" y="40316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1"/>
            <p:cNvSpPr/>
            <p:nvPr/>
          </p:nvSpPr>
          <p:spPr>
            <a:xfrm>
              <a:off x="5664600" y="407628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2"/>
            <p:cNvSpPr/>
            <p:nvPr/>
          </p:nvSpPr>
          <p:spPr>
            <a:xfrm>
              <a:off x="5664600" y="4120919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3"/>
            <p:cNvSpPr/>
            <p:nvPr/>
          </p:nvSpPr>
          <p:spPr>
            <a:xfrm>
              <a:off x="5664600" y="41648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4"/>
            <p:cNvSpPr/>
            <p:nvPr/>
          </p:nvSpPr>
          <p:spPr>
            <a:xfrm>
              <a:off x="5664600" y="420948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45"/>
            <p:cNvSpPr/>
            <p:nvPr/>
          </p:nvSpPr>
          <p:spPr>
            <a:xfrm>
              <a:off x="5664600" y="425412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6"/>
            <p:cNvSpPr/>
            <p:nvPr/>
          </p:nvSpPr>
          <p:spPr>
            <a:xfrm>
              <a:off x="5664600" y="429876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6002640" y="3666239"/>
              <a:ext cx="0" cy="64332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Freeform: Shape 48"/>
            <p:cNvSpPr/>
            <p:nvPr/>
          </p:nvSpPr>
          <p:spPr>
            <a:xfrm>
              <a:off x="5437800" y="4345560"/>
              <a:ext cx="1357920" cy="221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73" h="615" fill="none">
                  <a:moveTo>
                    <a:pt x="0" y="0"/>
                  </a:moveTo>
                  <a:lnTo>
                    <a:pt x="2283" y="0"/>
                  </a:lnTo>
                  <a:lnTo>
                    <a:pt x="2283" y="375"/>
                  </a:lnTo>
                  <a:lnTo>
                    <a:pt x="3773" y="375"/>
                  </a:lnTo>
                  <a:lnTo>
                    <a:pt x="3773" y="61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Freeform: Shape 49"/>
            <p:cNvSpPr/>
            <p:nvPr/>
          </p:nvSpPr>
          <p:spPr>
            <a:xfrm>
              <a:off x="6246720" y="4589279"/>
              <a:ext cx="889559" cy="109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72" h="305" fill="none">
                  <a:moveTo>
                    <a:pt x="0" y="0"/>
                  </a:moveTo>
                  <a:lnTo>
                    <a:pt x="1080" y="0"/>
                  </a:lnTo>
                  <a:lnTo>
                    <a:pt x="1080" y="305"/>
                  </a:lnTo>
                  <a:lnTo>
                    <a:pt x="2472" y="3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5277240" y="4023720"/>
              <a:ext cx="0" cy="30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5315040" y="4023720"/>
              <a:ext cx="0" cy="30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52"/>
            <p:cNvSpPr/>
            <p:nvPr/>
          </p:nvSpPr>
          <p:spPr>
            <a:xfrm>
              <a:off x="5331240" y="4456440"/>
              <a:ext cx="394920" cy="212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98" h="590" fill="none">
                  <a:moveTo>
                    <a:pt x="0" y="590"/>
                  </a:moveTo>
                  <a:lnTo>
                    <a:pt x="0" y="0"/>
                  </a:lnTo>
                  <a:lnTo>
                    <a:pt x="1098" y="0"/>
                  </a:lnTo>
                  <a:lnTo>
                    <a:pt x="1098" y="57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5392080" y="4512240"/>
              <a:ext cx="215280" cy="55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99" h="155">
                  <a:moveTo>
                    <a:pt x="299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599" y="0"/>
                  </a:lnTo>
                  <a:lnTo>
                    <a:pt x="599" y="1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5902200" y="4384080"/>
              <a:ext cx="305280" cy="50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9" h="142">
                  <a:moveTo>
                    <a:pt x="425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849" y="0"/>
                  </a:lnTo>
                  <a:lnTo>
                    <a:pt x="849" y="14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865200" y="4527360"/>
              <a:ext cx="65880" cy="11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4" h="314">
                  <a:moveTo>
                    <a:pt x="92" y="314"/>
                  </a:moveTo>
                  <a:lnTo>
                    <a:pt x="0" y="314"/>
                  </a:lnTo>
                  <a:lnTo>
                    <a:pt x="0" y="0"/>
                  </a:lnTo>
                  <a:lnTo>
                    <a:pt x="184" y="0"/>
                  </a:lnTo>
                  <a:lnTo>
                    <a:pt x="184" y="31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6136920" y="4148639"/>
              <a:ext cx="125640" cy="42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0" h="118">
                  <a:moveTo>
                    <a:pt x="175" y="118"/>
                  </a:moveTo>
                  <a:lnTo>
                    <a:pt x="0" y="118"/>
                  </a:lnTo>
                  <a:lnTo>
                    <a:pt x="0" y="0"/>
                  </a:lnTo>
                  <a:lnTo>
                    <a:pt x="350" y="0"/>
                  </a:lnTo>
                  <a:lnTo>
                    <a:pt x="350" y="11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4079520" y="4161600"/>
              <a:ext cx="88200" cy="128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6" h="359">
                  <a:moveTo>
                    <a:pt x="123" y="359"/>
                  </a:moveTo>
                  <a:lnTo>
                    <a:pt x="0" y="359"/>
                  </a:lnTo>
                  <a:lnTo>
                    <a:pt x="0" y="0"/>
                  </a:lnTo>
                  <a:lnTo>
                    <a:pt x="246" y="0"/>
                  </a:lnTo>
                  <a:lnTo>
                    <a:pt x="246" y="35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8"/>
            <p:cNvSpPr/>
            <p:nvPr/>
          </p:nvSpPr>
          <p:spPr>
            <a:xfrm>
              <a:off x="4020479" y="4585319"/>
              <a:ext cx="155160" cy="51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2" h="144">
                  <a:moveTo>
                    <a:pt x="216" y="144"/>
                  </a:moveTo>
                  <a:lnTo>
                    <a:pt x="0" y="144"/>
                  </a:lnTo>
                  <a:lnTo>
                    <a:pt x="0" y="0"/>
                  </a:lnTo>
                  <a:lnTo>
                    <a:pt x="432" y="0"/>
                  </a:lnTo>
                  <a:lnTo>
                    <a:pt x="432" y="1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5666399" y="3507839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5666399" y="356184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5666399" y="361656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5697000" y="3407400"/>
              <a:ext cx="0" cy="586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6551280" y="4339440"/>
              <a:ext cx="0" cy="91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4"/>
            <p:cNvSpPr/>
            <p:nvPr/>
          </p:nvSpPr>
          <p:spPr>
            <a:xfrm>
              <a:off x="5911199" y="4707360"/>
              <a:ext cx="1720800" cy="87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81" h="245" fill="none">
                  <a:moveTo>
                    <a:pt x="0" y="197"/>
                  </a:moveTo>
                  <a:lnTo>
                    <a:pt x="418" y="0"/>
                  </a:lnTo>
                  <a:lnTo>
                    <a:pt x="1727" y="0"/>
                  </a:lnTo>
                  <a:lnTo>
                    <a:pt x="1727" y="245"/>
                  </a:lnTo>
                  <a:lnTo>
                    <a:pt x="4781" y="2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4386240" y="4970520"/>
              <a:ext cx="0" cy="117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6643799" y="4934879"/>
              <a:ext cx="0" cy="11592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67"/>
            <p:cNvSpPr/>
            <p:nvPr/>
          </p:nvSpPr>
          <p:spPr>
            <a:xfrm>
              <a:off x="2504160" y="4614480"/>
              <a:ext cx="4793400" cy="246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16" h="685">
                  <a:moveTo>
                    <a:pt x="13316" y="682"/>
                  </a:moveTo>
                  <a:lnTo>
                    <a:pt x="7098" y="682"/>
                  </a:lnTo>
                  <a:cubicBezTo>
                    <a:pt x="7098" y="682"/>
                    <a:pt x="0" y="744"/>
                    <a:pt x="0" y="287"/>
                  </a:cubicBezTo>
                  <a:cubicBezTo>
                    <a:pt x="0" y="-80"/>
                    <a:pt x="3646" y="10"/>
                    <a:pt x="3646" y="1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8"/>
            <p:cNvSpPr/>
            <p:nvPr/>
          </p:nvSpPr>
          <p:spPr>
            <a:xfrm>
              <a:off x="2880000" y="4668840"/>
              <a:ext cx="1057320" cy="68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38" h="191" fill="none">
                  <a:moveTo>
                    <a:pt x="0" y="191"/>
                  </a:moveTo>
                  <a:lnTo>
                    <a:pt x="551" y="0"/>
                  </a:lnTo>
                  <a:lnTo>
                    <a:pt x="2938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3255839" y="4927680"/>
              <a:ext cx="7135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3526200" y="5027400"/>
              <a:ext cx="227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4557960" y="4924800"/>
              <a:ext cx="1950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5666399" y="4712400"/>
              <a:ext cx="110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6552360" y="4385160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430524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4368239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443124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449496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455796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462204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487512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481212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474804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468504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1041119" y="4668840"/>
              <a:ext cx="4197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1226160" y="4737600"/>
              <a:ext cx="0" cy="88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1535039" y="4523400"/>
              <a:ext cx="11826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1798200" y="4617720"/>
              <a:ext cx="64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2001240" y="4707360"/>
              <a:ext cx="23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-198360" y="4547880"/>
              <a:ext cx="23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2845440" y="446256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-80280" y="446256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Freeform: Shape 92"/>
            <p:cNvSpPr/>
            <p:nvPr/>
          </p:nvSpPr>
          <p:spPr>
            <a:xfrm>
              <a:off x="214200" y="4413600"/>
              <a:ext cx="14184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5" h="934">
                  <a:moveTo>
                    <a:pt x="395" y="0"/>
                  </a:moveTo>
                  <a:lnTo>
                    <a:pt x="395" y="934"/>
                  </a:lnTo>
                  <a:lnTo>
                    <a:pt x="0" y="62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216360" y="4759200"/>
              <a:ext cx="80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Freeform: Shape 94"/>
            <p:cNvSpPr/>
            <p:nvPr/>
          </p:nvSpPr>
          <p:spPr>
            <a:xfrm>
              <a:off x="532080" y="4448160"/>
              <a:ext cx="198000" cy="465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 h="1295">
                  <a:moveTo>
                    <a:pt x="551" y="0"/>
                  </a:moveTo>
                  <a:lnTo>
                    <a:pt x="551" y="1295"/>
                  </a:lnTo>
                  <a:lnTo>
                    <a:pt x="0" y="86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535320" y="4927680"/>
              <a:ext cx="11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1072800" y="4252320"/>
              <a:ext cx="213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1226160" y="3749760"/>
              <a:ext cx="0" cy="690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3015360" y="3749760"/>
              <a:ext cx="0" cy="690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99"/>
            <p:cNvSpPr/>
            <p:nvPr/>
          </p:nvSpPr>
          <p:spPr>
            <a:xfrm>
              <a:off x="1230120" y="3805200"/>
              <a:ext cx="1784880" cy="33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59" h="940">
                  <a:moveTo>
                    <a:pt x="4959" y="0"/>
                  </a:moveTo>
                  <a:cubicBezTo>
                    <a:pt x="4349" y="576"/>
                    <a:pt x="3457" y="940"/>
                    <a:pt x="2467" y="940"/>
                  </a:cubicBezTo>
                  <a:cubicBezTo>
                    <a:pt x="1490" y="940"/>
                    <a:pt x="610" y="587"/>
                    <a:pt x="0" y="2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37052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1475999" y="3988080"/>
              <a:ext cx="0" cy="264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Straight Connector 105"/>
            <p:cNvSpPr/>
            <p:nvPr/>
          </p:nvSpPr>
          <p:spPr>
            <a:xfrm>
              <a:off x="1584720" y="4043879"/>
              <a:ext cx="0" cy="208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Straight Connector 106"/>
            <p:cNvSpPr/>
            <p:nvPr/>
          </p:nvSpPr>
          <p:spPr>
            <a:xfrm>
              <a:off x="1691279" y="4082400"/>
              <a:ext cx="0" cy="16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1798200" y="4107960"/>
              <a:ext cx="0" cy="144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Straight Connector 108"/>
            <p:cNvSpPr/>
            <p:nvPr/>
          </p:nvSpPr>
          <p:spPr>
            <a:xfrm>
              <a:off x="1904760" y="4130280"/>
              <a:ext cx="0" cy="122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Straight Connector 109"/>
            <p:cNvSpPr/>
            <p:nvPr/>
          </p:nvSpPr>
          <p:spPr>
            <a:xfrm>
              <a:off x="2011320" y="4140360"/>
              <a:ext cx="0" cy="11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286488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Straight Connector 111"/>
            <p:cNvSpPr/>
            <p:nvPr/>
          </p:nvSpPr>
          <p:spPr>
            <a:xfrm>
              <a:off x="2760119" y="3988080"/>
              <a:ext cx="0" cy="264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Straight Connector 112"/>
            <p:cNvSpPr/>
            <p:nvPr/>
          </p:nvSpPr>
          <p:spPr>
            <a:xfrm>
              <a:off x="2650680" y="4043879"/>
              <a:ext cx="0" cy="208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Straight Connector 113"/>
            <p:cNvSpPr/>
            <p:nvPr/>
          </p:nvSpPr>
          <p:spPr>
            <a:xfrm>
              <a:off x="2543760" y="4082400"/>
              <a:ext cx="0" cy="16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>
              <a:off x="2437200" y="4107960"/>
              <a:ext cx="0" cy="144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>
              <a:off x="2330640" y="4130280"/>
              <a:ext cx="0" cy="122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>
              <a:off x="2224800" y="4140360"/>
              <a:ext cx="0" cy="11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>
              <a:off x="2118240" y="4144320"/>
              <a:ext cx="0" cy="10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>
              <a:off x="327960" y="4252320"/>
              <a:ext cx="1090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116"/>
            <p:cNvSpPr/>
            <p:nvPr/>
          </p:nvSpPr>
          <p:spPr>
            <a:xfrm>
              <a:off x="329040" y="3805200"/>
              <a:ext cx="896759" cy="33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2" h="940">
                  <a:moveTo>
                    <a:pt x="2492" y="0"/>
                  </a:moveTo>
                  <a:cubicBezTo>
                    <a:pt x="1882" y="576"/>
                    <a:pt x="991" y="940"/>
                    <a:pt x="0" y="94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>
              <a:off x="107568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>
              <a:off x="970200" y="3988080"/>
              <a:ext cx="0" cy="264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861479" y="4043879"/>
              <a:ext cx="0" cy="208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754920" y="4082400"/>
              <a:ext cx="0" cy="16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646920" y="4107960"/>
              <a:ext cx="0" cy="144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>
              <a:off x="541440" y="4130280"/>
              <a:ext cx="0" cy="122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434880" y="4140360"/>
              <a:ext cx="0" cy="11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2861640" y="4252320"/>
              <a:ext cx="358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Freeform: Shape 125"/>
            <p:cNvSpPr/>
            <p:nvPr/>
          </p:nvSpPr>
          <p:spPr>
            <a:xfrm>
              <a:off x="3020400" y="3815279"/>
              <a:ext cx="362160" cy="22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07" h="635">
                  <a:moveTo>
                    <a:pt x="1007" y="635"/>
                  </a:moveTo>
                  <a:cubicBezTo>
                    <a:pt x="623" y="477"/>
                    <a:pt x="282" y="263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315936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3265200" y="3988080"/>
              <a:ext cx="0" cy="20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3375000" y="4043879"/>
              <a:ext cx="0" cy="11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81524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7767" y="4747614"/>
            <a:ext cx="4316688" cy="1514727"/>
            <a:chOff x="1212480" y="3200760"/>
            <a:chExt cx="7896600" cy="2770919"/>
          </a:xfrm>
        </p:grpSpPr>
        <p:sp>
          <p:nvSpPr>
            <p:cNvPr id="5" name="Straight Connector 4"/>
            <p:cNvSpPr/>
            <p:nvPr/>
          </p:nvSpPr>
          <p:spPr>
            <a:xfrm>
              <a:off x="3532680" y="5910840"/>
              <a:ext cx="240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1212480" y="5922000"/>
              <a:ext cx="19472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3753360" y="5971679"/>
              <a:ext cx="15195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6198120" y="5910840"/>
              <a:ext cx="2910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5351040" y="5727960"/>
              <a:ext cx="678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5617080" y="5790959"/>
              <a:ext cx="66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6815880" y="5719680"/>
              <a:ext cx="631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7980120" y="5757480"/>
              <a:ext cx="400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>
              <a:off x="7354439" y="5787720"/>
              <a:ext cx="1951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>
              <a:off x="1809719" y="5517720"/>
              <a:ext cx="0" cy="194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>
              <a:off x="1755000" y="5797080"/>
              <a:ext cx="99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>
              <a:off x="1812600" y="560808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>
              <a:off x="2215080" y="5388480"/>
              <a:ext cx="358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4241880" y="5762520"/>
              <a:ext cx="76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15"/>
            <p:cNvSpPr/>
            <p:nvPr/>
          </p:nvSpPr>
          <p:spPr>
            <a:xfrm>
              <a:off x="2061719" y="5416920"/>
              <a:ext cx="9612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8" h="587">
                  <a:moveTo>
                    <a:pt x="134" y="587"/>
                  </a:moveTo>
                  <a:lnTo>
                    <a:pt x="0" y="587"/>
                  </a:lnTo>
                  <a:lnTo>
                    <a:pt x="0" y="0"/>
                  </a:lnTo>
                  <a:lnTo>
                    <a:pt x="268" y="0"/>
                  </a:lnTo>
                  <a:lnTo>
                    <a:pt x="268" y="58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Freeform: Shape 16"/>
            <p:cNvSpPr/>
            <p:nvPr/>
          </p:nvSpPr>
          <p:spPr>
            <a:xfrm>
              <a:off x="1918440" y="5716800"/>
              <a:ext cx="614160" cy="5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07" h="149">
                  <a:moveTo>
                    <a:pt x="854" y="149"/>
                  </a:moveTo>
                  <a:lnTo>
                    <a:pt x="0" y="149"/>
                  </a:lnTo>
                  <a:lnTo>
                    <a:pt x="0" y="0"/>
                  </a:lnTo>
                  <a:lnTo>
                    <a:pt x="1707" y="0"/>
                  </a:lnTo>
                  <a:lnTo>
                    <a:pt x="1707" y="14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Freeform: Shape 17"/>
            <p:cNvSpPr/>
            <p:nvPr/>
          </p:nvSpPr>
          <p:spPr>
            <a:xfrm>
              <a:off x="1366920" y="5726880"/>
              <a:ext cx="165240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60" h="138">
                  <a:moveTo>
                    <a:pt x="230" y="138"/>
                  </a:moveTo>
                  <a:lnTo>
                    <a:pt x="0" y="138"/>
                  </a:lnTo>
                  <a:lnTo>
                    <a:pt x="0" y="0"/>
                  </a:lnTo>
                  <a:lnTo>
                    <a:pt x="460" y="0"/>
                  </a:lnTo>
                  <a:lnTo>
                    <a:pt x="460" y="13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8"/>
            <p:cNvSpPr/>
            <p:nvPr/>
          </p:nvSpPr>
          <p:spPr>
            <a:xfrm>
              <a:off x="2313720" y="5442479"/>
              <a:ext cx="463680" cy="214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89" h="598">
                  <a:moveTo>
                    <a:pt x="645" y="598"/>
                  </a:moveTo>
                  <a:lnTo>
                    <a:pt x="0" y="598"/>
                  </a:lnTo>
                  <a:lnTo>
                    <a:pt x="0" y="0"/>
                  </a:lnTo>
                  <a:lnTo>
                    <a:pt x="1289" y="0"/>
                  </a:lnTo>
                  <a:lnTo>
                    <a:pt x="1289" y="59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19"/>
            <p:cNvSpPr/>
            <p:nvPr/>
          </p:nvSpPr>
          <p:spPr>
            <a:xfrm>
              <a:off x="3362040" y="5723640"/>
              <a:ext cx="297360" cy="46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27" h="130">
                  <a:moveTo>
                    <a:pt x="414" y="130"/>
                  </a:moveTo>
                  <a:lnTo>
                    <a:pt x="0" y="130"/>
                  </a:lnTo>
                  <a:lnTo>
                    <a:pt x="0" y="0"/>
                  </a:lnTo>
                  <a:lnTo>
                    <a:pt x="827" y="0"/>
                  </a:lnTo>
                  <a:lnTo>
                    <a:pt x="827" y="13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0"/>
            <p:cNvSpPr/>
            <p:nvPr/>
          </p:nvSpPr>
          <p:spPr>
            <a:xfrm>
              <a:off x="8432280" y="5723640"/>
              <a:ext cx="155160" cy="46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2" h="130">
                  <a:moveTo>
                    <a:pt x="216" y="130"/>
                  </a:moveTo>
                  <a:lnTo>
                    <a:pt x="0" y="130"/>
                  </a:lnTo>
                  <a:lnTo>
                    <a:pt x="0" y="0"/>
                  </a:lnTo>
                  <a:lnTo>
                    <a:pt x="432" y="0"/>
                  </a:lnTo>
                  <a:lnTo>
                    <a:pt x="432" y="13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1"/>
            <p:cNvSpPr/>
            <p:nvPr/>
          </p:nvSpPr>
          <p:spPr>
            <a:xfrm>
              <a:off x="3841560" y="5729760"/>
              <a:ext cx="254520" cy="4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8" h="122">
                  <a:moveTo>
                    <a:pt x="354" y="122"/>
                  </a:moveTo>
                  <a:lnTo>
                    <a:pt x="0" y="122"/>
                  </a:lnTo>
                  <a:lnTo>
                    <a:pt x="0" y="0"/>
                  </a:lnTo>
                  <a:lnTo>
                    <a:pt x="708" y="0"/>
                  </a:lnTo>
                  <a:lnTo>
                    <a:pt x="708" y="12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2"/>
            <p:cNvSpPr/>
            <p:nvPr/>
          </p:nvSpPr>
          <p:spPr>
            <a:xfrm>
              <a:off x="3330720" y="5562360"/>
              <a:ext cx="250560" cy="7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97" h="203">
                  <a:moveTo>
                    <a:pt x="348" y="203"/>
                  </a:moveTo>
                  <a:lnTo>
                    <a:pt x="0" y="203"/>
                  </a:lnTo>
                  <a:lnTo>
                    <a:pt x="0" y="0"/>
                  </a:lnTo>
                  <a:lnTo>
                    <a:pt x="697" y="0"/>
                  </a:lnTo>
                  <a:lnTo>
                    <a:pt x="697" y="20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3"/>
            <p:cNvSpPr/>
            <p:nvPr/>
          </p:nvSpPr>
          <p:spPr>
            <a:xfrm>
              <a:off x="3119400" y="5388480"/>
              <a:ext cx="129600" cy="155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1" h="432">
                  <a:moveTo>
                    <a:pt x="180" y="432"/>
                  </a:moveTo>
                  <a:lnTo>
                    <a:pt x="0" y="432"/>
                  </a:lnTo>
                  <a:lnTo>
                    <a:pt x="0" y="0"/>
                  </a:lnTo>
                  <a:lnTo>
                    <a:pt x="361" y="0"/>
                  </a:lnTo>
                  <a:lnTo>
                    <a:pt x="361" y="4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eform: Shape 24"/>
            <p:cNvSpPr/>
            <p:nvPr/>
          </p:nvSpPr>
          <p:spPr>
            <a:xfrm>
              <a:off x="3365279" y="5393520"/>
              <a:ext cx="316440" cy="58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164">
                  <a:moveTo>
                    <a:pt x="440" y="164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80" y="0"/>
                  </a:lnTo>
                  <a:lnTo>
                    <a:pt x="880" y="1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5"/>
            <p:cNvSpPr/>
            <p:nvPr/>
          </p:nvSpPr>
          <p:spPr>
            <a:xfrm>
              <a:off x="2721960" y="5263559"/>
              <a:ext cx="127800" cy="102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6" h="285">
                  <a:moveTo>
                    <a:pt x="178" y="285"/>
                  </a:moveTo>
                  <a:lnTo>
                    <a:pt x="0" y="285"/>
                  </a:lnTo>
                  <a:lnTo>
                    <a:pt x="0" y="0"/>
                  </a:lnTo>
                  <a:lnTo>
                    <a:pt x="356" y="0"/>
                  </a:lnTo>
                  <a:lnTo>
                    <a:pt x="356" y="2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Freeform: Shape 26"/>
            <p:cNvSpPr/>
            <p:nvPr/>
          </p:nvSpPr>
          <p:spPr>
            <a:xfrm>
              <a:off x="4483800" y="5663880"/>
              <a:ext cx="829439" cy="87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05" h="243">
                  <a:moveTo>
                    <a:pt x="1152" y="243"/>
                  </a:moveTo>
                  <a:lnTo>
                    <a:pt x="0" y="243"/>
                  </a:lnTo>
                  <a:lnTo>
                    <a:pt x="0" y="0"/>
                  </a:lnTo>
                  <a:lnTo>
                    <a:pt x="2305" y="0"/>
                  </a:lnTo>
                  <a:lnTo>
                    <a:pt x="2305" y="24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7"/>
            <p:cNvSpPr/>
            <p:nvPr/>
          </p:nvSpPr>
          <p:spPr>
            <a:xfrm>
              <a:off x="4962240" y="5464800"/>
              <a:ext cx="53280" cy="69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9" h="195">
                  <a:moveTo>
                    <a:pt x="75" y="195"/>
                  </a:moveTo>
                  <a:lnTo>
                    <a:pt x="0" y="195"/>
                  </a:lnTo>
                  <a:lnTo>
                    <a:pt x="0" y="0"/>
                  </a:lnTo>
                  <a:lnTo>
                    <a:pt x="149" y="0"/>
                  </a:lnTo>
                  <a:lnTo>
                    <a:pt x="149" y="19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Freeform: Shape 28"/>
            <p:cNvSpPr/>
            <p:nvPr/>
          </p:nvSpPr>
          <p:spPr>
            <a:xfrm>
              <a:off x="5807160" y="5091839"/>
              <a:ext cx="69840" cy="25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714">
                  <a:moveTo>
                    <a:pt x="97" y="714"/>
                  </a:moveTo>
                  <a:lnTo>
                    <a:pt x="0" y="714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71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9"/>
            <p:cNvSpPr/>
            <p:nvPr/>
          </p:nvSpPr>
          <p:spPr>
            <a:xfrm>
              <a:off x="8070480" y="5463720"/>
              <a:ext cx="63720" cy="121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8" h="339">
                  <a:moveTo>
                    <a:pt x="89" y="33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178" y="0"/>
                  </a:lnTo>
                  <a:lnTo>
                    <a:pt x="178" y="3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30"/>
            <p:cNvSpPr/>
            <p:nvPr/>
          </p:nvSpPr>
          <p:spPr>
            <a:xfrm>
              <a:off x="8869320" y="5693400"/>
              <a:ext cx="52200" cy="121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6" h="338">
                  <a:moveTo>
                    <a:pt x="73" y="338"/>
                  </a:moveTo>
                  <a:lnTo>
                    <a:pt x="0" y="338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146" y="33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3643559" y="398988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3643559" y="40579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3643559" y="41252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3643559" y="41922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>
              <a:off x="3643559" y="42591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3643559" y="43261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3643559" y="43941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3643559" y="446148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3643559" y="45284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3643559" y="45950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3643559" y="46620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>
              <a:off x="3643559" y="47304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>
              <a:off x="3643559" y="47973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3643559" y="48643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3643559" y="4931279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3643559" y="49993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3643559" y="50666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3643559" y="51336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3643559" y="52005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3643559" y="52675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51"/>
            <p:cNvSpPr/>
            <p:nvPr/>
          </p:nvSpPr>
          <p:spPr>
            <a:xfrm>
              <a:off x="1987560" y="3769560"/>
              <a:ext cx="2429640" cy="1904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750" h="5291" fill="none">
                  <a:moveTo>
                    <a:pt x="2760" y="5291"/>
                  </a:moveTo>
                  <a:lnTo>
                    <a:pt x="6750" y="5291"/>
                  </a:lnTo>
                  <a:lnTo>
                    <a:pt x="6457" y="4848"/>
                  </a:lnTo>
                  <a:lnTo>
                    <a:pt x="5404" y="4848"/>
                  </a:lnTo>
                  <a:lnTo>
                    <a:pt x="5404" y="4388"/>
                  </a:lnTo>
                  <a:lnTo>
                    <a:pt x="4382" y="4388"/>
                  </a:lnTo>
                  <a:lnTo>
                    <a:pt x="4382" y="3536"/>
                  </a:lnTo>
                  <a:lnTo>
                    <a:pt x="3821" y="3536"/>
                  </a:lnTo>
                  <a:lnTo>
                    <a:pt x="3821" y="1721"/>
                  </a:lnTo>
                  <a:lnTo>
                    <a:pt x="3211" y="1721"/>
                  </a:lnTo>
                  <a:lnTo>
                    <a:pt x="3211" y="3804"/>
                  </a:lnTo>
                  <a:lnTo>
                    <a:pt x="2763" y="3804"/>
                  </a:lnTo>
                  <a:lnTo>
                    <a:pt x="2763" y="2224"/>
                  </a:lnTo>
                  <a:lnTo>
                    <a:pt x="2602" y="2088"/>
                  </a:lnTo>
                  <a:lnTo>
                    <a:pt x="2602" y="553"/>
                  </a:lnTo>
                  <a:lnTo>
                    <a:pt x="2503" y="135"/>
                  </a:lnTo>
                  <a:lnTo>
                    <a:pt x="2503" y="429"/>
                  </a:lnTo>
                  <a:lnTo>
                    <a:pt x="2274" y="0"/>
                  </a:lnTo>
                  <a:lnTo>
                    <a:pt x="2057" y="420"/>
                  </a:lnTo>
                  <a:lnTo>
                    <a:pt x="2057" y="144"/>
                  </a:lnTo>
                  <a:lnTo>
                    <a:pt x="1975" y="559"/>
                  </a:lnTo>
                  <a:lnTo>
                    <a:pt x="1975" y="2097"/>
                  </a:lnTo>
                  <a:lnTo>
                    <a:pt x="1803" y="2226"/>
                  </a:lnTo>
                  <a:lnTo>
                    <a:pt x="1803" y="3841"/>
                  </a:lnTo>
                  <a:lnTo>
                    <a:pt x="1453" y="3841"/>
                  </a:lnTo>
                  <a:lnTo>
                    <a:pt x="1453" y="3302"/>
                  </a:lnTo>
                  <a:lnTo>
                    <a:pt x="1287" y="3302"/>
                  </a:lnTo>
                  <a:lnTo>
                    <a:pt x="1287" y="4106"/>
                  </a:lnTo>
                  <a:lnTo>
                    <a:pt x="911" y="4106"/>
                  </a:lnTo>
                  <a:lnTo>
                    <a:pt x="911" y="4267"/>
                  </a:lnTo>
                  <a:lnTo>
                    <a:pt x="0" y="4267"/>
                  </a:lnTo>
                  <a:lnTo>
                    <a:pt x="0" y="460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52"/>
            <p:cNvSpPr/>
            <p:nvPr/>
          </p:nvSpPr>
          <p:spPr>
            <a:xfrm>
              <a:off x="3269520" y="4442040"/>
              <a:ext cx="42480" cy="76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9" h="2122">
                  <a:moveTo>
                    <a:pt x="60" y="2122"/>
                  </a:moveTo>
                  <a:lnTo>
                    <a:pt x="0" y="2122"/>
                  </a:lnTo>
                  <a:lnTo>
                    <a:pt x="0" y="0"/>
                  </a:lnTo>
                  <a:lnTo>
                    <a:pt x="119" y="0"/>
                  </a:lnTo>
                  <a:lnTo>
                    <a:pt x="119" y="212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2861280" y="3974759"/>
              <a:ext cx="0" cy="6552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2916000" y="4584960"/>
              <a:ext cx="0" cy="516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 flipV="1">
              <a:off x="2806200" y="3648600"/>
              <a:ext cx="0" cy="124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3548160" y="3751200"/>
              <a:ext cx="605880" cy="1549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84" h="4304" fill="none">
                  <a:moveTo>
                    <a:pt x="0" y="3429"/>
                  </a:moveTo>
                  <a:lnTo>
                    <a:pt x="0" y="474"/>
                  </a:lnTo>
                  <a:lnTo>
                    <a:pt x="1382" y="474"/>
                  </a:lnTo>
                  <a:lnTo>
                    <a:pt x="1267" y="319"/>
                  </a:lnTo>
                  <a:lnTo>
                    <a:pt x="98" y="319"/>
                  </a:lnTo>
                  <a:lnTo>
                    <a:pt x="352" y="0"/>
                  </a:lnTo>
                  <a:lnTo>
                    <a:pt x="1394" y="0"/>
                  </a:lnTo>
                  <a:lnTo>
                    <a:pt x="1684" y="483"/>
                  </a:lnTo>
                  <a:lnTo>
                    <a:pt x="1684" y="43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4088520" y="4026600"/>
              <a:ext cx="0" cy="635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8"/>
            <p:cNvSpPr/>
            <p:nvPr/>
          </p:nvSpPr>
          <p:spPr>
            <a:xfrm>
              <a:off x="4100760" y="4614480"/>
              <a:ext cx="23004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0" h="1916" fill="none">
                  <a:moveTo>
                    <a:pt x="0" y="1916"/>
                  </a:moveTo>
                  <a:lnTo>
                    <a:pt x="640" y="1916"/>
                  </a:lnTo>
                  <a:lnTo>
                    <a:pt x="64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4209480" y="4755600"/>
              <a:ext cx="0" cy="5475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4908239" y="4755600"/>
              <a:ext cx="0" cy="574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1"/>
            <p:cNvSpPr/>
            <p:nvPr/>
          </p:nvSpPr>
          <p:spPr>
            <a:xfrm>
              <a:off x="4281480" y="4410720"/>
              <a:ext cx="151920" cy="1206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3" h="3352" fill="none">
                  <a:moveTo>
                    <a:pt x="423" y="0"/>
                  </a:moveTo>
                  <a:lnTo>
                    <a:pt x="0" y="505"/>
                  </a:lnTo>
                  <a:lnTo>
                    <a:pt x="0" y="680"/>
                  </a:lnTo>
                  <a:lnTo>
                    <a:pt x="418" y="248"/>
                  </a:lnTo>
                  <a:lnTo>
                    <a:pt x="418" y="335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Freeform: Shape 62"/>
            <p:cNvSpPr/>
            <p:nvPr/>
          </p:nvSpPr>
          <p:spPr>
            <a:xfrm>
              <a:off x="4480560" y="4410720"/>
              <a:ext cx="153000" cy="1206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6" h="3352" fill="none">
                  <a:moveTo>
                    <a:pt x="0" y="0"/>
                  </a:moveTo>
                  <a:lnTo>
                    <a:pt x="426" y="505"/>
                  </a:lnTo>
                  <a:lnTo>
                    <a:pt x="426" y="680"/>
                  </a:lnTo>
                  <a:lnTo>
                    <a:pt x="9" y="248"/>
                  </a:lnTo>
                  <a:lnTo>
                    <a:pt x="9" y="335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4585319" y="4604400"/>
              <a:ext cx="0" cy="68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5095440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5142960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5189400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5237279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8"/>
            <p:cNvSpPr/>
            <p:nvPr/>
          </p:nvSpPr>
          <p:spPr>
            <a:xfrm>
              <a:off x="4965120" y="4209480"/>
              <a:ext cx="554400" cy="112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41" h="3132" fill="none">
                  <a:moveTo>
                    <a:pt x="0" y="3132"/>
                  </a:moveTo>
                  <a:lnTo>
                    <a:pt x="0" y="0"/>
                  </a:lnTo>
                  <a:lnTo>
                    <a:pt x="1098" y="0"/>
                  </a:lnTo>
                  <a:lnTo>
                    <a:pt x="1098" y="1908"/>
                  </a:lnTo>
                  <a:lnTo>
                    <a:pt x="1541" y="190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Freeform: Shape 69"/>
            <p:cNvSpPr/>
            <p:nvPr/>
          </p:nvSpPr>
          <p:spPr>
            <a:xfrm>
              <a:off x="5239080" y="5090759"/>
              <a:ext cx="630720" cy="485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53" h="1349" fill="none">
                  <a:moveTo>
                    <a:pt x="0" y="514"/>
                  </a:moveTo>
                  <a:lnTo>
                    <a:pt x="0" y="0"/>
                  </a:lnTo>
                  <a:lnTo>
                    <a:pt x="1059" y="0"/>
                  </a:lnTo>
                  <a:lnTo>
                    <a:pt x="1059" y="1349"/>
                  </a:lnTo>
                  <a:lnTo>
                    <a:pt x="1753" y="88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5522760" y="4630680"/>
              <a:ext cx="0" cy="452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71"/>
            <p:cNvSpPr/>
            <p:nvPr/>
          </p:nvSpPr>
          <p:spPr>
            <a:xfrm>
              <a:off x="5569200" y="4282560"/>
              <a:ext cx="82080" cy="80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2224" fill="none">
                  <a:moveTo>
                    <a:pt x="0" y="2224"/>
                  </a:moveTo>
                  <a:lnTo>
                    <a:pt x="0" y="0"/>
                  </a:lnTo>
                  <a:lnTo>
                    <a:pt x="229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72"/>
            <p:cNvSpPr/>
            <p:nvPr/>
          </p:nvSpPr>
          <p:spPr>
            <a:xfrm>
              <a:off x="5025240" y="3963600"/>
              <a:ext cx="275040" cy="200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65" h="559">
                  <a:moveTo>
                    <a:pt x="382" y="559"/>
                  </a:moveTo>
                  <a:lnTo>
                    <a:pt x="0" y="559"/>
                  </a:lnTo>
                  <a:lnTo>
                    <a:pt x="0" y="0"/>
                  </a:lnTo>
                  <a:lnTo>
                    <a:pt x="765" y="0"/>
                  </a:lnTo>
                  <a:lnTo>
                    <a:pt x="765" y="55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5039280" y="3888360"/>
              <a:ext cx="2602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74"/>
            <p:cNvSpPr/>
            <p:nvPr/>
          </p:nvSpPr>
          <p:spPr>
            <a:xfrm>
              <a:off x="5062680" y="3632400"/>
              <a:ext cx="84960" cy="327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7" h="911">
                  <a:moveTo>
                    <a:pt x="0" y="911"/>
                  </a:moveTo>
                  <a:lnTo>
                    <a:pt x="0" y="717"/>
                  </a:lnTo>
                  <a:cubicBezTo>
                    <a:pt x="0" y="717"/>
                    <a:pt x="237" y="584"/>
                    <a:pt x="237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75"/>
            <p:cNvSpPr/>
            <p:nvPr/>
          </p:nvSpPr>
          <p:spPr>
            <a:xfrm>
              <a:off x="5193360" y="3629160"/>
              <a:ext cx="79920" cy="330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3" h="920">
                  <a:moveTo>
                    <a:pt x="3" y="0"/>
                  </a:moveTo>
                  <a:cubicBezTo>
                    <a:pt x="3" y="0"/>
                    <a:pt x="-45" y="455"/>
                    <a:pt x="223" y="726"/>
                  </a:cubicBezTo>
                  <a:lnTo>
                    <a:pt x="223" y="92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5123880" y="3624120"/>
              <a:ext cx="92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5137920" y="358560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 flipV="1">
              <a:off x="5169240" y="3200760"/>
              <a:ext cx="0" cy="380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5142960" y="337644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Freeform: Shape 80"/>
            <p:cNvSpPr/>
            <p:nvPr/>
          </p:nvSpPr>
          <p:spPr>
            <a:xfrm>
              <a:off x="4542479" y="5340960"/>
              <a:ext cx="720000" cy="242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01" h="674">
                  <a:moveTo>
                    <a:pt x="1001" y="674"/>
                  </a:moveTo>
                  <a:lnTo>
                    <a:pt x="0" y="674"/>
                  </a:lnTo>
                  <a:lnTo>
                    <a:pt x="0" y="0"/>
                  </a:lnTo>
                  <a:lnTo>
                    <a:pt x="2001" y="0"/>
                  </a:lnTo>
                  <a:lnTo>
                    <a:pt x="2001" y="6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Freeform: Shape 81"/>
            <p:cNvSpPr/>
            <p:nvPr/>
          </p:nvSpPr>
          <p:spPr>
            <a:xfrm>
              <a:off x="5844600" y="4279680"/>
              <a:ext cx="252720" cy="1171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3" h="3256" fill="none">
                  <a:moveTo>
                    <a:pt x="0" y="0"/>
                  </a:moveTo>
                  <a:lnTo>
                    <a:pt x="223" y="0"/>
                  </a:lnTo>
                  <a:lnTo>
                    <a:pt x="223" y="3256"/>
                  </a:lnTo>
                  <a:lnTo>
                    <a:pt x="703" y="3256"/>
                  </a:lnTo>
                  <a:lnTo>
                    <a:pt x="703" y="1100"/>
                  </a:lnTo>
                  <a:lnTo>
                    <a:pt x="234" y="110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Freeform: Shape 82"/>
            <p:cNvSpPr/>
            <p:nvPr/>
          </p:nvSpPr>
          <p:spPr>
            <a:xfrm>
              <a:off x="5649480" y="4415760"/>
              <a:ext cx="192960" cy="636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37" h="1769" fill="none">
                  <a:moveTo>
                    <a:pt x="0" y="1763"/>
                  </a:moveTo>
                  <a:lnTo>
                    <a:pt x="0" y="0"/>
                  </a:lnTo>
                  <a:lnTo>
                    <a:pt x="537" y="0"/>
                  </a:lnTo>
                  <a:lnTo>
                    <a:pt x="537" y="17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Freeform: Shape 83"/>
            <p:cNvSpPr/>
            <p:nvPr/>
          </p:nvSpPr>
          <p:spPr>
            <a:xfrm>
              <a:off x="5714640" y="3956400"/>
              <a:ext cx="65520" cy="4517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3" h="1256">
                  <a:moveTo>
                    <a:pt x="0" y="1250"/>
                  </a:moveTo>
                  <a:lnTo>
                    <a:pt x="0" y="88"/>
                  </a:lnTo>
                  <a:cubicBezTo>
                    <a:pt x="0" y="88"/>
                    <a:pt x="-6" y="0"/>
                    <a:pt x="90" y="0"/>
                  </a:cubicBezTo>
                  <a:cubicBezTo>
                    <a:pt x="192" y="0"/>
                    <a:pt x="183" y="88"/>
                    <a:pt x="183" y="88"/>
                  </a:cubicBezTo>
                  <a:lnTo>
                    <a:pt x="183" y="125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Freeform: Shape 84"/>
            <p:cNvSpPr/>
            <p:nvPr/>
          </p:nvSpPr>
          <p:spPr>
            <a:xfrm>
              <a:off x="5657760" y="3903480"/>
              <a:ext cx="178920" cy="462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8" h="1287">
                  <a:moveTo>
                    <a:pt x="1" y="1287"/>
                  </a:moveTo>
                  <a:lnTo>
                    <a:pt x="1" y="218"/>
                  </a:lnTo>
                  <a:cubicBezTo>
                    <a:pt x="1" y="218"/>
                    <a:pt x="-25" y="0"/>
                    <a:pt x="249" y="0"/>
                  </a:cubicBezTo>
                  <a:cubicBezTo>
                    <a:pt x="522" y="0"/>
                    <a:pt x="498" y="221"/>
                    <a:pt x="498" y="221"/>
                  </a:cubicBezTo>
                  <a:lnTo>
                    <a:pt x="498" y="12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Freeform: Shape 85"/>
            <p:cNvSpPr/>
            <p:nvPr/>
          </p:nvSpPr>
          <p:spPr>
            <a:xfrm>
              <a:off x="5616000" y="3839760"/>
              <a:ext cx="261000" cy="439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6" h="1222">
                  <a:moveTo>
                    <a:pt x="0" y="1222"/>
                  </a:moveTo>
                  <a:lnTo>
                    <a:pt x="0" y="200"/>
                  </a:lnTo>
                  <a:lnTo>
                    <a:pt x="141" y="200"/>
                  </a:lnTo>
                  <a:cubicBezTo>
                    <a:pt x="141" y="200"/>
                    <a:pt x="178" y="0"/>
                    <a:pt x="361" y="0"/>
                  </a:cubicBezTo>
                  <a:cubicBezTo>
                    <a:pt x="542" y="0"/>
                    <a:pt x="579" y="197"/>
                    <a:pt x="579" y="197"/>
                  </a:cubicBezTo>
                  <a:lnTo>
                    <a:pt x="726" y="197"/>
                  </a:lnTo>
                  <a:lnTo>
                    <a:pt x="726" y="12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Freeform: Shape 86"/>
            <p:cNvSpPr/>
            <p:nvPr/>
          </p:nvSpPr>
          <p:spPr>
            <a:xfrm>
              <a:off x="5650560" y="3751200"/>
              <a:ext cx="78840" cy="155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0" h="432">
                  <a:moveTo>
                    <a:pt x="0" y="432"/>
                  </a:moveTo>
                  <a:cubicBezTo>
                    <a:pt x="0" y="432"/>
                    <a:pt x="-5" y="79"/>
                    <a:pt x="22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Freeform: Shape 87"/>
            <p:cNvSpPr/>
            <p:nvPr/>
          </p:nvSpPr>
          <p:spPr>
            <a:xfrm>
              <a:off x="5766480" y="3752280"/>
              <a:ext cx="77760" cy="156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437">
                  <a:moveTo>
                    <a:pt x="0" y="0"/>
                  </a:moveTo>
                  <a:cubicBezTo>
                    <a:pt x="0" y="0"/>
                    <a:pt x="217" y="39"/>
                    <a:pt x="217" y="43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Freeform: Shape 88"/>
            <p:cNvSpPr/>
            <p:nvPr/>
          </p:nvSpPr>
          <p:spPr>
            <a:xfrm>
              <a:off x="5689080" y="3663000"/>
              <a:ext cx="11664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25" h="321">
                  <a:moveTo>
                    <a:pt x="0" y="302"/>
                  </a:moveTo>
                  <a:cubicBezTo>
                    <a:pt x="0" y="302"/>
                    <a:pt x="3" y="90"/>
                    <a:pt x="167" y="0"/>
                  </a:cubicBezTo>
                  <a:cubicBezTo>
                    <a:pt x="167" y="0"/>
                    <a:pt x="322" y="64"/>
                    <a:pt x="325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 flipV="1">
              <a:off x="5749200" y="3480120"/>
              <a:ext cx="0" cy="181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5705640" y="5169240"/>
              <a:ext cx="0" cy="263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Freeform: Shape 91"/>
            <p:cNvSpPr/>
            <p:nvPr/>
          </p:nvSpPr>
          <p:spPr>
            <a:xfrm>
              <a:off x="7290360" y="4978080"/>
              <a:ext cx="515879" cy="636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4" h="1769">
                  <a:moveTo>
                    <a:pt x="717" y="1769"/>
                  </a:moveTo>
                  <a:lnTo>
                    <a:pt x="0" y="1769"/>
                  </a:lnTo>
                  <a:lnTo>
                    <a:pt x="0" y="0"/>
                  </a:lnTo>
                  <a:lnTo>
                    <a:pt x="1434" y="0"/>
                  </a:lnTo>
                  <a:lnTo>
                    <a:pt x="1434" y="17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Freeform: Shape 92"/>
            <p:cNvSpPr/>
            <p:nvPr/>
          </p:nvSpPr>
          <p:spPr>
            <a:xfrm>
              <a:off x="7873560" y="4957920"/>
              <a:ext cx="134640" cy="664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5" h="1848">
                  <a:moveTo>
                    <a:pt x="188" y="1848"/>
                  </a:moveTo>
                  <a:lnTo>
                    <a:pt x="0" y="1848"/>
                  </a:lnTo>
                  <a:lnTo>
                    <a:pt x="0" y="0"/>
                  </a:lnTo>
                  <a:lnTo>
                    <a:pt x="375" y="0"/>
                  </a:lnTo>
                  <a:lnTo>
                    <a:pt x="375" y="184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Freeform: Shape 93"/>
            <p:cNvSpPr/>
            <p:nvPr/>
          </p:nvSpPr>
          <p:spPr>
            <a:xfrm>
              <a:off x="6774120" y="5575320"/>
              <a:ext cx="66960" cy="92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7" h="257">
                  <a:moveTo>
                    <a:pt x="94" y="257"/>
                  </a:moveTo>
                  <a:cubicBezTo>
                    <a:pt x="43" y="257"/>
                    <a:pt x="0" y="215"/>
                    <a:pt x="0" y="164"/>
                  </a:cubicBezTo>
                  <a:lnTo>
                    <a:pt x="0" y="94"/>
                  </a:lnTo>
                  <a:cubicBezTo>
                    <a:pt x="0" y="43"/>
                    <a:pt x="43" y="0"/>
                    <a:pt x="94" y="0"/>
                  </a:cubicBezTo>
                  <a:cubicBezTo>
                    <a:pt x="144" y="0"/>
                    <a:pt x="187" y="43"/>
                    <a:pt x="187" y="94"/>
                  </a:cubicBezTo>
                  <a:lnTo>
                    <a:pt x="187" y="164"/>
                  </a:lnTo>
                  <a:cubicBezTo>
                    <a:pt x="187" y="215"/>
                    <a:pt x="144" y="257"/>
                    <a:pt x="94" y="25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5510520" y="5680079"/>
              <a:ext cx="712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5"/>
            <p:cNvSpPr/>
            <p:nvPr/>
          </p:nvSpPr>
          <p:spPr>
            <a:xfrm>
              <a:off x="5834520" y="4135320"/>
              <a:ext cx="876239" cy="1562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5" h="4340" fill="none">
                  <a:moveTo>
                    <a:pt x="1245" y="4340"/>
                  </a:moveTo>
                  <a:lnTo>
                    <a:pt x="1245" y="4080"/>
                  </a:lnTo>
                  <a:lnTo>
                    <a:pt x="0" y="4080"/>
                  </a:lnTo>
                  <a:lnTo>
                    <a:pt x="308" y="3877"/>
                  </a:lnTo>
                  <a:lnTo>
                    <a:pt x="1002" y="3877"/>
                  </a:lnTo>
                  <a:lnTo>
                    <a:pt x="1002" y="367"/>
                  </a:lnTo>
                  <a:lnTo>
                    <a:pt x="1357" y="0"/>
                  </a:lnTo>
                  <a:lnTo>
                    <a:pt x="2054" y="0"/>
                  </a:lnTo>
                  <a:lnTo>
                    <a:pt x="2435" y="243"/>
                  </a:lnTo>
                  <a:lnTo>
                    <a:pt x="2435" y="32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6335280" y="4214520"/>
              <a:ext cx="0" cy="101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6410520" y="4204440"/>
              <a:ext cx="89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98"/>
            <p:cNvSpPr/>
            <p:nvPr/>
          </p:nvSpPr>
          <p:spPr>
            <a:xfrm>
              <a:off x="6573960" y="4135320"/>
              <a:ext cx="330840" cy="1173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0" h="3262" fill="none">
                  <a:moveTo>
                    <a:pt x="0" y="0"/>
                  </a:moveTo>
                  <a:lnTo>
                    <a:pt x="0" y="3262"/>
                  </a:lnTo>
                  <a:lnTo>
                    <a:pt x="920" y="32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6775200" y="5112360"/>
              <a:ext cx="0" cy="189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Freeform: Shape 100"/>
            <p:cNvSpPr/>
            <p:nvPr/>
          </p:nvSpPr>
          <p:spPr>
            <a:xfrm>
              <a:off x="6239880" y="5280840"/>
              <a:ext cx="137880" cy="324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4" h="903">
                  <a:moveTo>
                    <a:pt x="0" y="48"/>
                  </a:moveTo>
                  <a:lnTo>
                    <a:pt x="0" y="612"/>
                  </a:lnTo>
                  <a:lnTo>
                    <a:pt x="384" y="903"/>
                  </a:lnTo>
                  <a:lnTo>
                    <a:pt x="384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6433920" y="5569560"/>
              <a:ext cx="300600" cy="15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2"/>
            <p:cNvSpPr/>
            <p:nvPr/>
          </p:nvSpPr>
          <p:spPr>
            <a:xfrm>
              <a:off x="6325200" y="5683320"/>
              <a:ext cx="265680" cy="69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94">
                  <a:moveTo>
                    <a:pt x="0" y="194"/>
                  </a:moveTo>
                  <a:cubicBezTo>
                    <a:pt x="0" y="87"/>
                    <a:pt x="88" y="0"/>
                    <a:pt x="195" y="0"/>
                  </a:cubicBezTo>
                  <a:lnTo>
                    <a:pt x="545" y="0"/>
                  </a:lnTo>
                  <a:cubicBezTo>
                    <a:pt x="652" y="0"/>
                    <a:pt x="739" y="87"/>
                    <a:pt x="739" y="19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3"/>
            <p:cNvSpPr/>
            <p:nvPr/>
          </p:nvSpPr>
          <p:spPr>
            <a:xfrm>
              <a:off x="6630120" y="5458680"/>
              <a:ext cx="653760" cy="69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17" h="195" fill="none">
                  <a:moveTo>
                    <a:pt x="194" y="0"/>
                  </a:moveTo>
                  <a:lnTo>
                    <a:pt x="0" y="195"/>
                  </a:lnTo>
                  <a:lnTo>
                    <a:pt x="1817" y="19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4"/>
            <p:cNvSpPr/>
            <p:nvPr/>
          </p:nvSpPr>
          <p:spPr>
            <a:xfrm>
              <a:off x="6915600" y="5178240"/>
              <a:ext cx="373320" cy="288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8" h="801" fill="none">
                  <a:moveTo>
                    <a:pt x="714" y="0"/>
                  </a:moveTo>
                  <a:lnTo>
                    <a:pt x="0" y="0"/>
                  </a:lnTo>
                  <a:lnTo>
                    <a:pt x="0" y="801"/>
                  </a:lnTo>
                  <a:lnTo>
                    <a:pt x="1038" y="80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5"/>
            <p:cNvSpPr/>
            <p:nvPr/>
          </p:nvSpPr>
          <p:spPr>
            <a:xfrm>
              <a:off x="7174439" y="5074560"/>
              <a:ext cx="111600" cy="38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1" h="1070" fill="none">
                  <a:moveTo>
                    <a:pt x="0" y="1070"/>
                  </a:moveTo>
                  <a:lnTo>
                    <a:pt x="0" y="0"/>
                  </a:lnTo>
                  <a:lnTo>
                    <a:pt x="311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6"/>
            <p:cNvSpPr/>
            <p:nvPr/>
          </p:nvSpPr>
          <p:spPr>
            <a:xfrm>
              <a:off x="7403040" y="4898880"/>
              <a:ext cx="28404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0" h="214" fill="none">
                  <a:moveTo>
                    <a:pt x="0" y="209"/>
                  </a:moveTo>
                  <a:lnTo>
                    <a:pt x="0" y="0"/>
                  </a:lnTo>
                  <a:lnTo>
                    <a:pt x="790" y="0"/>
                  </a:lnTo>
                  <a:lnTo>
                    <a:pt x="790" y="2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7"/>
            <p:cNvSpPr/>
            <p:nvPr/>
          </p:nvSpPr>
          <p:spPr>
            <a:xfrm>
              <a:off x="7574760" y="4848120"/>
              <a:ext cx="49320" cy="47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8" h="133" fill="none">
                  <a:moveTo>
                    <a:pt x="0" y="133"/>
                  </a:moveTo>
                  <a:lnTo>
                    <a:pt x="0" y="0"/>
                  </a:lnTo>
                  <a:lnTo>
                    <a:pt x="138" y="0"/>
                  </a:lnTo>
                  <a:lnTo>
                    <a:pt x="138" y="12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Straight Connector 111"/>
            <p:cNvSpPr/>
            <p:nvPr/>
          </p:nvSpPr>
          <p:spPr>
            <a:xfrm>
              <a:off x="7744320" y="5073480"/>
              <a:ext cx="0" cy="412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Straight Connector 112"/>
            <p:cNvSpPr/>
            <p:nvPr/>
          </p:nvSpPr>
          <p:spPr>
            <a:xfrm>
              <a:off x="7820640" y="5380560"/>
              <a:ext cx="43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Straight Connector 113"/>
            <p:cNvSpPr/>
            <p:nvPr/>
          </p:nvSpPr>
          <p:spPr>
            <a:xfrm>
              <a:off x="8219880" y="5549040"/>
              <a:ext cx="0" cy="88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>
              <a:off x="8786880" y="5693400"/>
              <a:ext cx="0" cy="88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2"/>
            <p:cNvSpPr/>
            <p:nvPr/>
          </p:nvSpPr>
          <p:spPr>
            <a:xfrm>
              <a:off x="8052479" y="5644440"/>
              <a:ext cx="23004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0" h="311" fill="none">
                  <a:moveTo>
                    <a:pt x="0" y="311"/>
                  </a:moveTo>
                  <a:lnTo>
                    <a:pt x="0" y="0"/>
                  </a:lnTo>
                  <a:lnTo>
                    <a:pt x="640" y="0"/>
                  </a:lnTo>
                  <a:lnTo>
                    <a:pt x="640" y="30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13"/>
            <p:cNvSpPr/>
            <p:nvPr/>
          </p:nvSpPr>
          <p:spPr>
            <a:xfrm>
              <a:off x="7600320" y="5686200"/>
              <a:ext cx="272880" cy="83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9" h="234">
                  <a:moveTo>
                    <a:pt x="0" y="217"/>
                  </a:moveTo>
                  <a:cubicBezTo>
                    <a:pt x="0" y="99"/>
                    <a:pt x="96" y="0"/>
                    <a:pt x="217" y="0"/>
                  </a:cubicBezTo>
                  <a:lnTo>
                    <a:pt x="525" y="0"/>
                  </a:lnTo>
                  <a:cubicBezTo>
                    <a:pt x="654" y="0"/>
                    <a:pt x="759" y="104"/>
                    <a:pt x="759" y="23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>
              <a:off x="7081200" y="5584680"/>
              <a:ext cx="0" cy="83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>
              <a:off x="7151040" y="5577480"/>
              <a:ext cx="0" cy="114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>
              <a:off x="6996600" y="5111279"/>
              <a:ext cx="0" cy="658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117"/>
            <p:cNvSpPr/>
            <p:nvPr/>
          </p:nvSpPr>
          <p:spPr>
            <a:xfrm>
              <a:off x="8174160" y="4755600"/>
              <a:ext cx="694800" cy="6944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31" h="1930">
                  <a:moveTo>
                    <a:pt x="1931" y="965"/>
                  </a:moveTo>
                  <a:cubicBezTo>
                    <a:pt x="1931" y="1143"/>
                    <a:pt x="1890" y="1294"/>
                    <a:pt x="1801" y="1448"/>
                  </a:cubicBezTo>
                  <a:cubicBezTo>
                    <a:pt x="1712" y="1602"/>
                    <a:pt x="1602" y="1712"/>
                    <a:pt x="1448" y="1801"/>
                  </a:cubicBezTo>
                  <a:cubicBezTo>
                    <a:pt x="1294" y="1890"/>
                    <a:pt x="1142" y="1930"/>
                    <a:pt x="965" y="1930"/>
                  </a:cubicBezTo>
                  <a:cubicBezTo>
                    <a:pt x="787" y="1930"/>
                    <a:pt x="637" y="1890"/>
                    <a:pt x="483" y="1801"/>
                  </a:cubicBezTo>
                  <a:cubicBezTo>
                    <a:pt x="329" y="1712"/>
                    <a:pt x="218" y="1602"/>
                    <a:pt x="130" y="1448"/>
                  </a:cubicBezTo>
                  <a:cubicBezTo>
                    <a:pt x="41" y="1294"/>
                    <a:pt x="0" y="1142"/>
                    <a:pt x="0" y="965"/>
                  </a:cubicBezTo>
                  <a:cubicBezTo>
                    <a:pt x="0" y="787"/>
                    <a:pt x="41" y="637"/>
                    <a:pt x="130" y="483"/>
                  </a:cubicBezTo>
                  <a:cubicBezTo>
                    <a:pt x="218" y="329"/>
                    <a:pt x="329" y="217"/>
                    <a:pt x="483" y="129"/>
                  </a:cubicBezTo>
                  <a:cubicBezTo>
                    <a:pt x="637" y="40"/>
                    <a:pt x="788" y="0"/>
                    <a:pt x="965" y="0"/>
                  </a:cubicBezTo>
                  <a:cubicBezTo>
                    <a:pt x="1143" y="0"/>
                    <a:pt x="1294" y="40"/>
                    <a:pt x="1448" y="129"/>
                  </a:cubicBezTo>
                  <a:cubicBezTo>
                    <a:pt x="1602" y="217"/>
                    <a:pt x="1712" y="329"/>
                    <a:pt x="1801" y="483"/>
                  </a:cubicBezTo>
                  <a:cubicBezTo>
                    <a:pt x="1890" y="637"/>
                    <a:pt x="1931" y="788"/>
                    <a:pt x="1931" y="965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>
              <a:off x="8521560" y="4740480"/>
              <a:ext cx="0" cy="4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8521560" y="5434200"/>
              <a:ext cx="0" cy="4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8381519" y="4767839"/>
              <a:ext cx="17281" cy="424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8644680" y="5409720"/>
              <a:ext cx="17280" cy="4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>
              <a:off x="8258399" y="4850280"/>
              <a:ext cx="32761" cy="32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8752320" y="5337720"/>
              <a:ext cx="32400" cy="3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8179200" y="4970880"/>
              <a:ext cx="41760" cy="16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>
              <a:off x="8822520" y="5232240"/>
              <a:ext cx="42480" cy="17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8845920" y="5111279"/>
              <a:ext cx="45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8151840" y="5111279"/>
              <a:ext cx="44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 flipV="1">
              <a:off x="8178480" y="5232240"/>
              <a:ext cx="42480" cy="16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 flipV="1">
              <a:off x="8822520" y="4970880"/>
              <a:ext cx="42480" cy="17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 flipH="1">
              <a:off x="8750160" y="4847040"/>
              <a:ext cx="31680" cy="32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 flipH="1">
              <a:off x="8261639" y="5340960"/>
              <a:ext cx="32401" cy="32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 flipH="1">
              <a:off x="8651880" y="4770720"/>
              <a:ext cx="18000" cy="41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 flipH="1">
              <a:off x="8373240" y="5406840"/>
              <a:ext cx="18360" cy="41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Freeform: Shape 134"/>
            <p:cNvSpPr/>
            <p:nvPr/>
          </p:nvSpPr>
          <p:spPr>
            <a:xfrm>
              <a:off x="8429400" y="5096880"/>
              <a:ext cx="217800" cy="648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6" h="1801" fill="none">
                  <a:moveTo>
                    <a:pt x="606" y="1801"/>
                  </a:moveTo>
                  <a:lnTo>
                    <a:pt x="262" y="0"/>
                  </a:lnTo>
                  <a:lnTo>
                    <a:pt x="0" y="14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32988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7731971" y="5133601"/>
            <a:ext cx="4460029" cy="1326647"/>
            <a:chOff x="5798978" y="3850200"/>
            <a:chExt cx="3345022" cy="994985"/>
          </a:xfrm>
        </p:grpSpPr>
        <p:sp>
          <p:nvSpPr>
            <p:cNvPr id="5" name="Freeform: Shape 1"/>
            <p:cNvSpPr/>
            <p:nvPr/>
          </p:nvSpPr>
          <p:spPr>
            <a:xfrm>
              <a:off x="6967584" y="4581648"/>
              <a:ext cx="208099" cy="310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0" h="226">
                  <a:moveTo>
                    <a:pt x="754" y="0"/>
                  </a:moveTo>
                  <a:lnTo>
                    <a:pt x="0" y="226"/>
                  </a:lnTo>
                  <a:lnTo>
                    <a:pt x="1510" y="22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6287024" y="4813329"/>
              <a:ext cx="190322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Freeform: Shape 3"/>
            <p:cNvSpPr/>
            <p:nvPr/>
          </p:nvSpPr>
          <p:spPr>
            <a:xfrm>
              <a:off x="6126226" y="4603851"/>
              <a:ext cx="306149" cy="11239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21" h="816" fill="none">
                  <a:moveTo>
                    <a:pt x="0" y="816"/>
                  </a:moveTo>
                  <a:lnTo>
                    <a:pt x="0" y="0"/>
                  </a:lnTo>
                  <a:lnTo>
                    <a:pt x="926" y="0"/>
                  </a:lnTo>
                  <a:lnTo>
                    <a:pt x="926" y="709"/>
                  </a:lnTo>
                  <a:lnTo>
                    <a:pt x="1087" y="709"/>
                  </a:lnTo>
                  <a:lnTo>
                    <a:pt x="1087" y="0"/>
                  </a:lnTo>
                  <a:lnTo>
                    <a:pt x="1679" y="0"/>
                  </a:lnTo>
                  <a:lnTo>
                    <a:pt x="1679" y="728"/>
                  </a:lnTo>
                  <a:lnTo>
                    <a:pt x="2221" y="72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6031210" y="4742446"/>
              <a:ext cx="1503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6017281" y="4751823"/>
              <a:ext cx="0" cy="45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Freeform: Shape 6"/>
            <p:cNvSpPr/>
            <p:nvPr/>
          </p:nvSpPr>
          <p:spPr>
            <a:xfrm>
              <a:off x="6129398" y="4457120"/>
              <a:ext cx="158177" cy="820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8" h="596" fill="none">
                  <a:moveTo>
                    <a:pt x="1148" y="0"/>
                  </a:moveTo>
                  <a:lnTo>
                    <a:pt x="623" y="0"/>
                  </a:lnTo>
                  <a:lnTo>
                    <a:pt x="623" y="596"/>
                  </a:lnTo>
                  <a:lnTo>
                    <a:pt x="0" y="59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6244549" y="4413128"/>
              <a:ext cx="0" cy="4399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6056998" y="4555998"/>
              <a:ext cx="0" cy="4399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>
              <a:off x="6262890" y="4413128"/>
              <a:ext cx="0" cy="4399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Freeform: Shape 10"/>
            <p:cNvSpPr/>
            <p:nvPr/>
          </p:nvSpPr>
          <p:spPr>
            <a:xfrm>
              <a:off x="6244549" y="4516006"/>
              <a:ext cx="31029" cy="697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507">
                  <a:moveTo>
                    <a:pt x="113" y="507"/>
                  </a:moveTo>
                  <a:lnTo>
                    <a:pt x="0" y="507"/>
                  </a:lnTo>
                  <a:lnTo>
                    <a:pt x="0" y="0"/>
                  </a:lnTo>
                  <a:lnTo>
                    <a:pt x="226" y="0"/>
                  </a:lnTo>
                  <a:lnTo>
                    <a:pt x="226" y="5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Freeform: Shape 11"/>
            <p:cNvSpPr/>
            <p:nvPr/>
          </p:nvSpPr>
          <p:spPr>
            <a:xfrm>
              <a:off x="6156565" y="4695006"/>
              <a:ext cx="59023" cy="239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9" h="175">
                  <a:moveTo>
                    <a:pt x="215" y="175"/>
                  </a:moveTo>
                  <a:lnTo>
                    <a:pt x="0" y="175"/>
                  </a:lnTo>
                  <a:lnTo>
                    <a:pt x="0" y="0"/>
                  </a:lnTo>
                  <a:lnTo>
                    <a:pt x="429" y="0"/>
                  </a:lnTo>
                  <a:lnTo>
                    <a:pt x="429" y="17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Freeform: Shape 12"/>
            <p:cNvSpPr/>
            <p:nvPr/>
          </p:nvSpPr>
          <p:spPr>
            <a:xfrm>
              <a:off x="6039898" y="4603437"/>
              <a:ext cx="33649" cy="10191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5" h="740">
                  <a:moveTo>
                    <a:pt x="122" y="740"/>
                  </a:moveTo>
                  <a:lnTo>
                    <a:pt x="0" y="740"/>
                  </a:lnTo>
                  <a:lnTo>
                    <a:pt x="0" y="0"/>
                  </a:lnTo>
                  <a:lnTo>
                    <a:pt x="245" y="0"/>
                  </a:lnTo>
                  <a:lnTo>
                    <a:pt x="245" y="7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eform: Shape 13"/>
            <p:cNvSpPr/>
            <p:nvPr/>
          </p:nvSpPr>
          <p:spPr>
            <a:xfrm>
              <a:off x="6270199" y="4716382"/>
              <a:ext cx="136940" cy="340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94" h="248">
                  <a:moveTo>
                    <a:pt x="497" y="248"/>
                  </a:moveTo>
                  <a:lnTo>
                    <a:pt x="0" y="248"/>
                  </a:lnTo>
                  <a:lnTo>
                    <a:pt x="0" y="0"/>
                  </a:lnTo>
                  <a:lnTo>
                    <a:pt x="994" y="0"/>
                  </a:lnTo>
                  <a:lnTo>
                    <a:pt x="994" y="24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6457060" y="4713210"/>
              <a:ext cx="2031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15"/>
            <p:cNvSpPr/>
            <p:nvPr/>
          </p:nvSpPr>
          <p:spPr>
            <a:xfrm>
              <a:off x="6287713" y="4075951"/>
              <a:ext cx="231818" cy="60071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82" h="4357">
                  <a:moveTo>
                    <a:pt x="0" y="3756"/>
                  </a:moveTo>
                  <a:lnTo>
                    <a:pt x="0" y="0"/>
                  </a:lnTo>
                  <a:lnTo>
                    <a:pt x="1149" y="0"/>
                  </a:lnTo>
                  <a:lnTo>
                    <a:pt x="1682" y="3214"/>
                  </a:lnTo>
                  <a:lnTo>
                    <a:pt x="1389" y="3214"/>
                  </a:lnTo>
                  <a:lnTo>
                    <a:pt x="1389" y="3694"/>
                  </a:lnTo>
                  <a:lnTo>
                    <a:pt x="1149" y="3694"/>
                  </a:lnTo>
                  <a:lnTo>
                    <a:pt x="1149" y="4357"/>
                  </a:lnTo>
                  <a:lnTo>
                    <a:pt x="968" y="4357"/>
                  </a:lnTo>
                  <a:lnTo>
                    <a:pt x="336" y="163"/>
                  </a:lnTo>
                  <a:lnTo>
                    <a:pt x="164" y="163"/>
                  </a:lnTo>
                  <a:lnTo>
                    <a:pt x="164" y="37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Freeform: Shape 16"/>
            <p:cNvSpPr/>
            <p:nvPr/>
          </p:nvSpPr>
          <p:spPr>
            <a:xfrm>
              <a:off x="6492502" y="4508145"/>
              <a:ext cx="256641" cy="1726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62" h="1253" fill="none">
                  <a:moveTo>
                    <a:pt x="0" y="181"/>
                  </a:moveTo>
                  <a:lnTo>
                    <a:pt x="584" y="181"/>
                  </a:lnTo>
                  <a:lnTo>
                    <a:pt x="584" y="0"/>
                  </a:lnTo>
                  <a:lnTo>
                    <a:pt x="872" y="0"/>
                  </a:lnTo>
                  <a:lnTo>
                    <a:pt x="872" y="443"/>
                  </a:lnTo>
                  <a:lnTo>
                    <a:pt x="1233" y="443"/>
                  </a:lnTo>
                  <a:lnTo>
                    <a:pt x="1233" y="1253"/>
                  </a:lnTo>
                  <a:lnTo>
                    <a:pt x="1862" y="125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6089681" y="4773199"/>
              <a:ext cx="89541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8"/>
            <p:cNvSpPr/>
            <p:nvPr/>
          </p:nvSpPr>
          <p:spPr>
            <a:xfrm>
              <a:off x="6495536" y="4550620"/>
              <a:ext cx="43854" cy="1425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9" h="1035">
                  <a:moveTo>
                    <a:pt x="160" y="1035"/>
                  </a:moveTo>
                  <a:lnTo>
                    <a:pt x="0" y="1035"/>
                  </a:lnTo>
                  <a:lnTo>
                    <a:pt x="0" y="0"/>
                  </a:lnTo>
                  <a:lnTo>
                    <a:pt x="319" y="0"/>
                  </a:lnTo>
                  <a:lnTo>
                    <a:pt x="319" y="103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19"/>
            <p:cNvSpPr/>
            <p:nvPr/>
          </p:nvSpPr>
          <p:spPr>
            <a:xfrm>
              <a:off x="6562558" y="4648670"/>
              <a:ext cx="85087" cy="19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18" h="144">
                  <a:moveTo>
                    <a:pt x="309" y="144"/>
                  </a:moveTo>
                  <a:lnTo>
                    <a:pt x="0" y="144"/>
                  </a:lnTo>
                  <a:lnTo>
                    <a:pt x="0" y="0"/>
                  </a:lnTo>
                  <a:lnTo>
                    <a:pt x="618" y="0"/>
                  </a:lnTo>
                  <a:lnTo>
                    <a:pt x="618" y="1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>
              <a:off x="6515808" y="4409681"/>
              <a:ext cx="0" cy="2537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1"/>
            <p:cNvSpPr/>
            <p:nvPr/>
          </p:nvSpPr>
          <p:spPr>
            <a:xfrm>
              <a:off x="6531253" y="4069745"/>
              <a:ext cx="194859" cy="5629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4" h="4083">
                  <a:moveTo>
                    <a:pt x="9" y="3002"/>
                  </a:moveTo>
                  <a:cubicBezTo>
                    <a:pt x="9" y="3002"/>
                    <a:pt x="-132" y="1405"/>
                    <a:pt x="712" y="0"/>
                  </a:cubicBezTo>
                  <a:cubicBezTo>
                    <a:pt x="712" y="0"/>
                    <a:pt x="1787" y="1718"/>
                    <a:pt x="1276" y="408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2"/>
            <p:cNvSpPr/>
            <p:nvPr/>
          </p:nvSpPr>
          <p:spPr>
            <a:xfrm>
              <a:off x="6603377" y="4128492"/>
              <a:ext cx="80812" cy="932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87" h="677">
                  <a:moveTo>
                    <a:pt x="0" y="0"/>
                  </a:moveTo>
                  <a:cubicBezTo>
                    <a:pt x="0" y="0"/>
                    <a:pt x="220" y="457"/>
                    <a:pt x="587" y="67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3"/>
            <p:cNvSpPr/>
            <p:nvPr/>
          </p:nvSpPr>
          <p:spPr>
            <a:xfrm>
              <a:off x="6589725" y="4191929"/>
              <a:ext cx="103429" cy="11694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1" h="849">
                  <a:moveTo>
                    <a:pt x="0" y="0"/>
                  </a:moveTo>
                  <a:cubicBezTo>
                    <a:pt x="0" y="0"/>
                    <a:pt x="280" y="570"/>
                    <a:pt x="751" y="84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eform: Shape 24"/>
            <p:cNvSpPr/>
            <p:nvPr/>
          </p:nvSpPr>
          <p:spPr>
            <a:xfrm>
              <a:off x="6576486" y="4255779"/>
              <a:ext cx="121356" cy="13680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1" h="993">
                  <a:moveTo>
                    <a:pt x="0" y="0"/>
                  </a:moveTo>
                  <a:cubicBezTo>
                    <a:pt x="0" y="0"/>
                    <a:pt x="328" y="668"/>
                    <a:pt x="881" y="99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5"/>
            <p:cNvSpPr/>
            <p:nvPr/>
          </p:nvSpPr>
          <p:spPr>
            <a:xfrm>
              <a:off x="6562558" y="4318388"/>
              <a:ext cx="142180" cy="15817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2" h="1148">
                  <a:moveTo>
                    <a:pt x="0" y="0"/>
                  </a:moveTo>
                  <a:cubicBezTo>
                    <a:pt x="0" y="0"/>
                    <a:pt x="383" y="773"/>
                    <a:pt x="1032" y="11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Freeform: Shape 26"/>
            <p:cNvSpPr/>
            <p:nvPr/>
          </p:nvSpPr>
          <p:spPr>
            <a:xfrm>
              <a:off x="6549319" y="4383203"/>
              <a:ext cx="157763" cy="17693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5" h="1284">
                  <a:moveTo>
                    <a:pt x="0" y="0"/>
                  </a:moveTo>
                  <a:cubicBezTo>
                    <a:pt x="0" y="0"/>
                    <a:pt x="426" y="864"/>
                    <a:pt x="1145" y="128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7"/>
            <p:cNvSpPr/>
            <p:nvPr/>
          </p:nvSpPr>
          <p:spPr>
            <a:xfrm>
              <a:off x="6574555" y="4134284"/>
              <a:ext cx="80812" cy="932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87" h="677">
                  <a:moveTo>
                    <a:pt x="587" y="0"/>
                  </a:moveTo>
                  <a:cubicBezTo>
                    <a:pt x="587" y="0"/>
                    <a:pt x="367" y="457"/>
                    <a:pt x="0" y="67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Freeform: Shape 28"/>
            <p:cNvSpPr/>
            <p:nvPr/>
          </p:nvSpPr>
          <p:spPr>
            <a:xfrm>
              <a:off x="6565178" y="4197721"/>
              <a:ext cx="103429" cy="11708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1" h="850">
                  <a:moveTo>
                    <a:pt x="751" y="0"/>
                  </a:moveTo>
                  <a:cubicBezTo>
                    <a:pt x="751" y="0"/>
                    <a:pt x="472" y="570"/>
                    <a:pt x="0" y="85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9"/>
            <p:cNvSpPr/>
            <p:nvPr/>
          </p:nvSpPr>
          <p:spPr>
            <a:xfrm>
              <a:off x="6560489" y="4261571"/>
              <a:ext cx="121356" cy="13680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1" h="993">
                  <a:moveTo>
                    <a:pt x="881" y="0"/>
                  </a:moveTo>
                  <a:cubicBezTo>
                    <a:pt x="881" y="0"/>
                    <a:pt x="554" y="669"/>
                    <a:pt x="0" y="99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30"/>
            <p:cNvSpPr/>
            <p:nvPr/>
          </p:nvSpPr>
          <p:spPr>
            <a:xfrm>
              <a:off x="6553594" y="4324180"/>
              <a:ext cx="142318" cy="15831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3" h="1149">
                  <a:moveTo>
                    <a:pt x="1033" y="0"/>
                  </a:moveTo>
                  <a:cubicBezTo>
                    <a:pt x="1033" y="0"/>
                    <a:pt x="649" y="773"/>
                    <a:pt x="0" y="114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31"/>
            <p:cNvSpPr/>
            <p:nvPr/>
          </p:nvSpPr>
          <p:spPr>
            <a:xfrm>
              <a:off x="6623236" y="4389133"/>
              <a:ext cx="85777" cy="1192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23" h="866">
                  <a:moveTo>
                    <a:pt x="623" y="0"/>
                  </a:moveTo>
                  <a:cubicBezTo>
                    <a:pt x="623" y="0"/>
                    <a:pt x="398" y="457"/>
                    <a:pt x="0" y="86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32"/>
            <p:cNvSpPr/>
            <p:nvPr/>
          </p:nvSpPr>
          <p:spPr>
            <a:xfrm>
              <a:off x="6769828" y="4221992"/>
              <a:ext cx="189068" cy="45219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72" h="3280">
                  <a:moveTo>
                    <a:pt x="142" y="3280"/>
                  </a:moveTo>
                  <a:cubicBezTo>
                    <a:pt x="142" y="3280"/>
                    <a:pt x="-149" y="557"/>
                    <a:pt x="102" y="102"/>
                  </a:cubicBezTo>
                  <a:cubicBezTo>
                    <a:pt x="102" y="102"/>
                    <a:pt x="774" y="-146"/>
                    <a:pt x="1279" y="131"/>
                  </a:cubicBezTo>
                  <a:cubicBezTo>
                    <a:pt x="1279" y="131"/>
                    <a:pt x="1527" y="915"/>
                    <a:pt x="1211" y="328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3"/>
            <p:cNvSpPr/>
            <p:nvPr/>
          </p:nvSpPr>
          <p:spPr>
            <a:xfrm>
              <a:off x="6740455" y="4194963"/>
              <a:ext cx="43716" cy="47425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8" h="3440">
                  <a:moveTo>
                    <a:pt x="169" y="3440"/>
                  </a:moveTo>
                  <a:cubicBezTo>
                    <a:pt x="169" y="3440"/>
                    <a:pt x="-201" y="734"/>
                    <a:pt x="154" y="0"/>
                  </a:cubicBezTo>
                  <a:lnTo>
                    <a:pt x="318" y="24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4"/>
            <p:cNvSpPr/>
            <p:nvPr/>
          </p:nvSpPr>
          <p:spPr>
            <a:xfrm>
              <a:off x="6768725" y="4173863"/>
              <a:ext cx="205065" cy="4150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88" h="3011">
                  <a:moveTo>
                    <a:pt x="0" y="99"/>
                  </a:moveTo>
                  <a:cubicBezTo>
                    <a:pt x="0" y="99"/>
                    <a:pt x="802" y="-155"/>
                    <a:pt x="1287" y="150"/>
                  </a:cubicBezTo>
                  <a:cubicBezTo>
                    <a:pt x="1287" y="150"/>
                    <a:pt x="1657" y="392"/>
                    <a:pt x="1392" y="30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 flipV="1">
              <a:off x="6789411" y="4261157"/>
              <a:ext cx="152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 flipV="1">
              <a:off x="6790928" y="4283360"/>
              <a:ext cx="1501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 flipV="1">
              <a:off x="6792169" y="4305976"/>
              <a:ext cx="147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 flipV="1">
              <a:off x="6793686" y="4328455"/>
              <a:ext cx="14521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 flipV="1">
              <a:off x="6795203" y="4350520"/>
              <a:ext cx="14286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 flipV="1">
              <a:off x="6796444" y="4373136"/>
              <a:ext cx="14038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 flipV="1">
              <a:off x="6797961" y="4395615"/>
              <a:ext cx="1377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 flipV="1">
              <a:off x="6799065" y="4418231"/>
              <a:ext cx="13542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 flipV="1">
              <a:off x="6800719" y="4440847"/>
              <a:ext cx="1326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 flipV="1">
              <a:off x="6801823" y="4463050"/>
              <a:ext cx="1307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 flipV="1">
              <a:off x="6803339" y="4485529"/>
              <a:ext cx="12811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6804994" y="4508145"/>
              <a:ext cx="12521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6806511" y="4530761"/>
              <a:ext cx="1225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6807615" y="4553240"/>
              <a:ext cx="1206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6809269" y="4575442"/>
              <a:ext cx="11749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6810373" y="4598059"/>
              <a:ext cx="1155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6812028" y="4620676"/>
              <a:ext cx="11280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6813131" y="4642740"/>
              <a:ext cx="1104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6814648" y="4665357"/>
              <a:ext cx="10784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6719769" y="4559170"/>
              <a:ext cx="3144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6734111" y="4601507"/>
              <a:ext cx="0" cy="471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6780861" y="4693352"/>
              <a:ext cx="1245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6945382" y="4710865"/>
              <a:ext cx="37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7057498" y="4717485"/>
              <a:ext cx="0" cy="670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7111281" y="4746307"/>
              <a:ext cx="5281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7115143" y="4774026"/>
              <a:ext cx="4550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6714667" y="4845185"/>
              <a:ext cx="4051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6093543" y="4845185"/>
              <a:ext cx="33428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6952829" y="4590612"/>
              <a:ext cx="712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7131140" y="4587578"/>
              <a:ext cx="4123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7156790" y="4556412"/>
              <a:ext cx="0" cy="3116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7166443" y="4648670"/>
              <a:ext cx="0" cy="5640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7012403" y="4530761"/>
              <a:ext cx="0" cy="3930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>
              <a:off x="7032261" y="4530761"/>
              <a:ext cx="0" cy="3930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7051706" y="4530761"/>
              <a:ext cx="0" cy="3930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7071565" y="4531175"/>
              <a:ext cx="0" cy="3888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7091423" y="4531175"/>
              <a:ext cx="0" cy="3888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7111281" y="4531175"/>
              <a:ext cx="0" cy="3888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7131140" y="4531451"/>
              <a:ext cx="0" cy="3861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6997234" y="4612815"/>
              <a:ext cx="0" cy="7667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7147412" y="4612815"/>
              <a:ext cx="0" cy="7667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7004267" y="4510903"/>
              <a:ext cx="1373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7"/>
            <p:cNvSpPr/>
            <p:nvPr/>
          </p:nvSpPr>
          <p:spPr>
            <a:xfrm>
              <a:off x="7006198" y="4412439"/>
              <a:ext cx="130182" cy="780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45" h="567">
                  <a:moveTo>
                    <a:pt x="945" y="567"/>
                  </a:moveTo>
                  <a:lnTo>
                    <a:pt x="0" y="567"/>
                  </a:lnTo>
                  <a:cubicBezTo>
                    <a:pt x="0" y="567"/>
                    <a:pt x="127" y="0"/>
                    <a:pt x="477" y="0"/>
                  </a:cubicBezTo>
                  <a:cubicBezTo>
                    <a:pt x="824" y="0"/>
                    <a:pt x="945" y="567"/>
                    <a:pt x="945" y="56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7057498" y="4393684"/>
              <a:ext cx="284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7062601" y="4375480"/>
              <a:ext cx="194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072254" y="4315216"/>
              <a:ext cx="0" cy="354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046190" y="4677492"/>
              <a:ext cx="5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201471" y="4551723"/>
              <a:ext cx="5847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190577" y="4473945"/>
              <a:ext cx="0" cy="68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268079" y="4473945"/>
              <a:ext cx="0" cy="68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194576" y="4560687"/>
              <a:ext cx="0" cy="1751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212366" y="4560687"/>
              <a:ext cx="0" cy="1751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230293" y="4560687"/>
              <a:ext cx="0" cy="1751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248221" y="4560687"/>
              <a:ext cx="0" cy="1751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266149" y="4560687"/>
              <a:ext cx="0" cy="1751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Freeform: Shape 90"/>
            <p:cNvSpPr/>
            <p:nvPr/>
          </p:nvSpPr>
          <p:spPr>
            <a:xfrm>
              <a:off x="7187956" y="4391339"/>
              <a:ext cx="80812" cy="696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87" h="506" fill="none">
                  <a:moveTo>
                    <a:pt x="0" y="506"/>
                  </a:moveTo>
                  <a:lnTo>
                    <a:pt x="152" y="260"/>
                  </a:lnTo>
                  <a:lnTo>
                    <a:pt x="152" y="0"/>
                  </a:lnTo>
                  <a:lnTo>
                    <a:pt x="431" y="0"/>
                  </a:lnTo>
                  <a:lnTo>
                    <a:pt x="431" y="252"/>
                  </a:lnTo>
                  <a:lnTo>
                    <a:pt x="587" y="50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Freeform: Shape 91"/>
            <p:cNvSpPr/>
            <p:nvPr/>
          </p:nvSpPr>
          <p:spPr>
            <a:xfrm>
              <a:off x="7212090" y="4492148"/>
              <a:ext cx="35579" cy="357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9" h="260">
                  <a:moveTo>
                    <a:pt x="259" y="130"/>
                  </a:moveTo>
                  <a:cubicBezTo>
                    <a:pt x="259" y="154"/>
                    <a:pt x="254" y="174"/>
                    <a:pt x="242" y="195"/>
                  </a:cubicBezTo>
                  <a:cubicBezTo>
                    <a:pt x="230" y="216"/>
                    <a:pt x="214" y="231"/>
                    <a:pt x="194" y="243"/>
                  </a:cubicBezTo>
                  <a:cubicBezTo>
                    <a:pt x="173" y="255"/>
                    <a:pt x="152" y="260"/>
                    <a:pt x="129" y="260"/>
                  </a:cubicBezTo>
                  <a:cubicBezTo>
                    <a:pt x="105" y="260"/>
                    <a:pt x="85" y="255"/>
                    <a:pt x="65" y="243"/>
                  </a:cubicBezTo>
                  <a:cubicBezTo>
                    <a:pt x="44" y="231"/>
                    <a:pt x="29" y="216"/>
                    <a:pt x="17" y="195"/>
                  </a:cubicBezTo>
                  <a:cubicBezTo>
                    <a:pt x="5" y="174"/>
                    <a:pt x="0" y="154"/>
                    <a:pt x="0" y="130"/>
                  </a:cubicBezTo>
                  <a:cubicBezTo>
                    <a:pt x="0" y="106"/>
                    <a:pt x="5" y="85"/>
                    <a:pt x="17" y="65"/>
                  </a:cubicBezTo>
                  <a:cubicBezTo>
                    <a:pt x="29" y="44"/>
                    <a:pt x="44" y="30"/>
                    <a:pt x="65" y="18"/>
                  </a:cubicBezTo>
                  <a:cubicBezTo>
                    <a:pt x="85" y="6"/>
                    <a:pt x="106" y="0"/>
                    <a:pt x="129" y="0"/>
                  </a:cubicBezTo>
                  <a:cubicBezTo>
                    <a:pt x="153" y="0"/>
                    <a:pt x="173" y="6"/>
                    <a:pt x="194" y="18"/>
                  </a:cubicBezTo>
                  <a:cubicBezTo>
                    <a:pt x="214" y="30"/>
                    <a:pt x="230" y="44"/>
                    <a:pt x="242" y="65"/>
                  </a:cubicBezTo>
                  <a:cubicBezTo>
                    <a:pt x="254" y="85"/>
                    <a:pt x="259" y="106"/>
                    <a:pt x="259" y="130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7208091" y="4454500"/>
              <a:ext cx="413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7208091" y="4468428"/>
              <a:ext cx="413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7208918" y="4427195"/>
              <a:ext cx="3888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5"/>
            <p:cNvSpPr/>
            <p:nvPr/>
          </p:nvSpPr>
          <p:spPr>
            <a:xfrm>
              <a:off x="7208918" y="4360725"/>
              <a:ext cx="38338" cy="3047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9" h="222" fill="none">
                  <a:moveTo>
                    <a:pt x="0" y="222"/>
                  </a:moveTo>
                  <a:lnTo>
                    <a:pt x="141" y="0"/>
                  </a:lnTo>
                  <a:lnTo>
                    <a:pt x="279" y="22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7229190" y="4402648"/>
              <a:ext cx="0" cy="1682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 flipV="1">
              <a:off x="7228363" y="4331213"/>
              <a:ext cx="0" cy="2965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7299935" y="4595715"/>
              <a:ext cx="0" cy="657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7279387" y="4661495"/>
              <a:ext cx="482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7226846" y="4776232"/>
              <a:ext cx="32062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1"/>
            <p:cNvSpPr/>
            <p:nvPr/>
          </p:nvSpPr>
          <p:spPr>
            <a:xfrm>
              <a:off x="7318552" y="3850200"/>
              <a:ext cx="228646" cy="9125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59" h="6618" fill="none">
                  <a:moveTo>
                    <a:pt x="0" y="6618"/>
                  </a:moveTo>
                  <a:lnTo>
                    <a:pt x="683" y="0"/>
                  </a:lnTo>
                  <a:lnTo>
                    <a:pt x="798" y="333"/>
                  </a:lnTo>
                  <a:lnTo>
                    <a:pt x="917" y="0"/>
                  </a:lnTo>
                  <a:lnTo>
                    <a:pt x="1659" y="660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Straight Connector 105"/>
            <p:cNvSpPr/>
            <p:nvPr/>
          </p:nvSpPr>
          <p:spPr>
            <a:xfrm>
              <a:off x="7432600" y="3917498"/>
              <a:ext cx="93362" cy="84370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Straight Connector 106"/>
            <p:cNvSpPr/>
            <p:nvPr/>
          </p:nvSpPr>
          <p:spPr>
            <a:xfrm>
              <a:off x="7534098" y="4641637"/>
              <a:ext cx="937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7571884" y="4695696"/>
              <a:ext cx="0" cy="86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Straight Connector 108"/>
            <p:cNvSpPr/>
            <p:nvPr/>
          </p:nvSpPr>
          <p:spPr>
            <a:xfrm>
              <a:off x="8096474" y="4695696"/>
              <a:ext cx="0" cy="86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Straight Connector 109"/>
            <p:cNvSpPr/>
            <p:nvPr/>
          </p:nvSpPr>
          <p:spPr>
            <a:xfrm>
              <a:off x="7697929" y="4776232"/>
              <a:ext cx="1943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7544303" y="4525245"/>
              <a:ext cx="4978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Straight Connector 111"/>
            <p:cNvSpPr/>
            <p:nvPr/>
          </p:nvSpPr>
          <p:spPr>
            <a:xfrm>
              <a:off x="7661384" y="4525245"/>
              <a:ext cx="109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Straight Connector 112"/>
            <p:cNvSpPr/>
            <p:nvPr/>
          </p:nvSpPr>
          <p:spPr>
            <a:xfrm>
              <a:off x="7595603" y="4455189"/>
              <a:ext cx="0" cy="1463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10"/>
            <p:cNvSpPr/>
            <p:nvPr/>
          </p:nvSpPr>
          <p:spPr>
            <a:xfrm>
              <a:off x="7661384" y="4455189"/>
              <a:ext cx="258710" cy="2380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77" h="1727" fill="none">
                  <a:moveTo>
                    <a:pt x="0" y="0"/>
                  </a:moveTo>
                  <a:lnTo>
                    <a:pt x="0" y="1727"/>
                  </a:lnTo>
                  <a:lnTo>
                    <a:pt x="1877" y="1727"/>
                  </a:lnTo>
                  <a:lnTo>
                    <a:pt x="1786" y="1581"/>
                  </a:lnTo>
                  <a:lnTo>
                    <a:pt x="158" y="158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>
              <a:off x="7627873" y="4455189"/>
              <a:ext cx="0" cy="326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>
              <a:off x="7627873" y="4522901"/>
              <a:ext cx="0" cy="14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>
              <a:off x="7576986" y="4441951"/>
              <a:ext cx="1031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14"/>
            <p:cNvSpPr/>
            <p:nvPr/>
          </p:nvSpPr>
          <p:spPr>
            <a:xfrm>
              <a:off x="7585123" y="4396856"/>
              <a:ext cx="82743" cy="3447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1" h="251">
                  <a:moveTo>
                    <a:pt x="0" y="251"/>
                  </a:moveTo>
                  <a:cubicBezTo>
                    <a:pt x="0" y="251"/>
                    <a:pt x="62" y="0"/>
                    <a:pt x="313" y="0"/>
                  </a:cubicBezTo>
                  <a:cubicBezTo>
                    <a:pt x="564" y="0"/>
                    <a:pt x="601" y="251"/>
                    <a:pt x="601" y="25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>
              <a:off x="7628701" y="4332454"/>
              <a:ext cx="0" cy="645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116"/>
            <p:cNvSpPr/>
            <p:nvPr/>
          </p:nvSpPr>
          <p:spPr>
            <a:xfrm>
              <a:off x="7838868" y="4525245"/>
              <a:ext cx="318560" cy="489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11" h="356" fill="none">
                  <a:moveTo>
                    <a:pt x="0" y="0"/>
                  </a:moveTo>
                  <a:lnTo>
                    <a:pt x="2311" y="0"/>
                  </a:lnTo>
                  <a:lnTo>
                    <a:pt x="2311" y="356"/>
                  </a:lnTo>
                  <a:lnTo>
                    <a:pt x="1575" y="356"/>
                  </a:lnTo>
                  <a:lnTo>
                    <a:pt x="1575" y="17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>
              <a:off x="7773087" y="4455189"/>
              <a:ext cx="0" cy="1463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>
              <a:off x="7838868" y="4455189"/>
              <a:ext cx="0" cy="1463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7805357" y="4455189"/>
              <a:ext cx="0" cy="326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7805357" y="4522901"/>
              <a:ext cx="0" cy="14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7754470" y="4441951"/>
              <a:ext cx="10342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Freeform: Shape 122"/>
            <p:cNvSpPr/>
            <p:nvPr/>
          </p:nvSpPr>
          <p:spPr>
            <a:xfrm>
              <a:off x="7763020" y="4396856"/>
              <a:ext cx="82743" cy="3447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1" h="251">
                  <a:moveTo>
                    <a:pt x="0" y="251"/>
                  </a:moveTo>
                  <a:cubicBezTo>
                    <a:pt x="0" y="251"/>
                    <a:pt x="62" y="0"/>
                    <a:pt x="313" y="0"/>
                  </a:cubicBezTo>
                  <a:cubicBezTo>
                    <a:pt x="564" y="0"/>
                    <a:pt x="601" y="251"/>
                    <a:pt x="601" y="25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7806184" y="4332454"/>
              <a:ext cx="0" cy="645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Freeform: Shape 124"/>
            <p:cNvSpPr/>
            <p:nvPr/>
          </p:nvSpPr>
          <p:spPr>
            <a:xfrm>
              <a:off x="7858726" y="4614332"/>
              <a:ext cx="33373" cy="2868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09" fill="none">
                  <a:moveTo>
                    <a:pt x="243" y="0"/>
                  </a:moveTo>
                  <a:lnTo>
                    <a:pt x="243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Freeform: Shape 125"/>
            <p:cNvSpPr/>
            <p:nvPr/>
          </p:nvSpPr>
          <p:spPr>
            <a:xfrm>
              <a:off x="7926024" y="4614332"/>
              <a:ext cx="33373" cy="2868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09" fill="none">
                  <a:moveTo>
                    <a:pt x="243" y="0"/>
                  </a:moveTo>
                  <a:lnTo>
                    <a:pt x="243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Freeform: Shape 126"/>
            <p:cNvSpPr/>
            <p:nvPr/>
          </p:nvSpPr>
          <p:spPr>
            <a:xfrm>
              <a:off x="7993321" y="4614332"/>
              <a:ext cx="33373" cy="2868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09" fill="none">
                  <a:moveTo>
                    <a:pt x="243" y="0"/>
                  </a:moveTo>
                  <a:lnTo>
                    <a:pt x="243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Freeform: Shape 127"/>
            <p:cNvSpPr/>
            <p:nvPr/>
          </p:nvSpPr>
          <p:spPr>
            <a:xfrm>
              <a:off x="8060343" y="4614332"/>
              <a:ext cx="33649" cy="2868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5" h="209" fill="none">
                  <a:moveTo>
                    <a:pt x="245" y="0"/>
                  </a:moveTo>
                  <a:lnTo>
                    <a:pt x="245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Freeform: Shape 128"/>
            <p:cNvSpPr/>
            <p:nvPr/>
          </p:nvSpPr>
          <p:spPr>
            <a:xfrm>
              <a:off x="7587881" y="4724518"/>
              <a:ext cx="146179" cy="364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61" h="265">
                  <a:moveTo>
                    <a:pt x="0" y="265"/>
                  </a:moveTo>
                  <a:cubicBezTo>
                    <a:pt x="0" y="265"/>
                    <a:pt x="126" y="0"/>
                    <a:pt x="558" y="0"/>
                  </a:cubicBezTo>
                  <a:cubicBezTo>
                    <a:pt x="989" y="0"/>
                    <a:pt x="1061" y="265"/>
                    <a:pt x="1061" y="26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Freeform: Shape 129"/>
            <p:cNvSpPr/>
            <p:nvPr/>
          </p:nvSpPr>
          <p:spPr>
            <a:xfrm>
              <a:off x="7762606" y="4724518"/>
              <a:ext cx="146179" cy="364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61" h="265">
                  <a:moveTo>
                    <a:pt x="0" y="265"/>
                  </a:moveTo>
                  <a:cubicBezTo>
                    <a:pt x="0" y="265"/>
                    <a:pt x="127" y="0"/>
                    <a:pt x="559" y="0"/>
                  </a:cubicBezTo>
                  <a:cubicBezTo>
                    <a:pt x="990" y="0"/>
                    <a:pt x="1061" y="265"/>
                    <a:pt x="1061" y="26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Freeform: Shape 130"/>
            <p:cNvSpPr/>
            <p:nvPr/>
          </p:nvSpPr>
          <p:spPr>
            <a:xfrm>
              <a:off x="7937332" y="4724518"/>
              <a:ext cx="146179" cy="364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61" h="265">
                  <a:moveTo>
                    <a:pt x="0" y="265"/>
                  </a:moveTo>
                  <a:cubicBezTo>
                    <a:pt x="0" y="265"/>
                    <a:pt x="127" y="0"/>
                    <a:pt x="559" y="0"/>
                  </a:cubicBezTo>
                  <a:cubicBezTo>
                    <a:pt x="990" y="0"/>
                    <a:pt x="1061" y="265"/>
                    <a:pt x="1061" y="26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8125710" y="4483184"/>
              <a:ext cx="0" cy="4247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Freeform: Shape 132"/>
            <p:cNvSpPr/>
            <p:nvPr/>
          </p:nvSpPr>
          <p:spPr>
            <a:xfrm>
              <a:off x="7877343" y="3969350"/>
              <a:ext cx="216235" cy="5430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9" h="3939" fill="none">
                  <a:moveTo>
                    <a:pt x="0" y="3936"/>
                  </a:moveTo>
                  <a:lnTo>
                    <a:pt x="807" y="0"/>
                  </a:lnTo>
                  <a:lnTo>
                    <a:pt x="1569" y="39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Freeform: Shape 133"/>
            <p:cNvSpPr/>
            <p:nvPr/>
          </p:nvSpPr>
          <p:spPr>
            <a:xfrm>
              <a:off x="7929471" y="4077467"/>
              <a:ext cx="116668" cy="15238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7" h="1106" fill="none">
                  <a:moveTo>
                    <a:pt x="43" y="1106"/>
                  </a:moveTo>
                  <a:lnTo>
                    <a:pt x="0" y="0"/>
                  </a:lnTo>
                  <a:lnTo>
                    <a:pt x="847" y="0"/>
                  </a:lnTo>
                  <a:lnTo>
                    <a:pt x="788" y="108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7978565" y="4103118"/>
              <a:ext cx="171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7974290" y="4127665"/>
              <a:ext cx="2565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7969601" y="4152212"/>
              <a:ext cx="3461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7965327" y="4176345"/>
              <a:ext cx="431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7961051" y="4200892"/>
              <a:ext cx="5171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7956776" y="4225302"/>
              <a:ext cx="606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7952088" y="4249849"/>
              <a:ext cx="6964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7947813" y="4273982"/>
              <a:ext cx="781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7943538" y="4298529"/>
              <a:ext cx="8674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7938848" y="4323076"/>
              <a:ext cx="9570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7934574" y="4347624"/>
              <a:ext cx="10425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7929885" y="4371895"/>
              <a:ext cx="1133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7925610" y="4396442"/>
              <a:ext cx="1219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7921335" y="4420989"/>
              <a:ext cx="13045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7916646" y="4445122"/>
              <a:ext cx="13942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7912371" y="4469670"/>
              <a:ext cx="14797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7908096" y="4494078"/>
              <a:ext cx="15693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Freeform: Shape 151"/>
            <p:cNvSpPr/>
            <p:nvPr/>
          </p:nvSpPr>
          <p:spPr>
            <a:xfrm>
              <a:off x="8226518" y="4663840"/>
              <a:ext cx="74193" cy="1485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39" h="1078">
                  <a:moveTo>
                    <a:pt x="539" y="0"/>
                  </a:moveTo>
                  <a:lnTo>
                    <a:pt x="539" y="1078"/>
                  </a:lnTo>
                  <a:lnTo>
                    <a:pt x="0" y="71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8226518" y="4822982"/>
              <a:ext cx="423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 flipH="1">
              <a:off x="8512533" y="4717485"/>
              <a:ext cx="2977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 flipH="1">
              <a:off x="8600102" y="4751823"/>
              <a:ext cx="5438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 flipH="1">
              <a:off x="5798978" y="4696937"/>
              <a:ext cx="548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 flipH="1">
              <a:off x="5967084" y="4696937"/>
              <a:ext cx="431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 flipH="1">
              <a:off x="8697117" y="4808778"/>
              <a:ext cx="10722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8399727" y="4658324"/>
              <a:ext cx="0" cy="257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8145568" y="4658324"/>
              <a:ext cx="0" cy="4523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Freeform: Shape 160"/>
            <p:cNvSpPr/>
            <p:nvPr/>
          </p:nvSpPr>
          <p:spPr>
            <a:xfrm>
              <a:off x="8415586" y="4711693"/>
              <a:ext cx="41096" cy="9708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9" h="705">
                  <a:moveTo>
                    <a:pt x="299" y="0"/>
                  </a:moveTo>
                  <a:lnTo>
                    <a:pt x="299" y="705"/>
                  </a:lnTo>
                  <a:lnTo>
                    <a:pt x="0" y="47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8416413" y="4815535"/>
              <a:ext cx="2330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162"/>
            <p:cNvSpPr/>
            <p:nvPr/>
          </p:nvSpPr>
          <p:spPr>
            <a:xfrm>
              <a:off x="5891236" y="4668942"/>
              <a:ext cx="41096" cy="974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9" h="708">
                  <a:moveTo>
                    <a:pt x="299" y="0"/>
                  </a:moveTo>
                  <a:lnTo>
                    <a:pt x="299" y="708"/>
                  </a:lnTo>
                  <a:lnTo>
                    <a:pt x="0" y="4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5891926" y="4773199"/>
              <a:ext cx="2330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grpSp>
          <p:nvGrpSpPr>
            <p:cNvPr id="168" name="Group 167"/>
            <p:cNvGrpSpPr/>
            <p:nvPr/>
          </p:nvGrpSpPr>
          <p:grpSpPr>
            <a:xfrm>
              <a:off x="8182940" y="4448156"/>
              <a:ext cx="499492" cy="255400"/>
              <a:chOff x="8276721" y="4448156"/>
              <a:chExt cx="499492" cy="255400"/>
            </a:xfrm>
          </p:grpSpPr>
          <p:sp>
            <p:nvSpPr>
              <p:cNvPr id="185" name="Freeform: Shape 164"/>
              <p:cNvSpPr/>
              <p:nvPr/>
            </p:nvSpPr>
            <p:spPr>
              <a:xfrm>
                <a:off x="8279066" y="4633914"/>
                <a:ext cx="497147" cy="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3606">
                    <a:moveTo>
                      <a:pt x="0" y="0"/>
                    </a:moveTo>
                    <a:cubicBezTo>
                      <a:pt x="1199" y="0"/>
                      <a:pt x="2407" y="0"/>
                      <a:pt x="3606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6" name="Straight Connector 185"/>
              <p:cNvSpPr/>
              <p:nvPr/>
            </p:nvSpPr>
            <p:spPr>
              <a:xfrm>
                <a:off x="8444000" y="4448156"/>
                <a:ext cx="0" cy="25540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7" name="Freeform: Shape 166"/>
              <p:cNvSpPr/>
              <p:nvPr/>
            </p:nvSpPr>
            <p:spPr>
              <a:xfrm>
                <a:off x="8444000" y="4469256"/>
                <a:ext cx="332213" cy="124804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410" h="906">
                    <a:moveTo>
                      <a:pt x="2410" y="906"/>
                    </a:moveTo>
                    <a:cubicBezTo>
                      <a:pt x="1583" y="900"/>
                      <a:pt x="748" y="663"/>
                      <a:pt x="110" y="99"/>
                    </a:cubicBezTo>
                    <a:cubicBezTo>
                      <a:pt x="82" y="70"/>
                      <a:pt x="20" y="22"/>
                      <a:pt x="0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8" name="Straight Connector 187"/>
              <p:cNvSpPr/>
              <p:nvPr/>
            </p:nvSpPr>
            <p:spPr>
              <a:xfrm>
                <a:off x="8497369" y="4512834"/>
                <a:ext cx="0" cy="119012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9" name="Straight Connector 188"/>
              <p:cNvSpPr/>
              <p:nvPr/>
            </p:nvSpPr>
            <p:spPr>
              <a:xfrm>
                <a:off x="8536672" y="4536140"/>
                <a:ext cx="0" cy="97775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0" name="Straight Connector 189"/>
              <p:cNvSpPr/>
              <p:nvPr/>
            </p:nvSpPr>
            <p:spPr>
              <a:xfrm>
                <a:off x="8576665" y="4556826"/>
                <a:ext cx="0" cy="7708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1" name="Straight Connector 190"/>
              <p:cNvSpPr/>
              <p:nvPr/>
            </p:nvSpPr>
            <p:spPr>
              <a:xfrm>
                <a:off x="8616381" y="4571168"/>
                <a:ext cx="0" cy="62747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2" name="Straight Connector 191"/>
              <p:cNvSpPr/>
              <p:nvPr/>
            </p:nvSpPr>
            <p:spPr>
              <a:xfrm>
                <a:off x="8655684" y="4580545"/>
                <a:ext cx="0" cy="5336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3" name="Straight Connector 192"/>
              <p:cNvSpPr/>
              <p:nvPr/>
            </p:nvSpPr>
            <p:spPr>
              <a:xfrm>
                <a:off x="8694987" y="4589095"/>
                <a:ext cx="0" cy="4481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4" name="Straight Connector 193"/>
              <p:cNvSpPr/>
              <p:nvPr/>
            </p:nvSpPr>
            <p:spPr>
              <a:xfrm>
                <a:off x="8734290" y="4592543"/>
                <a:ext cx="0" cy="41372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5" name="Freeform: Shape 174"/>
              <p:cNvSpPr/>
              <p:nvPr/>
            </p:nvSpPr>
            <p:spPr>
              <a:xfrm>
                <a:off x="8276721" y="4468842"/>
                <a:ext cx="167141" cy="9874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213" h="717">
                    <a:moveTo>
                      <a:pt x="1213" y="0"/>
                    </a:moveTo>
                    <a:cubicBezTo>
                      <a:pt x="883" y="310"/>
                      <a:pt x="468" y="559"/>
                      <a:pt x="0" y="717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6" name="Straight Connector 195"/>
              <p:cNvSpPr/>
              <p:nvPr/>
            </p:nvSpPr>
            <p:spPr>
              <a:xfrm>
                <a:off x="8388424" y="4512834"/>
                <a:ext cx="0" cy="119012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7" name="Straight Connector 196"/>
              <p:cNvSpPr/>
              <p:nvPr/>
            </p:nvSpPr>
            <p:spPr>
              <a:xfrm>
                <a:off x="8349397" y="4536140"/>
                <a:ext cx="0" cy="97775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8" name="Straight Connector 197"/>
              <p:cNvSpPr/>
              <p:nvPr/>
            </p:nvSpPr>
            <p:spPr>
              <a:xfrm>
                <a:off x="8308991" y="4556826"/>
                <a:ext cx="0" cy="7708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grpSp>
          <p:nvGrpSpPr>
            <p:cNvPr id="169" name="Group 168"/>
            <p:cNvGrpSpPr/>
            <p:nvPr/>
          </p:nvGrpSpPr>
          <p:grpSpPr>
            <a:xfrm flipH="1">
              <a:off x="8644508" y="4448156"/>
              <a:ext cx="499492" cy="255400"/>
              <a:chOff x="8276721" y="4448156"/>
              <a:chExt cx="499492" cy="255400"/>
            </a:xfrm>
          </p:grpSpPr>
          <p:sp>
            <p:nvSpPr>
              <p:cNvPr id="171" name="Freeform: Shape 164"/>
              <p:cNvSpPr/>
              <p:nvPr/>
            </p:nvSpPr>
            <p:spPr>
              <a:xfrm>
                <a:off x="8279066" y="4633914"/>
                <a:ext cx="497147" cy="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3606">
                    <a:moveTo>
                      <a:pt x="0" y="0"/>
                    </a:moveTo>
                    <a:cubicBezTo>
                      <a:pt x="1199" y="0"/>
                      <a:pt x="2407" y="0"/>
                      <a:pt x="3606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2" name="Straight Connector 171"/>
              <p:cNvSpPr/>
              <p:nvPr/>
            </p:nvSpPr>
            <p:spPr>
              <a:xfrm>
                <a:off x="8444000" y="4448156"/>
                <a:ext cx="0" cy="25540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3" name="Freeform: Shape 166"/>
              <p:cNvSpPr/>
              <p:nvPr/>
            </p:nvSpPr>
            <p:spPr>
              <a:xfrm>
                <a:off x="8444000" y="4469256"/>
                <a:ext cx="332213" cy="124804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410" h="906">
                    <a:moveTo>
                      <a:pt x="2410" y="906"/>
                    </a:moveTo>
                    <a:cubicBezTo>
                      <a:pt x="1583" y="900"/>
                      <a:pt x="748" y="663"/>
                      <a:pt x="110" y="99"/>
                    </a:cubicBezTo>
                    <a:cubicBezTo>
                      <a:pt x="82" y="70"/>
                      <a:pt x="20" y="22"/>
                      <a:pt x="0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4" name="Straight Connector 173"/>
              <p:cNvSpPr/>
              <p:nvPr/>
            </p:nvSpPr>
            <p:spPr>
              <a:xfrm>
                <a:off x="8497369" y="4512834"/>
                <a:ext cx="0" cy="119012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5" name="Straight Connector 174"/>
              <p:cNvSpPr/>
              <p:nvPr/>
            </p:nvSpPr>
            <p:spPr>
              <a:xfrm>
                <a:off x="8536672" y="4536140"/>
                <a:ext cx="0" cy="97775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6" name="Straight Connector 175"/>
              <p:cNvSpPr/>
              <p:nvPr/>
            </p:nvSpPr>
            <p:spPr>
              <a:xfrm>
                <a:off x="8576665" y="4556826"/>
                <a:ext cx="0" cy="7708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7" name="Straight Connector 176"/>
              <p:cNvSpPr/>
              <p:nvPr/>
            </p:nvSpPr>
            <p:spPr>
              <a:xfrm>
                <a:off x="8616381" y="4571168"/>
                <a:ext cx="0" cy="62747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8" name="Straight Connector 177"/>
              <p:cNvSpPr/>
              <p:nvPr/>
            </p:nvSpPr>
            <p:spPr>
              <a:xfrm>
                <a:off x="8655684" y="4580545"/>
                <a:ext cx="0" cy="5336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9" name="Straight Connector 178"/>
              <p:cNvSpPr/>
              <p:nvPr/>
            </p:nvSpPr>
            <p:spPr>
              <a:xfrm>
                <a:off x="8694987" y="4589095"/>
                <a:ext cx="0" cy="4481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0" name="Straight Connector 179"/>
              <p:cNvSpPr/>
              <p:nvPr/>
            </p:nvSpPr>
            <p:spPr>
              <a:xfrm>
                <a:off x="8734290" y="4592543"/>
                <a:ext cx="0" cy="41372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1" name="Freeform: Shape 174"/>
              <p:cNvSpPr/>
              <p:nvPr/>
            </p:nvSpPr>
            <p:spPr>
              <a:xfrm>
                <a:off x="8276721" y="4468842"/>
                <a:ext cx="167141" cy="9874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213" h="717">
                    <a:moveTo>
                      <a:pt x="1213" y="0"/>
                    </a:moveTo>
                    <a:cubicBezTo>
                      <a:pt x="883" y="310"/>
                      <a:pt x="468" y="559"/>
                      <a:pt x="0" y="717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2" name="Straight Connector 181"/>
              <p:cNvSpPr/>
              <p:nvPr/>
            </p:nvSpPr>
            <p:spPr>
              <a:xfrm>
                <a:off x="8388424" y="4512834"/>
                <a:ext cx="0" cy="119012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3" name="Straight Connector 182"/>
              <p:cNvSpPr/>
              <p:nvPr/>
            </p:nvSpPr>
            <p:spPr>
              <a:xfrm>
                <a:off x="8349397" y="4536140"/>
                <a:ext cx="0" cy="97775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4" name="Straight Connector 183"/>
              <p:cNvSpPr/>
              <p:nvPr/>
            </p:nvSpPr>
            <p:spPr>
              <a:xfrm>
                <a:off x="8308991" y="4556826"/>
                <a:ext cx="0" cy="7708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sp>
          <p:nvSpPr>
            <p:cNvPr id="170" name="Straight Connector 169"/>
            <p:cNvSpPr/>
            <p:nvPr/>
          </p:nvSpPr>
          <p:spPr>
            <a:xfrm flipH="1">
              <a:off x="9105838" y="4788777"/>
              <a:ext cx="381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32478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B1D10-DE9F-3A49-9C86-5B82BCC64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0A666A-4E32-0D4E-8EFD-4FC671CA88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D8110-A292-5241-B630-D6774E40F8D8}" type="datetimeFigureOut">
              <a:rPr lang="en-US" smtClean="0"/>
              <a:t>1/16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39B247-33BA-2945-81DD-4101A8115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B75451-B38B-1C4A-9E08-680BCE3D98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55991-60D6-4E43-B72D-641256C7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943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5512486" y="5496845"/>
            <a:ext cx="6231113" cy="1055048"/>
            <a:chOff x="3771899" y="4122634"/>
            <a:chExt cx="4673335" cy="791286"/>
          </a:xfrm>
        </p:grpSpPr>
        <p:grpSp>
          <p:nvGrpSpPr>
            <p:cNvPr id="5" name="Group 4"/>
            <p:cNvGrpSpPr/>
            <p:nvPr/>
          </p:nvGrpSpPr>
          <p:grpSpPr>
            <a:xfrm>
              <a:off x="3771899" y="4190843"/>
              <a:ext cx="3246421" cy="723077"/>
              <a:chOff x="1311103" y="3883820"/>
              <a:chExt cx="3778880" cy="841674"/>
            </a:xfrm>
          </p:grpSpPr>
          <p:sp>
            <p:nvSpPr>
              <p:cNvPr id="103" name="Straight Connector 102"/>
              <p:cNvSpPr/>
              <p:nvPr/>
            </p:nvSpPr>
            <p:spPr>
              <a:xfrm flipH="1">
                <a:off x="1311103" y="4646810"/>
                <a:ext cx="2994216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04" name="Freeform: Shape 625"/>
              <p:cNvSpPr/>
              <p:nvPr/>
            </p:nvSpPr>
            <p:spPr>
              <a:xfrm>
                <a:off x="4144384" y="4337102"/>
                <a:ext cx="35134" cy="66254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6" h="102">
                    <a:moveTo>
                      <a:pt x="28" y="102"/>
                    </a:moveTo>
                    <a:lnTo>
                      <a:pt x="0" y="102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102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05" name="Freeform: Shape 626"/>
              <p:cNvSpPr/>
              <p:nvPr/>
            </p:nvSpPr>
            <p:spPr>
              <a:xfrm>
                <a:off x="4198044" y="4451245"/>
                <a:ext cx="61325" cy="23615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97" h="37">
                    <a:moveTo>
                      <a:pt x="48" y="37"/>
                    </a:moveTo>
                    <a:lnTo>
                      <a:pt x="0" y="37"/>
                    </a:lnTo>
                    <a:lnTo>
                      <a:pt x="0" y="0"/>
                    </a:lnTo>
                    <a:lnTo>
                      <a:pt x="97" y="0"/>
                    </a:lnTo>
                    <a:lnTo>
                      <a:pt x="97" y="37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06" name="Freeform: Shape 629"/>
              <p:cNvSpPr/>
              <p:nvPr/>
            </p:nvSpPr>
            <p:spPr>
              <a:xfrm>
                <a:off x="4313029" y="4377774"/>
                <a:ext cx="166089" cy="53135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61" h="82">
                    <a:moveTo>
                      <a:pt x="131" y="82"/>
                    </a:moveTo>
                    <a:lnTo>
                      <a:pt x="0" y="82"/>
                    </a:lnTo>
                    <a:lnTo>
                      <a:pt x="0" y="0"/>
                    </a:lnTo>
                    <a:lnTo>
                      <a:pt x="261" y="0"/>
                    </a:lnTo>
                    <a:lnTo>
                      <a:pt x="261" y="82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07" name="Straight Connector 106"/>
              <p:cNvSpPr/>
              <p:nvPr/>
            </p:nvSpPr>
            <p:spPr>
              <a:xfrm>
                <a:off x="3934857" y="3986809"/>
                <a:ext cx="0" cy="51822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08" name="Straight Connector 107"/>
              <p:cNvSpPr/>
              <p:nvPr/>
            </p:nvSpPr>
            <p:spPr>
              <a:xfrm>
                <a:off x="4106057" y="3986809"/>
                <a:ext cx="0" cy="51822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09" name="Straight Connector 108"/>
              <p:cNvSpPr/>
              <p:nvPr/>
            </p:nvSpPr>
            <p:spPr>
              <a:xfrm>
                <a:off x="3801986" y="4320705"/>
                <a:ext cx="120093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0" name="Straight Connector 109"/>
              <p:cNvSpPr/>
              <p:nvPr/>
            </p:nvSpPr>
            <p:spPr>
              <a:xfrm>
                <a:off x="3848619" y="4516187"/>
                <a:ext cx="0" cy="9052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1" name="Straight Connector 110"/>
              <p:cNvSpPr/>
              <p:nvPr/>
            </p:nvSpPr>
            <p:spPr>
              <a:xfrm>
                <a:off x="3961048" y="4573913"/>
                <a:ext cx="192280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2" name="Straight Connector 111"/>
              <p:cNvSpPr/>
              <p:nvPr/>
            </p:nvSpPr>
            <p:spPr>
              <a:xfrm>
                <a:off x="3952744" y="4475516"/>
                <a:ext cx="136065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3" name="Straight Connector 112"/>
              <p:cNvSpPr/>
              <p:nvPr/>
            </p:nvSpPr>
            <p:spPr>
              <a:xfrm>
                <a:off x="3952744" y="4306272"/>
                <a:ext cx="136065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4" name="Straight Connector 113"/>
              <p:cNvSpPr/>
              <p:nvPr/>
            </p:nvSpPr>
            <p:spPr>
              <a:xfrm>
                <a:off x="3952744" y="4140965"/>
                <a:ext cx="136065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5" name="Straight Connector 114"/>
              <p:cNvSpPr/>
              <p:nvPr/>
            </p:nvSpPr>
            <p:spPr>
              <a:xfrm>
                <a:off x="3973824" y="4329232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6" name="Straight Connector 115"/>
              <p:cNvSpPr/>
              <p:nvPr/>
            </p:nvSpPr>
            <p:spPr>
              <a:xfrm>
                <a:off x="4004487" y="4329232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7" name="Straight Connector 116"/>
              <p:cNvSpPr/>
              <p:nvPr/>
            </p:nvSpPr>
            <p:spPr>
              <a:xfrm>
                <a:off x="4036426" y="4329232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8" name="Straight Connector 117"/>
              <p:cNvSpPr/>
              <p:nvPr/>
            </p:nvSpPr>
            <p:spPr>
              <a:xfrm>
                <a:off x="4067728" y="4329232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9" name="Straight Connector 118"/>
              <p:cNvSpPr/>
              <p:nvPr/>
            </p:nvSpPr>
            <p:spPr>
              <a:xfrm>
                <a:off x="3973824" y="4161301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0" name="Straight Connector 119"/>
              <p:cNvSpPr/>
              <p:nvPr/>
            </p:nvSpPr>
            <p:spPr>
              <a:xfrm>
                <a:off x="4004487" y="4161301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1" name="Straight Connector 120"/>
              <p:cNvSpPr/>
              <p:nvPr/>
            </p:nvSpPr>
            <p:spPr>
              <a:xfrm>
                <a:off x="4036426" y="4161301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2" name="Straight Connector 121"/>
              <p:cNvSpPr/>
              <p:nvPr/>
            </p:nvSpPr>
            <p:spPr>
              <a:xfrm>
                <a:off x="4067728" y="4161301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3" name="Straight Connector 122"/>
              <p:cNvSpPr/>
              <p:nvPr/>
            </p:nvSpPr>
            <p:spPr>
              <a:xfrm>
                <a:off x="3973824" y="3998617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4" name="Straight Connector 123"/>
              <p:cNvSpPr/>
              <p:nvPr/>
            </p:nvSpPr>
            <p:spPr>
              <a:xfrm>
                <a:off x="4004487" y="3998617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5" name="Straight Connector 124"/>
              <p:cNvSpPr/>
              <p:nvPr/>
            </p:nvSpPr>
            <p:spPr>
              <a:xfrm>
                <a:off x="4036426" y="3998617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6" name="Straight Connector 125"/>
              <p:cNvSpPr/>
              <p:nvPr/>
            </p:nvSpPr>
            <p:spPr>
              <a:xfrm>
                <a:off x="4067728" y="3998617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7" name="Freeform: Shape 650"/>
              <p:cNvSpPr/>
              <p:nvPr/>
            </p:nvSpPr>
            <p:spPr>
              <a:xfrm>
                <a:off x="3945716" y="3883820"/>
                <a:ext cx="148841" cy="87902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34" h="135">
                    <a:moveTo>
                      <a:pt x="0" y="135"/>
                    </a:moveTo>
                    <a:lnTo>
                      <a:pt x="35" y="0"/>
                    </a:lnTo>
                    <a:lnTo>
                      <a:pt x="191" y="0"/>
                    </a:lnTo>
                    <a:lnTo>
                      <a:pt x="234" y="135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8" name="Freeform: Shape 653"/>
              <p:cNvSpPr/>
              <p:nvPr/>
            </p:nvSpPr>
            <p:spPr>
              <a:xfrm>
                <a:off x="3791124" y="4417133"/>
                <a:ext cx="105402" cy="43951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66" h="68" fill="none">
                    <a:moveTo>
                      <a:pt x="166" y="0"/>
                    </a:moveTo>
                    <a:lnTo>
                      <a:pt x="0" y="0"/>
                    </a:lnTo>
                    <a:lnTo>
                      <a:pt x="0" y="68"/>
                    </a:lnTo>
                    <a:lnTo>
                      <a:pt x="166" y="68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9" name="Freeform: Shape 654"/>
              <p:cNvSpPr/>
              <p:nvPr/>
            </p:nvSpPr>
            <p:spPr>
              <a:xfrm>
                <a:off x="4218486" y="3967785"/>
                <a:ext cx="275963" cy="414581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433" h="633">
                    <a:moveTo>
                      <a:pt x="0" y="633"/>
                    </a:moveTo>
                    <a:lnTo>
                      <a:pt x="0" y="57"/>
                    </a:lnTo>
                    <a:cubicBezTo>
                      <a:pt x="0" y="57"/>
                      <a:pt x="-8" y="0"/>
                      <a:pt x="210" y="0"/>
                    </a:cubicBezTo>
                    <a:cubicBezTo>
                      <a:pt x="443" y="0"/>
                      <a:pt x="433" y="60"/>
                      <a:pt x="433" y="60"/>
                    </a:cubicBezTo>
                    <a:lnTo>
                      <a:pt x="433" y="619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0" name="Freeform: Shape 658"/>
              <p:cNvSpPr/>
              <p:nvPr/>
            </p:nvSpPr>
            <p:spPr>
              <a:xfrm>
                <a:off x="4585797" y="4182539"/>
                <a:ext cx="456744" cy="192203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716" h="294" fill="none">
                    <a:moveTo>
                      <a:pt x="519" y="174"/>
                    </a:moveTo>
                    <a:lnTo>
                      <a:pt x="519" y="294"/>
                    </a:lnTo>
                    <a:lnTo>
                      <a:pt x="716" y="294"/>
                    </a:lnTo>
                    <a:lnTo>
                      <a:pt x="716" y="192"/>
                    </a:lnTo>
                    <a:lnTo>
                      <a:pt x="630" y="192"/>
                    </a:lnTo>
                    <a:lnTo>
                      <a:pt x="630" y="108"/>
                    </a:lnTo>
                    <a:lnTo>
                      <a:pt x="178" y="108"/>
                    </a:lnTo>
                    <a:lnTo>
                      <a:pt x="178" y="0"/>
                    </a:lnTo>
                    <a:lnTo>
                      <a:pt x="0" y="0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1" name="Straight Connector 130"/>
              <p:cNvSpPr/>
              <p:nvPr/>
            </p:nvSpPr>
            <p:spPr>
              <a:xfrm>
                <a:off x="4138635" y="4268226"/>
                <a:ext cx="0" cy="2952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2" name="Freeform: Shape 665"/>
              <p:cNvSpPr/>
              <p:nvPr/>
            </p:nvSpPr>
            <p:spPr>
              <a:xfrm>
                <a:off x="4523195" y="4025512"/>
                <a:ext cx="35773" cy="379158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7" h="579">
                    <a:moveTo>
                      <a:pt x="28" y="579"/>
                    </a:moveTo>
                    <a:lnTo>
                      <a:pt x="0" y="579"/>
                    </a:lnTo>
                    <a:lnTo>
                      <a:pt x="0" y="0"/>
                    </a:lnTo>
                    <a:lnTo>
                      <a:pt x="57" y="0"/>
                    </a:lnTo>
                    <a:lnTo>
                      <a:pt x="57" y="579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3" name="Straight Connector 132"/>
              <p:cNvSpPr/>
              <p:nvPr/>
            </p:nvSpPr>
            <p:spPr>
              <a:xfrm>
                <a:off x="3479388" y="4677606"/>
                <a:ext cx="0" cy="47888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4" name="Straight Connector 133"/>
              <p:cNvSpPr/>
              <p:nvPr/>
            </p:nvSpPr>
            <p:spPr>
              <a:xfrm>
                <a:off x="1347461" y="4695926"/>
                <a:ext cx="3543579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5" name="Freeform: Shape 628"/>
              <p:cNvSpPr/>
              <p:nvPr/>
            </p:nvSpPr>
            <p:spPr>
              <a:xfrm>
                <a:off x="4420786" y="4265857"/>
                <a:ext cx="31302" cy="74782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0" h="115">
                    <a:moveTo>
                      <a:pt x="25" y="115"/>
                    </a:moveTo>
                    <a:lnTo>
                      <a:pt x="0" y="115"/>
                    </a:lnTo>
                    <a:lnTo>
                      <a:pt x="0" y="0"/>
                    </a:lnTo>
                    <a:lnTo>
                      <a:pt x="50" y="0"/>
                    </a:lnTo>
                    <a:lnTo>
                      <a:pt x="50" y="115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6" name="Freeform: Shape 626"/>
              <p:cNvSpPr/>
              <p:nvPr/>
            </p:nvSpPr>
            <p:spPr>
              <a:xfrm>
                <a:off x="4814718" y="4301560"/>
                <a:ext cx="61325" cy="23616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97" h="37">
                    <a:moveTo>
                      <a:pt x="48" y="37"/>
                    </a:moveTo>
                    <a:lnTo>
                      <a:pt x="0" y="37"/>
                    </a:lnTo>
                    <a:lnTo>
                      <a:pt x="0" y="0"/>
                    </a:lnTo>
                    <a:lnTo>
                      <a:pt x="97" y="0"/>
                    </a:lnTo>
                    <a:lnTo>
                      <a:pt x="97" y="37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7" name="Straight Connector 136"/>
              <p:cNvSpPr/>
              <p:nvPr/>
            </p:nvSpPr>
            <p:spPr>
              <a:xfrm>
                <a:off x="5089983" y="4339921"/>
                <a:ext cx="0" cy="29521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8" name="Freeform: Shape 627"/>
              <p:cNvSpPr/>
              <p:nvPr/>
            </p:nvSpPr>
            <p:spPr>
              <a:xfrm>
                <a:off x="4270870" y="4023784"/>
                <a:ext cx="31352" cy="31352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3" h="53">
                    <a:moveTo>
                      <a:pt x="27" y="53"/>
                    </a:moveTo>
                    <a:lnTo>
                      <a:pt x="0" y="53"/>
                    </a:lnTo>
                    <a:lnTo>
                      <a:pt x="0" y="0"/>
                    </a:lnTo>
                    <a:lnTo>
                      <a:pt x="53" y="0"/>
                    </a:lnTo>
                    <a:lnTo>
                      <a:pt x="53" y="53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9" name="Straight Connector 138"/>
              <p:cNvSpPr/>
              <p:nvPr/>
            </p:nvSpPr>
            <p:spPr>
              <a:xfrm>
                <a:off x="4332848" y="4022843"/>
                <a:ext cx="0" cy="3677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6320110" y="4645833"/>
              <a:ext cx="2125124" cy="219149"/>
              <a:chOff x="6320110" y="4645833"/>
              <a:chExt cx="2125124" cy="219149"/>
            </a:xfrm>
          </p:grpSpPr>
          <p:sp>
            <p:nvSpPr>
              <p:cNvPr id="69" name="Freeform 14"/>
              <p:cNvSpPr>
                <a:spLocks noChangeArrowheads="1"/>
              </p:cNvSpPr>
              <p:nvPr/>
            </p:nvSpPr>
            <p:spPr bwMode="auto">
              <a:xfrm>
                <a:off x="7802055" y="4645833"/>
                <a:ext cx="615740" cy="174880"/>
              </a:xfrm>
              <a:custGeom>
                <a:avLst/>
                <a:gdLst>
                  <a:gd name="T0" fmla="*/ 0 w 7420"/>
                  <a:gd name="T1" fmla="*/ 1393 h 2108"/>
                  <a:gd name="T2" fmla="*/ 841 w 7420"/>
                  <a:gd name="T3" fmla="*/ 110 h 2108"/>
                  <a:gd name="T4" fmla="*/ 3717 w 7420"/>
                  <a:gd name="T5" fmla="*/ 110 h 2108"/>
                  <a:gd name="T6" fmla="*/ 7047 w 7420"/>
                  <a:gd name="T7" fmla="*/ 1429 h 2108"/>
                  <a:gd name="T8" fmla="*/ 6883 w 7420"/>
                  <a:gd name="T9" fmla="*/ 2107 h 2108"/>
                  <a:gd name="T10" fmla="*/ 4792 w 7420"/>
                  <a:gd name="T11" fmla="*/ 2107 h 2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420" h="2108">
                    <a:moveTo>
                      <a:pt x="0" y="1393"/>
                    </a:moveTo>
                    <a:cubicBezTo>
                      <a:pt x="0" y="1393"/>
                      <a:pt x="384" y="287"/>
                      <a:pt x="841" y="110"/>
                    </a:cubicBezTo>
                    <a:cubicBezTo>
                      <a:pt x="841" y="110"/>
                      <a:pt x="3248" y="110"/>
                      <a:pt x="3717" y="110"/>
                    </a:cubicBezTo>
                    <a:cubicBezTo>
                      <a:pt x="4070" y="110"/>
                      <a:pt x="5619" y="0"/>
                      <a:pt x="7047" y="1429"/>
                    </a:cubicBezTo>
                    <a:cubicBezTo>
                      <a:pt x="7419" y="1802"/>
                      <a:pt x="7064" y="2107"/>
                      <a:pt x="6883" y="2107"/>
                    </a:cubicBezTo>
                    <a:cubicBezTo>
                      <a:pt x="6703" y="2107"/>
                      <a:pt x="4792" y="2107"/>
                      <a:pt x="4792" y="2107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70" name="Freeform 15"/>
              <p:cNvSpPr>
                <a:spLocks noChangeArrowheads="1"/>
              </p:cNvSpPr>
              <p:nvPr/>
            </p:nvSpPr>
            <p:spPr bwMode="auto">
              <a:xfrm>
                <a:off x="7963399" y="4780103"/>
                <a:ext cx="313541" cy="38415"/>
              </a:xfrm>
              <a:custGeom>
                <a:avLst/>
                <a:gdLst>
                  <a:gd name="T0" fmla="*/ 0 w 3779"/>
                  <a:gd name="T1" fmla="*/ 455 h 464"/>
                  <a:gd name="T2" fmla="*/ 1349 w 3779"/>
                  <a:gd name="T3" fmla="*/ 455 h 464"/>
                  <a:gd name="T4" fmla="*/ 1981 w 3779"/>
                  <a:gd name="T5" fmla="*/ 223 h 464"/>
                  <a:gd name="T6" fmla="*/ 3316 w 3779"/>
                  <a:gd name="T7" fmla="*/ 54 h 464"/>
                  <a:gd name="T8" fmla="*/ 3550 w 3779"/>
                  <a:gd name="T9" fmla="*/ 463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9" h="464">
                    <a:moveTo>
                      <a:pt x="0" y="455"/>
                    </a:moveTo>
                    <a:cubicBezTo>
                      <a:pt x="0" y="455"/>
                      <a:pt x="1138" y="455"/>
                      <a:pt x="1349" y="455"/>
                    </a:cubicBezTo>
                    <a:cubicBezTo>
                      <a:pt x="1561" y="455"/>
                      <a:pt x="1755" y="452"/>
                      <a:pt x="1981" y="223"/>
                    </a:cubicBezTo>
                    <a:cubicBezTo>
                      <a:pt x="2204" y="0"/>
                      <a:pt x="2429" y="54"/>
                      <a:pt x="3316" y="54"/>
                    </a:cubicBezTo>
                    <a:cubicBezTo>
                      <a:pt x="3778" y="54"/>
                      <a:pt x="3634" y="438"/>
                      <a:pt x="3550" y="463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71" name="Line 16"/>
              <p:cNvSpPr>
                <a:spLocks noChangeShapeType="1"/>
              </p:cNvSpPr>
              <p:nvPr/>
            </p:nvSpPr>
            <p:spPr bwMode="auto">
              <a:xfrm>
                <a:off x="7893154" y="4739127"/>
                <a:ext cx="223539" cy="36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72" name="Freeform 17"/>
              <p:cNvSpPr>
                <a:spLocks noChangeArrowheads="1"/>
              </p:cNvSpPr>
              <p:nvPr/>
            </p:nvSpPr>
            <p:spPr bwMode="auto">
              <a:xfrm>
                <a:off x="7410221" y="4654980"/>
                <a:ext cx="406469" cy="106465"/>
              </a:xfrm>
              <a:custGeom>
                <a:avLst/>
                <a:gdLst>
                  <a:gd name="T0" fmla="*/ 0 w 4899"/>
                  <a:gd name="T1" fmla="*/ 1283 h 1284"/>
                  <a:gd name="T2" fmla="*/ 841 w 4899"/>
                  <a:gd name="T3" fmla="*/ 0 h 1284"/>
                  <a:gd name="T4" fmla="*/ 4898 w 4899"/>
                  <a:gd name="T5" fmla="*/ 0 h 1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99" h="1284">
                    <a:moveTo>
                      <a:pt x="0" y="1283"/>
                    </a:moveTo>
                    <a:cubicBezTo>
                      <a:pt x="0" y="1283"/>
                      <a:pt x="384" y="177"/>
                      <a:pt x="841" y="0"/>
                    </a:cubicBezTo>
                    <a:cubicBezTo>
                      <a:pt x="841" y="0"/>
                      <a:pt x="4430" y="0"/>
                      <a:pt x="4898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7473514" y="4739127"/>
                <a:ext cx="282809" cy="36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74" name="Freeform 19"/>
              <p:cNvSpPr>
                <a:spLocks noChangeArrowheads="1"/>
              </p:cNvSpPr>
              <p:nvPr/>
            </p:nvSpPr>
            <p:spPr bwMode="auto">
              <a:xfrm>
                <a:off x="6614500" y="4654980"/>
                <a:ext cx="406469" cy="106465"/>
              </a:xfrm>
              <a:custGeom>
                <a:avLst/>
                <a:gdLst>
                  <a:gd name="T0" fmla="*/ 0 w 4900"/>
                  <a:gd name="T1" fmla="*/ 1283 h 1284"/>
                  <a:gd name="T2" fmla="*/ 841 w 4900"/>
                  <a:gd name="T3" fmla="*/ 0 h 1284"/>
                  <a:gd name="T4" fmla="*/ 4899 w 4900"/>
                  <a:gd name="T5" fmla="*/ 0 h 1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00" h="1284">
                    <a:moveTo>
                      <a:pt x="0" y="1283"/>
                    </a:moveTo>
                    <a:cubicBezTo>
                      <a:pt x="0" y="1283"/>
                      <a:pt x="384" y="177"/>
                      <a:pt x="841" y="0"/>
                    </a:cubicBezTo>
                    <a:cubicBezTo>
                      <a:pt x="841" y="0"/>
                      <a:pt x="4431" y="0"/>
                      <a:pt x="4899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75" name="Line 20"/>
              <p:cNvSpPr>
                <a:spLocks noChangeShapeType="1"/>
              </p:cNvSpPr>
              <p:nvPr/>
            </p:nvSpPr>
            <p:spPr bwMode="auto">
              <a:xfrm>
                <a:off x="6723526" y="4739127"/>
                <a:ext cx="127319" cy="36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76" name="Line 21"/>
              <p:cNvSpPr>
                <a:spLocks noChangeShapeType="1"/>
              </p:cNvSpPr>
              <p:nvPr/>
            </p:nvSpPr>
            <p:spPr bwMode="auto">
              <a:xfrm>
                <a:off x="6585175" y="4654980"/>
                <a:ext cx="34445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77" name="Line 22"/>
              <p:cNvSpPr>
                <a:spLocks noChangeShapeType="1"/>
              </p:cNvSpPr>
              <p:nvPr/>
            </p:nvSpPr>
            <p:spPr bwMode="auto">
              <a:xfrm>
                <a:off x="6457360" y="4690468"/>
                <a:ext cx="108481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78" name="Freeform 23"/>
              <p:cNvSpPr>
                <a:spLocks noChangeArrowheads="1"/>
              </p:cNvSpPr>
              <p:nvPr/>
            </p:nvSpPr>
            <p:spPr bwMode="auto">
              <a:xfrm>
                <a:off x="7526564" y="4679126"/>
                <a:ext cx="238905" cy="40976"/>
              </a:xfrm>
              <a:custGeom>
                <a:avLst/>
                <a:gdLst>
                  <a:gd name="T0" fmla="*/ 0 w 2878"/>
                  <a:gd name="T1" fmla="*/ 480 h 494"/>
                  <a:gd name="T2" fmla="*/ 440 w 2878"/>
                  <a:gd name="T3" fmla="*/ 0 h 494"/>
                  <a:gd name="T4" fmla="*/ 2877 w 2878"/>
                  <a:gd name="T5" fmla="*/ 0 h 494"/>
                  <a:gd name="T6" fmla="*/ 2589 w 2878"/>
                  <a:gd name="T7" fmla="*/ 493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78" h="494">
                    <a:moveTo>
                      <a:pt x="0" y="480"/>
                    </a:moveTo>
                    <a:cubicBezTo>
                      <a:pt x="0" y="480"/>
                      <a:pt x="240" y="99"/>
                      <a:pt x="440" y="0"/>
                    </a:cubicBezTo>
                    <a:lnTo>
                      <a:pt x="2877" y="0"/>
                    </a:lnTo>
                    <a:cubicBezTo>
                      <a:pt x="2877" y="0"/>
                      <a:pt x="2705" y="274"/>
                      <a:pt x="2589" y="493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79" name="Freeform 24"/>
              <p:cNvSpPr>
                <a:spLocks noChangeArrowheads="1"/>
              </p:cNvSpPr>
              <p:nvPr/>
            </p:nvSpPr>
            <p:spPr bwMode="auto">
              <a:xfrm>
                <a:off x="7912910" y="4757054"/>
                <a:ext cx="177441" cy="23049"/>
              </a:xfrm>
              <a:custGeom>
                <a:avLst/>
                <a:gdLst>
                  <a:gd name="T0" fmla="*/ 2139 w 2140"/>
                  <a:gd name="T1" fmla="*/ 0 h 278"/>
                  <a:gd name="T2" fmla="*/ 2040 w 2140"/>
                  <a:gd name="T3" fmla="*/ 277 h 278"/>
                  <a:gd name="T4" fmla="*/ 0 w 2140"/>
                  <a:gd name="T5" fmla="*/ 277 h 278"/>
                  <a:gd name="T6" fmla="*/ 88 w 2140"/>
                  <a:gd name="T7" fmla="*/ 17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40" h="278">
                    <a:moveTo>
                      <a:pt x="2139" y="0"/>
                    </a:moveTo>
                    <a:cubicBezTo>
                      <a:pt x="2074" y="169"/>
                      <a:pt x="2040" y="277"/>
                      <a:pt x="2040" y="277"/>
                    </a:cubicBezTo>
                    <a:lnTo>
                      <a:pt x="0" y="277"/>
                    </a:lnTo>
                    <a:cubicBezTo>
                      <a:pt x="0" y="277"/>
                      <a:pt x="34" y="158"/>
                      <a:pt x="88" y="17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80" name="Freeform 25"/>
              <p:cNvSpPr>
                <a:spLocks noChangeArrowheads="1"/>
              </p:cNvSpPr>
              <p:nvPr/>
            </p:nvSpPr>
            <p:spPr bwMode="auto">
              <a:xfrm>
                <a:off x="7935227" y="4679126"/>
                <a:ext cx="185124" cy="42805"/>
              </a:xfrm>
              <a:custGeom>
                <a:avLst/>
                <a:gdLst>
                  <a:gd name="T0" fmla="*/ 0 w 2233"/>
                  <a:gd name="T1" fmla="*/ 480 h 517"/>
                  <a:gd name="T2" fmla="*/ 421 w 2233"/>
                  <a:gd name="T3" fmla="*/ 0 h 517"/>
                  <a:gd name="T4" fmla="*/ 2015 w 2233"/>
                  <a:gd name="T5" fmla="*/ 0 h 517"/>
                  <a:gd name="T6" fmla="*/ 2207 w 2233"/>
                  <a:gd name="T7" fmla="*/ 167 h 517"/>
                  <a:gd name="T8" fmla="*/ 2043 w 2233"/>
                  <a:gd name="T9" fmla="*/ 516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33" h="517">
                    <a:moveTo>
                      <a:pt x="0" y="480"/>
                    </a:moveTo>
                    <a:cubicBezTo>
                      <a:pt x="0" y="480"/>
                      <a:pt x="220" y="99"/>
                      <a:pt x="421" y="0"/>
                    </a:cubicBezTo>
                    <a:lnTo>
                      <a:pt x="2015" y="0"/>
                    </a:lnTo>
                    <a:cubicBezTo>
                      <a:pt x="2230" y="0"/>
                      <a:pt x="2232" y="116"/>
                      <a:pt x="2207" y="167"/>
                    </a:cubicBezTo>
                    <a:cubicBezTo>
                      <a:pt x="2145" y="288"/>
                      <a:pt x="2091" y="404"/>
                      <a:pt x="2043" y="516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81" name="Freeform 26"/>
              <p:cNvSpPr>
                <a:spLocks noChangeArrowheads="1"/>
              </p:cNvSpPr>
              <p:nvPr/>
            </p:nvSpPr>
            <p:spPr bwMode="auto">
              <a:xfrm>
                <a:off x="7504612" y="4755956"/>
                <a:ext cx="223174" cy="18293"/>
              </a:xfrm>
              <a:custGeom>
                <a:avLst/>
                <a:gdLst>
                  <a:gd name="T0" fmla="*/ 59 w 2692"/>
                  <a:gd name="T1" fmla="*/ 20 h 221"/>
                  <a:gd name="T2" fmla="*/ 0 w 2692"/>
                  <a:gd name="T3" fmla="*/ 220 h 221"/>
                  <a:gd name="T4" fmla="*/ 2606 w 2692"/>
                  <a:gd name="T5" fmla="*/ 220 h 221"/>
                  <a:gd name="T6" fmla="*/ 2691 w 2692"/>
                  <a:gd name="T7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92" h="221">
                    <a:moveTo>
                      <a:pt x="59" y="20"/>
                    </a:moveTo>
                    <a:cubicBezTo>
                      <a:pt x="59" y="20"/>
                      <a:pt x="8" y="178"/>
                      <a:pt x="0" y="220"/>
                    </a:cubicBezTo>
                    <a:lnTo>
                      <a:pt x="2606" y="220"/>
                    </a:lnTo>
                    <a:cubicBezTo>
                      <a:pt x="2606" y="220"/>
                      <a:pt x="2657" y="76"/>
                      <a:pt x="2691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82" name="Freeform 27"/>
              <p:cNvSpPr>
                <a:spLocks noChangeArrowheads="1"/>
              </p:cNvSpPr>
              <p:nvPr/>
            </p:nvSpPr>
            <p:spPr bwMode="auto">
              <a:xfrm>
                <a:off x="6800356" y="4679492"/>
                <a:ext cx="188051" cy="93294"/>
              </a:xfrm>
              <a:custGeom>
                <a:avLst/>
                <a:gdLst>
                  <a:gd name="T0" fmla="*/ 265 w 2267"/>
                  <a:gd name="T1" fmla="*/ 487 h 1126"/>
                  <a:gd name="T2" fmla="*/ 708 w 2267"/>
                  <a:gd name="T3" fmla="*/ 0 h 1126"/>
                  <a:gd name="T4" fmla="*/ 2266 w 2267"/>
                  <a:gd name="T5" fmla="*/ 0 h 1126"/>
                  <a:gd name="T6" fmla="*/ 1733 w 2267"/>
                  <a:gd name="T7" fmla="*/ 1125 h 1126"/>
                  <a:gd name="T8" fmla="*/ 0 w 2267"/>
                  <a:gd name="T9" fmla="*/ 1125 h 1126"/>
                  <a:gd name="T10" fmla="*/ 68 w 2267"/>
                  <a:gd name="T11" fmla="*/ 902 h 1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67" h="1126">
                    <a:moveTo>
                      <a:pt x="265" y="487"/>
                    </a:moveTo>
                    <a:cubicBezTo>
                      <a:pt x="265" y="487"/>
                      <a:pt x="516" y="93"/>
                      <a:pt x="708" y="0"/>
                    </a:cubicBezTo>
                    <a:lnTo>
                      <a:pt x="2266" y="0"/>
                    </a:lnTo>
                    <a:cubicBezTo>
                      <a:pt x="2266" y="0"/>
                      <a:pt x="1899" y="558"/>
                      <a:pt x="1733" y="1125"/>
                    </a:cubicBezTo>
                    <a:lnTo>
                      <a:pt x="0" y="1125"/>
                    </a:lnTo>
                    <a:cubicBezTo>
                      <a:pt x="0" y="1125"/>
                      <a:pt x="14" y="1009"/>
                      <a:pt x="68" y="902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83" name="Line 28"/>
              <p:cNvSpPr>
                <a:spLocks noChangeShapeType="1"/>
              </p:cNvSpPr>
              <p:nvPr/>
            </p:nvSpPr>
            <p:spPr bwMode="auto">
              <a:xfrm>
                <a:off x="7192169" y="4818884"/>
                <a:ext cx="728424" cy="36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84" name="Line 29"/>
              <p:cNvSpPr>
                <a:spLocks noChangeShapeType="1"/>
              </p:cNvSpPr>
              <p:nvPr/>
            </p:nvSpPr>
            <p:spPr bwMode="auto">
              <a:xfrm>
                <a:off x="6462480" y="4846323"/>
                <a:ext cx="1982754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85" name="Line 30"/>
              <p:cNvSpPr>
                <a:spLocks noChangeShapeType="1"/>
              </p:cNvSpPr>
              <p:nvPr/>
            </p:nvSpPr>
            <p:spPr bwMode="auto">
              <a:xfrm>
                <a:off x="6935337" y="4818884"/>
                <a:ext cx="201222" cy="36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86" name="Line 31"/>
              <p:cNvSpPr>
                <a:spLocks noChangeShapeType="1"/>
              </p:cNvSpPr>
              <p:nvPr/>
            </p:nvSpPr>
            <p:spPr bwMode="auto">
              <a:xfrm>
                <a:off x="6854116" y="4818884"/>
                <a:ext cx="42074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87" name="Freeform 34"/>
              <p:cNvSpPr>
                <a:spLocks noChangeArrowheads="1"/>
              </p:cNvSpPr>
              <p:nvPr/>
            </p:nvSpPr>
            <p:spPr bwMode="auto">
              <a:xfrm>
                <a:off x="6871302" y="4847055"/>
                <a:ext cx="44635" cy="17927"/>
              </a:xfrm>
              <a:custGeom>
                <a:avLst/>
                <a:gdLst>
                  <a:gd name="T0" fmla="*/ 426 w 540"/>
                  <a:gd name="T1" fmla="*/ 217 h 218"/>
                  <a:gd name="T2" fmla="*/ 0 w 540"/>
                  <a:gd name="T3" fmla="*/ 217 h 218"/>
                  <a:gd name="T4" fmla="*/ 113 w 540"/>
                  <a:gd name="T5" fmla="*/ 0 h 218"/>
                  <a:gd name="T6" fmla="*/ 539 w 540"/>
                  <a:gd name="T7" fmla="*/ 0 h 218"/>
                  <a:gd name="T8" fmla="*/ 426 w 540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18">
                    <a:moveTo>
                      <a:pt x="426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39" y="0"/>
                    </a:lnTo>
                    <a:lnTo>
                      <a:pt x="426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/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7237901" y="4847055"/>
                <a:ext cx="578056" cy="17927"/>
                <a:chOff x="7237901" y="4847055"/>
                <a:chExt cx="578056" cy="17927"/>
              </a:xfrm>
            </p:grpSpPr>
            <p:sp>
              <p:nvSpPr>
                <p:cNvPr id="99" name="Freeform 32"/>
                <p:cNvSpPr>
                  <a:spLocks noChangeArrowheads="1"/>
                </p:cNvSpPr>
                <p:nvPr/>
              </p:nvSpPr>
              <p:spPr bwMode="auto">
                <a:xfrm>
                  <a:off x="7237901" y="4847055"/>
                  <a:ext cx="44635" cy="17927"/>
                </a:xfrm>
                <a:custGeom>
                  <a:avLst/>
                  <a:gdLst>
                    <a:gd name="T0" fmla="*/ 426 w 540"/>
                    <a:gd name="T1" fmla="*/ 217 h 218"/>
                    <a:gd name="T2" fmla="*/ 0 w 540"/>
                    <a:gd name="T3" fmla="*/ 217 h 218"/>
                    <a:gd name="T4" fmla="*/ 113 w 540"/>
                    <a:gd name="T5" fmla="*/ 0 h 218"/>
                    <a:gd name="T6" fmla="*/ 539 w 540"/>
                    <a:gd name="T7" fmla="*/ 0 h 218"/>
                    <a:gd name="T8" fmla="*/ 426 w 540"/>
                    <a:gd name="T9" fmla="*/ 217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0" h="218">
                      <a:moveTo>
                        <a:pt x="426" y="217"/>
                      </a:moveTo>
                      <a:lnTo>
                        <a:pt x="0" y="217"/>
                      </a:lnTo>
                      <a:lnTo>
                        <a:pt x="113" y="0"/>
                      </a:lnTo>
                      <a:lnTo>
                        <a:pt x="539" y="0"/>
                      </a:lnTo>
                      <a:lnTo>
                        <a:pt x="426" y="217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2400"/>
                </a:p>
              </p:txBody>
            </p:sp>
            <p:sp>
              <p:nvSpPr>
                <p:cNvPr id="100" name="Freeform 33"/>
                <p:cNvSpPr>
                  <a:spLocks noChangeArrowheads="1"/>
                </p:cNvSpPr>
                <p:nvPr/>
              </p:nvSpPr>
              <p:spPr bwMode="auto">
                <a:xfrm>
                  <a:off x="7490710" y="4847055"/>
                  <a:ext cx="44635" cy="17927"/>
                </a:xfrm>
                <a:custGeom>
                  <a:avLst/>
                  <a:gdLst>
                    <a:gd name="T0" fmla="*/ 426 w 540"/>
                    <a:gd name="T1" fmla="*/ 217 h 218"/>
                    <a:gd name="T2" fmla="*/ 0 w 540"/>
                    <a:gd name="T3" fmla="*/ 217 h 218"/>
                    <a:gd name="T4" fmla="*/ 113 w 540"/>
                    <a:gd name="T5" fmla="*/ 0 h 218"/>
                    <a:gd name="T6" fmla="*/ 539 w 540"/>
                    <a:gd name="T7" fmla="*/ 0 h 218"/>
                    <a:gd name="T8" fmla="*/ 426 w 540"/>
                    <a:gd name="T9" fmla="*/ 217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0" h="218">
                      <a:moveTo>
                        <a:pt x="426" y="217"/>
                      </a:moveTo>
                      <a:lnTo>
                        <a:pt x="0" y="217"/>
                      </a:lnTo>
                      <a:lnTo>
                        <a:pt x="113" y="0"/>
                      </a:lnTo>
                      <a:lnTo>
                        <a:pt x="539" y="0"/>
                      </a:lnTo>
                      <a:lnTo>
                        <a:pt x="426" y="217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2400"/>
                </a:p>
              </p:txBody>
            </p:sp>
            <p:sp>
              <p:nvSpPr>
                <p:cNvPr id="101" name="Freeform 35"/>
                <p:cNvSpPr>
                  <a:spLocks noChangeArrowheads="1"/>
                </p:cNvSpPr>
                <p:nvPr/>
              </p:nvSpPr>
              <p:spPr bwMode="auto">
                <a:xfrm>
                  <a:off x="7630833" y="4847055"/>
                  <a:ext cx="45001" cy="17927"/>
                </a:xfrm>
                <a:custGeom>
                  <a:avLst/>
                  <a:gdLst>
                    <a:gd name="T0" fmla="*/ 429 w 543"/>
                    <a:gd name="T1" fmla="*/ 217 h 218"/>
                    <a:gd name="T2" fmla="*/ 0 w 543"/>
                    <a:gd name="T3" fmla="*/ 217 h 218"/>
                    <a:gd name="T4" fmla="*/ 113 w 543"/>
                    <a:gd name="T5" fmla="*/ 0 h 218"/>
                    <a:gd name="T6" fmla="*/ 542 w 543"/>
                    <a:gd name="T7" fmla="*/ 0 h 218"/>
                    <a:gd name="T8" fmla="*/ 429 w 543"/>
                    <a:gd name="T9" fmla="*/ 217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3" h="218">
                      <a:moveTo>
                        <a:pt x="429" y="217"/>
                      </a:moveTo>
                      <a:lnTo>
                        <a:pt x="0" y="217"/>
                      </a:lnTo>
                      <a:lnTo>
                        <a:pt x="113" y="0"/>
                      </a:lnTo>
                      <a:lnTo>
                        <a:pt x="542" y="0"/>
                      </a:lnTo>
                      <a:lnTo>
                        <a:pt x="429" y="217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2400"/>
                </a:p>
              </p:txBody>
            </p:sp>
            <p:sp>
              <p:nvSpPr>
                <p:cNvPr id="102" name="Freeform 36"/>
                <p:cNvSpPr>
                  <a:spLocks noChangeArrowheads="1"/>
                </p:cNvSpPr>
                <p:nvPr/>
              </p:nvSpPr>
              <p:spPr bwMode="auto">
                <a:xfrm>
                  <a:off x="7770957" y="4847055"/>
                  <a:ext cx="45000" cy="17927"/>
                </a:xfrm>
                <a:custGeom>
                  <a:avLst/>
                  <a:gdLst>
                    <a:gd name="T0" fmla="*/ 429 w 543"/>
                    <a:gd name="T1" fmla="*/ 217 h 218"/>
                    <a:gd name="T2" fmla="*/ 0 w 543"/>
                    <a:gd name="T3" fmla="*/ 217 h 218"/>
                    <a:gd name="T4" fmla="*/ 113 w 543"/>
                    <a:gd name="T5" fmla="*/ 0 h 218"/>
                    <a:gd name="T6" fmla="*/ 542 w 543"/>
                    <a:gd name="T7" fmla="*/ 0 h 218"/>
                    <a:gd name="T8" fmla="*/ 429 w 543"/>
                    <a:gd name="T9" fmla="*/ 217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3" h="218">
                      <a:moveTo>
                        <a:pt x="429" y="217"/>
                      </a:moveTo>
                      <a:lnTo>
                        <a:pt x="0" y="217"/>
                      </a:lnTo>
                      <a:lnTo>
                        <a:pt x="113" y="0"/>
                      </a:lnTo>
                      <a:lnTo>
                        <a:pt x="542" y="0"/>
                      </a:lnTo>
                      <a:lnTo>
                        <a:pt x="429" y="217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2400"/>
                </a:p>
              </p:txBody>
            </p:sp>
          </p:grpSp>
          <p:sp>
            <p:nvSpPr>
              <p:cNvPr id="89" name="Freeform 37"/>
              <p:cNvSpPr>
                <a:spLocks noChangeArrowheads="1"/>
              </p:cNvSpPr>
              <p:nvPr/>
            </p:nvSpPr>
            <p:spPr bwMode="auto">
              <a:xfrm>
                <a:off x="7911447" y="4847055"/>
                <a:ext cx="44635" cy="17927"/>
              </a:xfrm>
              <a:custGeom>
                <a:avLst/>
                <a:gdLst>
                  <a:gd name="T0" fmla="*/ 426 w 540"/>
                  <a:gd name="T1" fmla="*/ 217 h 218"/>
                  <a:gd name="T2" fmla="*/ 0 w 540"/>
                  <a:gd name="T3" fmla="*/ 217 h 218"/>
                  <a:gd name="T4" fmla="*/ 113 w 540"/>
                  <a:gd name="T5" fmla="*/ 0 h 218"/>
                  <a:gd name="T6" fmla="*/ 539 w 540"/>
                  <a:gd name="T7" fmla="*/ 0 h 218"/>
                  <a:gd name="T8" fmla="*/ 426 w 540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18">
                    <a:moveTo>
                      <a:pt x="426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39" y="0"/>
                    </a:lnTo>
                    <a:lnTo>
                      <a:pt x="426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/>
              </a:p>
            </p:txBody>
          </p:sp>
          <p:sp>
            <p:nvSpPr>
              <p:cNvPr id="90" name="Freeform 38"/>
              <p:cNvSpPr>
                <a:spLocks noChangeArrowheads="1"/>
              </p:cNvSpPr>
              <p:nvPr/>
            </p:nvSpPr>
            <p:spPr bwMode="auto">
              <a:xfrm>
                <a:off x="8051936" y="4847055"/>
                <a:ext cx="45000" cy="17927"/>
              </a:xfrm>
              <a:custGeom>
                <a:avLst/>
                <a:gdLst>
                  <a:gd name="T0" fmla="*/ 428 w 542"/>
                  <a:gd name="T1" fmla="*/ 217 h 218"/>
                  <a:gd name="T2" fmla="*/ 0 w 542"/>
                  <a:gd name="T3" fmla="*/ 217 h 218"/>
                  <a:gd name="T4" fmla="*/ 112 w 542"/>
                  <a:gd name="T5" fmla="*/ 0 h 218"/>
                  <a:gd name="T6" fmla="*/ 541 w 542"/>
                  <a:gd name="T7" fmla="*/ 0 h 218"/>
                  <a:gd name="T8" fmla="*/ 428 w 542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2" h="218">
                    <a:moveTo>
                      <a:pt x="428" y="217"/>
                    </a:moveTo>
                    <a:lnTo>
                      <a:pt x="0" y="217"/>
                    </a:lnTo>
                    <a:lnTo>
                      <a:pt x="112" y="0"/>
                    </a:lnTo>
                    <a:lnTo>
                      <a:pt x="541" y="0"/>
                    </a:lnTo>
                    <a:lnTo>
                      <a:pt x="428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/>
              </a:p>
            </p:txBody>
          </p:sp>
          <p:sp>
            <p:nvSpPr>
              <p:cNvPr id="91" name="Freeform 39"/>
              <p:cNvSpPr>
                <a:spLocks noChangeArrowheads="1"/>
              </p:cNvSpPr>
              <p:nvPr/>
            </p:nvSpPr>
            <p:spPr bwMode="auto">
              <a:xfrm>
                <a:off x="8286086" y="4847055"/>
                <a:ext cx="44635" cy="17927"/>
              </a:xfrm>
              <a:custGeom>
                <a:avLst/>
                <a:gdLst>
                  <a:gd name="T0" fmla="*/ 426 w 540"/>
                  <a:gd name="T1" fmla="*/ 217 h 218"/>
                  <a:gd name="T2" fmla="*/ 0 w 540"/>
                  <a:gd name="T3" fmla="*/ 217 h 218"/>
                  <a:gd name="T4" fmla="*/ 112 w 540"/>
                  <a:gd name="T5" fmla="*/ 0 h 218"/>
                  <a:gd name="T6" fmla="*/ 539 w 540"/>
                  <a:gd name="T7" fmla="*/ 0 h 218"/>
                  <a:gd name="T8" fmla="*/ 426 w 540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18">
                    <a:moveTo>
                      <a:pt x="426" y="217"/>
                    </a:moveTo>
                    <a:lnTo>
                      <a:pt x="0" y="217"/>
                    </a:lnTo>
                    <a:lnTo>
                      <a:pt x="112" y="0"/>
                    </a:lnTo>
                    <a:lnTo>
                      <a:pt x="539" y="0"/>
                    </a:lnTo>
                    <a:lnTo>
                      <a:pt x="426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/>
              </a:p>
            </p:txBody>
          </p:sp>
          <p:sp>
            <p:nvSpPr>
              <p:cNvPr id="92" name="Freeform 40"/>
              <p:cNvSpPr>
                <a:spLocks noChangeArrowheads="1"/>
              </p:cNvSpPr>
              <p:nvPr/>
            </p:nvSpPr>
            <p:spPr bwMode="auto">
              <a:xfrm>
                <a:off x="8209987" y="4693761"/>
                <a:ext cx="151099" cy="49025"/>
              </a:xfrm>
              <a:custGeom>
                <a:avLst/>
                <a:gdLst>
                  <a:gd name="T0" fmla="*/ 1820 w 1821"/>
                  <a:gd name="T1" fmla="*/ 592 h 593"/>
                  <a:gd name="T2" fmla="*/ 297 w 1821"/>
                  <a:gd name="T3" fmla="*/ 592 h 593"/>
                  <a:gd name="T4" fmla="*/ 0 w 1821"/>
                  <a:gd name="T5" fmla="*/ 297 h 593"/>
                  <a:gd name="T6" fmla="*/ 0 w 1821"/>
                  <a:gd name="T7" fmla="*/ 297 h 593"/>
                  <a:gd name="T8" fmla="*/ 297 w 1821"/>
                  <a:gd name="T9" fmla="*/ 0 h 593"/>
                  <a:gd name="T10" fmla="*/ 948 w 1821"/>
                  <a:gd name="T11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21" h="593">
                    <a:moveTo>
                      <a:pt x="1820" y="592"/>
                    </a:moveTo>
                    <a:lnTo>
                      <a:pt x="297" y="592"/>
                    </a:lnTo>
                    <a:cubicBezTo>
                      <a:pt x="133" y="592"/>
                      <a:pt x="0" y="459"/>
                      <a:pt x="0" y="297"/>
                    </a:cubicBezTo>
                    <a:lnTo>
                      <a:pt x="0" y="297"/>
                    </a:lnTo>
                    <a:cubicBezTo>
                      <a:pt x="0" y="133"/>
                      <a:pt x="133" y="0"/>
                      <a:pt x="297" y="0"/>
                    </a:cubicBezTo>
                    <a:lnTo>
                      <a:pt x="948" y="0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93" name="Freeform 17"/>
              <p:cNvSpPr>
                <a:spLocks noChangeArrowheads="1"/>
              </p:cNvSpPr>
              <p:nvPr/>
            </p:nvSpPr>
            <p:spPr bwMode="auto">
              <a:xfrm>
                <a:off x="7009617" y="4654980"/>
                <a:ext cx="406469" cy="106465"/>
              </a:xfrm>
              <a:custGeom>
                <a:avLst/>
                <a:gdLst>
                  <a:gd name="T0" fmla="*/ 0 w 4899"/>
                  <a:gd name="T1" fmla="*/ 1283 h 1284"/>
                  <a:gd name="T2" fmla="*/ 841 w 4899"/>
                  <a:gd name="T3" fmla="*/ 0 h 1284"/>
                  <a:gd name="T4" fmla="*/ 4898 w 4899"/>
                  <a:gd name="T5" fmla="*/ 0 h 1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99" h="1284">
                    <a:moveTo>
                      <a:pt x="0" y="1283"/>
                    </a:moveTo>
                    <a:cubicBezTo>
                      <a:pt x="0" y="1283"/>
                      <a:pt x="384" y="177"/>
                      <a:pt x="841" y="0"/>
                    </a:cubicBezTo>
                    <a:cubicBezTo>
                      <a:pt x="841" y="0"/>
                      <a:pt x="4430" y="0"/>
                      <a:pt x="4898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94" name="Line 18"/>
              <p:cNvSpPr>
                <a:spLocks noChangeShapeType="1"/>
              </p:cNvSpPr>
              <p:nvPr/>
            </p:nvSpPr>
            <p:spPr bwMode="auto">
              <a:xfrm>
                <a:off x="7072910" y="4739127"/>
                <a:ext cx="282809" cy="36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95" name="Freeform 23"/>
              <p:cNvSpPr>
                <a:spLocks noChangeArrowheads="1"/>
              </p:cNvSpPr>
              <p:nvPr/>
            </p:nvSpPr>
            <p:spPr bwMode="auto">
              <a:xfrm>
                <a:off x="7125960" y="4679126"/>
                <a:ext cx="238905" cy="40976"/>
              </a:xfrm>
              <a:custGeom>
                <a:avLst/>
                <a:gdLst>
                  <a:gd name="T0" fmla="*/ 0 w 2878"/>
                  <a:gd name="T1" fmla="*/ 480 h 494"/>
                  <a:gd name="T2" fmla="*/ 440 w 2878"/>
                  <a:gd name="T3" fmla="*/ 0 h 494"/>
                  <a:gd name="T4" fmla="*/ 2877 w 2878"/>
                  <a:gd name="T5" fmla="*/ 0 h 494"/>
                  <a:gd name="T6" fmla="*/ 2589 w 2878"/>
                  <a:gd name="T7" fmla="*/ 493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78" h="494">
                    <a:moveTo>
                      <a:pt x="0" y="480"/>
                    </a:moveTo>
                    <a:cubicBezTo>
                      <a:pt x="0" y="480"/>
                      <a:pt x="240" y="99"/>
                      <a:pt x="440" y="0"/>
                    </a:cubicBezTo>
                    <a:lnTo>
                      <a:pt x="2877" y="0"/>
                    </a:lnTo>
                    <a:cubicBezTo>
                      <a:pt x="2877" y="0"/>
                      <a:pt x="2705" y="274"/>
                      <a:pt x="2589" y="493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96" name="Freeform 26"/>
              <p:cNvSpPr>
                <a:spLocks noChangeArrowheads="1"/>
              </p:cNvSpPr>
              <p:nvPr/>
            </p:nvSpPr>
            <p:spPr bwMode="auto">
              <a:xfrm>
                <a:off x="7104008" y="4755956"/>
                <a:ext cx="223174" cy="18293"/>
              </a:xfrm>
              <a:custGeom>
                <a:avLst/>
                <a:gdLst>
                  <a:gd name="T0" fmla="*/ 59 w 2692"/>
                  <a:gd name="T1" fmla="*/ 20 h 221"/>
                  <a:gd name="T2" fmla="*/ 0 w 2692"/>
                  <a:gd name="T3" fmla="*/ 220 h 221"/>
                  <a:gd name="T4" fmla="*/ 2606 w 2692"/>
                  <a:gd name="T5" fmla="*/ 220 h 221"/>
                  <a:gd name="T6" fmla="*/ 2691 w 2692"/>
                  <a:gd name="T7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92" h="221">
                    <a:moveTo>
                      <a:pt x="59" y="20"/>
                    </a:moveTo>
                    <a:cubicBezTo>
                      <a:pt x="59" y="20"/>
                      <a:pt x="8" y="178"/>
                      <a:pt x="0" y="220"/>
                    </a:cubicBezTo>
                    <a:lnTo>
                      <a:pt x="2606" y="220"/>
                    </a:lnTo>
                    <a:cubicBezTo>
                      <a:pt x="2606" y="220"/>
                      <a:pt x="2657" y="76"/>
                      <a:pt x="2691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  <p:sp>
            <p:nvSpPr>
              <p:cNvPr id="97" name="Freeform 32"/>
              <p:cNvSpPr>
                <a:spLocks noChangeArrowheads="1"/>
              </p:cNvSpPr>
              <p:nvPr/>
            </p:nvSpPr>
            <p:spPr bwMode="auto">
              <a:xfrm>
                <a:off x="6685813" y="4847055"/>
                <a:ext cx="44635" cy="17927"/>
              </a:xfrm>
              <a:custGeom>
                <a:avLst/>
                <a:gdLst>
                  <a:gd name="T0" fmla="*/ 426 w 540"/>
                  <a:gd name="T1" fmla="*/ 217 h 218"/>
                  <a:gd name="T2" fmla="*/ 0 w 540"/>
                  <a:gd name="T3" fmla="*/ 217 h 218"/>
                  <a:gd name="T4" fmla="*/ 113 w 540"/>
                  <a:gd name="T5" fmla="*/ 0 h 218"/>
                  <a:gd name="T6" fmla="*/ 539 w 540"/>
                  <a:gd name="T7" fmla="*/ 0 h 218"/>
                  <a:gd name="T8" fmla="*/ 426 w 540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18">
                    <a:moveTo>
                      <a:pt x="426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39" y="0"/>
                    </a:lnTo>
                    <a:lnTo>
                      <a:pt x="426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/>
              </a:p>
            </p:txBody>
          </p:sp>
          <p:sp>
            <p:nvSpPr>
              <p:cNvPr id="98" name="Line 21"/>
              <p:cNvSpPr>
                <a:spLocks noChangeShapeType="1"/>
              </p:cNvSpPr>
              <p:nvPr/>
            </p:nvSpPr>
            <p:spPr bwMode="auto">
              <a:xfrm>
                <a:off x="6320110" y="4782771"/>
                <a:ext cx="215369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400"/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4078887" y="4122634"/>
              <a:ext cx="1805262" cy="693901"/>
              <a:chOff x="1985118" y="3930402"/>
              <a:chExt cx="1805262" cy="693901"/>
            </a:xfrm>
          </p:grpSpPr>
          <p:sp>
            <p:nvSpPr>
              <p:cNvPr id="13" name="Freeform: Shape 628"/>
              <p:cNvSpPr/>
              <p:nvPr/>
            </p:nvSpPr>
            <p:spPr>
              <a:xfrm>
                <a:off x="2174843" y="4416477"/>
                <a:ext cx="31302" cy="74782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0" h="115">
                    <a:moveTo>
                      <a:pt x="25" y="115"/>
                    </a:moveTo>
                    <a:lnTo>
                      <a:pt x="0" y="115"/>
                    </a:lnTo>
                    <a:lnTo>
                      <a:pt x="0" y="0"/>
                    </a:lnTo>
                    <a:lnTo>
                      <a:pt x="50" y="0"/>
                    </a:lnTo>
                    <a:lnTo>
                      <a:pt x="50" y="115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4" name="Freeform: Shape 651"/>
              <p:cNvSpPr/>
              <p:nvPr/>
            </p:nvSpPr>
            <p:spPr>
              <a:xfrm>
                <a:off x="2112877" y="4404670"/>
                <a:ext cx="400530" cy="123981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628" h="190" fill="none">
                    <a:moveTo>
                      <a:pt x="0" y="190"/>
                    </a:moveTo>
                    <a:lnTo>
                      <a:pt x="323" y="190"/>
                    </a:lnTo>
                    <a:lnTo>
                      <a:pt x="323" y="55"/>
                    </a:lnTo>
                    <a:lnTo>
                      <a:pt x="517" y="55"/>
                    </a:lnTo>
                    <a:lnTo>
                      <a:pt x="517" y="0"/>
                    </a:lnTo>
                    <a:lnTo>
                      <a:pt x="628" y="0"/>
                    </a:lnTo>
                    <a:lnTo>
                      <a:pt x="628" y="146"/>
                    </a:lnTo>
                    <a:lnTo>
                      <a:pt x="494" y="146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5" name="Freeform: Shape 652"/>
              <p:cNvSpPr/>
              <p:nvPr/>
            </p:nvSpPr>
            <p:spPr>
              <a:xfrm>
                <a:off x="2543432" y="4350879"/>
                <a:ext cx="60686" cy="42639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96" h="66" fill="none">
                    <a:moveTo>
                      <a:pt x="0" y="58"/>
                    </a:moveTo>
                    <a:lnTo>
                      <a:pt x="0" y="0"/>
                    </a:lnTo>
                    <a:lnTo>
                      <a:pt x="96" y="0"/>
                    </a:lnTo>
                    <a:lnTo>
                      <a:pt x="96" y="66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6" name="Straight Connector 15"/>
              <p:cNvSpPr/>
              <p:nvPr/>
            </p:nvSpPr>
            <p:spPr>
              <a:xfrm>
                <a:off x="2406726" y="4367935"/>
                <a:ext cx="0" cy="2952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" name="Straight Connector 16"/>
              <p:cNvSpPr/>
              <p:nvPr/>
            </p:nvSpPr>
            <p:spPr>
              <a:xfrm>
                <a:off x="2084133" y="4497820"/>
                <a:ext cx="0" cy="33455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" name="Straight Connector 17"/>
              <p:cNvSpPr/>
              <p:nvPr/>
            </p:nvSpPr>
            <p:spPr>
              <a:xfrm>
                <a:off x="1985118" y="4585065"/>
                <a:ext cx="611972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>
                <a:off x="2494039" y="3930402"/>
                <a:ext cx="1296341" cy="693901"/>
                <a:chOff x="2126663" y="4070527"/>
                <a:chExt cx="1052717" cy="563495"/>
              </a:xfrm>
            </p:grpSpPr>
            <p:sp>
              <p:nvSpPr>
                <p:cNvPr id="20" name="Straight Connector 19"/>
                <p:cNvSpPr/>
                <p:nvPr/>
              </p:nvSpPr>
              <p:spPr>
                <a:xfrm>
                  <a:off x="2461323" y="4610819"/>
                  <a:ext cx="215454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1" name="Straight Connector 20"/>
                <p:cNvSpPr/>
                <p:nvPr/>
              </p:nvSpPr>
              <p:spPr>
                <a:xfrm>
                  <a:off x="2858347" y="4623710"/>
                  <a:ext cx="136516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2" name="Straight Connector 21"/>
                <p:cNvSpPr/>
                <p:nvPr/>
              </p:nvSpPr>
              <p:spPr>
                <a:xfrm>
                  <a:off x="2644980" y="4634022"/>
                  <a:ext cx="66539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3" name="Freeform: Shape 20"/>
                <p:cNvSpPr/>
                <p:nvPr/>
              </p:nvSpPr>
              <p:spPr>
                <a:xfrm>
                  <a:off x="3012541" y="4612170"/>
                  <a:ext cx="52912" cy="15837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432" h="130">
                      <a:moveTo>
                        <a:pt x="216" y="130"/>
                      </a:moveTo>
                      <a:lnTo>
                        <a:pt x="0" y="130"/>
                      </a:lnTo>
                      <a:lnTo>
                        <a:pt x="0" y="0"/>
                      </a:lnTo>
                      <a:lnTo>
                        <a:pt x="432" y="0"/>
                      </a:lnTo>
                      <a:lnTo>
                        <a:pt x="432" y="130"/>
                      </a:ln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4" name="Freeform: Shape 29"/>
                <p:cNvSpPr/>
                <p:nvPr/>
              </p:nvSpPr>
              <p:spPr>
                <a:xfrm>
                  <a:off x="2889162" y="4523533"/>
                  <a:ext cx="21730" cy="41495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78" h="339">
                      <a:moveTo>
                        <a:pt x="89" y="339"/>
                      </a:moveTo>
                      <a:lnTo>
                        <a:pt x="0" y="339"/>
                      </a:lnTo>
                      <a:lnTo>
                        <a:pt x="0" y="0"/>
                      </a:lnTo>
                      <a:lnTo>
                        <a:pt x="178" y="0"/>
                      </a:lnTo>
                      <a:lnTo>
                        <a:pt x="178" y="339"/>
                      </a:ln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5" name="Freeform: Shape 30"/>
                <p:cNvSpPr/>
                <p:nvPr/>
              </p:nvSpPr>
              <p:spPr>
                <a:xfrm>
                  <a:off x="3161579" y="4573140"/>
                  <a:ext cx="17801" cy="41372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46" h="338">
                      <a:moveTo>
                        <a:pt x="73" y="338"/>
                      </a:moveTo>
                      <a:lnTo>
                        <a:pt x="0" y="338"/>
                      </a:lnTo>
                      <a:lnTo>
                        <a:pt x="0" y="0"/>
                      </a:lnTo>
                      <a:lnTo>
                        <a:pt x="146" y="0"/>
                      </a:lnTo>
                      <a:lnTo>
                        <a:pt x="146" y="338"/>
                      </a:ln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6" name="Freeform: Shape 91"/>
                <p:cNvSpPr/>
                <p:nvPr/>
              </p:nvSpPr>
              <p:spPr>
                <a:xfrm>
                  <a:off x="2623128" y="4357922"/>
                  <a:ext cx="175923" cy="217050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434" h="1769">
                      <a:moveTo>
                        <a:pt x="717" y="1769"/>
                      </a:moveTo>
                      <a:lnTo>
                        <a:pt x="0" y="1769"/>
                      </a:lnTo>
                      <a:lnTo>
                        <a:pt x="0" y="0"/>
                      </a:lnTo>
                      <a:lnTo>
                        <a:pt x="1434" y="0"/>
                      </a:lnTo>
                      <a:lnTo>
                        <a:pt x="1434" y="1769"/>
                      </a:ln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7" name="Freeform: Shape 92"/>
                <p:cNvSpPr/>
                <p:nvPr/>
              </p:nvSpPr>
              <p:spPr>
                <a:xfrm>
                  <a:off x="2822009" y="4351047"/>
                  <a:ext cx="45914" cy="226748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375" h="1848">
                      <a:moveTo>
                        <a:pt x="188" y="1848"/>
                      </a:moveTo>
                      <a:lnTo>
                        <a:pt x="0" y="1848"/>
                      </a:lnTo>
                      <a:lnTo>
                        <a:pt x="0" y="0"/>
                      </a:lnTo>
                      <a:lnTo>
                        <a:pt x="375" y="0"/>
                      </a:lnTo>
                      <a:lnTo>
                        <a:pt x="375" y="1848"/>
                      </a:ln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8" name="Freeform: Shape 93"/>
                <p:cNvSpPr/>
                <p:nvPr/>
              </p:nvSpPr>
              <p:spPr>
                <a:xfrm>
                  <a:off x="2447082" y="4561590"/>
                  <a:ext cx="22834" cy="31428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87" h="257">
                      <a:moveTo>
                        <a:pt x="94" y="257"/>
                      </a:moveTo>
                      <a:cubicBezTo>
                        <a:pt x="43" y="257"/>
                        <a:pt x="0" y="215"/>
                        <a:pt x="0" y="164"/>
                      </a:cubicBezTo>
                      <a:lnTo>
                        <a:pt x="0" y="94"/>
                      </a:lnTo>
                      <a:cubicBezTo>
                        <a:pt x="0" y="43"/>
                        <a:pt x="43" y="0"/>
                        <a:pt x="94" y="0"/>
                      </a:cubicBezTo>
                      <a:cubicBezTo>
                        <a:pt x="144" y="0"/>
                        <a:pt x="187" y="43"/>
                        <a:pt x="187" y="94"/>
                      </a:cubicBezTo>
                      <a:lnTo>
                        <a:pt x="187" y="164"/>
                      </a:lnTo>
                      <a:cubicBezTo>
                        <a:pt x="187" y="215"/>
                        <a:pt x="144" y="257"/>
                        <a:pt x="94" y="257"/>
                      </a:cubicBez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9" name="Freeform: Shape 95"/>
                <p:cNvSpPr/>
                <p:nvPr/>
              </p:nvSpPr>
              <p:spPr>
                <a:xfrm>
                  <a:off x="2126663" y="4070527"/>
                  <a:ext cx="298812" cy="532681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2435" h="4340" fill="none">
                      <a:moveTo>
                        <a:pt x="1245" y="4340"/>
                      </a:moveTo>
                      <a:lnTo>
                        <a:pt x="1245" y="4080"/>
                      </a:lnTo>
                      <a:lnTo>
                        <a:pt x="0" y="4080"/>
                      </a:lnTo>
                      <a:lnTo>
                        <a:pt x="308" y="3877"/>
                      </a:lnTo>
                      <a:lnTo>
                        <a:pt x="1002" y="3877"/>
                      </a:lnTo>
                      <a:lnTo>
                        <a:pt x="1002" y="367"/>
                      </a:lnTo>
                      <a:lnTo>
                        <a:pt x="1357" y="0"/>
                      </a:lnTo>
                      <a:lnTo>
                        <a:pt x="2054" y="0"/>
                      </a:lnTo>
                      <a:lnTo>
                        <a:pt x="2435" y="243"/>
                      </a:lnTo>
                      <a:lnTo>
                        <a:pt x="2435" y="3262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0" name="Straight Connector 29"/>
                <p:cNvSpPr/>
                <p:nvPr/>
              </p:nvSpPr>
              <p:spPr>
                <a:xfrm>
                  <a:off x="2297430" y="4097535"/>
                  <a:ext cx="0" cy="345708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1" name="Straight Connector 30"/>
                <p:cNvSpPr/>
                <p:nvPr/>
              </p:nvSpPr>
              <p:spPr>
                <a:xfrm>
                  <a:off x="2323089" y="4094098"/>
                  <a:ext cx="30446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2" name="Freeform: Shape 98"/>
                <p:cNvSpPr/>
                <p:nvPr/>
              </p:nvSpPr>
              <p:spPr>
                <a:xfrm>
                  <a:off x="2378824" y="4070527"/>
                  <a:ext cx="112822" cy="400339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920" h="3262" fill="none">
                      <a:moveTo>
                        <a:pt x="0" y="0"/>
                      </a:moveTo>
                      <a:lnTo>
                        <a:pt x="0" y="3262"/>
                      </a:lnTo>
                      <a:lnTo>
                        <a:pt x="920" y="3262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3" name="Straight Connector 32"/>
                <p:cNvSpPr/>
                <p:nvPr/>
              </p:nvSpPr>
              <p:spPr>
                <a:xfrm>
                  <a:off x="2447450" y="4403713"/>
                  <a:ext cx="0" cy="64697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4" name="Freeform: Shape 100"/>
                <p:cNvSpPr/>
                <p:nvPr/>
              </p:nvSpPr>
              <p:spPr>
                <a:xfrm>
                  <a:off x="2264898" y="4461168"/>
                  <a:ext cx="47019" cy="110735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384" h="903">
                      <a:moveTo>
                        <a:pt x="0" y="48"/>
                      </a:moveTo>
                      <a:lnTo>
                        <a:pt x="0" y="612"/>
                      </a:lnTo>
                      <a:lnTo>
                        <a:pt x="384" y="903"/>
                      </a:lnTo>
                      <a:lnTo>
                        <a:pt x="384" y="0"/>
                      </a:ln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5" name="Straight Connector 34"/>
                <p:cNvSpPr/>
                <p:nvPr/>
              </p:nvSpPr>
              <p:spPr>
                <a:xfrm>
                  <a:off x="2331068" y="4559626"/>
                  <a:ext cx="102509" cy="52912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6" name="Freeform: Shape 102"/>
                <p:cNvSpPr/>
                <p:nvPr/>
              </p:nvSpPr>
              <p:spPr>
                <a:xfrm>
                  <a:off x="2293993" y="4598420"/>
                  <a:ext cx="90601" cy="23694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739" h="194">
                      <a:moveTo>
                        <a:pt x="0" y="194"/>
                      </a:moveTo>
                      <a:cubicBezTo>
                        <a:pt x="0" y="87"/>
                        <a:pt x="88" y="0"/>
                        <a:pt x="195" y="0"/>
                      </a:cubicBezTo>
                      <a:lnTo>
                        <a:pt x="545" y="0"/>
                      </a:lnTo>
                      <a:cubicBezTo>
                        <a:pt x="652" y="0"/>
                        <a:pt x="739" y="87"/>
                        <a:pt x="739" y="194"/>
                      </a:cubicBez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7" name="Freeform: Shape 103"/>
                <p:cNvSpPr/>
                <p:nvPr/>
              </p:nvSpPr>
              <p:spPr>
                <a:xfrm>
                  <a:off x="2397976" y="4521814"/>
                  <a:ext cx="222943" cy="23817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817" h="195" fill="none">
                      <a:moveTo>
                        <a:pt x="194" y="0"/>
                      </a:moveTo>
                      <a:lnTo>
                        <a:pt x="0" y="195"/>
                      </a:lnTo>
                      <a:lnTo>
                        <a:pt x="1817" y="195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8" name="Freeform: Shape 104"/>
                <p:cNvSpPr/>
                <p:nvPr/>
              </p:nvSpPr>
              <p:spPr>
                <a:xfrm>
                  <a:off x="2495329" y="4426180"/>
                  <a:ext cx="127308" cy="98213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038" h="801" fill="none">
                      <a:moveTo>
                        <a:pt x="714" y="0"/>
                      </a:moveTo>
                      <a:lnTo>
                        <a:pt x="0" y="0"/>
                      </a:lnTo>
                      <a:lnTo>
                        <a:pt x="0" y="801"/>
                      </a:lnTo>
                      <a:lnTo>
                        <a:pt x="1038" y="801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9" name="Freeform: Shape 105"/>
                <p:cNvSpPr/>
                <p:nvPr/>
              </p:nvSpPr>
              <p:spPr>
                <a:xfrm>
                  <a:off x="2583597" y="4390823"/>
                  <a:ext cx="38057" cy="131237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311" h="1070" fill="none">
                      <a:moveTo>
                        <a:pt x="0" y="1070"/>
                      </a:moveTo>
                      <a:lnTo>
                        <a:pt x="0" y="0"/>
                      </a:lnTo>
                      <a:lnTo>
                        <a:pt x="311" y="0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0" name="Freeform: Shape 106"/>
                <p:cNvSpPr/>
                <p:nvPr/>
              </p:nvSpPr>
              <p:spPr>
                <a:xfrm>
                  <a:off x="2661554" y="4330913"/>
                  <a:ext cx="96862" cy="26149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790" h="214" fill="none">
                      <a:moveTo>
                        <a:pt x="0" y="209"/>
                      </a:moveTo>
                      <a:lnTo>
                        <a:pt x="0" y="0"/>
                      </a:lnTo>
                      <a:lnTo>
                        <a:pt x="790" y="0"/>
                      </a:lnTo>
                      <a:lnTo>
                        <a:pt x="790" y="214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1" name="Freeform: Shape 107"/>
                <p:cNvSpPr/>
                <p:nvPr/>
              </p:nvSpPr>
              <p:spPr>
                <a:xfrm>
                  <a:off x="2720113" y="4313603"/>
                  <a:ext cx="16819" cy="16205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38" h="133" fill="none">
                      <a:moveTo>
                        <a:pt x="0" y="133"/>
                      </a:moveTo>
                      <a:lnTo>
                        <a:pt x="0" y="0"/>
                      </a:lnTo>
                      <a:lnTo>
                        <a:pt x="138" y="0"/>
                      </a:lnTo>
                      <a:lnTo>
                        <a:pt x="138" y="124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2" name="Straight Connector 41"/>
                <p:cNvSpPr/>
                <p:nvPr/>
              </p:nvSpPr>
              <p:spPr>
                <a:xfrm>
                  <a:off x="2777936" y="4390455"/>
                  <a:ext cx="0" cy="14069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3" name="Straight Connector 42"/>
                <p:cNvSpPr/>
                <p:nvPr/>
              </p:nvSpPr>
              <p:spPr>
                <a:xfrm>
                  <a:off x="2803962" y="4495174"/>
                  <a:ext cx="14855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4" name="Straight Connector 43"/>
                <p:cNvSpPr/>
                <p:nvPr/>
              </p:nvSpPr>
              <p:spPr>
                <a:xfrm>
                  <a:off x="2940109" y="4552628"/>
                  <a:ext cx="0" cy="3020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5" name="Straight Connector 44"/>
                <p:cNvSpPr/>
                <p:nvPr/>
              </p:nvSpPr>
              <p:spPr>
                <a:xfrm>
                  <a:off x="3133466" y="4573140"/>
                  <a:ext cx="0" cy="30078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6" name="Freeform: Shape 112"/>
                <p:cNvSpPr/>
                <p:nvPr/>
              </p:nvSpPr>
              <p:spPr>
                <a:xfrm>
                  <a:off x="2883023" y="4585161"/>
                  <a:ext cx="78447" cy="38057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640" h="311" fill="none">
                      <a:moveTo>
                        <a:pt x="0" y="311"/>
                      </a:moveTo>
                      <a:lnTo>
                        <a:pt x="0" y="0"/>
                      </a:lnTo>
                      <a:lnTo>
                        <a:pt x="640" y="0"/>
                      </a:lnTo>
                      <a:lnTo>
                        <a:pt x="640" y="302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7" name="Freeform: Shape 113"/>
                <p:cNvSpPr/>
                <p:nvPr/>
              </p:nvSpPr>
              <p:spPr>
                <a:xfrm>
                  <a:off x="2728829" y="4599402"/>
                  <a:ext cx="93056" cy="28604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759" h="234">
                      <a:moveTo>
                        <a:pt x="0" y="217"/>
                      </a:moveTo>
                      <a:cubicBezTo>
                        <a:pt x="0" y="99"/>
                        <a:pt x="96" y="0"/>
                        <a:pt x="217" y="0"/>
                      </a:cubicBezTo>
                      <a:lnTo>
                        <a:pt x="525" y="0"/>
                      </a:lnTo>
                      <a:cubicBezTo>
                        <a:pt x="654" y="0"/>
                        <a:pt x="759" y="104"/>
                        <a:pt x="759" y="234"/>
                      </a:cubicBez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8" name="Straight Connector 47"/>
                <p:cNvSpPr/>
                <p:nvPr/>
              </p:nvSpPr>
              <p:spPr>
                <a:xfrm>
                  <a:off x="2551801" y="4564782"/>
                  <a:ext cx="0" cy="28359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9" name="Straight Connector 48"/>
                <p:cNvSpPr/>
                <p:nvPr/>
              </p:nvSpPr>
              <p:spPr>
                <a:xfrm>
                  <a:off x="2575618" y="4562327"/>
                  <a:ext cx="0" cy="39162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0" name="Straight Connector 49"/>
                <p:cNvSpPr/>
                <p:nvPr/>
              </p:nvSpPr>
              <p:spPr>
                <a:xfrm>
                  <a:off x="2522951" y="4403345"/>
                  <a:ext cx="0" cy="22466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1" name="Freeform: Shape 117"/>
                <p:cNvSpPr/>
                <p:nvPr/>
              </p:nvSpPr>
              <p:spPr>
                <a:xfrm>
                  <a:off x="2924518" y="4282052"/>
                  <a:ext cx="236938" cy="236815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931" h="1930">
                      <a:moveTo>
                        <a:pt x="1931" y="965"/>
                      </a:moveTo>
                      <a:cubicBezTo>
                        <a:pt x="1931" y="1143"/>
                        <a:pt x="1890" y="1294"/>
                        <a:pt x="1801" y="1448"/>
                      </a:cubicBezTo>
                      <a:cubicBezTo>
                        <a:pt x="1712" y="1602"/>
                        <a:pt x="1602" y="1712"/>
                        <a:pt x="1448" y="1801"/>
                      </a:cubicBezTo>
                      <a:cubicBezTo>
                        <a:pt x="1294" y="1890"/>
                        <a:pt x="1142" y="1930"/>
                        <a:pt x="965" y="1930"/>
                      </a:cubicBezTo>
                      <a:cubicBezTo>
                        <a:pt x="787" y="1930"/>
                        <a:pt x="637" y="1890"/>
                        <a:pt x="483" y="1801"/>
                      </a:cubicBezTo>
                      <a:cubicBezTo>
                        <a:pt x="329" y="1712"/>
                        <a:pt x="218" y="1602"/>
                        <a:pt x="130" y="1448"/>
                      </a:cubicBezTo>
                      <a:cubicBezTo>
                        <a:pt x="41" y="1294"/>
                        <a:pt x="0" y="1142"/>
                        <a:pt x="0" y="965"/>
                      </a:cubicBezTo>
                      <a:cubicBezTo>
                        <a:pt x="0" y="787"/>
                        <a:pt x="41" y="637"/>
                        <a:pt x="130" y="483"/>
                      </a:cubicBezTo>
                      <a:cubicBezTo>
                        <a:pt x="218" y="329"/>
                        <a:pt x="329" y="217"/>
                        <a:pt x="483" y="129"/>
                      </a:cubicBezTo>
                      <a:cubicBezTo>
                        <a:pt x="637" y="40"/>
                        <a:pt x="788" y="0"/>
                        <a:pt x="965" y="0"/>
                      </a:cubicBezTo>
                      <a:cubicBezTo>
                        <a:pt x="1143" y="0"/>
                        <a:pt x="1294" y="40"/>
                        <a:pt x="1448" y="129"/>
                      </a:cubicBezTo>
                      <a:cubicBezTo>
                        <a:pt x="1602" y="217"/>
                        <a:pt x="1712" y="329"/>
                        <a:pt x="1801" y="483"/>
                      </a:cubicBezTo>
                      <a:cubicBezTo>
                        <a:pt x="1890" y="637"/>
                        <a:pt x="1931" y="788"/>
                        <a:pt x="1931" y="965"/>
                      </a:cubicBez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2" name="Straight Connector 51"/>
                <p:cNvSpPr/>
                <p:nvPr/>
              </p:nvSpPr>
              <p:spPr>
                <a:xfrm>
                  <a:off x="3042987" y="4276896"/>
                  <a:ext cx="0" cy="15591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3" name="Straight Connector 52"/>
                <p:cNvSpPr/>
                <p:nvPr/>
              </p:nvSpPr>
              <p:spPr>
                <a:xfrm>
                  <a:off x="3042987" y="4513466"/>
                  <a:ext cx="0" cy="15591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4" name="Straight Connector 53"/>
                <p:cNvSpPr/>
                <p:nvPr/>
              </p:nvSpPr>
              <p:spPr>
                <a:xfrm>
                  <a:off x="2995231" y="4286226"/>
                  <a:ext cx="5893" cy="14487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5" name="Straight Connector 54"/>
                <p:cNvSpPr/>
                <p:nvPr/>
              </p:nvSpPr>
              <p:spPr>
                <a:xfrm>
                  <a:off x="3084973" y="4505118"/>
                  <a:ext cx="5893" cy="14609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6" name="Straight Connector 55"/>
                <p:cNvSpPr/>
                <p:nvPr/>
              </p:nvSpPr>
              <p:spPr>
                <a:xfrm>
                  <a:off x="2953245" y="4314340"/>
                  <a:ext cx="11172" cy="11049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7" name="Straight Connector 56"/>
                <p:cNvSpPr/>
                <p:nvPr/>
              </p:nvSpPr>
              <p:spPr>
                <a:xfrm>
                  <a:off x="3121680" y="4480565"/>
                  <a:ext cx="11049" cy="10803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8" name="Straight Connector 57"/>
                <p:cNvSpPr/>
                <p:nvPr/>
              </p:nvSpPr>
              <p:spPr>
                <a:xfrm>
                  <a:off x="2926237" y="4355466"/>
                  <a:ext cx="14241" cy="5524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9" name="Straight Connector 58"/>
                <p:cNvSpPr/>
                <p:nvPr/>
              </p:nvSpPr>
              <p:spPr>
                <a:xfrm>
                  <a:off x="3145619" y="4444594"/>
                  <a:ext cx="14486" cy="5893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0" name="Straight Connector 59"/>
                <p:cNvSpPr/>
                <p:nvPr/>
              </p:nvSpPr>
              <p:spPr>
                <a:xfrm>
                  <a:off x="3153599" y="4403345"/>
                  <a:ext cx="15591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1" name="Straight Connector 60"/>
                <p:cNvSpPr/>
                <p:nvPr/>
              </p:nvSpPr>
              <p:spPr>
                <a:xfrm>
                  <a:off x="2916907" y="4403345"/>
                  <a:ext cx="15223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2" name="Straight Connector 61"/>
                <p:cNvSpPr/>
                <p:nvPr/>
              </p:nvSpPr>
              <p:spPr>
                <a:xfrm flipV="1">
                  <a:off x="2925991" y="4444594"/>
                  <a:ext cx="14486" cy="5524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3" name="Straight Connector 62"/>
                <p:cNvSpPr/>
                <p:nvPr/>
              </p:nvSpPr>
              <p:spPr>
                <a:xfrm flipV="1">
                  <a:off x="3145619" y="4355466"/>
                  <a:ext cx="14486" cy="5893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4" name="Straight Connector 63"/>
                <p:cNvSpPr/>
                <p:nvPr/>
              </p:nvSpPr>
              <p:spPr>
                <a:xfrm flipH="1">
                  <a:off x="3120943" y="4313235"/>
                  <a:ext cx="10803" cy="11049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5" name="Straight Connector 64"/>
                <p:cNvSpPr/>
                <p:nvPr/>
              </p:nvSpPr>
              <p:spPr>
                <a:xfrm flipH="1">
                  <a:off x="2954350" y="4481670"/>
                  <a:ext cx="11049" cy="11049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6" name="Straight Connector 65"/>
                <p:cNvSpPr/>
                <p:nvPr/>
              </p:nvSpPr>
              <p:spPr>
                <a:xfrm flipH="1">
                  <a:off x="3087428" y="4287209"/>
                  <a:ext cx="6138" cy="14241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7" name="Straight Connector 66"/>
                <p:cNvSpPr/>
                <p:nvPr/>
              </p:nvSpPr>
              <p:spPr>
                <a:xfrm flipH="1">
                  <a:off x="2992408" y="4504136"/>
                  <a:ext cx="6261" cy="14241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8" name="Freeform: Shape 134"/>
                <p:cNvSpPr/>
                <p:nvPr/>
              </p:nvSpPr>
              <p:spPr>
                <a:xfrm>
                  <a:off x="3011559" y="4398434"/>
                  <a:ext cx="74273" cy="220978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606" h="1801" fill="none">
                      <a:moveTo>
                        <a:pt x="606" y="1801"/>
                      </a:moveTo>
                      <a:lnTo>
                        <a:pt x="262" y="0"/>
                      </a:lnTo>
                      <a:lnTo>
                        <a:pt x="0" y="1403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marL="0" marR="0" lvl="0" indent="0" rtl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</a:pPr>
                  <a:endParaRPr lang="en-US" sz="2400" b="0" i="0" u="none" strike="noStrike" kern="1200">
                    <a:ln>
                      <a:noFill/>
                    </a:ln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</p:grpSp>
        </p:grpSp>
        <p:grpSp>
          <p:nvGrpSpPr>
            <p:cNvPr id="8" name="Group 7"/>
            <p:cNvGrpSpPr/>
            <p:nvPr/>
          </p:nvGrpSpPr>
          <p:grpSpPr>
            <a:xfrm>
              <a:off x="3888874" y="4847055"/>
              <a:ext cx="578056" cy="17927"/>
              <a:chOff x="7237901" y="4847055"/>
              <a:chExt cx="578056" cy="17927"/>
            </a:xfrm>
          </p:grpSpPr>
          <p:sp>
            <p:nvSpPr>
              <p:cNvPr id="9" name="Freeform 32"/>
              <p:cNvSpPr>
                <a:spLocks noChangeArrowheads="1"/>
              </p:cNvSpPr>
              <p:nvPr/>
            </p:nvSpPr>
            <p:spPr bwMode="auto">
              <a:xfrm>
                <a:off x="7237901" y="4847055"/>
                <a:ext cx="44635" cy="17927"/>
              </a:xfrm>
              <a:custGeom>
                <a:avLst/>
                <a:gdLst>
                  <a:gd name="T0" fmla="*/ 426 w 540"/>
                  <a:gd name="T1" fmla="*/ 217 h 218"/>
                  <a:gd name="T2" fmla="*/ 0 w 540"/>
                  <a:gd name="T3" fmla="*/ 217 h 218"/>
                  <a:gd name="T4" fmla="*/ 113 w 540"/>
                  <a:gd name="T5" fmla="*/ 0 h 218"/>
                  <a:gd name="T6" fmla="*/ 539 w 540"/>
                  <a:gd name="T7" fmla="*/ 0 h 218"/>
                  <a:gd name="T8" fmla="*/ 426 w 540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18">
                    <a:moveTo>
                      <a:pt x="426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39" y="0"/>
                    </a:lnTo>
                    <a:lnTo>
                      <a:pt x="426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/>
              </a:p>
            </p:txBody>
          </p:sp>
          <p:sp>
            <p:nvSpPr>
              <p:cNvPr id="10" name="Freeform 33"/>
              <p:cNvSpPr>
                <a:spLocks noChangeArrowheads="1"/>
              </p:cNvSpPr>
              <p:nvPr/>
            </p:nvSpPr>
            <p:spPr bwMode="auto">
              <a:xfrm>
                <a:off x="7490710" y="4847055"/>
                <a:ext cx="44635" cy="17927"/>
              </a:xfrm>
              <a:custGeom>
                <a:avLst/>
                <a:gdLst>
                  <a:gd name="T0" fmla="*/ 426 w 540"/>
                  <a:gd name="T1" fmla="*/ 217 h 218"/>
                  <a:gd name="T2" fmla="*/ 0 w 540"/>
                  <a:gd name="T3" fmla="*/ 217 h 218"/>
                  <a:gd name="T4" fmla="*/ 113 w 540"/>
                  <a:gd name="T5" fmla="*/ 0 h 218"/>
                  <a:gd name="T6" fmla="*/ 539 w 540"/>
                  <a:gd name="T7" fmla="*/ 0 h 218"/>
                  <a:gd name="T8" fmla="*/ 426 w 540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18">
                    <a:moveTo>
                      <a:pt x="426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39" y="0"/>
                    </a:lnTo>
                    <a:lnTo>
                      <a:pt x="426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/>
              </a:p>
            </p:txBody>
          </p:sp>
          <p:sp>
            <p:nvSpPr>
              <p:cNvPr id="11" name="Freeform 35"/>
              <p:cNvSpPr>
                <a:spLocks noChangeArrowheads="1"/>
              </p:cNvSpPr>
              <p:nvPr/>
            </p:nvSpPr>
            <p:spPr bwMode="auto">
              <a:xfrm>
                <a:off x="7630833" y="4847055"/>
                <a:ext cx="45001" cy="17927"/>
              </a:xfrm>
              <a:custGeom>
                <a:avLst/>
                <a:gdLst>
                  <a:gd name="T0" fmla="*/ 429 w 543"/>
                  <a:gd name="T1" fmla="*/ 217 h 218"/>
                  <a:gd name="T2" fmla="*/ 0 w 543"/>
                  <a:gd name="T3" fmla="*/ 217 h 218"/>
                  <a:gd name="T4" fmla="*/ 113 w 543"/>
                  <a:gd name="T5" fmla="*/ 0 h 218"/>
                  <a:gd name="T6" fmla="*/ 542 w 543"/>
                  <a:gd name="T7" fmla="*/ 0 h 218"/>
                  <a:gd name="T8" fmla="*/ 429 w 543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3" h="218">
                    <a:moveTo>
                      <a:pt x="429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42" y="0"/>
                    </a:lnTo>
                    <a:lnTo>
                      <a:pt x="429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/>
              </a:p>
            </p:txBody>
          </p:sp>
          <p:sp>
            <p:nvSpPr>
              <p:cNvPr id="12" name="Freeform 36"/>
              <p:cNvSpPr>
                <a:spLocks noChangeArrowheads="1"/>
              </p:cNvSpPr>
              <p:nvPr/>
            </p:nvSpPr>
            <p:spPr bwMode="auto">
              <a:xfrm>
                <a:off x="7770957" y="4847055"/>
                <a:ext cx="45000" cy="17927"/>
              </a:xfrm>
              <a:custGeom>
                <a:avLst/>
                <a:gdLst>
                  <a:gd name="T0" fmla="*/ 429 w 543"/>
                  <a:gd name="T1" fmla="*/ 217 h 218"/>
                  <a:gd name="T2" fmla="*/ 0 w 543"/>
                  <a:gd name="T3" fmla="*/ 217 h 218"/>
                  <a:gd name="T4" fmla="*/ 113 w 543"/>
                  <a:gd name="T5" fmla="*/ 0 h 218"/>
                  <a:gd name="T6" fmla="*/ 542 w 543"/>
                  <a:gd name="T7" fmla="*/ 0 h 218"/>
                  <a:gd name="T8" fmla="*/ 429 w 543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3" h="218">
                    <a:moveTo>
                      <a:pt x="429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42" y="0"/>
                    </a:lnTo>
                    <a:lnTo>
                      <a:pt x="429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194848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4704075" y="5057948"/>
            <a:ext cx="7487925" cy="1531371"/>
            <a:chOff x="3528056" y="3793461"/>
            <a:chExt cx="5615944" cy="1148528"/>
          </a:xfrm>
        </p:grpSpPr>
        <p:sp>
          <p:nvSpPr>
            <p:cNvPr id="5" name="Freeform: Shape 2"/>
            <p:cNvSpPr/>
            <p:nvPr/>
          </p:nvSpPr>
          <p:spPr>
            <a:xfrm>
              <a:off x="3719546" y="4335812"/>
              <a:ext cx="278337" cy="2783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3858714" y="4329897"/>
              <a:ext cx="0" cy="1836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3858714" y="4607611"/>
              <a:ext cx="0" cy="1836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 flipH="1">
              <a:off x="3908217" y="4341106"/>
              <a:ext cx="6849" cy="1681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 flipH="1">
              <a:off x="3802673" y="4597960"/>
              <a:ext cx="6849" cy="1681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3951182" y="4374108"/>
              <a:ext cx="12764" cy="1276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3753482" y="4569317"/>
              <a:ext cx="13076" cy="124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3978891" y="4422053"/>
              <a:ext cx="16812" cy="68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3721414" y="4526664"/>
              <a:ext cx="17123" cy="68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3988231" y="4477472"/>
              <a:ext cx="1837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3710828" y="4478094"/>
              <a:ext cx="18057" cy="31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 flipV="1">
              <a:off x="3978891" y="4526664"/>
              <a:ext cx="17124" cy="653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 flipV="1">
              <a:off x="3721414" y="4422365"/>
              <a:ext cx="17123" cy="68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3754728" y="4372862"/>
              <a:ext cx="12764" cy="1276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3949937" y="4570251"/>
              <a:ext cx="12764" cy="1276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3799249" y="4342350"/>
              <a:ext cx="7471" cy="1681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3911019" y="4596714"/>
              <a:ext cx="7160" cy="1681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9"/>
            <p:cNvSpPr/>
            <p:nvPr/>
          </p:nvSpPr>
          <p:spPr>
            <a:xfrm>
              <a:off x="3814815" y="4472491"/>
              <a:ext cx="87175" cy="2593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21"/>
            <p:cNvSpPr/>
            <p:nvPr/>
          </p:nvSpPr>
          <p:spPr>
            <a:xfrm>
              <a:off x="4067000" y="4508605"/>
              <a:ext cx="129206" cy="2904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2"/>
            <p:cNvSpPr/>
            <p:nvPr/>
          </p:nvSpPr>
          <p:spPr>
            <a:xfrm>
              <a:off x="4094086" y="4680464"/>
              <a:ext cx="75344" cy="12391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4085680" y="4586752"/>
              <a:ext cx="924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4"/>
            <p:cNvSpPr/>
            <p:nvPr/>
          </p:nvSpPr>
          <p:spPr>
            <a:xfrm>
              <a:off x="3754104" y="4508605"/>
              <a:ext cx="307291" cy="26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3904481" y="4738374"/>
              <a:ext cx="1475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eform: Shape 26"/>
            <p:cNvSpPr/>
            <p:nvPr/>
          </p:nvSpPr>
          <p:spPr>
            <a:xfrm>
              <a:off x="4663524" y="4508605"/>
              <a:ext cx="306980" cy="26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 flipH="1">
              <a:off x="4672864" y="4738374"/>
              <a:ext cx="1478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3765625" y="4814029"/>
              <a:ext cx="17435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4196517" y="4517012"/>
              <a:ext cx="3290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4196517" y="4538806"/>
              <a:ext cx="3290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4196517" y="4580214"/>
              <a:ext cx="3290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4196517" y="4727788"/>
              <a:ext cx="3290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4196517" y="4770130"/>
              <a:ext cx="3290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34"/>
            <p:cNvSpPr/>
            <p:nvPr/>
          </p:nvSpPr>
          <p:spPr>
            <a:xfrm>
              <a:off x="4064197" y="4426412"/>
              <a:ext cx="31757" cy="5666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5"/>
            <p:cNvSpPr/>
            <p:nvPr/>
          </p:nvSpPr>
          <p:spPr>
            <a:xfrm>
              <a:off x="4168807" y="4426412"/>
              <a:ext cx="31445" cy="5666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6"/>
            <p:cNvSpPr/>
            <p:nvPr/>
          </p:nvSpPr>
          <p:spPr>
            <a:xfrm>
              <a:off x="4085057" y="4364768"/>
              <a:ext cx="93090" cy="1186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7"/>
            <p:cNvSpPr/>
            <p:nvPr/>
          </p:nvSpPr>
          <p:spPr>
            <a:xfrm>
              <a:off x="4119616" y="4530088"/>
              <a:ext cx="23973" cy="2864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8"/>
            <p:cNvSpPr/>
            <p:nvPr/>
          </p:nvSpPr>
          <p:spPr>
            <a:xfrm>
              <a:off x="4528403" y="4508605"/>
              <a:ext cx="129206" cy="2904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9"/>
            <p:cNvSpPr/>
            <p:nvPr/>
          </p:nvSpPr>
          <p:spPr>
            <a:xfrm>
              <a:off x="4555490" y="4680464"/>
              <a:ext cx="75344" cy="12391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4546772" y="4586752"/>
              <a:ext cx="927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41"/>
            <p:cNvSpPr/>
            <p:nvPr/>
          </p:nvSpPr>
          <p:spPr>
            <a:xfrm>
              <a:off x="4525601" y="4426412"/>
              <a:ext cx="31445" cy="5666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2"/>
            <p:cNvSpPr/>
            <p:nvPr/>
          </p:nvSpPr>
          <p:spPr>
            <a:xfrm>
              <a:off x="4629900" y="4426412"/>
              <a:ext cx="31757" cy="5666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3"/>
            <p:cNvSpPr/>
            <p:nvPr/>
          </p:nvSpPr>
          <p:spPr>
            <a:xfrm>
              <a:off x="4546150" y="4364768"/>
              <a:ext cx="93090" cy="1186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4"/>
            <p:cNvSpPr/>
            <p:nvPr/>
          </p:nvSpPr>
          <p:spPr>
            <a:xfrm>
              <a:off x="6109713" y="4653378"/>
              <a:ext cx="221984" cy="3300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581020" y="4530088"/>
              <a:ext cx="23973" cy="2864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4028705" y="4814029"/>
              <a:ext cx="64727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4123663" y="4841427"/>
              <a:ext cx="0" cy="4421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4173789" y="4839248"/>
              <a:ext cx="3714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4285870" y="4875363"/>
              <a:ext cx="13574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4323854" y="4898402"/>
              <a:ext cx="653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5936297" y="4918639"/>
              <a:ext cx="1357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5974281" y="4941989"/>
              <a:ext cx="653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6137423" y="4894354"/>
              <a:ext cx="3269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4669751" y="4834889"/>
              <a:ext cx="0" cy="656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 flipH="1">
              <a:off x="4689988" y="4843295"/>
              <a:ext cx="29639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 flipV="1">
              <a:off x="4689988" y="4743977"/>
              <a:ext cx="0" cy="37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Freeform: Shape 57"/>
            <p:cNvSpPr/>
            <p:nvPr/>
          </p:nvSpPr>
          <p:spPr>
            <a:xfrm>
              <a:off x="4722678" y="4791924"/>
              <a:ext cx="247826" cy="34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58"/>
            <p:cNvSpPr/>
            <p:nvPr/>
          </p:nvSpPr>
          <p:spPr>
            <a:xfrm>
              <a:off x="4801447" y="4262337"/>
              <a:ext cx="68495" cy="4816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59"/>
            <p:cNvSpPr/>
            <p:nvPr/>
          </p:nvSpPr>
          <p:spPr>
            <a:xfrm>
              <a:off x="4844100" y="4161463"/>
              <a:ext cx="233192" cy="598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60"/>
            <p:cNvSpPr/>
            <p:nvPr/>
          </p:nvSpPr>
          <p:spPr>
            <a:xfrm>
              <a:off x="4870252" y="4203806"/>
              <a:ext cx="85618" cy="54017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4974240" y="4549080"/>
              <a:ext cx="2490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4985137" y="4583327"/>
              <a:ext cx="0" cy="174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3"/>
            <p:cNvSpPr/>
            <p:nvPr/>
          </p:nvSpPr>
          <p:spPr>
            <a:xfrm>
              <a:off x="5015337" y="4135311"/>
              <a:ext cx="62268" cy="59590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Freeform: Shape 64"/>
            <p:cNvSpPr/>
            <p:nvPr/>
          </p:nvSpPr>
          <p:spPr>
            <a:xfrm>
              <a:off x="5077916" y="3856974"/>
              <a:ext cx="91533" cy="94086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5095662" y="4021361"/>
              <a:ext cx="0" cy="77741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6"/>
            <p:cNvSpPr/>
            <p:nvPr/>
          </p:nvSpPr>
          <p:spPr>
            <a:xfrm>
              <a:off x="5077916" y="4087988"/>
              <a:ext cx="132008" cy="71047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7"/>
            <p:cNvSpPr/>
            <p:nvPr/>
          </p:nvSpPr>
          <p:spPr>
            <a:xfrm>
              <a:off x="5169759" y="4066194"/>
              <a:ext cx="92467" cy="59621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5204008" y="4168935"/>
              <a:ext cx="0" cy="4772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69"/>
            <p:cNvSpPr/>
            <p:nvPr/>
          </p:nvSpPr>
          <p:spPr>
            <a:xfrm>
              <a:off x="5167581" y="4677040"/>
              <a:ext cx="326282" cy="1195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>
              <a:off x="5066085" y="4824615"/>
              <a:ext cx="1603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5051141" y="4834889"/>
              <a:ext cx="0" cy="48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5275304" y="4520436"/>
              <a:ext cx="647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5293673" y="4473736"/>
              <a:ext cx="0" cy="467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5313288" y="4473736"/>
              <a:ext cx="0" cy="467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Freeform: Shape 75"/>
            <p:cNvSpPr/>
            <p:nvPr/>
          </p:nvSpPr>
          <p:spPr>
            <a:xfrm>
              <a:off x="5293673" y="4583327"/>
              <a:ext cx="33002" cy="744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76"/>
            <p:cNvSpPr/>
            <p:nvPr/>
          </p:nvSpPr>
          <p:spPr>
            <a:xfrm>
              <a:off x="5199648" y="4774178"/>
              <a:ext cx="62890" cy="258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77"/>
            <p:cNvSpPr/>
            <p:nvPr/>
          </p:nvSpPr>
          <p:spPr>
            <a:xfrm>
              <a:off x="5321071" y="4796906"/>
              <a:ext cx="146017" cy="361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8"/>
            <p:cNvSpPr/>
            <p:nvPr/>
          </p:nvSpPr>
          <p:spPr>
            <a:xfrm>
              <a:off x="5033083" y="4652444"/>
              <a:ext cx="44522" cy="7378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5028413" y="4333323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5028413" y="4358229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5028413" y="4383136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5028413" y="4407732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5028413" y="4432639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5028413" y="4457546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5028413" y="4482454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5028413" y="4507360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5028413" y="4532267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5028413" y="4557486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5028413" y="4582082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5028413" y="4606989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5234207" y="4269810"/>
              <a:ext cx="2833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5403265" y="4854192"/>
              <a:ext cx="179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5520328" y="4793792"/>
              <a:ext cx="2166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Freeform: Shape 94"/>
            <p:cNvSpPr/>
            <p:nvPr/>
          </p:nvSpPr>
          <p:spPr>
            <a:xfrm>
              <a:off x="5340062" y="4114140"/>
              <a:ext cx="246892" cy="6404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Freeform: Shape 95"/>
            <p:cNvSpPr/>
            <p:nvPr/>
          </p:nvSpPr>
          <p:spPr>
            <a:xfrm>
              <a:off x="5558311" y="4574921"/>
              <a:ext cx="273666" cy="1840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5646261" y="4841427"/>
              <a:ext cx="44708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7"/>
            <p:cNvSpPr/>
            <p:nvPr/>
          </p:nvSpPr>
          <p:spPr>
            <a:xfrm>
              <a:off x="5561425" y="4620065"/>
              <a:ext cx="46701" cy="1522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8"/>
            <p:cNvSpPr/>
            <p:nvPr/>
          </p:nvSpPr>
          <p:spPr>
            <a:xfrm>
              <a:off x="5626547" y="4724675"/>
              <a:ext cx="90600" cy="211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5595876" y="4469999"/>
              <a:ext cx="0" cy="2708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100"/>
            <p:cNvSpPr/>
            <p:nvPr/>
          </p:nvSpPr>
          <p:spPr>
            <a:xfrm>
              <a:off x="5618862" y="4107602"/>
              <a:ext cx="207975" cy="6002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101"/>
            <p:cNvSpPr/>
            <p:nvPr/>
          </p:nvSpPr>
          <p:spPr>
            <a:xfrm>
              <a:off x="5695762" y="4170181"/>
              <a:ext cx="85929" cy="993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Freeform: Shape 102"/>
            <p:cNvSpPr/>
            <p:nvPr/>
          </p:nvSpPr>
          <p:spPr>
            <a:xfrm>
              <a:off x="5681441" y="4237742"/>
              <a:ext cx="109903" cy="1245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3"/>
            <p:cNvSpPr/>
            <p:nvPr/>
          </p:nvSpPr>
          <p:spPr>
            <a:xfrm>
              <a:off x="5667120" y="4305924"/>
              <a:ext cx="129206" cy="14570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4"/>
            <p:cNvSpPr/>
            <p:nvPr/>
          </p:nvSpPr>
          <p:spPr>
            <a:xfrm>
              <a:off x="5652487" y="4372862"/>
              <a:ext cx="151622" cy="1687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5"/>
            <p:cNvSpPr/>
            <p:nvPr/>
          </p:nvSpPr>
          <p:spPr>
            <a:xfrm>
              <a:off x="5638165" y="4441668"/>
              <a:ext cx="168123" cy="188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6"/>
            <p:cNvSpPr/>
            <p:nvPr/>
          </p:nvSpPr>
          <p:spPr>
            <a:xfrm>
              <a:off x="5664940" y="4176407"/>
              <a:ext cx="86241" cy="996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7"/>
            <p:cNvSpPr/>
            <p:nvPr/>
          </p:nvSpPr>
          <p:spPr>
            <a:xfrm>
              <a:off x="5655289" y="4243968"/>
              <a:ext cx="109903" cy="1245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8"/>
            <p:cNvSpPr/>
            <p:nvPr/>
          </p:nvSpPr>
          <p:spPr>
            <a:xfrm>
              <a:off x="5650308" y="4312462"/>
              <a:ext cx="129206" cy="14570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9"/>
            <p:cNvSpPr/>
            <p:nvPr/>
          </p:nvSpPr>
          <p:spPr>
            <a:xfrm>
              <a:off x="5642835" y="4379089"/>
              <a:ext cx="151311" cy="1687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10"/>
            <p:cNvSpPr/>
            <p:nvPr/>
          </p:nvSpPr>
          <p:spPr>
            <a:xfrm>
              <a:off x="5717245" y="4448206"/>
              <a:ext cx="91222" cy="1270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11"/>
            <p:cNvSpPr/>
            <p:nvPr/>
          </p:nvSpPr>
          <p:spPr>
            <a:xfrm>
              <a:off x="5898936" y="4270121"/>
              <a:ext cx="201747" cy="4819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12"/>
            <p:cNvSpPr/>
            <p:nvPr/>
          </p:nvSpPr>
          <p:spPr>
            <a:xfrm>
              <a:off x="5867803" y="4240854"/>
              <a:ext cx="46701" cy="5059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3"/>
            <p:cNvSpPr/>
            <p:nvPr/>
          </p:nvSpPr>
          <p:spPr>
            <a:xfrm>
              <a:off x="5897692" y="4218749"/>
              <a:ext cx="218249" cy="44241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 flipV="1">
              <a:off x="5919796" y="4311529"/>
              <a:ext cx="163143" cy="93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 flipV="1">
              <a:off x="5921042" y="4335502"/>
              <a:ext cx="160651" cy="6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 flipV="1">
              <a:off x="5922599" y="4359474"/>
              <a:ext cx="157848" cy="6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5924156" y="4383448"/>
              <a:ext cx="155046" cy="6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5925713" y="4407110"/>
              <a:ext cx="152556" cy="6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5927270" y="4431083"/>
              <a:ext cx="149754" cy="31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5928827" y="4455055"/>
              <a:ext cx="147263" cy="6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5930382" y="4479029"/>
              <a:ext cx="144150" cy="31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5931627" y="4503001"/>
              <a:ext cx="141659" cy="31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5933184" y="4526975"/>
              <a:ext cx="139168" cy="31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5934741" y="4550947"/>
              <a:ext cx="136367" cy="31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5936297" y="4574921"/>
              <a:ext cx="1338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5937854" y="4598893"/>
              <a:ext cx="131075" cy="31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>
              <a:off x="5939411" y="4622867"/>
              <a:ext cx="12827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5940656" y="4646840"/>
              <a:ext cx="1257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5942213" y="4670813"/>
              <a:ext cx="12329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5943770" y="4694786"/>
              <a:ext cx="120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5945327" y="4718760"/>
              <a:ext cx="1176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5946572" y="4742733"/>
              <a:ext cx="11519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5826837" y="4629405"/>
              <a:ext cx="524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5851118" y="4674861"/>
              <a:ext cx="0" cy="4981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5910457" y="4772621"/>
              <a:ext cx="1329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6086052" y="4790990"/>
              <a:ext cx="404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6205918" y="4798150"/>
              <a:ext cx="0" cy="712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6262892" y="4828974"/>
              <a:ext cx="566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6267251" y="4858239"/>
              <a:ext cx="485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6094146" y="4663030"/>
              <a:ext cx="759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6284063" y="4659915"/>
              <a:ext cx="4421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6311461" y="4626602"/>
              <a:ext cx="0" cy="3331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6322047" y="4724675"/>
              <a:ext cx="0" cy="6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6157659" y="4598893"/>
              <a:ext cx="0" cy="42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6178519" y="4599205"/>
              <a:ext cx="0" cy="41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6199689" y="4599205"/>
              <a:ext cx="0" cy="41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6220861" y="4599205"/>
              <a:ext cx="0" cy="41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6242032" y="4599517"/>
              <a:ext cx="0" cy="4140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6262892" y="4599517"/>
              <a:ext cx="0" cy="4140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6284063" y="4599828"/>
              <a:ext cx="0" cy="410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6141471" y="4686692"/>
              <a:ext cx="0" cy="815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6301810" y="4686692"/>
              <a:ext cx="0" cy="815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6148631" y="4577723"/>
              <a:ext cx="146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Freeform: Shape 154"/>
            <p:cNvSpPr/>
            <p:nvPr/>
          </p:nvSpPr>
          <p:spPr>
            <a:xfrm>
              <a:off x="6150811" y="4472802"/>
              <a:ext cx="139168" cy="8312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6205918" y="4452877"/>
              <a:ext cx="30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6211210" y="4433262"/>
              <a:ext cx="208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6221795" y="4369437"/>
              <a:ext cx="0" cy="379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6193464" y="4755808"/>
              <a:ext cx="5572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6359407" y="4621621"/>
              <a:ext cx="622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6347887" y="4538495"/>
              <a:ext cx="0" cy="734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6430081" y="4538495"/>
              <a:ext cx="0" cy="734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6351934" y="4630962"/>
              <a:ext cx="0" cy="1868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6371238" y="4630962"/>
              <a:ext cx="0" cy="1868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6390229" y="4630962"/>
              <a:ext cx="0" cy="1868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6409222" y="4630962"/>
              <a:ext cx="0" cy="1868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6428213" y="4630962"/>
              <a:ext cx="0" cy="1868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Freeform: Shape 167"/>
            <p:cNvSpPr/>
            <p:nvPr/>
          </p:nvSpPr>
          <p:spPr>
            <a:xfrm>
              <a:off x="6344775" y="4450386"/>
              <a:ext cx="86241" cy="740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Freeform: Shape 168"/>
            <p:cNvSpPr/>
            <p:nvPr/>
          </p:nvSpPr>
          <p:spPr>
            <a:xfrm>
              <a:off x="6370304" y="4558109"/>
              <a:ext cx="37983" cy="379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6366568" y="4517635"/>
              <a:ext cx="438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6366568" y="4532579"/>
              <a:ext cx="438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6367191" y="4488680"/>
              <a:ext cx="414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Freeform: Shape 172"/>
            <p:cNvSpPr/>
            <p:nvPr/>
          </p:nvSpPr>
          <p:spPr>
            <a:xfrm>
              <a:off x="6367191" y="4417695"/>
              <a:ext cx="40785" cy="323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6388674" y="4462528"/>
              <a:ext cx="0" cy="1774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 flipV="1">
              <a:off x="6388051" y="4386561"/>
              <a:ext cx="0" cy="31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6464638" y="4668322"/>
              <a:ext cx="0" cy="7036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6442224" y="4738685"/>
              <a:ext cx="438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6380267" y="4858239"/>
              <a:ext cx="35834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Freeform: Shape 178"/>
            <p:cNvSpPr/>
            <p:nvPr/>
          </p:nvSpPr>
          <p:spPr>
            <a:xfrm>
              <a:off x="6475225" y="3793461"/>
              <a:ext cx="263081" cy="10495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6606299" y="3870983"/>
              <a:ext cx="106444" cy="96515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6723673" y="4707863"/>
              <a:ext cx="104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6766015" y="4768573"/>
              <a:ext cx="0" cy="962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7352888" y="4768573"/>
              <a:ext cx="0" cy="962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6907363" y="4858239"/>
              <a:ext cx="21700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6949394" y="4883769"/>
              <a:ext cx="6289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6735193" y="4578034"/>
              <a:ext cx="5541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6866578" y="4578034"/>
              <a:ext cx="1220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6792791" y="4499577"/>
              <a:ext cx="0" cy="1634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Freeform: Shape 188"/>
            <p:cNvSpPr/>
            <p:nvPr/>
          </p:nvSpPr>
          <p:spPr>
            <a:xfrm>
              <a:off x="6866578" y="4499577"/>
              <a:ext cx="288611" cy="2658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6828594" y="4499577"/>
              <a:ext cx="0" cy="3642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6828594" y="4575232"/>
              <a:ext cx="0" cy="1556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6771620" y="4484633"/>
              <a:ext cx="11581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Freeform: Shape 192"/>
            <p:cNvSpPr/>
            <p:nvPr/>
          </p:nvSpPr>
          <p:spPr>
            <a:xfrm>
              <a:off x="6780960" y="4434196"/>
              <a:ext cx="92467" cy="382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6829528" y="4362588"/>
              <a:ext cx="0" cy="719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Freeform: Shape 194"/>
            <p:cNvSpPr/>
            <p:nvPr/>
          </p:nvSpPr>
          <p:spPr>
            <a:xfrm>
              <a:off x="7064900" y="4578034"/>
              <a:ext cx="355860" cy="5417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6991113" y="4499577"/>
              <a:ext cx="0" cy="1634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7064900" y="4499577"/>
              <a:ext cx="0" cy="1634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7027229" y="4499577"/>
              <a:ext cx="0" cy="3642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7027229" y="4575232"/>
              <a:ext cx="0" cy="1556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6970252" y="4484633"/>
              <a:ext cx="1158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Freeform: Shape 200"/>
            <p:cNvSpPr/>
            <p:nvPr/>
          </p:nvSpPr>
          <p:spPr>
            <a:xfrm>
              <a:off x="6979592" y="4434196"/>
              <a:ext cx="92467" cy="382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7028163" y="4362588"/>
              <a:ext cx="0" cy="719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202"/>
            <p:cNvSpPr/>
            <p:nvPr/>
          </p:nvSpPr>
          <p:spPr>
            <a:xfrm>
              <a:off x="7086694" y="4677352"/>
              <a:ext cx="37361" cy="320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3"/>
            <p:cNvSpPr/>
            <p:nvPr/>
          </p:nvSpPr>
          <p:spPr>
            <a:xfrm>
              <a:off x="7162038" y="4677352"/>
              <a:ext cx="37361" cy="320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Freeform: Shape 204"/>
            <p:cNvSpPr/>
            <p:nvPr/>
          </p:nvSpPr>
          <p:spPr>
            <a:xfrm>
              <a:off x="7237382" y="4677352"/>
              <a:ext cx="37361" cy="320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5"/>
            <p:cNvSpPr/>
            <p:nvPr/>
          </p:nvSpPr>
          <p:spPr>
            <a:xfrm>
              <a:off x="7312725" y="4677352"/>
              <a:ext cx="37361" cy="320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6"/>
            <p:cNvSpPr/>
            <p:nvPr/>
          </p:nvSpPr>
          <p:spPr>
            <a:xfrm>
              <a:off x="6783762" y="4800330"/>
              <a:ext cx="163453" cy="4078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7"/>
            <p:cNvSpPr/>
            <p:nvPr/>
          </p:nvSpPr>
          <p:spPr>
            <a:xfrm>
              <a:off x="6979282" y="4800330"/>
              <a:ext cx="163142" cy="4078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8"/>
            <p:cNvSpPr/>
            <p:nvPr/>
          </p:nvSpPr>
          <p:spPr>
            <a:xfrm>
              <a:off x="7174803" y="4800330"/>
              <a:ext cx="163453" cy="4078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7468705" y="4614461"/>
              <a:ext cx="4508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Straight Connector 211"/>
            <p:cNvSpPr/>
            <p:nvPr/>
          </p:nvSpPr>
          <p:spPr>
            <a:xfrm>
              <a:off x="7575184" y="4650265"/>
              <a:ext cx="2375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7646792" y="4685446"/>
              <a:ext cx="9495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Freeform: Shape 212"/>
            <p:cNvSpPr/>
            <p:nvPr/>
          </p:nvSpPr>
          <p:spPr>
            <a:xfrm>
              <a:off x="7966848" y="4602631"/>
              <a:ext cx="47324" cy="11830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7966848" y="4733081"/>
              <a:ext cx="3580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Freeform: Shape 214"/>
            <p:cNvSpPr/>
            <p:nvPr/>
          </p:nvSpPr>
          <p:spPr>
            <a:xfrm>
              <a:off x="7753581" y="4721251"/>
              <a:ext cx="82504" cy="16563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Straight Connector 216"/>
            <p:cNvSpPr/>
            <p:nvPr/>
          </p:nvSpPr>
          <p:spPr>
            <a:xfrm>
              <a:off x="7753581" y="4899025"/>
              <a:ext cx="47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7468705" y="4744912"/>
              <a:ext cx="9464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>
              <a:off x="7385579" y="4530711"/>
              <a:ext cx="0" cy="47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8073950" y="4614461"/>
              <a:ext cx="53827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Freeform: Shape 527"/>
            <p:cNvSpPr/>
            <p:nvPr/>
          </p:nvSpPr>
          <p:spPr>
            <a:xfrm>
              <a:off x="3939662" y="4785385"/>
              <a:ext cx="47013" cy="11114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940285" y="4905603"/>
              <a:ext cx="264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Freeform: Shape 566"/>
            <p:cNvSpPr/>
            <p:nvPr/>
          </p:nvSpPr>
          <p:spPr>
            <a:xfrm>
              <a:off x="7108176" y="3956291"/>
              <a:ext cx="241598" cy="6071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Freeform: Shape 567"/>
            <p:cNvSpPr/>
            <p:nvPr/>
          </p:nvSpPr>
          <p:spPr>
            <a:xfrm>
              <a:off x="7166396" y="4077402"/>
              <a:ext cx="130140" cy="16999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7221192" y="4105734"/>
              <a:ext cx="189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7215899" y="4133131"/>
              <a:ext cx="292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7211230" y="4160529"/>
              <a:ext cx="3860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7206248" y="4187615"/>
              <a:ext cx="482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7201266" y="4215014"/>
              <a:ext cx="582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7196285" y="4242411"/>
              <a:ext cx="6787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Straight Connector 230"/>
            <p:cNvSpPr/>
            <p:nvPr/>
          </p:nvSpPr>
          <p:spPr>
            <a:xfrm>
              <a:off x="7191303" y="4269810"/>
              <a:ext cx="7783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7186634" y="4297207"/>
              <a:ext cx="874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7181652" y="4324605"/>
              <a:ext cx="9713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7176671" y="4352003"/>
              <a:ext cx="1067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7171689" y="4379089"/>
              <a:ext cx="1167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7166708" y="4406176"/>
              <a:ext cx="12640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7161726" y="4433573"/>
              <a:ext cx="1363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>
              <a:off x="7157056" y="4460971"/>
              <a:ext cx="14570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7151763" y="4488369"/>
              <a:ext cx="1559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>
              <a:off x="7147094" y="4515767"/>
              <a:ext cx="1656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>
              <a:off x="7142112" y="4543164"/>
              <a:ext cx="17528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>
              <a:off x="3729777" y="4722891"/>
              <a:ext cx="0" cy="950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Straight Connector 242"/>
            <p:cNvSpPr/>
            <p:nvPr/>
          </p:nvSpPr>
          <p:spPr>
            <a:xfrm flipH="1">
              <a:off x="3603849" y="4814212"/>
              <a:ext cx="9579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 flipH="1">
              <a:off x="3528056" y="4785657"/>
              <a:ext cx="17343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grpSp>
          <p:nvGrpSpPr>
            <p:cNvPr id="245" name="Group 244"/>
            <p:cNvGrpSpPr/>
            <p:nvPr/>
          </p:nvGrpSpPr>
          <p:grpSpPr>
            <a:xfrm>
              <a:off x="8670783" y="4540580"/>
              <a:ext cx="88441" cy="190566"/>
              <a:chOff x="8659336" y="4698473"/>
              <a:chExt cx="82504" cy="177774"/>
            </a:xfrm>
          </p:grpSpPr>
          <p:sp>
            <p:nvSpPr>
              <p:cNvPr id="251" name="Freeform: Shape 214"/>
              <p:cNvSpPr/>
              <p:nvPr/>
            </p:nvSpPr>
            <p:spPr>
              <a:xfrm>
                <a:off x="8659336" y="4698473"/>
                <a:ext cx="82504" cy="165633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66" h="533">
                    <a:moveTo>
                      <a:pt x="266" y="0"/>
                    </a:moveTo>
                    <a:lnTo>
                      <a:pt x="266" y="533"/>
                    </a:lnTo>
                    <a:lnTo>
                      <a:pt x="0" y="356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3600" tIns="3600" rIns="3600" bIns="360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252" name="Straight Connector 251"/>
              <p:cNvSpPr/>
              <p:nvPr/>
            </p:nvSpPr>
            <p:spPr>
              <a:xfrm>
                <a:off x="8659336" y="4876247"/>
                <a:ext cx="47324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3600" tIns="3600" rIns="3600" bIns="360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24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sp>
          <p:nvSpPr>
            <p:cNvPr id="246" name="Straight Connector 245"/>
            <p:cNvSpPr/>
            <p:nvPr/>
          </p:nvSpPr>
          <p:spPr>
            <a:xfrm>
              <a:off x="8175979" y="4650265"/>
              <a:ext cx="3687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Straight Connector 246"/>
            <p:cNvSpPr/>
            <p:nvPr/>
          </p:nvSpPr>
          <p:spPr>
            <a:xfrm>
              <a:off x="8616390" y="4804376"/>
              <a:ext cx="29221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Straight Connector 247"/>
            <p:cNvSpPr/>
            <p:nvPr/>
          </p:nvSpPr>
          <p:spPr>
            <a:xfrm>
              <a:off x="8233948" y="4841115"/>
              <a:ext cx="9464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Straight Connector 248"/>
            <p:cNvSpPr/>
            <p:nvPr/>
          </p:nvSpPr>
          <p:spPr>
            <a:xfrm>
              <a:off x="8826670" y="4614461"/>
              <a:ext cx="31733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Straight Connector 249"/>
            <p:cNvSpPr/>
            <p:nvPr/>
          </p:nvSpPr>
          <p:spPr>
            <a:xfrm>
              <a:off x="8525760" y="4804376"/>
              <a:ext cx="324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82500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4897008" y="5112471"/>
            <a:ext cx="7294992" cy="1480652"/>
            <a:chOff x="667320" y="1340267"/>
            <a:chExt cx="5737304" cy="1164491"/>
          </a:xfrm>
        </p:grpSpPr>
        <p:sp>
          <p:nvSpPr>
            <p:cNvPr id="5" name="Freeform: Shape 2"/>
            <p:cNvSpPr/>
            <p:nvPr/>
          </p:nvSpPr>
          <p:spPr>
            <a:xfrm>
              <a:off x="4672025" y="1719776"/>
              <a:ext cx="341330" cy="34133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4842689" y="1712522"/>
              <a:ext cx="0" cy="225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4842689" y="2053088"/>
              <a:ext cx="0" cy="225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 flipH="1">
              <a:off x="4903395" y="1726267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 flipH="1">
              <a:off x="4773965" y="2041252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4956085" y="1766738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4713641" y="2006127"/>
              <a:ext cx="16035" cy="1527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4990064" y="1825535"/>
              <a:ext cx="20617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4674315" y="1953820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5001518" y="1893496"/>
              <a:ext cx="225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4661334" y="1894259"/>
              <a:ext cx="2214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 flipV="1">
              <a:off x="4990064" y="1953820"/>
              <a:ext cx="21000" cy="80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 flipV="1">
              <a:off x="4674315" y="1825917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4715169" y="1765211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4954558" y="2007272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4769766" y="1727793"/>
              <a:ext cx="9162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4906831" y="2039724"/>
              <a:ext cx="8781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9"/>
            <p:cNvSpPr/>
            <p:nvPr/>
          </p:nvSpPr>
          <p:spPr>
            <a:xfrm>
              <a:off x="4788855" y="1887387"/>
              <a:ext cx="106904" cy="31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4685005" y="2184427"/>
              <a:ext cx="0" cy="1164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1"/>
            <p:cNvSpPr/>
            <p:nvPr/>
          </p:nvSpPr>
          <p:spPr>
            <a:xfrm>
              <a:off x="5098113" y="1931676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2"/>
            <p:cNvSpPr/>
            <p:nvPr/>
          </p:nvSpPr>
          <p:spPr>
            <a:xfrm>
              <a:off x="5131330" y="2142429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>
              <a:off x="5121021" y="2027507"/>
              <a:ext cx="11339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4"/>
            <p:cNvSpPr/>
            <p:nvPr/>
          </p:nvSpPr>
          <p:spPr>
            <a:xfrm>
              <a:off x="4714404" y="1931676"/>
              <a:ext cx="376837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4898814" y="2213444"/>
              <a:ext cx="18097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6"/>
            <p:cNvSpPr/>
            <p:nvPr/>
          </p:nvSpPr>
          <p:spPr>
            <a:xfrm>
              <a:off x="5829643" y="1931676"/>
              <a:ext cx="376455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 flipH="1">
              <a:off x="5841097" y="2213444"/>
              <a:ext cx="18135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4728532" y="2306222"/>
              <a:ext cx="2138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5256942" y="1941984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5256942" y="1968710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5256942" y="2019490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5256942" y="2200463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5256942" y="2252388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4"/>
            <p:cNvSpPr/>
            <p:nvPr/>
          </p:nvSpPr>
          <p:spPr>
            <a:xfrm>
              <a:off x="5094677" y="1831262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5"/>
            <p:cNvSpPr/>
            <p:nvPr/>
          </p:nvSpPr>
          <p:spPr>
            <a:xfrm>
              <a:off x="5222962" y="1831262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6"/>
            <p:cNvSpPr/>
            <p:nvPr/>
          </p:nvSpPr>
          <p:spPr>
            <a:xfrm>
              <a:off x="5120258" y="1755284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5162638" y="1958020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8"/>
            <p:cNvSpPr/>
            <p:nvPr/>
          </p:nvSpPr>
          <p:spPr>
            <a:xfrm>
              <a:off x="5663942" y="1931676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9"/>
            <p:cNvSpPr/>
            <p:nvPr/>
          </p:nvSpPr>
          <p:spPr>
            <a:xfrm>
              <a:off x="5697158" y="2142429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5686468" y="2027507"/>
              <a:ext cx="11377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5660505" y="1831262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5788409" y="1831262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5685704" y="1755284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5728466" y="1958020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5051152" y="2306222"/>
              <a:ext cx="7937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5167601" y="2339820"/>
              <a:ext cx="0" cy="5421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5229071" y="2337148"/>
              <a:ext cx="455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5366519" y="2381436"/>
              <a:ext cx="1664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5413099" y="2409690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5837279" y="2331802"/>
              <a:ext cx="0" cy="80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 flipH="1">
              <a:off x="5862096" y="2342111"/>
              <a:ext cx="3634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 flipV="1">
              <a:off x="5862096" y="2220317"/>
              <a:ext cx="0" cy="45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57"/>
            <p:cNvSpPr/>
            <p:nvPr/>
          </p:nvSpPr>
          <p:spPr>
            <a:xfrm>
              <a:off x="5902185" y="2279114"/>
              <a:ext cx="303913" cy="423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6323311" y="2319203"/>
              <a:ext cx="813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6304985" y="2331802"/>
              <a:ext cx="0" cy="5994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Freeform: Shape 76"/>
            <p:cNvSpPr/>
            <p:nvPr/>
          </p:nvSpPr>
          <p:spPr>
            <a:xfrm>
              <a:off x="6266423" y="2257351"/>
              <a:ext cx="77124" cy="316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871201" y="2152738"/>
              <a:ext cx="3798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226"/>
            <p:cNvSpPr/>
            <p:nvPr/>
          </p:nvSpPr>
          <p:spPr>
            <a:xfrm>
              <a:off x="918926" y="1784301"/>
              <a:ext cx="547883" cy="350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227"/>
            <p:cNvSpPr/>
            <p:nvPr/>
          </p:nvSpPr>
          <p:spPr>
            <a:xfrm>
              <a:off x="1501935" y="1461297"/>
              <a:ext cx="339039" cy="71434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228"/>
            <p:cNvSpPr/>
            <p:nvPr/>
          </p:nvSpPr>
          <p:spPr>
            <a:xfrm>
              <a:off x="1702380" y="2030944"/>
              <a:ext cx="277951" cy="2172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1879918" y="1985128"/>
              <a:ext cx="843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1905880" y="1933966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1651219" y="1340267"/>
              <a:ext cx="423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1620675" y="1377301"/>
              <a:ext cx="1030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233"/>
            <p:cNvSpPr/>
            <p:nvPr/>
          </p:nvSpPr>
          <p:spPr>
            <a:xfrm>
              <a:off x="1597768" y="1405936"/>
              <a:ext cx="151575" cy="549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1588604" y="2265369"/>
              <a:ext cx="1977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 flipV="1">
              <a:off x="1895190" y="2074086"/>
              <a:ext cx="0" cy="1679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 flipV="1">
              <a:off x="2037983" y="1522767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 flipV="1">
              <a:off x="2169323" y="1522767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Freeform: Shape 238"/>
            <p:cNvSpPr/>
            <p:nvPr/>
          </p:nvSpPr>
          <p:spPr>
            <a:xfrm>
              <a:off x="2044475" y="1498713"/>
              <a:ext cx="116831" cy="358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 flipV="1">
              <a:off x="2103653" y="1384174"/>
              <a:ext cx="0" cy="1145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240"/>
            <p:cNvSpPr/>
            <p:nvPr/>
          </p:nvSpPr>
          <p:spPr>
            <a:xfrm>
              <a:off x="2074254" y="1559038"/>
              <a:ext cx="58034" cy="320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241"/>
            <p:cNvSpPr/>
            <p:nvPr/>
          </p:nvSpPr>
          <p:spPr>
            <a:xfrm>
              <a:off x="2058982" y="1621654"/>
              <a:ext cx="87050" cy="164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Freeform: Shape 242"/>
            <p:cNvSpPr/>
            <p:nvPr/>
          </p:nvSpPr>
          <p:spPr>
            <a:xfrm>
              <a:off x="2055546" y="1661743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243"/>
            <p:cNvSpPr/>
            <p:nvPr/>
          </p:nvSpPr>
          <p:spPr>
            <a:xfrm>
              <a:off x="2055546" y="1693431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244"/>
            <p:cNvSpPr/>
            <p:nvPr/>
          </p:nvSpPr>
          <p:spPr>
            <a:xfrm>
              <a:off x="2055546" y="172474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245"/>
            <p:cNvSpPr/>
            <p:nvPr/>
          </p:nvSpPr>
          <p:spPr>
            <a:xfrm>
              <a:off x="2055546" y="175604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246"/>
            <p:cNvSpPr/>
            <p:nvPr/>
          </p:nvSpPr>
          <p:spPr>
            <a:xfrm>
              <a:off x="2055546" y="178735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Freeform: Shape 247"/>
            <p:cNvSpPr/>
            <p:nvPr/>
          </p:nvSpPr>
          <p:spPr>
            <a:xfrm>
              <a:off x="2055546" y="1818663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Freeform: Shape 248"/>
            <p:cNvSpPr/>
            <p:nvPr/>
          </p:nvSpPr>
          <p:spPr>
            <a:xfrm>
              <a:off x="2055546" y="184997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Freeform: Shape 249"/>
            <p:cNvSpPr/>
            <p:nvPr/>
          </p:nvSpPr>
          <p:spPr>
            <a:xfrm>
              <a:off x="2055546" y="188166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Freeform: Shape 250"/>
            <p:cNvSpPr/>
            <p:nvPr/>
          </p:nvSpPr>
          <p:spPr>
            <a:xfrm>
              <a:off x="2055546" y="1912967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Freeform: Shape 251"/>
            <p:cNvSpPr/>
            <p:nvPr/>
          </p:nvSpPr>
          <p:spPr>
            <a:xfrm>
              <a:off x="2055546" y="1944274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Freeform: Shape 252"/>
            <p:cNvSpPr/>
            <p:nvPr/>
          </p:nvSpPr>
          <p:spPr>
            <a:xfrm>
              <a:off x="2055546" y="1975964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Freeform: Shape 253"/>
            <p:cNvSpPr/>
            <p:nvPr/>
          </p:nvSpPr>
          <p:spPr>
            <a:xfrm>
              <a:off x="2055546" y="2007654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Freeform: Shape 254"/>
            <p:cNvSpPr/>
            <p:nvPr/>
          </p:nvSpPr>
          <p:spPr>
            <a:xfrm>
              <a:off x="2055546" y="2038961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Freeform: Shape 255"/>
            <p:cNvSpPr/>
            <p:nvPr/>
          </p:nvSpPr>
          <p:spPr>
            <a:xfrm>
              <a:off x="2186122" y="174039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Freeform: Shape 256"/>
            <p:cNvSpPr/>
            <p:nvPr/>
          </p:nvSpPr>
          <p:spPr>
            <a:xfrm>
              <a:off x="2186122" y="176177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Freeform: Shape 257"/>
            <p:cNvSpPr/>
            <p:nvPr/>
          </p:nvSpPr>
          <p:spPr>
            <a:xfrm>
              <a:off x="2186122" y="1782773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Freeform: Shape 258"/>
            <p:cNvSpPr/>
            <p:nvPr/>
          </p:nvSpPr>
          <p:spPr>
            <a:xfrm>
              <a:off x="2186122" y="180415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Freeform: Shape 259"/>
            <p:cNvSpPr/>
            <p:nvPr/>
          </p:nvSpPr>
          <p:spPr>
            <a:xfrm>
              <a:off x="2186122" y="1825535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Freeform: Shape 260"/>
            <p:cNvSpPr/>
            <p:nvPr/>
          </p:nvSpPr>
          <p:spPr>
            <a:xfrm>
              <a:off x="2186122" y="184691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Freeform: Shape 261"/>
            <p:cNvSpPr/>
            <p:nvPr/>
          </p:nvSpPr>
          <p:spPr>
            <a:xfrm>
              <a:off x="2186122" y="186829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Freeform: Shape 262"/>
            <p:cNvSpPr/>
            <p:nvPr/>
          </p:nvSpPr>
          <p:spPr>
            <a:xfrm>
              <a:off x="2186122" y="189005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Freeform: Shape 263"/>
            <p:cNvSpPr/>
            <p:nvPr/>
          </p:nvSpPr>
          <p:spPr>
            <a:xfrm>
              <a:off x="2186122" y="1911058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264"/>
            <p:cNvSpPr/>
            <p:nvPr/>
          </p:nvSpPr>
          <p:spPr>
            <a:xfrm>
              <a:off x="2186122" y="193243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265"/>
            <p:cNvSpPr/>
            <p:nvPr/>
          </p:nvSpPr>
          <p:spPr>
            <a:xfrm>
              <a:off x="2186122" y="1953820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Freeform: Shape 266"/>
            <p:cNvSpPr/>
            <p:nvPr/>
          </p:nvSpPr>
          <p:spPr>
            <a:xfrm>
              <a:off x="2186122" y="197520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267"/>
            <p:cNvSpPr/>
            <p:nvPr/>
          </p:nvSpPr>
          <p:spPr>
            <a:xfrm>
              <a:off x="2186122" y="199658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268"/>
            <p:cNvSpPr/>
            <p:nvPr/>
          </p:nvSpPr>
          <p:spPr>
            <a:xfrm>
              <a:off x="2186122" y="201796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Freeform: Shape 269"/>
            <p:cNvSpPr/>
            <p:nvPr/>
          </p:nvSpPr>
          <p:spPr>
            <a:xfrm>
              <a:off x="2186122" y="203972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2348770" y="1735812"/>
              <a:ext cx="0" cy="30887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271"/>
            <p:cNvSpPr/>
            <p:nvPr/>
          </p:nvSpPr>
          <p:spPr>
            <a:xfrm>
              <a:off x="2077308" y="2061870"/>
              <a:ext cx="652497" cy="1061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272"/>
            <p:cNvSpPr/>
            <p:nvPr/>
          </p:nvSpPr>
          <p:spPr>
            <a:xfrm>
              <a:off x="2465599" y="2179082"/>
              <a:ext cx="483740" cy="523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2000185" y="1909913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Straight Connector 108"/>
            <p:cNvSpPr/>
            <p:nvPr/>
          </p:nvSpPr>
          <p:spPr>
            <a:xfrm>
              <a:off x="2018129" y="1909913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275"/>
            <p:cNvSpPr/>
            <p:nvPr/>
          </p:nvSpPr>
          <p:spPr>
            <a:xfrm>
              <a:off x="2025765" y="2115322"/>
              <a:ext cx="190137" cy="10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276"/>
            <p:cNvSpPr/>
            <p:nvPr/>
          </p:nvSpPr>
          <p:spPr>
            <a:xfrm>
              <a:off x="2055546" y="2142048"/>
              <a:ext cx="103086" cy="26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277"/>
            <p:cNvSpPr/>
            <p:nvPr/>
          </p:nvSpPr>
          <p:spPr>
            <a:xfrm>
              <a:off x="2300280" y="2080577"/>
              <a:ext cx="146611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278"/>
            <p:cNvSpPr/>
            <p:nvPr/>
          </p:nvSpPr>
          <p:spPr>
            <a:xfrm>
              <a:off x="2519433" y="2068360"/>
              <a:ext cx="88960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279"/>
            <p:cNvSpPr/>
            <p:nvPr/>
          </p:nvSpPr>
          <p:spPr>
            <a:xfrm>
              <a:off x="2746986" y="2062251"/>
              <a:ext cx="82469" cy="553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280"/>
            <p:cNvSpPr/>
            <p:nvPr/>
          </p:nvSpPr>
          <p:spPr>
            <a:xfrm>
              <a:off x="2763022" y="2149302"/>
              <a:ext cx="31308" cy="534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281"/>
            <p:cNvSpPr/>
            <p:nvPr/>
          </p:nvSpPr>
          <p:spPr>
            <a:xfrm>
              <a:off x="2415965" y="1899986"/>
              <a:ext cx="60324" cy="198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282"/>
            <p:cNvSpPr/>
            <p:nvPr/>
          </p:nvSpPr>
          <p:spPr>
            <a:xfrm>
              <a:off x="2396876" y="1881660"/>
              <a:ext cx="137066" cy="1603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283"/>
            <p:cNvSpPr/>
            <p:nvPr/>
          </p:nvSpPr>
          <p:spPr>
            <a:xfrm>
              <a:off x="1424430" y="1973292"/>
              <a:ext cx="42380" cy="614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Freeform: Shape 284"/>
            <p:cNvSpPr/>
            <p:nvPr/>
          </p:nvSpPr>
          <p:spPr>
            <a:xfrm>
              <a:off x="1396177" y="2177173"/>
              <a:ext cx="74069" cy="244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285"/>
            <p:cNvSpPr/>
            <p:nvPr/>
          </p:nvSpPr>
          <p:spPr>
            <a:xfrm>
              <a:off x="3682016" y="2014526"/>
              <a:ext cx="34362" cy="6299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286"/>
            <p:cNvSpPr/>
            <p:nvPr/>
          </p:nvSpPr>
          <p:spPr>
            <a:xfrm>
              <a:off x="3733942" y="2122194"/>
              <a:ext cx="59561" cy="225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Freeform: Shape 287"/>
            <p:cNvSpPr/>
            <p:nvPr/>
          </p:nvSpPr>
          <p:spPr>
            <a:xfrm>
              <a:off x="3845809" y="2053088"/>
              <a:ext cx="160356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2187267" y="1659452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2187267" y="1685414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2187267" y="1711759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>
              <a:off x="2202158" y="1610963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2591976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2614120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>
              <a:off x="2636264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2658409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2680553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2702699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2725224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2746986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3479661" y="1683887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3644981" y="1683887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Freeform: Shape 302"/>
            <p:cNvSpPr/>
            <p:nvPr/>
          </p:nvSpPr>
          <p:spPr>
            <a:xfrm>
              <a:off x="2571358" y="1525440"/>
              <a:ext cx="193573" cy="5303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2559141" y="1496422"/>
              <a:ext cx="2210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2816856" y="1933966"/>
              <a:ext cx="0" cy="545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2785930" y="1993909"/>
              <a:ext cx="6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3149786" y="2006890"/>
              <a:ext cx="1084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3242945" y="1973292"/>
              <a:ext cx="0" cy="309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3350995" y="1999254"/>
              <a:ext cx="1160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3410556" y="1937784"/>
              <a:ext cx="0" cy="45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3396047" y="2183664"/>
              <a:ext cx="0" cy="855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3504860" y="2238261"/>
              <a:ext cx="185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3496461" y="2145102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3496461" y="1985509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3496461" y="1829735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3516697" y="2006890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3547241" y="2006890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3577785" y="2006890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3607946" y="2006890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3516697" y="1849207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3547241" y="1849207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3577785" y="1849207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3607946" y="1849207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3516697" y="1695341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3547241" y="1695341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3577785" y="1695341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3607946" y="1695341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Freeform: Shape 327"/>
            <p:cNvSpPr/>
            <p:nvPr/>
          </p:nvSpPr>
          <p:spPr>
            <a:xfrm>
              <a:off x="3489970" y="1586910"/>
              <a:ext cx="144321" cy="8285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Freeform: Shape 328"/>
            <p:cNvSpPr/>
            <p:nvPr/>
          </p:nvSpPr>
          <p:spPr>
            <a:xfrm>
              <a:off x="2304861" y="2235589"/>
              <a:ext cx="1040406" cy="419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Freeform: Shape 329"/>
            <p:cNvSpPr/>
            <p:nvPr/>
          </p:nvSpPr>
          <p:spPr>
            <a:xfrm>
              <a:off x="2818001" y="2078669"/>
              <a:ext cx="439834" cy="11683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Freeform: Shape 330"/>
            <p:cNvSpPr/>
            <p:nvPr/>
          </p:nvSpPr>
          <p:spPr>
            <a:xfrm>
              <a:off x="3286089" y="2027507"/>
              <a:ext cx="59179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331"/>
            <p:cNvSpPr/>
            <p:nvPr/>
          </p:nvSpPr>
          <p:spPr>
            <a:xfrm>
              <a:off x="3340686" y="2090123"/>
              <a:ext cx="101559" cy="416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Freeform: Shape 332"/>
            <p:cNvSpPr/>
            <p:nvPr/>
          </p:nvSpPr>
          <p:spPr>
            <a:xfrm>
              <a:off x="3753795" y="1665942"/>
              <a:ext cx="267260" cy="391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3811064" y="2196645"/>
              <a:ext cx="855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4035945" y="2169537"/>
              <a:ext cx="331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4386437" y="2145102"/>
              <a:ext cx="0" cy="116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Freeform: Shape 336"/>
            <p:cNvSpPr/>
            <p:nvPr/>
          </p:nvSpPr>
          <p:spPr>
            <a:xfrm>
              <a:off x="4109633" y="2014526"/>
              <a:ext cx="442507" cy="1817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4306259" y="2038961"/>
              <a:ext cx="0" cy="4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3677052" y="1949620"/>
              <a:ext cx="0" cy="278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Freeform: Shape 339"/>
            <p:cNvSpPr/>
            <p:nvPr/>
          </p:nvSpPr>
          <p:spPr>
            <a:xfrm>
              <a:off x="4048926" y="1720540"/>
              <a:ext cx="34744" cy="3581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1571805" y="2361965"/>
              <a:ext cx="0" cy="7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744696" y="2375328"/>
              <a:ext cx="0" cy="683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Freeform: Shape 342"/>
            <p:cNvSpPr/>
            <p:nvPr/>
          </p:nvSpPr>
          <p:spPr>
            <a:xfrm>
              <a:off x="667320" y="2191300"/>
              <a:ext cx="3895510" cy="1183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Freeform: Shape 343"/>
            <p:cNvSpPr/>
            <p:nvPr/>
          </p:nvSpPr>
          <p:spPr>
            <a:xfrm>
              <a:off x="848293" y="2217262"/>
              <a:ext cx="507413" cy="328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1028503" y="2341347"/>
              <a:ext cx="3428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1158315" y="2389454"/>
              <a:ext cx="109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1654655" y="2340202"/>
              <a:ext cx="15745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3315869" y="2355856"/>
              <a:ext cx="3130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3481570" y="2398236"/>
              <a:ext cx="15844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3950803" y="2341347"/>
              <a:ext cx="5856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2187267" y="2238261"/>
              <a:ext cx="530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Freeform: Shape 351"/>
            <p:cNvSpPr/>
            <p:nvPr/>
          </p:nvSpPr>
          <p:spPr>
            <a:xfrm>
              <a:off x="2866872" y="1564002"/>
              <a:ext cx="281769" cy="623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2866872" y="165563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866872" y="169801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866872" y="173008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866872" y="176215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2866872" y="179384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866872" y="1825535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2866872" y="185760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866872" y="188967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2866872" y="192136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866872" y="195343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2866872" y="198512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866872" y="201719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2866872" y="204927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866872" y="208134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2866872" y="2109213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866872" y="2141284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2866872" y="2173355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369"/>
            <p:cNvSpPr/>
            <p:nvPr/>
          </p:nvSpPr>
          <p:spPr>
            <a:xfrm>
              <a:off x="2916124" y="1524295"/>
              <a:ext cx="81323" cy="813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3018446" y="1591873"/>
              <a:ext cx="7750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1532861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1532861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1532861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1532861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1532861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1532861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Straight Connector 211"/>
            <p:cNvSpPr/>
            <p:nvPr/>
          </p:nvSpPr>
          <p:spPr>
            <a:xfrm>
              <a:off x="1532861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1532861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1532861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1532861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1532861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Straight Connector 216"/>
            <p:cNvSpPr/>
            <p:nvPr/>
          </p:nvSpPr>
          <p:spPr>
            <a:xfrm>
              <a:off x="1532861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1532861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>
              <a:off x="1532861" y="203323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1532861" y="207485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1532861" y="2116084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1532861" y="2157320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1563023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1563023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1563023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1563023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1563023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1563023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1563023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1563023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Straight Connector 230"/>
            <p:cNvSpPr/>
            <p:nvPr/>
          </p:nvSpPr>
          <p:spPr>
            <a:xfrm>
              <a:off x="1563023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1563023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1563023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1563023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1563023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1563023" y="203323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1563023" y="207485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>
              <a:off x="1563023" y="2116084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1563023" y="2157320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>
              <a:off x="1593567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>
              <a:off x="1593567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>
              <a:off x="1593567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Straight Connector 242"/>
            <p:cNvSpPr/>
            <p:nvPr/>
          </p:nvSpPr>
          <p:spPr>
            <a:xfrm>
              <a:off x="1593567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>
              <a:off x="1593567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Straight Connector 244"/>
            <p:cNvSpPr/>
            <p:nvPr/>
          </p:nvSpPr>
          <p:spPr>
            <a:xfrm>
              <a:off x="1593567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Straight Connector 245"/>
            <p:cNvSpPr/>
            <p:nvPr/>
          </p:nvSpPr>
          <p:spPr>
            <a:xfrm>
              <a:off x="1593567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Straight Connector 246"/>
            <p:cNvSpPr/>
            <p:nvPr/>
          </p:nvSpPr>
          <p:spPr>
            <a:xfrm>
              <a:off x="1593567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Straight Connector 247"/>
            <p:cNvSpPr/>
            <p:nvPr/>
          </p:nvSpPr>
          <p:spPr>
            <a:xfrm>
              <a:off x="1593567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Straight Connector 248"/>
            <p:cNvSpPr/>
            <p:nvPr/>
          </p:nvSpPr>
          <p:spPr>
            <a:xfrm>
              <a:off x="1593567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Straight Connector 249"/>
            <p:cNvSpPr/>
            <p:nvPr/>
          </p:nvSpPr>
          <p:spPr>
            <a:xfrm>
              <a:off x="1593567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Straight Connector 250"/>
            <p:cNvSpPr/>
            <p:nvPr/>
          </p:nvSpPr>
          <p:spPr>
            <a:xfrm>
              <a:off x="1593567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Straight Connector 251"/>
            <p:cNvSpPr/>
            <p:nvPr/>
          </p:nvSpPr>
          <p:spPr>
            <a:xfrm>
              <a:off x="1593567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Straight Connector 252"/>
            <p:cNvSpPr/>
            <p:nvPr/>
          </p:nvSpPr>
          <p:spPr>
            <a:xfrm>
              <a:off x="1593567" y="203323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Straight Connector 253"/>
            <p:cNvSpPr/>
            <p:nvPr/>
          </p:nvSpPr>
          <p:spPr>
            <a:xfrm>
              <a:off x="1593567" y="207485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Straight Connector 254"/>
            <p:cNvSpPr/>
            <p:nvPr/>
          </p:nvSpPr>
          <p:spPr>
            <a:xfrm>
              <a:off x="1593567" y="2116084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Straight Connector 255"/>
            <p:cNvSpPr/>
            <p:nvPr/>
          </p:nvSpPr>
          <p:spPr>
            <a:xfrm>
              <a:off x="1593567" y="2157320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Straight Connector 256"/>
            <p:cNvSpPr/>
            <p:nvPr/>
          </p:nvSpPr>
          <p:spPr>
            <a:xfrm>
              <a:off x="1624111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Straight Connector 257"/>
            <p:cNvSpPr/>
            <p:nvPr/>
          </p:nvSpPr>
          <p:spPr>
            <a:xfrm>
              <a:off x="1624111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Straight Connector 258"/>
            <p:cNvSpPr/>
            <p:nvPr/>
          </p:nvSpPr>
          <p:spPr>
            <a:xfrm>
              <a:off x="1624111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Straight Connector 259"/>
            <p:cNvSpPr/>
            <p:nvPr/>
          </p:nvSpPr>
          <p:spPr>
            <a:xfrm>
              <a:off x="1624111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Straight Connector 260"/>
            <p:cNvSpPr/>
            <p:nvPr/>
          </p:nvSpPr>
          <p:spPr>
            <a:xfrm>
              <a:off x="1624111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Straight Connector 261"/>
            <p:cNvSpPr/>
            <p:nvPr/>
          </p:nvSpPr>
          <p:spPr>
            <a:xfrm>
              <a:off x="1624111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Straight Connector 262"/>
            <p:cNvSpPr/>
            <p:nvPr/>
          </p:nvSpPr>
          <p:spPr>
            <a:xfrm>
              <a:off x="1624111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Straight Connector 263"/>
            <p:cNvSpPr/>
            <p:nvPr/>
          </p:nvSpPr>
          <p:spPr>
            <a:xfrm>
              <a:off x="1624111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Straight Connector 264"/>
            <p:cNvSpPr/>
            <p:nvPr/>
          </p:nvSpPr>
          <p:spPr>
            <a:xfrm>
              <a:off x="1624111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Straight Connector 265"/>
            <p:cNvSpPr/>
            <p:nvPr/>
          </p:nvSpPr>
          <p:spPr>
            <a:xfrm>
              <a:off x="1624111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Straight Connector 266"/>
            <p:cNvSpPr/>
            <p:nvPr/>
          </p:nvSpPr>
          <p:spPr>
            <a:xfrm>
              <a:off x="1624111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Straight Connector 267"/>
            <p:cNvSpPr/>
            <p:nvPr/>
          </p:nvSpPr>
          <p:spPr>
            <a:xfrm>
              <a:off x="1624111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Straight Connector 268"/>
            <p:cNvSpPr/>
            <p:nvPr/>
          </p:nvSpPr>
          <p:spPr>
            <a:xfrm>
              <a:off x="1624111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Straight Connector 269"/>
            <p:cNvSpPr/>
            <p:nvPr/>
          </p:nvSpPr>
          <p:spPr>
            <a:xfrm>
              <a:off x="1624111" y="203323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Straight Connector 270"/>
            <p:cNvSpPr/>
            <p:nvPr/>
          </p:nvSpPr>
          <p:spPr>
            <a:xfrm>
              <a:off x="1624111" y="207485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Straight Connector 271"/>
            <p:cNvSpPr/>
            <p:nvPr/>
          </p:nvSpPr>
          <p:spPr>
            <a:xfrm>
              <a:off x="1624111" y="2116084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1624111" y="2157320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Straight Connector 273"/>
            <p:cNvSpPr/>
            <p:nvPr/>
          </p:nvSpPr>
          <p:spPr>
            <a:xfrm>
              <a:off x="1654655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1654655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1654655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1654655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1654655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1654655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Straight Connector 279"/>
            <p:cNvSpPr/>
            <p:nvPr/>
          </p:nvSpPr>
          <p:spPr>
            <a:xfrm>
              <a:off x="1654655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Straight Connector 280"/>
            <p:cNvSpPr/>
            <p:nvPr/>
          </p:nvSpPr>
          <p:spPr>
            <a:xfrm>
              <a:off x="1654655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Straight Connector 281"/>
            <p:cNvSpPr/>
            <p:nvPr/>
          </p:nvSpPr>
          <p:spPr>
            <a:xfrm>
              <a:off x="1654655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Straight Connector 282"/>
            <p:cNvSpPr/>
            <p:nvPr/>
          </p:nvSpPr>
          <p:spPr>
            <a:xfrm>
              <a:off x="1654655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Straight Connector 283"/>
            <p:cNvSpPr/>
            <p:nvPr/>
          </p:nvSpPr>
          <p:spPr>
            <a:xfrm>
              <a:off x="1654655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Straight Connector 284"/>
            <p:cNvSpPr/>
            <p:nvPr/>
          </p:nvSpPr>
          <p:spPr>
            <a:xfrm>
              <a:off x="1654655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Straight Connector 285"/>
            <p:cNvSpPr/>
            <p:nvPr/>
          </p:nvSpPr>
          <p:spPr>
            <a:xfrm>
              <a:off x="1654655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Straight Connector 286"/>
            <p:cNvSpPr/>
            <p:nvPr/>
          </p:nvSpPr>
          <p:spPr>
            <a:xfrm>
              <a:off x="1654655" y="203323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Straight Connector 287"/>
            <p:cNvSpPr/>
            <p:nvPr/>
          </p:nvSpPr>
          <p:spPr>
            <a:xfrm>
              <a:off x="1654655" y="207485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Straight Connector 288"/>
            <p:cNvSpPr/>
            <p:nvPr/>
          </p:nvSpPr>
          <p:spPr>
            <a:xfrm>
              <a:off x="1654655" y="2116084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Straight Connector 289"/>
            <p:cNvSpPr/>
            <p:nvPr/>
          </p:nvSpPr>
          <p:spPr>
            <a:xfrm>
              <a:off x="1654655" y="2157320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1685199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1685199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1685199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1685199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1685199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1685199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1685199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1685199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1685199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1685199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1685199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1685199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1685199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1685199" y="203323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Straight Connector 304"/>
            <p:cNvSpPr/>
            <p:nvPr/>
          </p:nvSpPr>
          <p:spPr>
            <a:xfrm>
              <a:off x="1685199" y="207485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1685199" y="2116084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1685199" y="2157320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1806994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1806994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1806994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1806994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1806994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1806994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1806994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1806994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1806994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1806994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1806994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1806994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1806994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1776451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1776451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1776451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1776451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1776451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1776451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1776451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1776451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1776451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Straight Connector 329"/>
            <p:cNvSpPr/>
            <p:nvPr/>
          </p:nvSpPr>
          <p:spPr>
            <a:xfrm>
              <a:off x="1776451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Straight Connector 330"/>
            <p:cNvSpPr/>
            <p:nvPr/>
          </p:nvSpPr>
          <p:spPr>
            <a:xfrm>
              <a:off x="1776451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Straight Connector 331"/>
            <p:cNvSpPr/>
            <p:nvPr/>
          </p:nvSpPr>
          <p:spPr>
            <a:xfrm>
              <a:off x="1776451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Straight Connector 332"/>
            <p:cNvSpPr/>
            <p:nvPr/>
          </p:nvSpPr>
          <p:spPr>
            <a:xfrm>
              <a:off x="1776451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Straight Connector 333"/>
            <p:cNvSpPr/>
            <p:nvPr/>
          </p:nvSpPr>
          <p:spPr>
            <a:xfrm>
              <a:off x="1745906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Straight Connector 334"/>
            <p:cNvSpPr/>
            <p:nvPr/>
          </p:nvSpPr>
          <p:spPr>
            <a:xfrm>
              <a:off x="1745906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1745906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1745906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1745906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Straight Connector 338"/>
            <p:cNvSpPr/>
            <p:nvPr/>
          </p:nvSpPr>
          <p:spPr>
            <a:xfrm>
              <a:off x="1745906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1745906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1745906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Straight Connector 341"/>
            <p:cNvSpPr/>
            <p:nvPr/>
          </p:nvSpPr>
          <p:spPr>
            <a:xfrm>
              <a:off x="1745906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1745906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1745906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Straight Connector 344"/>
            <p:cNvSpPr/>
            <p:nvPr/>
          </p:nvSpPr>
          <p:spPr>
            <a:xfrm>
              <a:off x="1745906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Straight Connector 345"/>
            <p:cNvSpPr/>
            <p:nvPr/>
          </p:nvSpPr>
          <p:spPr>
            <a:xfrm>
              <a:off x="1745906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1715743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1715743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1715743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1715743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1715743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1715743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1715743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Straight Connector 353"/>
            <p:cNvSpPr/>
            <p:nvPr/>
          </p:nvSpPr>
          <p:spPr>
            <a:xfrm>
              <a:off x="1715743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1715743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1715743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1715743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1715743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1715743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Freeform: Shape 527"/>
            <p:cNvSpPr/>
            <p:nvPr/>
          </p:nvSpPr>
          <p:spPr>
            <a:xfrm>
              <a:off x="4941957" y="2271095"/>
              <a:ext cx="57652" cy="13630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4942721" y="2411599"/>
              <a:ext cx="324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Freeform: Shape 531"/>
            <p:cNvSpPr/>
            <p:nvPr/>
          </p:nvSpPr>
          <p:spPr>
            <a:xfrm>
              <a:off x="4536486" y="2220317"/>
              <a:ext cx="116831" cy="2760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4538394" y="2504758"/>
              <a:ext cx="656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797454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202603" y="4554415"/>
            <a:ext cx="11786796" cy="1621536"/>
            <a:chOff x="-5539320" y="3765960"/>
            <a:chExt cx="9964800" cy="1370880"/>
          </a:xfrm>
        </p:grpSpPr>
        <p:sp>
          <p:nvSpPr>
            <p:cNvPr id="5" name="Freeform: Shape 2"/>
            <p:cNvSpPr/>
            <p:nvPr/>
          </p:nvSpPr>
          <p:spPr>
            <a:xfrm>
              <a:off x="-777239" y="4393080"/>
              <a:ext cx="32184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-616320" y="4386240"/>
              <a:ext cx="0" cy="212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-616320" y="470736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 flipH="1">
              <a:off x="-559080" y="4399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 flipH="1">
              <a:off x="-681120" y="4696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-509399" y="44373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-737999" y="4663080"/>
              <a:ext cx="15119" cy="14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-477360" y="449280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-775080" y="46137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-466560" y="4556880"/>
              <a:ext cx="21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-787320" y="4557600"/>
              <a:ext cx="208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 flipV="1">
              <a:off x="-477360" y="4613760"/>
              <a:ext cx="19801" cy="7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 flipV="1">
              <a:off x="-775080" y="44931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-736559" y="443592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-510839" y="46641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-685079" y="4400639"/>
              <a:ext cx="8639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-555840" y="4694759"/>
              <a:ext cx="828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9"/>
            <p:cNvSpPr/>
            <p:nvPr/>
          </p:nvSpPr>
          <p:spPr>
            <a:xfrm>
              <a:off x="-667080" y="4551120"/>
              <a:ext cx="100800" cy="29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-765000" y="4831200"/>
              <a:ext cx="0" cy="10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1"/>
            <p:cNvSpPr/>
            <p:nvPr/>
          </p:nvSpPr>
          <p:spPr>
            <a:xfrm>
              <a:off x="-37548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2"/>
            <p:cNvSpPr/>
            <p:nvPr/>
          </p:nvSpPr>
          <p:spPr>
            <a:xfrm>
              <a:off x="-3441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>
              <a:off x="-353880" y="4683240"/>
              <a:ext cx="106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4"/>
            <p:cNvSpPr/>
            <p:nvPr/>
          </p:nvSpPr>
          <p:spPr>
            <a:xfrm>
              <a:off x="-737280" y="4592880"/>
              <a:ext cx="35532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563400" y="4858560"/>
              <a:ext cx="170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6"/>
            <p:cNvSpPr/>
            <p:nvPr/>
          </p:nvSpPr>
          <p:spPr>
            <a:xfrm>
              <a:off x="314280" y="4592880"/>
              <a:ext cx="35496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 flipH="1">
              <a:off x="325080" y="4858560"/>
              <a:ext cx="171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-723959" y="4946040"/>
              <a:ext cx="20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-225720" y="46026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225720" y="46278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-225720" y="46756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-225720" y="484632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-225720" y="48952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4"/>
            <p:cNvSpPr/>
            <p:nvPr/>
          </p:nvSpPr>
          <p:spPr>
            <a:xfrm>
              <a:off x="-37872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5"/>
            <p:cNvSpPr/>
            <p:nvPr/>
          </p:nvSpPr>
          <p:spPr>
            <a:xfrm>
              <a:off x="-25776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6"/>
            <p:cNvSpPr/>
            <p:nvPr/>
          </p:nvSpPr>
          <p:spPr>
            <a:xfrm>
              <a:off x="-35460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-31464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8"/>
            <p:cNvSpPr/>
            <p:nvPr/>
          </p:nvSpPr>
          <p:spPr>
            <a:xfrm>
              <a:off x="15804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9"/>
            <p:cNvSpPr/>
            <p:nvPr/>
          </p:nvSpPr>
          <p:spPr>
            <a:xfrm>
              <a:off x="1893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179280" y="4683240"/>
              <a:ext cx="107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15480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27540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17856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4"/>
            <p:cNvSpPr/>
            <p:nvPr/>
          </p:nvSpPr>
          <p:spPr>
            <a:xfrm>
              <a:off x="1934639" y="4760280"/>
              <a:ext cx="25668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5"/>
            <p:cNvSpPr/>
            <p:nvPr/>
          </p:nvSpPr>
          <p:spPr>
            <a:xfrm>
              <a:off x="21888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-419760" y="4946040"/>
              <a:ext cx="748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-309960" y="4977720"/>
              <a:ext cx="0" cy="5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-252000" y="4975200"/>
              <a:ext cx="429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-122400" y="5016960"/>
              <a:ext cx="15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-78480" y="50436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1734119" y="5067000"/>
              <a:ext cx="156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1778040" y="50940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966680" y="5038920"/>
              <a:ext cx="377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321480" y="4970160"/>
              <a:ext cx="0" cy="75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 flipH="1">
              <a:off x="344880" y="4979880"/>
              <a:ext cx="34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 flipV="1">
              <a:off x="344880" y="4865040"/>
              <a:ext cx="0" cy="431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57"/>
            <p:cNvSpPr/>
            <p:nvPr/>
          </p:nvSpPr>
          <p:spPr>
            <a:xfrm>
              <a:off x="382680" y="4920480"/>
              <a:ext cx="286560" cy="39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58"/>
            <p:cNvSpPr/>
            <p:nvPr/>
          </p:nvSpPr>
          <p:spPr>
            <a:xfrm>
              <a:off x="473760" y="4308120"/>
              <a:ext cx="79200" cy="556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9"/>
            <p:cNvSpPr/>
            <p:nvPr/>
          </p:nvSpPr>
          <p:spPr>
            <a:xfrm>
              <a:off x="523079" y="4191479"/>
              <a:ext cx="269640" cy="69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60"/>
            <p:cNvSpPr/>
            <p:nvPr/>
          </p:nvSpPr>
          <p:spPr>
            <a:xfrm>
              <a:off x="553320" y="4240440"/>
              <a:ext cx="99000" cy="624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673560" y="463968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686160" y="4679280"/>
              <a:ext cx="0" cy="2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Freeform: Shape 63"/>
            <p:cNvSpPr/>
            <p:nvPr/>
          </p:nvSpPr>
          <p:spPr>
            <a:xfrm>
              <a:off x="721080" y="4161240"/>
              <a:ext cx="72000" cy="68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Freeform: Shape 64"/>
            <p:cNvSpPr/>
            <p:nvPr/>
          </p:nvSpPr>
          <p:spPr>
            <a:xfrm>
              <a:off x="793440" y="3839400"/>
              <a:ext cx="105840" cy="1087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813960" y="4029480"/>
              <a:ext cx="0" cy="898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6"/>
            <p:cNvSpPr/>
            <p:nvPr/>
          </p:nvSpPr>
          <p:spPr>
            <a:xfrm>
              <a:off x="793440" y="4106520"/>
              <a:ext cx="152640" cy="82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67"/>
            <p:cNvSpPr/>
            <p:nvPr/>
          </p:nvSpPr>
          <p:spPr>
            <a:xfrm>
              <a:off x="899639" y="4081320"/>
              <a:ext cx="10692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939240" y="4200120"/>
              <a:ext cx="0" cy="55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9"/>
            <p:cNvSpPr/>
            <p:nvPr/>
          </p:nvSpPr>
          <p:spPr>
            <a:xfrm>
              <a:off x="897119" y="4787640"/>
              <a:ext cx="377280" cy="13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779760" y="4958280"/>
              <a:ext cx="185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762480" y="4970160"/>
              <a:ext cx="0" cy="56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1021679" y="4606560"/>
              <a:ext cx="748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1042919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065600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75"/>
            <p:cNvSpPr/>
            <p:nvPr/>
          </p:nvSpPr>
          <p:spPr>
            <a:xfrm>
              <a:off x="1042919" y="4679280"/>
              <a:ext cx="38160" cy="8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76"/>
            <p:cNvSpPr/>
            <p:nvPr/>
          </p:nvSpPr>
          <p:spPr>
            <a:xfrm>
              <a:off x="934199" y="4899960"/>
              <a:ext cx="72720" cy="2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7"/>
            <p:cNvSpPr/>
            <p:nvPr/>
          </p:nvSpPr>
          <p:spPr>
            <a:xfrm>
              <a:off x="1074600" y="4926240"/>
              <a:ext cx="168840" cy="41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8"/>
            <p:cNvSpPr/>
            <p:nvPr/>
          </p:nvSpPr>
          <p:spPr>
            <a:xfrm>
              <a:off x="741600" y="4759200"/>
              <a:ext cx="51480" cy="85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736200" y="43902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736200" y="44190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36200" y="44478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36200" y="4476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36200" y="45050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36200" y="4533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36200" y="4562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36200" y="45914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36200" y="4620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36200" y="46494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36200" y="4677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36200" y="4706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974160" y="4316760"/>
              <a:ext cx="32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1169640" y="4992480"/>
              <a:ext cx="207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1305000" y="4922640"/>
              <a:ext cx="250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Freeform: Shape 94"/>
            <p:cNvSpPr/>
            <p:nvPr/>
          </p:nvSpPr>
          <p:spPr>
            <a:xfrm>
              <a:off x="1096560" y="4136760"/>
              <a:ext cx="285480" cy="740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Freeform: Shape 95"/>
            <p:cNvSpPr/>
            <p:nvPr/>
          </p:nvSpPr>
          <p:spPr>
            <a:xfrm>
              <a:off x="1348920" y="4669560"/>
              <a:ext cx="316440" cy="212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1428120" y="4977720"/>
              <a:ext cx="51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7"/>
            <p:cNvSpPr/>
            <p:nvPr/>
          </p:nvSpPr>
          <p:spPr>
            <a:xfrm>
              <a:off x="1352520" y="4721760"/>
              <a:ext cx="54000" cy="17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Freeform: Shape 98"/>
            <p:cNvSpPr/>
            <p:nvPr/>
          </p:nvSpPr>
          <p:spPr>
            <a:xfrm>
              <a:off x="1435320" y="4842720"/>
              <a:ext cx="10476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1377359" y="4548239"/>
              <a:ext cx="0" cy="31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100"/>
            <p:cNvSpPr/>
            <p:nvPr/>
          </p:nvSpPr>
          <p:spPr>
            <a:xfrm>
              <a:off x="1396439" y="4129200"/>
              <a:ext cx="240480" cy="694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Freeform: Shape 101"/>
            <p:cNvSpPr/>
            <p:nvPr/>
          </p:nvSpPr>
          <p:spPr>
            <a:xfrm>
              <a:off x="1485359" y="4201560"/>
              <a:ext cx="99360" cy="11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2"/>
            <p:cNvSpPr/>
            <p:nvPr/>
          </p:nvSpPr>
          <p:spPr>
            <a:xfrm>
              <a:off x="1468800" y="42796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3"/>
            <p:cNvSpPr/>
            <p:nvPr/>
          </p:nvSpPr>
          <p:spPr>
            <a:xfrm>
              <a:off x="1452240" y="4358520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4"/>
            <p:cNvSpPr/>
            <p:nvPr/>
          </p:nvSpPr>
          <p:spPr>
            <a:xfrm>
              <a:off x="1435320" y="4435920"/>
              <a:ext cx="17532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5"/>
            <p:cNvSpPr/>
            <p:nvPr/>
          </p:nvSpPr>
          <p:spPr>
            <a:xfrm>
              <a:off x="1418760" y="4515480"/>
              <a:ext cx="194400" cy="21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6"/>
            <p:cNvSpPr/>
            <p:nvPr/>
          </p:nvSpPr>
          <p:spPr>
            <a:xfrm>
              <a:off x="1449719" y="4208760"/>
              <a:ext cx="9972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7"/>
            <p:cNvSpPr/>
            <p:nvPr/>
          </p:nvSpPr>
          <p:spPr>
            <a:xfrm>
              <a:off x="1438559" y="42868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8"/>
            <p:cNvSpPr/>
            <p:nvPr/>
          </p:nvSpPr>
          <p:spPr>
            <a:xfrm>
              <a:off x="1432800" y="4366079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9"/>
            <p:cNvSpPr/>
            <p:nvPr/>
          </p:nvSpPr>
          <p:spPr>
            <a:xfrm>
              <a:off x="1424159" y="4443120"/>
              <a:ext cx="17496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10"/>
            <p:cNvSpPr/>
            <p:nvPr/>
          </p:nvSpPr>
          <p:spPr>
            <a:xfrm>
              <a:off x="1510199" y="4523040"/>
              <a:ext cx="105480" cy="14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11"/>
            <p:cNvSpPr/>
            <p:nvPr/>
          </p:nvSpPr>
          <p:spPr>
            <a:xfrm>
              <a:off x="1690919" y="4317120"/>
              <a:ext cx="233280" cy="55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2"/>
            <p:cNvSpPr/>
            <p:nvPr/>
          </p:nvSpPr>
          <p:spPr>
            <a:xfrm>
              <a:off x="1654919" y="4283280"/>
              <a:ext cx="54000" cy="585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3"/>
            <p:cNvSpPr/>
            <p:nvPr/>
          </p:nvSpPr>
          <p:spPr>
            <a:xfrm>
              <a:off x="1689479" y="4257720"/>
              <a:ext cx="252360" cy="51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 flipV="1">
              <a:off x="1715039" y="4365000"/>
              <a:ext cx="188641" cy="10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 flipV="1">
              <a:off x="1716480" y="4392720"/>
              <a:ext cx="18576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1718280" y="4420440"/>
              <a:ext cx="18252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1720080" y="4448160"/>
              <a:ext cx="179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1721880" y="4475520"/>
              <a:ext cx="17640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1723680" y="4503240"/>
              <a:ext cx="17316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1725480" y="4530960"/>
              <a:ext cx="170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1727280" y="4558680"/>
              <a:ext cx="1666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1728719" y="4586399"/>
              <a:ext cx="16380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1730519" y="4614120"/>
              <a:ext cx="16092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1732319" y="4641840"/>
              <a:ext cx="157681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1734119" y="4669560"/>
              <a:ext cx="1548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1735919" y="4697279"/>
              <a:ext cx="151561" cy="3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737719" y="4725000"/>
              <a:ext cx="1483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1739160" y="4752720"/>
              <a:ext cx="145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740960" y="4780440"/>
              <a:ext cx="142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742760" y="4808160"/>
              <a:ext cx="139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744560" y="4835880"/>
              <a:ext cx="136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745999" y="4863600"/>
              <a:ext cx="133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628999" y="4732560"/>
              <a:ext cx="39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646640" y="4785120"/>
              <a:ext cx="0" cy="57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704240" y="4898160"/>
              <a:ext cx="153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907280" y="4919400"/>
              <a:ext cx="46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2045880" y="4927680"/>
              <a:ext cx="0" cy="82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2111760" y="4963320"/>
              <a:ext cx="6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2116800" y="4997160"/>
              <a:ext cx="5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1916639" y="4771440"/>
              <a:ext cx="8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2136240" y="4767839"/>
              <a:ext cx="51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2167920" y="4729319"/>
              <a:ext cx="0" cy="38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2180160" y="4842720"/>
              <a:ext cx="0" cy="69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1990079" y="4697279"/>
              <a:ext cx="0" cy="486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201420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2038679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06316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208764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211176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2136240" y="4698360"/>
              <a:ext cx="0" cy="47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19713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21567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979640" y="467280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Freeform: Shape 154"/>
            <p:cNvSpPr/>
            <p:nvPr/>
          </p:nvSpPr>
          <p:spPr>
            <a:xfrm>
              <a:off x="1982160" y="4551480"/>
              <a:ext cx="160920" cy="96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2045880" y="4528440"/>
              <a:ext cx="34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2052000" y="4505760"/>
              <a:ext cx="24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2064240" y="44319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2031480" y="4878720"/>
              <a:ext cx="644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2223360" y="4723559"/>
              <a:ext cx="72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221004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230508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2214719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223704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225900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228096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230292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Freeform: Shape 167"/>
            <p:cNvSpPr/>
            <p:nvPr/>
          </p:nvSpPr>
          <p:spPr>
            <a:xfrm>
              <a:off x="2206440" y="4525560"/>
              <a:ext cx="99720" cy="85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Freeform: Shape 168"/>
            <p:cNvSpPr/>
            <p:nvPr/>
          </p:nvSpPr>
          <p:spPr>
            <a:xfrm>
              <a:off x="2235960" y="4650120"/>
              <a:ext cx="43920" cy="43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2231640" y="46033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2231640" y="462060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2232360" y="4569840"/>
              <a:ext cx="47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Freeform: Shape 172"/>
            <p:cNvSpPr/>
            <p:nvPr/>
          </p:nvSpPr>
          <p:spPr>
            <a:xfrm>
              <a:off x="2232360" y="4487760"/>
              <a:ext cx="4716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257200" y="4539600"/>
              <a:ext cx="0" cy="20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 flipV="1">
              <a:off x="2256480" y="4451760"/>
              <a:ext cx="0" cy="3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2345039" y="4777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2319120" y="48589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2247480" y="4997160"/>
              <a:ext cx="414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Freeform: Shape 178"/>
            <p:cNvSpPr/>
            <p:nvPr/>
          </p:nvSpPr>
          <p:spPr>
            <a:xfrm>
              <a:off x="2357280" y="3765960"/>
              <a:ext cx="304200" cy="1213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2508841" y="3855598"/>
              <a:ext cx="123081" cy="11160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2644560" y="4823280"/>
              <a:ext cx="121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26935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33721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2856960" y="4997160"/>
              <a:ext cx="250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2905560" y="5026680"/>
              <a:ext cx="7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657880" y="467316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809800" y="4673160"/>
              <a:ext cx="141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72448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Freeform: Shape 188"/>
            <p:cNvSpPr/>
            <p:nvPr/>
          </p:nvSpPr>
          <p:spPr>
            <a:xfrm>
              <a:off x="2809800" y="4582440"/>
              <a:ext cx="333720" cy="30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76588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276588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700000" y="4565160"/>
              <a:ext cx="13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Freeform: Shape 192"/>
            <p:cNvSpPr/>
            <p:nvPr/>
          </p:nvSpPr>
          <p:spPr>
            <a:xfrm>
              <a:off x="2710800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76696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Freeform: Shape 194"/>
            <p:cNvSpPr/>
            <p:nvPr/>
          </p:nvSpPr>
          <p:spPr>
            <a:xfrm>
              <a:off x="3039120" y="4673160"/>
              <a:ext cx="4114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95380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303912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99556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299556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929679" y="4565160"/>
              <a:ext cx="13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Freeform: Shape 200"/>
            <p:cNvSpPr/>
            <p:nvPr/>
          </p:nvSpPr>
          <p:spPr>
            <a:xfrm>
              <a:off x="2940479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299664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2"/>
            <p:cNvSpPr/>
            <p:nvPr/>
          </p:nvSpPr>
          <p:spPr>
            <a:xfrm>
              <a:off x="306432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Freeform: Shape 203"/>
            <p:cNvSpPr/>
            <p:nvPr/>
          </p:nvSpPr>
          <p:spPr>
            <a:xfrm>
              <a:off x="315144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4"/>
            <p:cNvSpPr/>
            <p:nvPr/>
          </p:nvSpPr>
          <p:spPr>
            <a:xfrm>
              <a:off x="323856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5"/>
            <p:cNvSpPr/>
            <p:nvPr/>
          </p:nvSpPr>
          <p:spPr>
            <a:xfrm>
              <a:off x="3325679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6"/>
            <p:cNvSpPr/>
            <p:nvPr/>
          </p:nvSpPr>
          <p:spPr>
            <a:xfrm>
              <a:off x="271404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7"/>
            <p:cNvSpPr/>
            <p:nvPr/>
          </p:nvSpPr>
          <p:spPr>
            <a:xfrm>
              <a:off x="2940120" y="4930200"/>
              <a:ext cx="18864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208"/>
            <p:cNvSpPr/>
            <p:nvPr/>
          </p:nvSpPr>
          <p:spPr>
            <a:xfrm>
              <a:off x="316620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Straight Connector 211"/>
            <p:cNvSpPr/>
            <p:nvPr/>
          </p:nvSpPr>
          <p:spPr>
            <a:xfrm>
              <a:off x="3506039" y="4715280"/>
              <a:ext cx="5212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3629160" y="4756680"/>
              <a:ext cx="274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711960" y="4797360"/>
              <a:ext cx="10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12"/>
            <p:cNvSpPr/>
            <p:nvPr/>
          </p:nvSpPr>
          <p:spPr>
            <a:xfrm>
              <a:off x="4082040" y="4701600"/>
              <a:ext cx="54720" cy="136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4082040" y="4852440"/>
              <a:ext cx="41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14"/>
            <p:cNvSpPr/>
            <p:nvPr/>
          </p:nvSpPr>
          <p:spPr>
            <a:xfrm>
              <a:off x="3835440" y="4838760"/>
              <a:ext cx="95400" cy="19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3835440" y="5044320"/>
              <a:ext cx="5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>
              <a:off x="3506039" y="4866120"/>
              <a:ext cx="10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409920" y="4618440"/>
              <a:ext cx="0" cy="55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4205880" y="4715280"/>
              <a:ext cx="219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-5216400" y="4862160"/>
              <a:ext cx="19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-5132520" y="4893480"/>
              <a:ext cx="0" cy="11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-4992480" y="4796640"/>
              <a:ext cx="535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-4873320" y="483912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-4781520" y="4879440"/>
              <a:ext cx="106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-4398840" y="4768559"/>
              <a:ext cx="0" cy="32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-4361040" y="4801320"/>
              <a:ext cx="35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226"/>
            <p:cNvSpPr/>
            <p:nvPr/>
          </p:nvSpPr>
          <p:spPr>
            <a:xfrm>
              <a:off x="-4316040" y="4453920"/>
              <a:ext cx="516599" cy="330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227"/>
            <p:cNvSpPr/>
            <p:nvPr/>
          </p:nvSpPr>
          <p:spPr>
            <a:xfrm>
              <a:off x="-3766320" y="4149360"/>
              <a:ext cx="319680" cy="67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8"/>
            <p:cNvSpPr/>
            <p:nvPr/>
          </p:nvSpPr>
          <p:spPr>
            <a:xfrm>
              <a:off x="-3577320" y="4686480"/>
              <a:ext cx="262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-3409920" y="4643280"/>
              <a:ext cx="7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-3385440" y="459504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-3625560" y="4035240"/>
              <a:ext cx="39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-3654360" y="4070160"/>
              <a:ext cx="97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Freeform: Shape 233"/>
            <p:cNvSpPr/>
            <p:nvPr/>
          </p:nvSpPr>
          <p:spPr>
            <a:xfrm>
              <a:off x="-3675959" y="4097160"/>
              <a:ext cx="142920" cy="5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-3684600" y="4907520"/>
              <a:ext cx="186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 flipV="1">
              <a:off x="-3395520" y="4727159"/>
              <a:ext cx="0" cy="158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 flipV="1">
              <a:off x="-3260880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-3137039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238"/>
            <p:cNvSpPr/>
            <p:nvPr/>
          </p:nvSpPr>
          <p:spPr>
            <a:xfrm>
              <a:off x="-3254759" y="4184639"/>
              <a:ext cx="110160" cy="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-3198960" y="4076640"/>
              <a:ext cx="0" cy="107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40"/>
            <p:cNvSpPr/>
            <p:nvPr/>
          </p:nvSpPr>
          <p:spPr>
            <a:xfrm>
              <a:off x="-3226680" y="4241520"/>
              <a:ext cx="547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241"/>
            <p:cNvSpPr/>
            <p:nvPr/>
          </p:nvSpPr>
          <p:spPr>
            <a:xfrm>
              <a:off x="-3241080" y="4300560"/>
              <a:ext cx="82080" cy="1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2"/>
            <p:cNvSpPr/>
            <p:nvPr/>
          </p:nvSpPr>
          <p:spPr>
            <a:xfrm>
              <a:off x="-3244320" y="43383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3"/>
            <p:cNvSpPr/>
            <p:nvPr/>
          </p:nvSpPr>
          <p:spPr>
            <a:xfrm>
              <a:off x="-3244320" y="436823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4"/>
            <p:cNvSpPr/>
            <p:nvPr/>
          </p:nvSpPr>
          <p:spPr>
            <a:xfrm>
              <a:off x="-3244320" y="43977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5"/>
            <p:cNvSpPr/>
            <p:nvPr/>
          </p:nvSpPr>
          <p:spPr>
            <a:xfrm>
              <a:off x="-3244320" y="442727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6"/>
            <p:cNvSpPr/>
            <p:nvPr/>
          </p:nvSpPr>
          <p:spPr>
            <a:xfrm>
              <a:off x="-3244320" y="445680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7"/>
            <p:cNvSpPr/>
            <p:nvPr/>
          </p:nvSpPr>
          <p:spPr>
            <a:xfrm>
              <a:off x="-3244320" y="44863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8"/>
            <p:cNvSpPr/>
            <p:nvPr/>
          </p:nvSpPr>
          <p:spPr>
            <a:xfrm>
              <a:off x="-3244320" y="45158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9"/>
            <p:cNvSpPr/>
            <p:nvPr/>
          </p:nvSpPr>
          <p:spPr>
            <a:xfrm>
              <a:off x="-3244320" y="45457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50"/>
            <p:cNvSpPr/>
            <p:nvPr/>
          </p:nvSpPr>
          <p:spPr>
            <a:xfrm>
              <a:off x="-3244320" y="45752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51"/>
            <p:cNvSpPr/>
            <p:nvPr/>
          </p:nvSpPr>
          <p:spPr>
            <a:xfrm>
              <a:off x="-3244320" y="460475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2"/>
            <p:cNvSpPr/>
            <p:nvPr/>
          </p:nvSpPr>
          <p:spPr>
            <a:xfrm>
              <a:off x="-3244320" y="46346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3"/>
            <p:cNvSpPr/>
            <p:nvPr/>
          </p:nvSpPr>
          <p:spPr>
            <a:xfrm>
              <a:off x="-3244320" y="46645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4"/>
            <p:cNvSpPr/>
            <p:nvPr/>
          </p:nvSpPr>
          <p:spPr>
            <a:xfrm>
              <a:off x="-3244320" y="46940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5"/>
            <p:cNvSpPr/>
            <p:nvPr/>
          </p:nvSpPr>
          <p:spPr>
            <a:xfrm>
              <a:off x="-3121200" y="44125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6"/>
            <p:cNvSpPr/>
            <p:nvPr/>
          </p:nvSpPr>
          <p:spPr>
            <a:xfrm>
              <a:off x="-3121200" y="44326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7"/>
            <p:cNvSpPr/>
            <p:nvPr/>
          </p:nvSpPr>
          <p:spPr>
            <a:xfrm>
              <a:off x="-3121200" y="44524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8"/>
            <p:cNvSpPr/>
            <p:nvPr/>
          </p:nvSpPr>
          <p:spPr>
            <a:xfrm>
              <a:off x="-3121200" y="4472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9"/>
            <p:cNvSpPr/>
            <p:nvPr/>
          </p:nvSpPr>
          <p:spPr>
            <a:xfrm>
              <a:off x="-3121200" y="44928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60"/>
            <p:cNvSpPr/>
            <p:nvPr/>
          </p:nvSpPr>
          <p:spPr>
            <a:xfrm>
              <a:off x="-3121200" y="45129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61"/>
            <p:cNvSpPr/>
            <p:nvPr/>
          </p:nvSpPr>
          <p:spPr>
            <a:xfrm>
              <a:off x="-3121200" y="45331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2"/>
            <p:cNvSpPr/>
            <p:nvPr/>
          </p:nvSpPr>
          <p:spPr>
            <a:xfrm>
              <a:off x="-3121200" y="4553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3"/>
            <p:cNvSpPr/>
            <p:nvPr/>
          </p:nvSpPr>
          <p:spPr>
            <a:xfrm>
              <a:off x="-3121200" y="45734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4"/>
            <p:cNvSpPr/>
            <p:nvPr/>
          </p:nvSpPr>
          <p:spPr>
            <a:xfrm>
              <a:off x="-3121200" y="45936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5"/>
            <p:cNvSpPr/>
            <p:nvPr/>
          </p:nvSpPr>
          <p:spPr>
            <a:xfrm>
              <a:off x="-3121200" y="46137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6"/>
            <p:cNvSpPr/>
            <p:nvPr/>
          </p:nvSpPr>
          <p:spPr>
            <a:xfrm>
              <a:off x="-3121200" y="46339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7"/>
            <p:cNvSpPr/>
            <p:nvPr/>
          </p:nvSpPr>
          <p:spPr>
            <a:xfrm>
              <a:off x="-3121200" y="46540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8"/>
            <p:cNvSpPr/>
            <p:nvPr/>
          </p:nvSpPr>
          <p:spPr>
            <a:xfrm>
              <a:off x="-3121200" y="46742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9"/>
            <p:cNvSpPr/>
            <p:nvPr/>
          </p:nvSpPr>
          <p:spPr>
            <a:xfrm>
              <a:off x="-3121200" y="4694759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-2967839" y="4408200"/>
              <a:ext cx="0" cy="29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71"/>
            <p:cNvSpPr/>
            <p:nvPr/>
          </p:nvSpPr>
          <p:spPr>
            <a:xfrm>
              <a:off x="-3223800" y="4715640"/>
              <a:ext cx="615240" cy="10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272"/>
            <p:cNvSpPr/>
            <p:nvPr/>
          </p:nvSpPr>
          <p:spPr>
            <a:xfrm>
              <a:off x="-2857680" y="4826160"/>
              <a:ext cx="456119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-329652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-327960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Freeform: Shape 275"/>
            <p:cNvSpPr/>
            <p:nvPr/>
          </p:nvSpPr>
          <p:spPr>
            <a:xfrm>
              <a:off x="-3272400" y="4766040"/>
              <a:ext cx="17928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Freeform: Shape 276"/>
            <p:cNvSpPr/>
            <p:nvPr/>
          </p:nvSpPr>
          <p:spPr>
            <a:xfrm>
              <a:off x="-3244320" y="4791240"/>
              <a:ext cx="97200" cy="2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7"/>
            <p:cNvSpPr/>
            <p:nvPr/>
          </p:nvSpPr>
          <p:spPr>
            <a:xfrm>
              <a:off x="-3013560" y="4733279"/>
              <a:ext cx="13824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8"/>
            <p:cNvSpPr/>
            <p:nvPr/>
          </p:nvSpPr>
          <p:spPr>
            <a:xfrm>
              <a:off x="-2806920" y="4721760"/>
              <a:ext cx="8388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9"/>
            <p:cNvSpPr/>
            <p:nvPr/>
          </p:nvSpPr>
          <p:spPr>
            <a:xfrm>
              <a:off x="-2592360" y="4716000"/>
              <a:ext cx="77760" cy="52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80"/>
            <p:cNvSpPr/>
            <p:nvPr/>
          </p:nvSpPr>
          <p:spPr>
            <a:xfrm>
              <a:off x="-2577240" y="4798080"/>
              <a:ext cx="29520" cy="50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81"/>
            <p:cNvSpPr/>
            <p:nvPr/>
          </p:nvSpPr>
          <p:spPr>
            <a:xfrm>
              <a:off x="-2904480" y="4563000"/>
              <a:ext cx="56880" cy="1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2"/>
            <p:cNvSpPr/>
            <p:nvPr/>
          </p:nvSpPr>
          <p:spPr>
            <a:xfrm>
              <a:off x="-2922479" y="4545720"/>
              <a:ext cx="129240" cy="15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3"/>
            <p:cNvSpPr/>
            <p:nvPr/>
          </p:nvSpPr>
          <p:spPr>
            <a:xfrm>
              <a:off x="-3839400" y="4632120"/>
              <a:ext cx="39960" cy="5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4"/>
            <p:cNvSpPr/>
            <p:nvPr/>
          </p:nvSpPr>
          <p:spPr>
            <a:xfrm>
              <a:off x="-3866039" y="4824360"/>
              <a:ext cx="69840" cy="23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5"/>
            <p:cNvSpPr/>
            <p:nvPr/>
          </p:nvSpPr>
          <p:spPr>
            <a:xfrm>
              <a:off x="-1710720" y="4671000"/>
              <a:ext cx="32400" cy="59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6"/>
            <p:cNvSpPr/>
            <p:nvPr/>
          </p:nvSpPr>
          <p:spPr>
            <a:xfrm>
              <a:off x="-1661759" y="4772520"/>
              <a:ext cx="56160" cy="21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7"/>
            <p:cNvSpPr/>
            <p:nvPr/>
          </p:nvSpPr>
          <p:spPr>
            <a:xfrm>
              <a:off x="-1556279" y="4707360"/>
              <a:ext cx="1512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-3120120" y="433620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-3120120" y="436068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-3120120" y="438552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-3106079" y="429048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-27385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-271764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-26967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-2675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-265500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-26341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-2612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-25923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-190152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-174564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2"/>
            <p:cNvSpPr/>
            <p:nvPr/>
          </p:nvSpPr>
          <p:spPr>
            <a:xfrm>
              <a:off x="-2757960" y="4209840"/>
              <a:ext cx="182520" cy="50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-2769480" y="4182479"/>
              <a:ext cx="208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-2526480" y="4595040"/>
              <a:ext cx="0" cy="51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-2555640" y="4651560"/>
              <a:ext cx="58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-2212560" y="4663800"/>
              <a:ext cx="10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-2124720" y="4632120"/>
              <a:ext cx="0" cy="29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-2022840" y="4656600"/>
              <a:ext cx="109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-1966680" y="4598640"/>
              <a:ext cx="0" cy="42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-1980360" y="4830480"/>
              <a:ext cx="0" cy="80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-1877760" y="4881960"/>
              <a:ext cx="175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-1885680" y="479412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-1885680" y="464364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-1885680" y="449676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-18665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-18377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-18089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-1780560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-18665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-18377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-18089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-1780560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-18665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-18377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-18089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-1780560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7"/>
            <p:cNvSpPr/>
            <p:nvPr/>
          </p:nvSpPr>
          <p:spPr>
            <a:xfrm>
              <a:off x="-1891800" y="4267800"/>
              <a:ext cx="136080" cy="7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8"/>
            <p:cNvSpPr/>
            <p:nvPr/>
          </p:nvSpPr>
          <p:spPr>
            <a:xfrm>
              <a:off x="-3009240" y="4879440"/>
              <a:ext cx="981000" cy="39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9"/>
            <p:cNvSpPr/>
            <p:nvPr/>
          </p:nvSpPr>
          <p:spPr>
            <a:xfrm>
              <a:off x="-2525400" y="4731480"/>
              <a:ext cx="414720" cy="110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0"/>
            <p:cNvSpPr/>
            <p:nvPr/>
          </p:nvSpPr>
          <p:spPr>
            <a:xfrm>
              <a:off x="-2084040" y="4683240"/>
              <a:ext cx="5580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31"/>
            <p:cNvSpPr/>
            <p:nvPr/>
          </p:nvSpPr>
          <p:spPr>
            <a:xfrm>
              <a:off x="-2032560" y="4742280"/>
              <a:ext cx="95760" cy="3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2"/>
            <p:cNvSpPr/>
            <p:nvPr/>
          </p:nvSpPr>
          <p:spPr>
            <a:xfrm>
              <a:off x="-1643039" y="4342320"/>
              <a:ext cx="252000" cy="368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-1589040" y="4842720"/>
              <a:ext cx="80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-1377000" y="4817160"/>
              <a:ext cx="312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-1046520" y="4794120"/>
              <a:ext cx="0" cy="1094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6"/>
            <p:cNvSpPr/>
            <p:nvPr/>
          </p:nvSpPr>
          <p:spPr>
            <a:xfrm>
              <a:off x="-1307519" y="4671000"/>
              <a:ext cx="417240" cy="17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-1122120" y="4694040"/>
              <a:ext cx="0" cy="3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-1715400" y="4609800"/>
              <a:ext cx="0" cy="2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39"/>
            <p:cNvSpPr/>
            <p:nvPr/>
          </p:nvSpPr>
          <p:spPr>
            <a:xfrm>
              <a:off x="-1364760" y="4393800"/>
              <a:ext cx="32760" cy="33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-3700440" y="499860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-2594520" y="5011200"/>
              <a:ext cx="0" cy="64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2"/>
            <p:cNvSpPr/>
            <p:nvPr/>
          </p:nvSpPr>
          <p:spPr>
            <a:xfrm>
              <a:off x="-4553279" y="4837680"/>
              <a:ext cx="367308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3"/>
            <p:cNvSpPr/>
            <p:nvPr/>
          </p:nvSpPr>
          <p:spPr>
            <a:xfrm>
              <a:off x="-4382640" y="4862160"/>
              <a:ext cx="47844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-4212720" y="4979160"/>
              <a:ext cx="323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-4090320" y="502452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-3622320" y="4978080"/>
              <a:ext cx="148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-2055960" y="4992840"/>
              <a:ext cx="295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-1899720" y="5032800"/>
              <a:ext cx="149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-1457280" y="4979160"/>
              <a:ext cx="55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-3120120" y="488196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351"/>
            <p:cNvSpPr/>
            <p:nvPr/>
          </p:nvSpPr>
          <p:spPr>
            <a:xfrm>
              <a:off x="-2479320" y="4246200"/>
              <a:ext cx="265680" cy="587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-2479320" y="43326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-2479320" y="43725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-2479320" y="440279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-2479320" y="443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-2479320" y="44629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-2479320" y="44928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-2479320" y="452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-2479320" y="455327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-2479320" y="458315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-2479320" y="46134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-2479320" y="464328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-2479320" y="46735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-2479320" y="47037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-2479320" y="47340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-2479320" y="476028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-2479320" y="479052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-2479320" y="482076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Freeform: Shape 369"/>
            <p:cNvSpPr/>
            <p:nvPr/>
          </p:nvSpPr>
          <p:spPr>
            <a:xfrm>
              <a:off x="-2432880" y="4208760"/>
              <a:ext cx="7668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-2336400" y="4272480"/>
              <a:ext cx="73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-373716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-373716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-373716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-373716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-373716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-373716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-373716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-373716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-373716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-373716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-373716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-373716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-373716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-373716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-373716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-373716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-373716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-3708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-3708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-3708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-3708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-3708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-3708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-3708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-3708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-3708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-3708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-3708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-3708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-3708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-37087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-37087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-37087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-37087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-36799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-36799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-36799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-36799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-36799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-36799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-36799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-36799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-36799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-36799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-36799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-36799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-36799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-36799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-36799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-36799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-36799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-36511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-36511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-36511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-36511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-36511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-36511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-36511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-36511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-36511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-36511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-36511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-36511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-36511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-36511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-36511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-36511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-36511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-36223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-36223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-36223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-36223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-36223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-36223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-36223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-36223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-36223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-36223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-36223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-36223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-36223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-36223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-36223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-36223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-36223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-35935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-35935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-35935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-35935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-35935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-35935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-35935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-35935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-35935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-35935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-35935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-35935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-35935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-35935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-35935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-35935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-35935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-34786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-34786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-34786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-34786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-34786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-34786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-34786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-34786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-34786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-34786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-34786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-34786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-34786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-3507479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-3507479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-3507479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-3507479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-3507479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-3507479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-3507479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-3507479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-3507479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-3507479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-3507479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-3507479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-3507479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-35362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-35362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-35362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-35362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-35362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-35362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-35362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-35362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-35362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-35362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-35362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-35362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-35362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-3564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-3564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-3564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-3564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-3564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-3564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-3564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-3564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-3564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-3564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-3564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-3564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-3564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Freeform: Shape 525"/>
            <p:cNvSpPr/>
            <p:nvPr/>
          </p:nvSpPr>
          <p:spPr>
            <a:xfrm>
              <a:off x="-4857120" y="4914360"/>
              <a:ext cx="64080" cy="15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-4856400" y="5070960"/>
              <a:ext cx="3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7"/>
            <p:cNvSpPr/>
            <p:nvPr/>
          </p:nvSpPr>
          <p:spPr>
            <a:xfrm>
              <a:off x="-522720" y="4912919"/>
              <a:ext cx="54360" cy="12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-522000" y="50454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9"/>
            <p:cNvSpPr/>
            <p:nvPr/>
          </p:nvSpPr>
          <p:spPr>
            <a:xfrm>
              <a:off x="-4664520" y="4919400"/>
              <a:ext cx="8964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-4662720" y="5136840"/>
              <a:ext cx="50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31"/>
            <p:cNvSpPr/>
            <p:nvPr/>
          </p:nvSpPr>
          <p:spPr>
            <a:xfrm>
              <a:off x="-905039" y="4865040"/>
              <a:ext cx="110160" cy="26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-903240" y="5133240"/>
              <a:ext cx="61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-5202360" y="4673160"/>
              <a:ext cx="967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-513252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-432180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Freeform: Shape 536"/>
            <p:cNvSpPr/>
            <p:nvPr/>
          </p:nvSpPr>
          <p:spPr>
            <a:xfrm>
              <a:off x="-5130720" y="447120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-506700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-501948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-496980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-49215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-48733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-482508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-477648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-43898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-443772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-448704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-453528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-45835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-463176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-468036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-4728239" y="462456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-5539320" y="467316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Freeform: Shape 553"/>
            <p:cNvSpPr/>
            <p:nvPr/>
          </p:nvSpPr>
          <p:spPr>
            <a:xfrm>
              <a:off x="-5539320" y="447120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-520056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-524844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-529812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-53463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-539496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-544320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-549144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-4391279" y="4673160"/>
              <a:ext cx="162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Freeform: Shape 562"/>
            <p:cNvSpPr/>
            <p:nvPr/>
          </p:nvSpPr>
          <p:spPr>
            <a:xfrm>
              <a:off x="-4319640" y="4475160"/>
              <a:ext cx="164160" cy="103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-42566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-4208400" y="4553640"/>
              <a:ext cx="0" cy="93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-4159080" y="4578840"/>
              <a:ext cx="0" cy="5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Freeform: Shape 566"/>
            <p:cNvSpPr/>
            <p:nvPr/>
          </p:nvSpPr>
          <p:spPr>
            <a:xfrm>
              <a:off x="3089160" y="3954240"/>
              <a:ext cx="279360" cy="70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Freeform: Shape 567"/>
            <p:cNvSpPr/>
            <p:nvPr/>
          </p:nvSpPr>
          <p:spPr>
            <a:xfrm>
              <a:off x="3156479" y="4094280"/>
              <a:ext cx="150480" cy="196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3219839" y="4127040"/>
              <a:ext cx="21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3213720" y="4158720"/>
              <a:ext cx="33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208320" y="4190399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202560" y="4221719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196800" y="4253400"/>
              <a:ext cx="67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191040" y="4285080"/>
              <a:ext cx="78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185279" y="4316760"/>
              <a:ext cx="90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179880" y="4348440"/>
              <a:ext cx="101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174120" y="4380120"/>
              <a:ext cx="112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168360" y="4411800"/>
              <a:ext cx="1234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162600" y="4443120"/>
              <a:ext cx="135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156840" y="4474440"/>
              <a:ext cx="14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151080" y="4506120"/>
              <a:ext cx="15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145679" y="4537800"/>
              <a:ext cx="168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139559" y="4569480"/>
              <a:ext cx="180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134160" y="4601160"/>
              <a:ext cx="191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128400" y="4632840"/>
              <a:ext cx="20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73516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202603" y="4554415"/>
            <a:ext cx="11786796" cy="1621536"/>
            <a:chOff x="-5539320" y="3765960"/>
            <a:chExt cx="9964800" cy="1370880"/>
          </a:xfrm>
        </p:grpSpPr>
        <p:sp>
          <p:nvSpPr>
            <p:cNvPr id="5" name="Freeform: Shape 2"/>
            <p:cNvSpPr/>
            <p:nvPr/>
          </p:nvSpPr>
          <p:spPr>
            <a:xfrm>
              <a:off x="-777239" y="4393080"/>
              <a:ext cx="32184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-616320" y="4386240"/>
              <a:ext cx="0" cy="2123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-616320" y="470736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 flipH="1">
              <a:off x="-559080" y="4399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 flipH="1">
              <a:off x="-681120" y="4696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-509399" y="44373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-737999" y="4663080"/>
              <a:ext cx="15119" cy="144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-477360" y="449280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-775080" y="46137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-466560" y="4556880"/>
              <a:ext cx="212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-787320" y="4557600"/>
              <a:ext cx="20880" cy="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 flipV="1">
              <a:off x="-477360" y="4613760"/>
              <a:ext cx="19801" cy="75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 flipV="1">
              <a:off x="-775080" y="44931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-736559" y="443592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-510839" y="46641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-685079" y="4400639"/>
              <a:ext cx="8639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-555840" y="4694759"/>
              <a:ext cx="828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9"/>
            <p:cNvSpPr/>
            <p:nvPr/>
          </p:nvSpPr>
          <p:spPr>
            <a:xfrm>
              <a:off x="-667080" y="4551120"/>
              <a:ext cx="100800" cy="29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-765000" y="4831200"/>
              <a:ext cx="0" cy="10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1"/>
            <p:cNvSpPr/>
            <p:nvPr/>
          </p:nvSpPr>
          <p:spPr>
            <a:xfrm>
              <a:off x="-37548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2"/>
            <p:cNvSpPr/>
            <p:nvPr/>
          </p:nvSpPr>
          <p:spPr>
            <a:xfrm>
              <a:off x="-3441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>
              <a:off x="-353880" y="4683240"/>
              <a:ext cx="1069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4"/>
            <p:cNvSpPr/>
            <p:nvPr/>
          </p:nvSpPr>
          <p:spPr>
            <a:xfrm>
              <a:off x="-737280" y="4592880"/>
              <a:ext cx="35532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563400" y="4858560"/>
              <a:ext cx="1706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6"/>
            <p:cNvSpPr/>
            <p:nvPr/>
          </p:nvSpPr>
          <p:spPr>
            <a:xfrm>
              <a:off x="314280" y="4592880"/>
              <a:ext cx="35496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 flipH="1">
              <a:off x="325080" y="4858560"/>
              <a:ext cx="1710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-723959" y="4946040"/>
              <a:ext cx="2016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-225720" y="46026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225720" y="46278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-225720" y="46756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-225720" y="484632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-225720" y="48952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4"/>
            <p:cNvSpPr/>
            <p:nvPr/>
          </p:nvSpPr>
          <p:spPr>
            <a:xfrm>
              <a:off x="-37872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5"/>
            <p:cNvSpPr/>
            <p:nvPr/>
          </p:nvSpPr>
          <p:spPr>
            <a:xfrm>
              <a:off x="-25776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6"/>
            <p:cNvSpPr/>
            <p:nvPr/>
          </p:nvSpPr>
          <p:spPr>
            <a:xfrm>
              <a:off x="-35460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-31464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8"/>
            <p:cNvSpPr/>
            <p:nvPr/>
          </p:nvSpPr>
          <p:spPr>
            <a:xfrm>
              <a:off x="15804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9"/>
            <p:cNvSpPr/>
            <p:nvPr/>
          </p:nvSpPr>
          <p:spPr>
            <a:xfrm>
              <a:off x="1893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179280" y="4683240"/>
              <a:ext cx="1072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15480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27540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17856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4"/>
            <p:cNvSpPr/>
            <p:nvPr/>
          </p:nvSpPr>
          <p:spPr>
            <a:xfrm>
              <a:off x="1934639" y="4760280"/>
              <a:ext cx="25668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5"/>
            <p:cNvSpPr/>
            <p:nvPr/>
          </p:nvSpPr>
          <p:spPr>
            <a:xfrm>
              <a:off x="21888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-419760" y="4946040"/>
              <a:ext cx="7484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-309960" y="4977720"/>
              <a:ext cx="0" cy="511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-252000" y="4975200"/>
              <a:ext cx="4294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-122400" y="5016960"/>
              <a:ext cx="1569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-78480" y="50436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1734119" y="5067000"/>
              <a:ext cx="15696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1778040" y="50940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966680" y="5038920"/>
              <a:ext cx="3779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321480" y="4970160"/>
              <a:ext cx="0" cy="759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 flipH="1">
              <a:off x="344880" y="4979880"/>
              <a:ext cx="3427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 flipV="1">
              <a:off x="344880" y="4865040"/>
              <a:ext cx="0" cy="4319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57"/>
            <p:cNvSpPr/>
            <p:nvPr/>
          </p:nvSpPr>
          <p:spPr>
            <a:xfrm>
              <a:off x="382680" y="4920480"/>
              <a:ext cx="286560" cy="39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58"/>
            <p:cNvSpPr/>
            <p:nvPr/>
          </p:nvSpPr>
          <p:spPr>
            <a:xfrm>
              <a:off x="473760" y="4308120"/>
              <a:ext cx="79200" cy="556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9"/>
            <p:cNvSpPr/>
            <p:nvPr/>
          </p:nvSpPr>
          <p:spPr>
            <a:xfrm>
              <a:off x="523079" y="4191479"/>
              <a:ext cx="269640" cy="69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60"/>
            <p:cNvSpPr/>
            <p:nvPr/>
          </p:nvSpPr>
          <p:spPr>
            <a:xfrm>
              <a:off x="553320" y="4240440"/>
              <a:ext cx="99000" cy="624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673560" y="463968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686160" y="4679280"/>
              <a:ext cx="0" cy="201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Freeform: Shape 63"/>
            <p:cNvSpPr/>
            <p:nvPr/>
          </p:nvSpPr>
          <p:spPr>
            <a:xfrm>
              <a:off x="721080" y="4161240"/>
              <a:ext cx="72000" cy="68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Freeform: Shape 64"/>
            <p:cNvSpPr/>
            <p:nvPr/>
          </p:nvSpPr>
          <p:spPr>
            <a:xfrm>
              <a:off x="793440" y="3839400"/>
              <a:ext cx="105840" cy="1087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813960" y="4029480"/>
              <a:ext cx="0" cy="8989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6"/>
            <p:cNvSpPr/>
            <p:nvPr/>
          </p:nvSpPr>
          <p:spPr>
            <a:xfrm>
              <a:off x="793440" y="4106520"/>
              <a:ext cx="152640" cy="82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67"/>
            <p:cNvSpPr/>
            <p:nvPr/>
          </p:nvSpPr>
          <p:spPr>
            <a:xfrm>
              <a:off x="899639" y="4081320"/>
              <a:ext cx="10692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939240" y="4200120"/>
              <a:ext cx="0" cy="5518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9"/>
            <p:cNvSpPr/>
            <p:nvPr/>
          </p:nvSpPr>
          <p:spPr>
            <a:xfrm>
              <a:off x="897119" y="4787640"/>
              <a:ext cx="377280" cy="13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779760" y="4958280"/>
              <a:ext cx="1854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762480" y="4970160"/>
              <a:ext cx="0" cy="56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1021679" y="4606560"/>
              <a:ext cx="7488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1042919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065600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75"/>
            <p:cNvSpPr/>
            <p:nvPr/>
          </p:nvSpPr>
          <p:spPr>
            <a:xfrm>
              <a:off x="1042919" y="4679280"/>
              <a:ext cx="38160" cy="8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76"/>
            <p:cNvSpPr/>
            <p:nvPr/>
          </p:nvSpPr>
          <p:spPr>
            <a:xfrm>
              <a:off x="934199" y="4899960"/>
              <a:ext cx="72720" cy="2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7"/>
            <p:cNvSpPr/>
            <p:nvPr/>
          </p:nvSpPr>
          <p:spPr>
            <a:xfrm>
              <a:off x="1074600" y="4926240"/>
              <a:ext cx="168840" cy="41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8"/>
            <p:cNvSpPr/>
            <p:nvPr/>
          </p:nvSpPr>
          <p:spPr>
            <a:xfrm>
              <a:off x="741600" y="4759200"/>
              <a:ext cx="51480" cy="85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736200" y="43902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736200" y="44190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36200" y="44478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36200" y="4476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36200" y="45050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36200" y="4533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36200" y="4562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36200" y="45914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36200" y="4620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36200" y="46494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36200" y="4677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36200" y="4706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974160" y="4316760"/>
              <a:ext cx="327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1169640" y="4992480"/>
              <a:ext cx="20771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1305000" y="4922640"/>
              <a:ext cx="250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Freeform: Shape 94"/>
            <p:cNvSpPr/>
            <p:nvPr/>
          </p:nvSpPr>
          <p:spPr>
            <a:xfrm>
              <a:off x="1096560" y="4136760"/>
              <a:ext cx="285480" cy="740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Freeform: Shape 95"/>
            <p:cNvSpPr/>
            <p:nvPr/>
          </p:nvSpPr>
          <p:spPr>
            <a:xfrm>
              <a:off x="1348920" y="4669560"/>
              <a:ext cx="316440" cy="212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1428120" y="4977720"/>
              <a:ext cx="5169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7"/>
            <p:cNvSpPr/>
            <p:nvPr/>
          </p:nvSpPr>
          <p:spPr>
            <a:xfrm>
              <a:off x="1352520" y="4721760"/>
              <a:ext cx="54000" cy="17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Freeform: Shape 98"/>
            <p:cNvSpPr/>
            <p:nvPr/>
          </p:nvSpPr>
          <p:spPr>
            <a:xfrm>
              <a:off x="1435320" y="4842720"/>
              <a:ext cx="10476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1377359" y="4548239"/>
              <a:ext cx="0" cy="313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100"/>
            <p:cNvSpPr/>
            <p:nvPr/>
          </p:nvSpPr>
          <p:spPr>
            <a:xfrm>
              <a:off x="1396439" y="4129200"/>
              <a:ext cx="240480" cy="694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Freeform: Shape 101"/>
            <p:cNvSpPr/>
            <p:nvPr/>
          </p:nvSpPr>
          <p:spPr>
            <a:xfrm>
              <a:off x="1485359" y="4201560"/>
              <a:ext cx="99360" cy="11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2"/>
            <p:cNvSpPr/>
            <p:nvPr/>
          </p:nvSpPr>
          <p:spPr>
            <a:xfrm>
              <a:off x="1468800" y="42796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3"/>
            <p:cNvSpPr/>
            <p:nvPr/>
          </p:nvSpPr>
          <p:spPr>
            <a:xfrm>
              <a:off x="1452240" y="4358520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4"/>
            <p:cNvSpPr/>
            <p:nvPr/>
          </p:nvSpPr>
          <p:spPr>
            <a:xfrm>
              <a:off x="1435320" y="4435920"/>
              <a:ext cx="17532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5"/>
            <p:cNvSpPr/>
            <p:nvPr/>
          </p:nvSpPr>
          <p:spPr>
            <a:xfrm>
              <a:off x="1418760" y="4515480"/>
              <a:ext cx="194400" cy="21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6"/>
            <p:cNvSpPr/>
            <p:nvPr/>
          </p:nvSpPr>
          <p:spPr>
            <a:xfrm>
              <a:off x="1449719" y="4208760"/>
              <a:ext cx="9972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7"/>
            <p:cNvSpPr/>
            <p:nvPr/>
          </p:nvSpPr>
          <p:spPr>
            <a:xfrm>
              <a:off x="1438559" y="42868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8"/>
            <p:cNvSpPr/>
            <p:nvPr/>
          </p:nvSpPr>
          <p:spPr>
            <a:xfrm>
              <a:off x="1432800" y="4366079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9"/>
            <p:cNvSpPr/>
            <p:nvPr/>
          </p:nvSpPr>
          <p:spPr>
            <a:xfrm>
              <a:off x="1424159" y="4443120"/>
              <a:ext cx="17496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10"/>
            <p:cNvSpPr/>
            <p:nvPr/>
          </p:nvSpPr>
          <p:spPr>
            <a:xfrm>
              <a:off x="1510199" y="4523040"/>
              <a:ext cx="105480" cy="14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11"/>
            <p:cNvSpPr/>
            <p:nvPr/>
          </p:nvSpPr>
          <p:spPr>
            <a:xfrm>
              <a:off x="1690919" y="4317120"/>
              <a:ext cx="233280" cy="55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2"/>
            <p:cNvSpPr/>
            <p:nvPr/>
          </p:nvSpPr>
          <p:spPr>
            <a:xfrm>
              <a:off x="1654919" y="4283280"/>
              <a:ext cx="54000" cy="585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3"/>
            <p:cNvSpPr/>
            <p:nvPr/>
          </p:nvSpPr>
          <p:spPr>
            <a:xfrm>
              <a:off x="1689479" y="4257720"/>
              <a:ext cx="252360" cy="51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 flipV="1">
              <a:off x="1715039" y="4365000"/>
              <a:ext cx="188641" cy="107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 flipV="1">
              <a:off x="1716480" y="4392720"/>
              <a:ext cx="185760" cy="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1718280" y="4420440"/>
              <a:ext cx="182520" cy="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1720080" y="4448160"/>
              <a:ext cx="179280" cy="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1721880" y="4475520"/>
              <a:ext cx="176400" cy="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1723680" y="4503240"/>
              <a:ext cx="173160" cy="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1725480" y="4530960"/>
              <a:ext cx="170280" cy="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1727280" y="4558680"/>
              <a:ext cx="166680" cy="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1728719" y="4586399"/>
              <a:ext cx="163800" cy="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1730519" y="4614120"/>
              <a:ext cx="160920" cy="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1732319" y="4641840"/>
              <a:ext cx="157681" cy="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1734119" y="4669560"/>
              <a:ext cx="15480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1735919" y="4697279"/>
              <a:ext cx="151561" cy="36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737719" y="4725000"/>
              <a:ext cx="14832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1739160" y="4752720"/>
              <a:ext cx="1454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740960" y="4780440"/>
              <a:ext cx="142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742760" y="4808160"/>
              <a:ext cx="1393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744560" y="4835880"/>
              <a:ext cx="13607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745999" y="4863600"/>
              <a:ext cx="13320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628999" y="4732560"/>
              <a:ext cx="392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646640" y="4785120"/>
              <a:ext cx="0" cy="576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704240" y="4898160"/>
              <a:ext cx="15371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907280" y="4919400"/>
              <a:ext cx="468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2045880" y="4927680"/>
              <a:ext cx="0" cy="82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2111760" y="4963320"/>
              <a:ext cx="655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2116800" y="4997160"/>
              <a:ext cx="561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1916639" y="4771440"/>
              <a:ext cx="878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2136240" y="4767839"/>
              <a:ext cx="511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2167920" y="4729319"/>
              <a:ext cx="0" cy="38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2180160" y="4842720"/>
              <a:ext cx="0" cy="694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1990079" y="4697279"/>
              <a:ext cx="0" cy="4860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201420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2038679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06316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208764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211176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2136240" y="4698360"/>
              <a:ext cx="0" cy="47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19713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21567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979640" y="467280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Freeform: Shape 154"/>
            <p:cNvSpPr/>
            <p:nvPr/>
          </p:nvSpPr>
          <p:spPr>
            <a:xfrm>
              <a:off x="1982160" y="4551480"/>
              <a:ext cx="160920" cy="96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2045880" y="4528440"/>
              <a:ext cx="349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2052000" y="4505760"/>
              <a:ext cx="2411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2064240" y="44319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2031480" y="4878720"/>
              <a:ext cx="6443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2223360" y="4723559"/>
              <a:ext cx="720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221004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230508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2214719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223704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225900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228096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230292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Freeform: Shape 167"/>
            <p:cNvSpPr/>
            <p:nvPr/>
          </p:nvSpPr>
          <p:spPr>
            <a:xfrm>
              <a:off x="2206440" y="4525560"/>
              <a:ext cx="99720" cy="85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Freeform: Shape 168"/>
            <p:cNvSpPr/>
            <p:nvPr/>
          </p:nvSpPr>
          <p:spPr>
            <a:xfrm>
              <a:off x="2235960" y="4650120"/>
              <a:ext cx="43920" cy="43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2231640" y="46033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2231640" y="462060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2232360" y="4569840"/>
              <a:ext cx="47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Freeform: Shape 172"/>
            <p:cNvSpPr/>
            <p:nvPr/>
          </p:nvSpPr>
          <p:spPr>
            <a:xfrm>
              <a:off x="2232360" y="4487760"/>
              <a:ext cx="4716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257200" y="4539600"/>
              <a:ext cx="0" cy="20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 flipV="1">
              <a:off x="2256480" y="4451760"/>
              <a:ext cx="0" cy="36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2345039" y="4777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2319120" y="48589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2247480" y="4997160"/>
              <a:ext cx="41435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Freeform: Shape 178"/>
            <p:cNvSpPr/>
            <p:nvPr/>
          </p:nvSpPr>
          <p:spPr>
            <a:xfrm>
              <a:off x="2357280" y="3765960"/>
              <a:ext cx="304200" cy="1213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2508841" y="3855598"/>
              <a:ext cx="123081" cy="1116006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2644560" y="4823280"/>
              <a:ext cx="1213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26935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33721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2856960" y="4997160"/>
              <a:ext cx="25091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2905560" y="5026680"/>
              <a:ext cx="727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657880" y="467316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809800" y="4673160"/>
              <a:ext cx="14111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72448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Freeform: Shape 188"/>
            <p:cNvSpPr/>
            <p:nvPr/>
          </p:nvSpPr>
          <p:spPr>
            <a:xfrm>
              <a:off x="2809800" y="4582440"/>
              <a:ext cx="333720" cy="30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76588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276588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700000" y="4565160"/>
              <a:ext cx="1339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Freeform: Shape 192"/>
            <p:cNvSpPr/>
            <p:nvPr/>
          </p:nvSpPr>
          <p:spPr>
            <a:xfrm>
              <a:off x="2710800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76696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Freeform: Shape 194"/>
            <p:cNvSpPr/>
            <p:nvPr/>
          </p:nvSpPr>
          <p:spPr>
            <a:xfrm>
              <a:off x="3039120" y="4673160"/>
              <a:ext cx="4114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95380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303912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99556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299556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929679" y="4565160"/>
              <a:ext cx="13392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Freeform: Shape 200"/>
            <p:cNvSpPr/>
            <p:nvPr/>
          </p:nvSpPr>
          <p:spPr>
            <a:xfrm>
              <a:off x="2940479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299664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2"/>
            <p:cNvSpPr/>
            <p:nvPr/>
          </p:nvSpPr>
          <p:spPr>
            <a:xfrm>
              <a:off x="306432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Freeform: Shape 203"/>
            <p:cNvSpPr/>
            <p:nvPr/>
          </p:nvSpPr>
          <p:spPr>
            <a:xfrm>
              <a:off x="315144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4"/>
            <p:cNvSpPr/>
            <p:nvPr/>
          </p:nvSpPr>
          <p:spPr>
            <a:xfrm>
              <a:off x="323856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5"/>
            <p:cNvSpPr/>
            <p:nvPr/>
          </p:nvSpPr>
          <p:spPr>
            <a:xfrm>
              <a:off x="3325679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6"/>
            <p:cNvSpPr/>
            <p:nvPr/>
          </p:nvSpPr>
          <p:spPr>
            <a:xfrm>
              <a:off x="271404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7"/>
            <p:cNvSpPr/>
            <p:nvPr/>
          </p:nvSpPr>
          <p:spPr>
            <a:xfrm>
              <a:off x="2940120" y="4930200"/>
              <a:ext cx="18864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208"/>
            <p:cNvSpPr/>
            <p:nvPr/>
          </p:nvSpPr>
          <p:spPr>
            <a:xfrm>
              <a:off x="316620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Straight Connector 211"/>
            <p:cNvSpPr/>
            <p:nvPr/>
          </p:nvSpPr>
          <p:spPr>
            <a:xfrm>
              <a:off x="3506039" y="4715280"/>
              <a:ext cx="52128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3629160" y="4756680"/>
              <a:ext cx="2746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711960" y="4797360"/>
              <a:ext cx="1098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12"/>
            <p:cNvSpPr/>
            <p:nvPr/>
          </p:nvSpPr>
          <p:spPr>
            <a:xfrm>
              <a:off x="4082040" y="4701600"/>
              <a:ext cx="54720" cy="136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4082040" y="4852440"/>
              <a:ext cx="414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14"/>
            <p:cNvSpPr/>
            <p:nvPr/>
          </p:nvSpPr>
          <p:spPr>
            <a:xfrm>
              <a:off x="3835440" y="4838760"/>
              <a:ext cx="95400" cy="19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3835440" y="5044320"/>
              <a:ext cx="547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>
              <a:off x="3506039" y="4866120"/>
              <a:ext cx="1094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409920" y="4618440"/>
              <a:ext cx="0" cy="550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4205880" y="4715280"/>
              <a:ext cx="2196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-5216400" y="4862160"/>
              <a:ext cx="1900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-5132520" y="4893480"/>
              <a:ext cx="0" cy="1162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-4992480" y="4796640"/>
              <a:ext cx="5356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-4873320" y="483912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-4781520" y="4879440"/>
              <a:ext cx="106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-4398840" y="4768559"/>
              <a:ext cx="0" cy="3276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-4361040" y="4801320"/>
              <a:ext cx="3582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226"/>
            <p:cNvSpPr/>
            <p:nvPr/>
          </p:nvSpPr>
          <p:spPr>
            <a:xfrm>
              <a:off x="-4316040" y="4453920"/>
              <a:ext cx="516599" cy="330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227"/>
            <p:cNvSpPr/>
            <p:nvPr/>
          </p:nvSpPr>
          <p:spPr>
            <a:xfrm>
              <a:off x="-3766320" y="4149360"/>
              <a:ext cx="319680" cy="67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8"/>
            <p:cNvSpPr/>
            <p:nvPr/>
          </p:nvSpPr>
          <p:spPr>
            <a:xfrm>
              <a:off x="-3577320" y="4686480"/>
              <a:ext cx="262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-3409920" y="4643280"/>
              <a:ext cx="79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-3385440" y="459504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-3625560" y="4035240"/>
              <a:ext cx="399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-3654360" y="4070160"/>
              <a:ext cx="972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Freeform: Shape 233"/>
            <p:cNvSpPr/>
            <p:nvPr/>
          </p:nvSpPr>
          <p:spPr>
            <a:xfrm>
              <a:off x="-3675959" y="4097160"/>
              <a:ext cx="142920" cy="5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-3684600" y="4907520"/>
              <a:ext cx="18648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 flipV="1">
              <a:off x="-3395520" y="4727159"/>
              <a:ext cx="0" cy="15840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 flipV="1">
              <a:off x="-3260880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-3137039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238"/>
            <p:cNvSpPr/>
            <p:nvPr/>
          </p:nvSpPr>
          <p:spPr>
            <a:xfrm>
              <a:off x="-3254759" y="4184639"/>
              <a:ext cx="110160" cy="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-3198960" y="4076640"/>
              <a:ext cx="0" cy="10799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40"/>
            <p:cNvSpPr/>
            <p:nvPr/>
          </p:nvSpPr>
          <p:spPr>
            <a:xfrm>
              <a:off x="-3226680" y="4241520"/>
              <a:ext cx="547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241"/>
            <p:cNvSpPr/>
            <p:nvPr/>
          </p:nvSpPr>
          <p:spPr>
            <a:xfrm>
              <a:off x="-3241080" y="4300560"/>
              <a:ext cx="82080" cy="1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2"/>
            <p:cNvSpPr/>
            <p:nvPr/>
          </p:nvSpPr>
          <p:spPr>
            <a:xfrm>
              <a:off x="-3244320" y="43383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3"/>
            <p:cNvSpPr/>
            <p:nvPr/>
          </p:nvSpPr>
          <p:spPr>
            <a:xfrm>
              <a:off x="-3244320" y="436823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4"/>
            <p:cNvSpPr/>
            <p:nvPr/>
          </p:nvSpPr>
          <p:spPr>
            <a:xfrm>
              <a:off x="-3244320" y="43977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5"/>
            <p:cNvSpPr/>
            <p:nvPr/>
          </p:nvSpPr>
          <p:spPr>
            <a:xfrm>
              <a:off x="-3244320" y="442727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6"/>
            <p:cNvSpPr/>
            <p:nvPr/>
          </p:nvSpPr>
          <p:spPr>
            <a:xfrm>
              <a:off x="-3244320" y="445680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7"/>
            <p:cNvSpPr/>
            <p:nvPr/>
          </p:nvSpPr>
          <p:spPr>
            <a:xfrm>
              <a:off x="-3244320" y="44863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8"/>
            <p:cNvSpPr/>
            <p:nvPr/>
          </p:nvSpPr>
          <p:spPr>
            <a:xfrm>
              <a:off x="-3244320" y="45158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9"/>
            <p:cNvSpPr/>
            <p:nvPr/>
          </p:nvSpPr>
          <p:spPr>
            <a:xfrm>
              <a:off x="-3244320" y="45457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50"/>
            <p:cNvSpPr/>
            <p:nvPr/>
          </p:nvSpPr>
          <p:spPr>
            <a:xfrm>
              <a:off x="-3244320" y="45752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51"/>
            <p:cNvSpPr/>
            <p:nvPr/>
          </p:nvSpPr>
          <p:spPr>
            <a:xfrm>
              <a:off x="-3244320" y="460475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2"/>
            <p:cNvSpPr/>
            <p:nvPr/>
          </p:nvSpPr>
          <p:spPr>
            <a:xfrm>
              <a:off x="-3244320" y="46346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3"/>
            <p:cNvSpPr/>
            <p:nvPr/>
          </p:nvSpPr>
          <p:spPr>
            <a:xfrm>
              <a:off x="-3244320" y="46645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4"/>
            <p:cNvSpPr/>
            <p:nvPr/>
          </p:nvSpPr>
          <p:spPr>
            <a:xfrm>
              <a:off x="-3244320" y="46940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5"/>
            <p:cNvSpPr/>
            <p:nvPr/>
          </p:nvSpPr>
          <p:spPr>
            <a:xfrm>
              <a:off x="-3121200" y="44125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6"/>
            <p:cNvSpPr/>
            <p:nvPr/>
          </p:nvSpPr>
          <p:spPr>
            <a:xfrm>
              <a:off x="-3121200" y="44326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7"/>
            <p:cNvSpPr/>
            <p:nvPr/>
          </p:nvSpPr>
          <p:spPr>
            <a:xfrm>
              <a:off x="-3121200" y="44524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8"/>
            <p:cNvSpPr/>
            <p:nvPr/>
          </p:nvSpPr>
          <p:spPr>
            <a:xfrm>
              <a:off x="-3121200" y="4472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9"/>
            <p:cNvSpPr/>
            <p:nvPr/>
          </p:nvSpPr>
          <p:spPr>
            <a:xfrm>
              <a:off x="-3121200" y="44928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60"/>
            <p:cNvSpPr/>
            <p:nvPr/>
          </p:nvSpPr>
          <p:spPr>
            <a:xfrm>
              <a:off x="-3121200" y="45129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61"/>
            <p:cNvSpPr/>
            <p:nvPr/>
          </p:nvSpPr>
          <p:spPr>
            <a:xfrm>
              <a:off x="-3121200" y="45331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2"/>
            <p:cNvSpPr/>
            <p:nvPr/>
          </p:nvSpPr>
          <p:spPr>
            <a:xfrm>
              <a:off x="-3121200" y="4553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3"/>
            <p:cNvSpPr/>
            <p:nvPr/>
          </p:nvSpPr>
          <p:spPr>
            <a:xfrm>
              <a:off x="-3121200" y="45734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4"/>
            <p:cNvSpPr/>
            <p:nvPr/>
          </p:nvSpPr>
          <p:spPr>
            <a:xfrm>
              <a:off x="-3121200" y="45936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5"/>
            <p:cNvSpPr/>
            <p:nvPr/>
          </p:nvSpPr>
          <p:spPr>
            <a:xfrm>
              <a:off x="-3121200" y="46137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6"/>
            <p:cNvSpPr/>
            <p:nvPr/>
          </p:nvSpPr>
          <p:spPr>
            <a:xfrm>
              <a:off x="-3121200" y="46339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7"/>
            <p:cNvSpPr/>
            <p:nvPr/>
          </p:nvSpPr>
          <p:spPr>
            <a:xfrm>
              <a:off x="-3121200" y="46540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8"/>
            <p:cNvSpPr/>
            <p:nvPr/>
          </p:nvSpPr>
          <p:spPr>
            <a:xfrm>
              <a:off x="-3121200" y="46742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9"/>
            <p:cNvSpPr/>
            <p:nvPr/>
          </p:nvSpPr>
          <p:spPr>
            <a:xfrm>
              <a:off x="-3121200" y="4694759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-2967839" y="4408200"/>
              <a:ext cx="0" cy="291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71"/>
            <p:cNvSpPr/>
            <p:nvPr/>
          </p:nvSpPr>
          <p:spPr>
            <a:xfrm>
              <a:off x="-3223800" y="4715640"/>
              <a:ext cx="615240" cy="10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272"/>
            <p:cNvSpPr/>
            <p:nvPr/>
          </p:nvSpPr>
          <p:spPr>
            <a:xfrm>
              <a:off x="-2857680" y="4826160"/>
              <a:ext cx="456119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-329652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-327960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Freeform: Shape 275"/>
            <p:cNvSpPr/>
            <p:nvPr/>
          </p:nvSpPr>
          <p:spPr>
            <a:xfrm>
              <a:off x="-3272400" y="4766040"/>
              <a:ext cx="17928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Freeform: Shape 276"/>
            <p:cNvSpPr/>
            <p:nvPr/>
          </p:nvSpPr>
          <p:spPr>
            <a:xfrm>
              <a:off x="-3244320" y="4791240"/>
              <a:ext cx="97200" cy="2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7"/>
            <p:cNvSpPr/>
            <p:nvPr/>
          </p:nvSpPr>
          <p:spPr>
            <a:xfrm>
              <a:off x="-3013560" y="4733279"/>
              <a:ext cx="13824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8"/>
            <p:cNvSpPr/>
            <p:nvPr/>
          </p:nvSpPr>
          <p:spPr>
            <a:xfrm>
              <a:off x="-2806920" y="4721760"/>
              <a:ext cx="8388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9"/>
            <p:cNvSpPr/>
            <p:nvPr/>
          </p:nvSpPr>
          <p:spPr>
            <a:xfrm>
              <a:off x="-2592360" y="4716000"/>
              <a:ext cx="77760" cy="52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80"/>
            <p:cNvSpPr/>
            <p:nvPr/>
          </p:nvSpPr>
          <p:spPr>
            <a:xfrm>
              <a:off x="-2577240" y="4798080"/>
              <a:ext cx="29520" cy="50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81"/>
            <p:cNvSpPr/>
            <p:nvPr/>
          </p:nvSpPr>
          <p:spPr>
            <a:xfrm>
              <a:off x="-2904480" y="4563000"/>
              <a:ext cx="56880" cy="1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2"/>
            <p:cNvSpPr/>
            <p:nvPr/>
          </p:nvSpPr>
          <p:spPr>
            <a:xfrm>
              <a:off x="-2922479" y="4545720"/>
              <a:ext cx="129240" cy="15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3"/>
            <p:cNvSpPr/>
            <p:nvPr/>
          </p:nvSpPr>
          <p:spPr>
            <a:xfrm>
              <a:off x="-3839400" y="4632120"/>
              <a:ext cx="39960" cy="5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4"/>
            <p:cNvSpPr/>
            <p:nvPr/>
          </p:nvSpPr>
          <p:spPr>
            <a:xfrm>
              <a:off x="-3866039" y="4824360"/>
              <a:ext cx="69840" cy="23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5"/>
            <p:cNvSpPr/>
            <p:nvPr/>
          </p:nvSpPr>
          <p:spPr>
            <a:xfrm>
              <a:off x="-1710720" y="4671000"/>
              <a:ext cx="32400" cy="59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6"/>
            <p:cNvSpPr/>
            <p:nvPr/>
          </p:nvSpPr>
          <p:spPr>
            <a:xfrm>
              <a:off x="-1661759" y="4772520"/>
              <a:ext cx="56160" cy="21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7"/>
            <p:cNvSpPr/>
            <p:nvPr/>
          </p:nvSpPr>
          <p:spPr>
            <a:xfrm>
              <a:off x="-1556279" y="4707360"/>
              <a:ext cx="1512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-3120120" y="433620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-3120120" y="436068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-3120120" y="438552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-3106079" y="429048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-27385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-271764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-26967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-2675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-265500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-26341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-2612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-25923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-190152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-174564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2"/>
            <p:cNvSpPr/>
            <p:nvPr/>
          </p:nvSpPr>
          <p:spPr>
            <a:xfrm>
              <a:off x="-2757960" y="4209840"/>
              <a:ext cx="182520" cy="50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-2769480" y="4182479"/>
              <a:ext cx="2084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-2526480" y="4595040"/>
              <a:ext cx="0" cy="514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-2555640" y="4651560"/>
              <a:ext cx="583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-2212560" y="4663800"/>
              <a:ext cx="1022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-2124720" y="4632120"/>
              <a:ext cx="0" cy="2915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-2022840" y="4656600"/>
              <a:ext cx="1094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-1966680" y="4598640"/>
              <a:ext cx="0" cy="424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-1980360" y="4830480"/>
              <a:ext cx="0" cy="80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-1877760" y="4881960"/>
              <a:ext cx="1753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-1885680" y="479412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-1885680" y="464364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-1885680" y="449676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-18665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-18377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-18089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-1780560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-18665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-18377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-18089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-1780560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-18665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-18377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-18089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-1780560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7"/>
            <p:cNvSpPr/>
            <p:nvPr/>
          </p:nvSpPr>
          <p:spPr>
            <a:xfrm>
              <a:off x="-1891800" y="4267800"/>
              <a:ext cx="136080" cy="7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8"/>
            <p:cNvSpPr/>
            <p:nvPr/>
          </p:nvSpPr>
          <p:spPr>
            <a:xfrm>
              <a:off x="-3009240" y="4879440"/>
              <a:ext cx="981000" cy="39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9"/>
            <p:cNvSpPr/>
            <p:nvPr/>
          </p:nvSpPr>
          <p:spPr>
            <a:xfrm>
              <a:off x="-2525400" y="4731480"/>
              <a:ext cx="414720" cy="110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0"/>
            <p:cNvSpPr/>
            <p:nvPr/>
          </p:nvSpPr>
          <p:spPr>
            <a:xfrm>
              <a:off x="-2084040" y="4683240"/>
              <a:ext cx="5580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31"/>
            <p:cNvSpPr/>
            <p:nvPr/>
          </p:nvSpPr>
          <p:spPr>
            <a:xfrm>
              <a:off x="-2032560" y="4742280"/>
              <a:ext cx="95760" cy="3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2"/>
            <p:cNvSpPr/>
            <p:nvPr/>
          </p:nvSpPr>
          <p:spPr>
            <a:xfrm>
              <a:off x="-1643039" y="4342320"/>
              <a:ext cx="252000" cy="368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-1589040" y="4842720"/>
              <a:ext cx="806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-1377000" y="4817160"/>
              <a:ext cx="3128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-1046520" y="4794120"/>
              <a:ext cx="0" cy="10943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6"/>
            <p:cNvSpPr/>
            <p:nvPr/>
          </p:nvSpPr>
          <p:spPr>
            <a:xfrm>
              <a:off x="-1307519" y="4671000"/>
              <a:ext cx="417240" cy="17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-1122120" y="4694040"/>
              <a:ext cx="0" cy="3779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-1715400" y="4609800"/>
              <a:ext cx="0" cy="262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39"/>
            <p:cNvSpPr/>
            <p:nvPr/>
          </p:nvSpPr>
          <p:spPr>
            <a:xfrm>
              <a:off x="-1364760" y="4393800"/>
              <a:ext cx="32760" cy="33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-3700440" y="499860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-2594520" y="5011200"/>
              <a:ext cx="0" cy="64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2"/>
            <p:cNvSpPr/>
            <p:nvPr/>
          </p:nvSpPr>
          <p:spPr>
            <a:xfrm>
              <a:off x="-4553279" y="4837680"/>
              <a:ext cx="367308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3"/>
            <p:cNvSpPr/>
            <p:nvPr/>
          </p:nvSpPr>
          <p:spPr>
            <a:xfrm>
              <a:off x="-4382640" y="4862160"/>
              <a:ext cx="47844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-4212720" y="4979160"/>
              <a:ext cx="3232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-4090320" y="502452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-3622320" y="4978080"/>
              <a:ext cx="14846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-2055960" y="4992840"/>
              <a:ext cx="2952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-1899720" y="5032800"/>
              <a:ext cx="14940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-1457280" y="4979160"/>
              <a:ext cx="5522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-3120120" y="488196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351"/>
            <p:cNvSpPr/>
            <p:nvPr/>
          </p:nvSpPr>
          <p:spPr>
            <a:xfrm>
              <a:off x="-2479320" y="4246200"/>
              <a:ext cx="265680" cy="587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-2479320" y="43326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-2479320" y="43725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-2479320" y="440279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-2479320" y="443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-2479320" y="44629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-2479320" y="44928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-2479320" y="452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-2479320" y="455327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-2479320" y="458315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-2479320" y="46134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-2479320" y="464328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-2479320" y="46735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-2479320" y="47037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-2479320" y="47340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-2479320" y="476028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-2479320" y="479052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-2479320" y="482076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Freeform: Shape 369"/>
            <p:cNvSpPr/>
            <p:nvPr/>
          </p:nvSpPr>
          <p:spPr>
            <a:xfrm>
              <a:off x="-2432880" y="4208760"/>
              <a:ext cx="7668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-2336400" y="4272480"/>
              <a:ext cx="730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-373716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-373716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-373716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-373716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-373716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-373716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-373716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-373716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-373716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-373716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-373716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-373716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-373716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-373716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-373716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-373716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-373716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-3708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-3708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-3708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-3708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-3708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-3708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-3708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-3708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-3708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-3708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-3708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-3708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-3708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-37087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-37087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-37087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-37087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-36799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-36799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-36799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-36799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-36799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-36799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-36799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-36799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-36799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-36799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-36799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-36799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-36799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-36799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-36799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-36799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-36799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-36511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-36511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-36511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-36511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-36511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-36511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-36511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-36511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-36511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-36511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-36511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-36511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-36511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-36511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-36511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-36511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-36511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-36223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-36223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-36223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-36223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-36223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-36223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-36223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-36223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-36223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-36223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-36223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-36223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-36223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-36223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-36223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-36223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-36223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-35935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-35935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-35935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-35935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-35935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-35935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-35935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-35935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-35935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-35935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-35935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-35935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-35935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-35935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-35935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-35935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-35935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-34786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-34786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-34786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-34786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-34786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-34786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-34786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-34786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-34786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-34786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-34786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-34786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-34786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-3507479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-3507479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-3507479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-3507479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-3507479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-3507479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-3507479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-3507479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-3507479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-3507479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-3507479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-3507479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-3507479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-35362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-35362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-35362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-35362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-35362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-35362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-35362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-35362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-35362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-35362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-35362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-35362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-35362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-3564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-3564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-3564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-3564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-3564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-3564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-3564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-3564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-3564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-3564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-3564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-3564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-3564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Freeform: Shape 525"/>
            <p:cNvSpPr/>
            <p:nvPr/>
          </p:nvSpPr>
          <p:spPr>
            <a:xfrm>
              <a:off x="-4857120" y="4914360"/>
              <a:ext cx="64080" cy="15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-4856400" y="5070960"/>
              <a:ext cx="363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7"/>
            <p:cNvSpPr/>
            <p:nvPr/>
          </p:nvSpPr>
          <p:spPr>
            <a:xfrm>
              <a:off x="-522720" y="4912919"/>
              <a:ext cx="54360" cy="12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-522000" y="50454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9"/>
            <p:cNvSpPr/>
            <p:nvPr/>
          </p:nvSpPr>
          <p:spPr>
            <a:xfrm>
              <a:off x="-4664520" y="4919400"/>
              <a:ext cx="8964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-4662720" y="5136840"/>
              <a:ext cx="504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31"/>
            <p:cNvSpPr/>
            <p:nvPr/>
          </p:nvSpPr>
          <p:spPr>
            <a:xfrm>
              <a:off x="-905039" y="4865040"/>
              <a:ext cx="110160" cy="26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-903240" y="5133240"/>
              <a:ext cx="6192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-5202360" y="4673160"/>
              <a:ext cx="9676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-513252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-432180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Freeform: Shape 536"/>
            <p:cNvSpPr/>
            <p:nvPr/>
          </p:nvSpPr>
          <p:spPr>
            <a:xfrm>
              <a:off x="-5130720" y="447120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-506700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-501948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-496980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-49215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-48733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-482508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-477648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-43898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-443772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-448704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-453528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-45835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-463176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-468036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-4728239" y="462456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-5539320" y="467316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Freeform: Shape 553"/>
            <p:cNvSpPr/>
            <p:nvPr/>
          </p:nvSpPr>
          <p:spPr>
            <a:xfrm>
              <a:off x="-5539320" y="447120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-520056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-524844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-529812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-53463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-539496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-544320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-549144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-4391279" y="4673160"/>
              <a:ext cx="1623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Freeform: Shape 562"/>
            <p:cNvSpPr/>
            <p:nvPr/>
          </p:nvSpPr>
          <p:spPr>
            <a:xfrm>
              <a:off x="-4319640" y="4475160"/>
              <a:ext cx="164160" cy="103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-42566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-4208400" y="4553640"/>
              <a:ext cx="0" cy="936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-4159080" y="4578840"/>
              <a:ext cx="0" cy="539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Freeform: Shape 566"/>
            <p:cNvSpPr/>
            <p:nvPr/>
          </p:nvSpPr>
          <p:spPr>
            <a:xfrm>
              <a:off x="3089160" y="3954240"/>
              <a:ext cx="279360" cy="70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Freeform: Shape 567"/>
            <p:cNvSpPr/>
            <p:nvPr/>
          </p:nvSpPr>
          <p:spPr>
            <a:xfrm>
              <a:off x="3156479" y="4094280"/>
              <a:ext cx="150480" cy="196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3219839" y="4127040"/>
              <a:ext cx="2196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3213720" y="4158720"/>
              <a:ext cx="3383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208320" y="4190399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202560" y="4221719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196800" y="4253400"/>
              <a:ext cx="673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191040" y="4285080"/>
              <a:ext cx="784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185279" y="4316760"/>
              <a:ext cx="900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179880" y="4348440"/>
              <a:ext cx="10115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174120" y="4380120"/>
              <a:ext cx="1123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168360" y="4411800"/>
              <a:ext cx="12347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162600" y="4443120"/>
              <a:ext cx="1350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156840" y="4474440"/>
              <a:ext cx="1461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151080" y="4506120"/>
              <a:ext cx="15767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145679" y="4537800"/>
              <a:ext cx="16848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139559" y="4569480"/>
              <a:ext cx="18036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134160" y="4601160"/>
              <a:ext cx="19151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128400" y="4632840"/>
              <a:ext cx="2026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958169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1789856" y="455085"/>
            <a:ext cx="9921149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8503680" y="5398296"/>
            <a:ext cx="3688320" cy="1061045"/>
            <a:chOff x="-319680" y="4767120"/>
            <a:chExt cx="1624320" cy="467280"/>
          </a:xfrm>
        </p:grpSpPr>
        <p:sp>
          <p:nvSpPr>
            <p:cNvPr id="6" name="Straight Connector 5"/>
            <p:cNvSpPr/>
            <p:nvPr/>
          </p:nvSpPr>
          <p:spPr>
            <a:xfrm>
              <a:off x="17280" y="4994640"/>
              <a:ext cx="96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87120" y="476712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897839" y="476712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Freeform: Shape 5"/>
            <p:cNvSpPr/>
            <p:nvPr/>
          </p:nvSpPr>
          <p:spPr>
            <a:xfrm>
              <a:off x="88920" y="479268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152640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200160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249840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>
              <a:off x="298080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>
              <a:off x="34632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>
              <a:off x="39456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>
              <a:off x="443159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>
              <a:off x="829799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781919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732599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684359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63612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58788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539280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>
              <a:off x="491400" y="494604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-319680" y="499464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2"/>
            <p:cNvSpPr/>
            <p:nvPr/>
          </p:nvSpPr>
          <p:spPr>
            <a:xfrm>
              <a:off x="-319680" y="479268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19080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28800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-78480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-126720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-17532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-22356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271800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 flipH="1">
              <a:off x="810719" y="4994640"/>
              <a:ext cx="49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31"/>
            <p:cNvSpPr/>
            <p:nvPr/>
          </p:nvSpPr>
          <p:spPr>
            <a:xfrm>
              <a:off x="898199" y="479268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0" y="0"/>
                  </a:moveTo>
                  <a:cubicBezTo>
                    <a:pt x="276" y="261"/>
                    <a:pt x="680" y="426"/>
                    <a:pt x="1129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966240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1013759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1063440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>
              <a:off x="1111680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116028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120852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1256759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314280" y="5066640"/>
              <a:ext cx="535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433440" y="510948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380160" y="5149800"/>
              <a:ext cx="106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>
              <a:off x="40680" y="5195160"/>
              <a:ext cx="75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>
              <a:off x="-7560" y="5195160"/>
              <a:ext cx="15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335520" y="5149800"/>
              <a:ext cx="15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45"/>
            <p:cNvSpPr/>
            <p:nvPr/>
          </p:nvSpPr>
          <p:spPr>
            <a:xfrm>
              <a:off x="188280" y="5110560"/>
              <a:ext cx="50760" cy="11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2" h="334">
                  <a:moveTo>
                    <a:pt x="142" y="0"/>
                  </a:moveTo>
                  <a:lnTo>
                    <a:pt x="142" y="334"/>
                  </a:lnTo>
                  <a:lnTo>
                    <a:pt x="0" y="22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189000" y="523440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Freeform: Shape 47"/>
            <p:cNvSpPr/>
            <p:nvPr/>
          </p:nvSpPr>
          <p:spPr>
            <a:xfrm>
              <a:off x="1010520" y="5052240"/>
              <a:ext cx="33840" cy="80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5" h="225">
                  <a:moveTo>
                    <a:pt x="95" y="0"/>
                  </a:moveTo>
                  <a:lnTo>
                    <a:pt x="95" y="225"/>
                  </a:lnTo>
                  <a:lnTo>
                    <a:pt x="0" y="15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1010879" y="5135400"/>
              <a:ext cx="1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47286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35108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322064" y="2370937"/>
            <a:ext cx="7547872" cy="2163967"/>
            <a:chOff x="-198360" y="2843280"/>
            <a:chExt cx="7830359" cy="2244959"/>
          </a:xfrm>
        </p:grpSpPr>
        <p:sp>
          <p:nvSpPr>
            <p:cNvPr id="3" name="Straight Connector 2"/>
            <p:cNvSpPr/>
            <p:nvPr/>
          </p:nvSpPr>
          <p:spPr>
            <a:xfrm>
              <a:off x="2844720" y="446256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" name="Straight Connector 3"/>
            <p:cNvSpPr/>
            <p:nvPr/>
          </p:nvSpPr>
          <p:spPr>
            <a:xfrm>
              <a:off x="2928959" y="4534560"/>
              <a:ext cx="790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" name="Freeform: Shape 3"/>
            <p:cNvSpPr/>
            <p:nvPr/>
          </p:nvSpPr>
          <p:spPr>
            <a:xfrm>
              <a:off x="3028320" y="3767400"/>
              <a:ext cx="1139760" cy="729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67" h="2027" fill="none">
                  <a:moveTo>
                    <a:pt x="0" y="2027"/>
                  </a:moveTo>
                  <a:lnTo>
                    <a:pt x="1583" y="0"/>
                  </a:lnTo>
                  <a:lnTo>
                    <a:pt x="3167" y="2027"/>
                  </a:lnTo>
                  <a:lnTo>
                    <a:pt x="3167" y="167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Freeform: Shape 4"/>
            <p:cNvSpPr/>
            <p:nvPr/>
          </p:nvSpPr>
          <p:spPr>
            <a:xfrm>
              <a:off x="4240079" y="3094200"/>
              <a:ext cx="706680" cy="14882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64" h="4135" fill="none">
                  <a:moveTo>
                    <a:pt x="0" y="4135"/>
                  </a:moveTo>
                  <a:lnTo>
                    <a:pt x="0" y="0"/>
                  </a:lnTo>
                  <a:lnTo>
                    <a:pt x="1964" y="0"/>
                  </a:lnTo>
                  <a:lnTo>
                    <a:pt x="1964" y="31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Freeform: Shape 5"/>
            <p:cNvSpPr/>
            <p:nvPr/>
          </p:nvSpPr>
          <p:spPr>
            <a:xfrm>
              <a:off x="4657680" y="4280760"/>
              <a:ext cx="578520" cy="453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08" h="1261" fill="none">
                  <a:moveTo>
                    <a:pt x="0" y="1261"/>
                  </a:moveTo>
                  <a:lnTo>
                    <a:pt x="0" y="0"/>
                  </a:lnTo>
                  <a:lnTo>
                    <a:pt x="1608" y="0"/>
                  </a:lnTo>
                  <a:lnTo>
                    <a:pt x="1608" y="125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5026320" y="4186079"/>
              <a:ext cx="17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5081400" y="4079520"/>
              <a:ext cx="0" cy="58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4551120" y="2843280"/>
              <a:ext cx="8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4488120" y="2919600"/>
              <a:ext cx="21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Freeform: Shape 10"/>
            <p:cNvSpPr/>
            <p:nvPr/>
          </p:nvSpPr>
          <p:spPr>
            <a:xfrm>
              <a:off x="4440240" y="2980440"/>
              <a:ext cx="315720" cy="113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78" h="316" fill="none">
                  <a:moveTo>
                    <a:pt x="0" y="316"/>
                  </a:moveTo>
                  <a:lnTo>
                    <a:pt x="0" y="0"/>
                  </a:lnTo>
                  <a:lnTo>
                    <a:pt x="878" y="0"/>
                  </a:lnTo>
                  <a:lnTo>
                    <a:pt x="878" y="31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>
              <a:off x="4420800" y="4768200"/>
              <a:ext cx="411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V="1">
              <a:off x="5059080" y="4371120"/>
              <a:ext cx="0" cy="349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V="1">
              <a:off x="5356440" y="3223440"/>
              <a:ext cx="0" cy="109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V="1">
              <a:off x="5630040" y="3223440"/>
              <a:ext cx="0" cy="109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eform: Shape 15"/>
            <p:cNvSpPr/>
            <p:nvPr/>
          </p:nvSpPr>
          <p:spPr>
            <a:xfrm>
              <a:off x="5369760" y="3173760"/>
              <a:ext cx="243360" cy="73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77" h="206" fill="none">
                  <a:moveTo>
                    <a:pt x="0" y="206"/>
                  </a:moveTo>
                  <a:lnTo>
                    <a:pt x="342" y="0"/>
                  </a:lnTo>
                  <a:lnTo>
                    <a:pt x="677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 flipV="1">
              <a:off x="5492880" y="2977559"/>
              <a:ext cx="0" cy="1962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17"/>
            <p:cNvSpPr/>
            <p:nvPr/>
          </p:nvSpPr>
          <p:spPr>
            <a:xfrm>
              <a:off x="5431680" y="3298680"/>
              <a:ext cx="120600" cy="6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36" h="189">
                  <a:moveTo>
                    <a:pt x="168" y="189"/>
                  </a:moveTo>
                  <a:lnTo>
                    <a:pt x="0" y="189"/>
                  </a:lnTo>
                  <a:lnTo>
                    <a:pt x="0" y="0"/>
                  </a:lnTo>
                  <a:lnTo>
                    <a:pt x="336" y="0"/>
                  </a:lnTo>
                  <a:lnTo>
                    <a:pt x="336" y="18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Freeform: Shape 18"/>
            <p:cNvSpPr/>
            <p:nvPr/>
          </p:nvSpPr>
          <p:spPr>
            <a:xfrm>
              <a:off x="5399280" y="3428639"/>
              <a:ext cx="181440" cy="34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5" h="96">
                  <a:moveTo>
                    <a:pt x="253" y="96"/>
                  </a:moveTo>
                  <a:lnTo>
                    <a:pt x="0" y="96"/>
                  </a:lnTo>
                  <a:lnTo>
                    <a:pt x="0" y="0"/>
                  </a:lnTo>
                  <a:lnTo>
                    <a:pt x="505" y="0"/>
                  </a:lnTo>
                  <a:lnTo>
                    <a:pt x="505" y="9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Freeform: Shape 19"/>
            <p:cNvSpPr/>
            <p:nvPr/>
          </p:nvSpPr>
          <p:spPr>
            <a:xfrm>
              <a:off x="5392080" y="351180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20"/>
            <p:cNvSpPr/>
            <p:nvPr/>
          </p:nvSpPr>
          <p:spPr>
            <a:xfrm>
              <a:off x="5392080" y="35780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21"/>
            <p:cNvSpPr/>
            <p:nvPr/>
          </p:nvSpPr>
          <p:spPr>
            <a:xfrm>
              <a:off x="5392080" y="36428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2"/>
            <p:cNvSpPr/>
            <p:nvPr/>
          </p:nvSpPr>
          <p:spPr>
            <a:xfrm>
              <a:off x="5392080" y="370908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3"/>
            <p:cNvSpPr/>
            <p:nvPr/>
          </p:nvSpPr>
          <p:spPr>
            <a:xfrm>
              <a:off x="5392080" y="377352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4"/>
            <p:cNvSpPr/>
            <p:nvPr/>
          </p:nvSpPr>
          <p:spPr>
            <a:xfrm>
              <a:off x="5392080" y="383868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5"/>
            <p:cNvSpPr/>
            <p:nvPr/>
          </p:nvSpPr>
          <p:spPr>
            <a:xfrm>
              <a:off x="5392080" y="390456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eform: Shape 26"/>
            <p:cNvSpPr/>
            <p:nvPr/>
          </p:nvSpPr>
          <p:spPr>
            <a:xfrm>
              <a:off x="5392080" y="397080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7"/>
            <p:cNvSpPr/>
            <p:nvPr/>
          </p:nvSpPr>
          <p:spPr>
            <a:xfrm>
              <a:off x="5392080" y="4035599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Freeform: Shape 28"/>
            <p:cNvSpPr/>
            <p:nvPr/>
          </p:nvSpPr>
          <p:spPr>
            <a:xfrm>
              <a:off x="5392080" y="410076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9"/>
            <p:cNvSpPr/>
            <p:nvPr/>
          </p:nvSpPr>
          <p:spPr>
            <a:xfrm>
              <a:off x="5392080" y="41666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Freeform: Shape 30"/>
            <p:cNvSpPr/>
            <p:nvPr/>
          </p:nvSpPr>
          <p:spPr>
            <a:xfrm>
              <a:off x="5392080" y="423180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31"/>
            <p:cNvSpPr/>
            <p:nvPr/>
          </p:nvSpPr>
          <p:spPr>
            <a:xfrm>
              <a:off x="5392080" y="42980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32"/>
            <p:cNvSpPr/>
            <p:nvPr/>
          </p:nvSpPr>
          <p:spPr>
            <a:xfrm>
              <a:off x="5664600" y="3675599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33"/>
            <p:cNvSpPr/>
            <p:nvPr/>
          </p:nvSpPr>
          <p:spPr>
            <a:xfrm>
              <a:off x="5664600" y="37202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34"/>
            <p:cNvSpPr/>
            <p:nvPr/>
          </p:nvSpPr>
          <p:spPr>
            <a:xfrm>
              <a:off x="5664600" y="376452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5"/>
            <p:cNvSpPr/>
            <p:nvPr/>
          </p:nvSpPr>
          <p:spPr>
            <a:xfrm>
              <a:off x="5664600" y="380916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6"/>
            <p:cNvSpPr/>
            <p:nvPr/>
          </p:nvSpPr>
          <p:spPr>
            <a:xfrm>
              <a:off x="5664600" y="385380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7"/>
            <p:cNvSpPr/>
            <p:nvPr/>
          </p:nvSpPr>
          <p:spPr>
            <a:xfrm>
              <a:off x="5664600" y="38984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8"/>
            <p:cNvSpPr/>
            <p:nvPr/>
          </p:nvSpPr>
          <p:spPr>
            <a:xfrm>
              <a:off x="5664600" y="39434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9"/>
            <p:cNvSpPr/>
            <p:nvPr/>
          </p:nvSpPr>
          <p:spPr>
            <a:xfrm>
              <a:off x="5664600" y="398700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40"/>
            <p:cNvSpPr/>
            <p:nvPr/>
          </p:nvSpPr>
          <p:spPr>
            <a:xfrm>
              <a:off x="5664600" y="40316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41"/>
            <p:cNvSpPr/>
            <p:nvPr/>
          </p:nvSpPr>
          <p:spPr>
            <a:xfrm>
              <a:off x="5664600" y="407628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2"/>
            <p:cNvSpPr/>
            <p:nvPr/>
          </p:nvSpPr>
          <p:spPr>
            <a:xfrm>
              <a:off x="5664600" y="4120919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3"/>
            <p:cNvSpPr/>
            <p:nvPr/>
          </p:nvSpPr>
          <p:spPr>
            <a:xfrm>
              <a:off x="5664600" y="41648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4"/>
            <p:cNvSpPr/>
            <p:nvPr/>
          </p:nvSpPr>
          <p:spPr>
            <a:xfrm>
              <a:off x="5664600" y="420948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5664600" y="425412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5664600" y="429876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6002640" y="3666239"/>
              <a:ext cx="0" cy="64332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8"/>
            <p:cNvSpPr/>
            <p:nvPr/>
          </p:nvSpPr>
          <p:spPr>
            <a:xfrm>
              <a:off x="5437800" y="4345560"/>
              <a:ext cx="1357920" cy="221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73" h="615" fill="none">
                  <a:moveTo>
                    <a:pt x="0" y="0"/>
                  </a:moveTo>
                  <a:lnTo>
                    <a:pt x="2283" y="0"/>
                  </a:lnTo>
                  <a:lnTo>
                    <a:pt x="2283" y="375"/>
                  </a:lnTo>
                  <a:lnTo>
                    <a:pt x="3773" y="375"/>
                  </a:lnTo>
                  <a:lnTo>
                    <a:pt x="3773" y="61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Freeform: Shape 49"/>
            <p:cNvSpPr/>
            <p:nvPr/>
          </p:nvSpPr>
          <p:spPr>
            <a:xfrm>
              <a:off x="6246720" y="4589279"/>
              <a:ext cx="889559" cy="109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72" h="305" fill="none">
                  <a:moveTo>
                    <a:pt x="0" y="0"/>
                  </a:moveTo>
                  <a:lnTo>
                    <a:pt x="1080" y="0"/>
                  </a:lnTo>
                  <a:lnTo>
                    <a:pt x="1080" y="305"/>
                  </a:lnTo>
                  <a:lnTo>
                    <a:pt x="2472" y="3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5277240" y="4023720"/>
              <a:ext cx="0" cy="30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5315040" y="4023720"/>
              <a:ext cx="0" cy="30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Freeform: Shape 52"/>
            <p:cNvSpPr/>
            <p:nvPr/>
          </p:nvSpPr>
          <p:spPr>
            <a:xfrm>
              <a:off x="5331240" y="4456440"/>
              <a:ext cx="394920" cy="212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98" h="590" fill="none">
                  <a:moveTo>
                    <a:pt x="0" y="590"/>
                  </a:moveTo>
                  <a:lnTo>
                    <a:pt x="0" y="0"/>
                  </a:lnTo>
                  <a:lnTo>
                    <a:pt x="1098" y="0"/>
                  </a:lnTo>
                  <a:lnTo>
                    <a:pt x="1098" y="57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53"/>
            <p:cNvSpPr/>
            <p:nvPr/>
          </p:nvSpPr>
          <p:spPr>
            <a:xfrm>
              <a:off x="5392080" y="4512240"/>
              <a:ext cx="215280" cy="55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99" h="155">
                  <a:moveTo>
                    <a:pt x="299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599" y="0"/>
                  </a:lnTo>
                  <a:lnTo>
                    <a:pt x="599" y="1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54"/>
            <p:cNvSpPr/>
            <p:nvPr/>
          </p:nvSpPr>
          <p:spPr>
            <a:xfrm>
              <a:off x="5902200" y="4384080"/>
              <a:ext cx="305280" cy="50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9" h="142">
                  <a:moveTo>
                    <a:pt x="425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849" y="0"/>
                  </a:lnTo>
                  <a:lnTo>
                    <a:pt x="849" y="14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55"/>
            <p:cNvSpPr/>
            <p:nvPr/>
          </p:nvSpPr>
          <p:spPr>
            <a:xfrm>
              <a:off x="6865200" y="4527360"/>
              <a:ext cx="65880" cy="11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4" h="314">
                  <a:moveTo>
                    <a:pt x="92" y="314"/>
                  </a:moveTo>
                  <a:lnTo>
                    <a:pt x="0" y="314"/>
                  </a:lnTo>
                  <a:lnTo>
                    <a:pt x="0" y="0"/>
                  </a:lnTo>
                  <a:lnTo>
                    <a:pt x="184" y="0"/>
                  </a:lnTo>
                  <a:lnTo>
                    <a:pt x="184" y="31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Freeform: Shape 56"/>
            <p:cNvSpPr/>
            <p:nvPr/>
          </p:nvSpPr>
          <p:spPr>
            <a:xfrm>
              <a:off x="6136920" y="4148639"/>
              <a:ext cx="125640" cy="42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0" h="118">
                  <a:moveTo>
                    <a:pt x="175" y="118"/>
                  </a:moveTo>
                  <a:lnTo>
                    <a:pt x="0" y="118"/>
                  </a:lnTo>
                  <a:lnTo>
                    <a:pt x="0" y="0"/>
                  </a:lnTo>
                  <a:lnTo>
                    <a:pt x="350" y="0"/>
                  </a:lnTo>
                  <a:lnTo>
                    <a:pt x="350" y="11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Freeform: Shape 57"/>
            <p:cNvSpPr/>
            <p:nvPr/>
          </p:nvSpPr>
          <p:spPr>
            <a:xfrm>
              <a:off x="4079520" y="4161600"/>
              <a:ext cx="88200" cy="128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6" h="359">
                  <a:moveTo>
                    <a:pt x="123" y="359"/>
                  </a:moveTo>
                  <a:lnTo>
                    <a:pt x="0" y="359"/>
                  </a:lnTo>
                  <a:lnTo>
                    <a:pt x="0" y="0"/>
                  </a:lnTo>
                  <a:lnTo>
                    <a:pt x="246" y="0"/>
                  </a:lnTo>
                  <a:lnTo>
                    <a:pt x="246" y="35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58"/>
            <p:cNvSpPr/>
            <p:nvPr/>
          </p:nvSpPr>
          <p:spPr>
            <a:xfrm>
              <a:off x="4020479" y="4585319"/>
              <a:ext cx="155160" cy="51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2" h="144">
                  <a:moveTo>
                    <a:pt x="216" y="144"/>
                  </a:moveTo>
                  <a:lnTo>
                    <a:pt x="0" y="144"/>
                  </a:lnTo>
                  <a:lnTo>
                    <a:pt x="0" y="0"/>
                  </a:lnTo>
                  <a:lnTo>
                    <a:pt x="432" y="0"/>
                  </a:lnTo>
                  <a:lnTo>
                    <a:pt x="432" y="1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5666399" y="3507839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5666399" y="356184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5666399" y="361656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5697000" y="3407400"/>
              <a:ext cx="0" cy="586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6551280" y="4339440"/>
              <a:ext cx="0" cy="91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Freeform: Shape 64"/>
            <p:cNvSpPr/>
            <p:nvPr/>
          </p:nvSpPr>
          <p:spPr>
            <a:xfrm>
              <a:off x="5911199" y="4707360"/>
              <a:ext cx="1720800" cy="87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81" h="245" fill="none">
                  <a:moveTo>
                    <a:pt x="0" y="197"/>
                  </a:moveTo>
                  <a:lnTo>
                    <a:pt x="418" y="0"/>
                  </a:lnTo>
                  <a:lnTo>
                    <a:pt x="1727" y="0"/>
                  </a:lnTo>
                  <a:lnTo>
                    <a:pt x="1727" y="245"/>
                  </a:lnTo>
                  <a:lnTo>
                    <a:pt x="4781" y="2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4386240" y="4970520"/>
              <a:ext cx="0" cy="117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6643799" y="4934879"/>
              <a:ext cx="0" cy="11592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7"/>
            <p:cNvSpPr/>
            <p:nvPr/>
          </p:nvSpPr>
          <p:spPr>
            <a:xfrm>
              <a:off x="2504160" y="4614480"/>
              <a:ext cx="4793400" cy="246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16" h="685">
                  <a:moveTo>
                    <a:pt x="13316" y="682"/>
                  </a:moveTo>
                  <a:lnTo>
                    <a:pt x="7098" y="682"/>
                  </a:lnTo>
                  <a:cubicBezTo>
                    <a:pt x="7098" y="682"/>
                    <a:pt x="0" y="744"/>
                    <a:pt x="0" y="287"/>
                  </a:cubicBezTo>
                  <a:cubicBezTo>
                    <a:pt x="0" y="-80"/>
                    <a:pt x="3646" y="10"/>
                    <a:pt x="3646" y="1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68"/>
            <p:cNvSpPr/>
            <p:nvPr/>
          </p:nvSpPr>
          <p:spPr>
            <a:xfrm>
              <a:off x="2880000" y="4668840"/>
              <a:ext cx="1057320" cy="68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38" h="191" fill="none">
                  <a:moveTo>
                    <a:pt x="0" y="191"/>
                  </a:moveTo>
                  <a:lnTo>
                    <a:pt x="551" y="0"/>
                  </a:lnTo>
                  <a:lnTo>
                    <a:pt x="2938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3255839" y="4927680"/>
              <a:ext cx="7135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>
              <a:off x="3526200" y="5027400"/>
              <a:ext cx="227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4557960" y="4924800"/>
              <a:ext cx="1950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5666399" y="4712400"/>
              <a:ext cx="110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6552360" y="4385160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430524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4368239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443124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449496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455796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462204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487512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481212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474804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468504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1041119" y="4668840"/>
              <a:ext cx="4197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1226160" y="4737600"/>
              <a:ext cx="0" cy="88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1535039" y="4523400"/>
              <a:ext cx="11826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1798200" y="4617720"/>
              <a:ext cx="64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2001240" y="4707360"/>
              <a:ext cx="23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-198360" y="4547880"/>
              <a:ext cx="23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2845440" y="446256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-80280" y="446256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Freeform: Shape 92"/>
            <p:cNvSpPr/>
            <p:nvPr/>
          </p:nvSpPr>
          <p:spPr>
            <a:xfrm>
              <a:off x="214200" y="4413600"/>
              <a:ext cx="14184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5" h="934">
                  <a:moveTo>
                    <a:pt x="395" y="0"/>
                  </a:moveTo>
                  <a:lnTo>
                    <a:pt x="395" y="934"/>
                  </a:lnTo>
                  <a:lnTo>
                    <a:pt x="0" y="62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216360" y="4759200"/>
              <a:ext cx="80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Freeform: Shape 94"/>
            <p:cNvSpPr/>
            <p:nvPr/>
          </p:nvSpPr>
          <p:spPr>
            <a:xfrm>
              <a:off x="532080" y="4448160"/>
              <a:ext cx="198000" cy="465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 h="1295">
                  <a:moveTo>
                    <a:pt x="551" y="0"/>
                  </a:moveTo>
                  <a:lnTo>
                    <a:pt x="551" y="1295"/>
                  </a:lnTo>
                  <a:lnTo>
                    <a:pt x="0" y="86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535320" y="4927680"/>
              <a:ext cx="11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1072800" y="4252320"/>
              <a:ext cx="213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1226160" y="3749760"/>
              <a:ext cx="0" cy="690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3015360" y="3749760"/>
              <a:ext cx="0" cy="690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Freeform: Shape 99"/>
            <p:cNvSpPr/>
            <p:nvPr/>
          </p:nvSpPr>
          <p:spPr>
            <a:xfrm>
              <a:off x="1230120" y="3805200"/>
              <a:ext cx="1784880" cy="33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59" h="940">
                  <a:moveTo>
                    <a:pt x="4959" y="0"/>
                  </a:moveTo>
                  <a:cubicBezTo>
                    <a:pt x="4349" y="576"/>
                    <a:pt x="3457" y="940"/>
                    <a:pt x="2467" y="940"/>
                  </a:cubicBezTo>
                  <a:cubicBezTo>
                    <a:pt x="1490" y="940"/>
                    <a:pt x="610" y="587"/>
                    <a:pt x="0" y="2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137052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1475999" y="3988080"/>
              <a:ext cx="0" cy="264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584720" y="4043879"/>
              <a:ext cx="0" cy="208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1691279" y="4082400"/>
              <a:ext cx="0" cy="16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Straight Connector 105"/>
            <p:cNvSpPr/>
            <p:nvPr/>
          </p:nvSpPr>
          <p:spPr>
            <a:xfrm>
              <a:off x="1798200" y="4107960"/>
              <a:ext cx="0" cy="144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Straight Connector 106"/>
            <p:cNvSpPr/>
            <p:nvPr/>
          </p:nvSpPr>
          <p:spPr>
            <a:xfrm>
              <a:off x="1904760" y="4130280"/>
              <a:ext cx="0" cy="122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2011320" y="4140360"/>
              <a:ext cx="0" cy="11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Straight Connector 108"/>
            <p:cNvSpPr/>
            <p:nvPr/>
          </p:nvSpPr>
          <p:spPr>
            <a:xfrm>
              <a:off x="286488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Straight Connector 109"/>
            <p:cNvSpPr/>
            <p:nvPr/>
          </p:nvSpPr>
          <p:spPr>
            <a:xfrm>
              <a:off x="2760119" y="3988080"/>
              <a:ext cx="0" cy="264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2650680" y="4043879"/>
              <a:ext cx="0" cy="208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Straight Connector 111"/>
            <p:cNvSpPr/>
            <p:nvPr/>
          </p:nvSpPr>
          <p:spPr>
            <a:xfrm>
              <a:off x="2543760" y="4082400"/>
              <a:ext cx="0" cy="16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Straight Connector 112"/>
            <p:cNvSpPr/>
            <p:nvPr/>
          </p:nvSpPr>
          <p:spPr>
            <a:xfrm>
              <a:off x="2437200" y="4107960"/>
              <a:ext cx="0" cy="144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Straight Connector 113"/>
            <p:cNvSpPr/>
            <p:nvPr/>
          </p:nvSpPr>
          <p:spPr>
            <a:xfrm>
              <a:off x="2330640" y="4130280"/>
              <a:ext cx="0" cy="122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>
              <a:off x="2224800" y="4140360"/>
              <a:ext cx="0" cy="11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>
              <a:off x="2118240" y="4144320"/>
              <a:ext cx="0" cy="10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>
              <a:off x="327960" y="4252320"/>
              <a:ext cx="1090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16"/>
            <p:cNvSpPr/>
            <p:nvPr/>
          </p:nvSpPr>
          <p:spPr>
            <a:xfrm>
              <a:off x="329040" y="3805200"/>
              <a:ext cx="896759" cy="33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2" h="940">
                  <a:moveTo>
                    <a:pt x="2492" y="0"/>
                  </a:moveTo>
                  <a:cubicBezTo>
                    <a:pt x="1882" y="576"/>
                    <a:pt x="991" y="940"/>
                    <a:pt x="0" y="94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>
              <a:off x="107568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>
              <a:off x="970200" y="3988080"/>
              <a:ext cx="0" cy="264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>
              <a:off x="861479" y="4043879"/>
              <a:ext cx="0" cy="208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>
              <a:off x="754920" y="4082400"/>
              <a:ext cx="0" cy="16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646920" y="4107960"/>
              <a:ext cx="0" cy="144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541440" y="4130280"/>
              <a:ext cx="0" cy="122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434880" y="4140360"/>
              <a:ext cx="0" cy="11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>
              <a:off x="2861640" y="4252320"/>
              <a:ext cx="358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Freeform: Shape 125"/>
            <p:cNvSpPr/>
            <p:nvPr/>
          </p:nvSpPr>
          <p:spPr>
            <a:xfrm>
              <a:off x="3020400" y="3815279"/>
              <a:ext cx="362160" cy="22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07" h="635">
                  <a:moveTo>
                    <a:pt x="1007" y="635"/>
                  </a:moveTo>
                  <a:cubicBezTo>
                    <a:pt x="623" y="477"/>
                    <a:pt x="282" y="263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315936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>
              <a:off x="3265200" y="3988080"/>
              <a:ext cx="0" cy="20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3375000" y="4043879"/>
              <a:ext cx="0" cy="11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053309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43200" y="2149887"/>
            <a:ext cx="6706360" cy="2601723"/>
            <a:chOff x="525600" y="789840"/>
            <a:chExt cx="5466600" cy="2120760"/>
          </a:xfrm>
        </p:grpSpPr>
        <p:sp>
          <p:nvSpPr>
            <p:cNvPr id="3" name="Straight Connector 2"/>
            <p:cNvSpPr/>
            <p:nvPr/>
          </p:nvSpPr>
          <p:spPr>
            <a:xfrm>
              <a:off x="551520" y="2348280"/>
              <a:ext cx="239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" name="Freeform: Shape 2"/>
            <p:cNvSpPr/>
            <p:nvPr/>
          </p:nvSpPr>
          <p:spPr>
            <a:xfrm>
              <a:off x="843119" y="2361240"/>
              <a:ext cx="952920" cy="95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48" h="265" fill="none">
                  <a:moveTo>
                    <a:pt x="0" y="0"/>
                  </a:moveTo>
                  <a:lnTo>
                    <a:pt x="2252" y="0"/>
                  </a:lnTo>
                  <a:lnTo>
                    <a:pt x="1774" y="265"/>
                  </a:lnTo>
                  <a:lnTo>
                    <a:pt x="2203" y="265"/>
                  </a:lnTo>
                  <a:lnTo>
                    <a:pt x="2648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" name="Straight Connector 4"/>
            <p:cNvSpPr/>
            <p:nvPr/>
          </p:nvSpPr>
          <p:spPr>
            <a:xfrm>
              <a:off x="937080" y="2497320"/>
              <a:ext cx="304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525600" y="2314080"/>
              <a:ext cx="1136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Freeform: Shape 5"/>
            <p:cNvSpPr/>
            <p:nvPr/>
          </p:nvSpPr>
          <p:spPr>
            <a:xfrm>
              <a:off x="1794960" y="2479320"/>
              <a:ext cx="98640" cy="23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5" h="662">
                  <a:moveTo>
                    <a:pt x="0" y="581"/>
                  </a:moveTo>
                  <a:lnTo>
                    <a:pt x="216" y="662"/>
                  </a:lnTo>
                  <a:lnTo>
                    <a:pt x="275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Freeform: Shape 6"/>
            <p:cNvSpPr/>
            <p:nvPr/>
          </p:nvSpPr>
          <p:spPr>
            <a:xfrm>
              <a:off x="2002319" y="2435400"/>
              <a:ext cx="136080" cy="328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914">
                  <a:moveTo>
                    <a:pt x="0" y="721"/>
                  </a:moveTo>
                  <a:cubicBezTo>
                    <a:pt x="4" y="712"/>
                    <a:pt x="379" y="914"/>
                    <a:pt x="379" y="914"/>
                  </a:cubicBezTo>
                  <a:lnTo>
                    <a:pt x="37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2010600" y="2785680"/>
              <a:ext cx="90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Freeform: Shape 8"/>
            <p:cNvSpPr/>
            <p:nvPr/>
          </p:nvSpPr>
          <p:spPr>
            <a:xfrm>
              <a:off x="3177720" y="2505240"/>
              <a:ext cx="160560" cy="387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7" h="1077">
                  <a:moveTo>
                    <a:pt x="0" y="847"/>
                  </a:moveTo>
                  <a:cubicBezTo>
                    <a:pt x="5" y="838"/>
                    <a:pt x="447" y="1077"/>
                    <a:pt x="447" y="1077"/>
                  </a:cubicBezTo>
                  <a:lnTo>
                    <a:pt x="434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3186000" y="2910600"/>
              <a:ext cx="106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2699640" y="2646360"/>
              <a:ext cx="75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Freeform: Shape 11"/>
            <p:cNvSpPr/>
            <p:nvPr/>
          </p:nvSpPr>
          <p:spPr>
            <a:xfrm>
              <a:off x="2699640" y="2372400"/>
              <a:ext cx="103680" cy="250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9" h="697">
                  <a:moveTo>
                    <a:pt x="0" y="540"/>
                  </a:moveTo>
                  <a:lnTo>
                    <a:pt x="289" y="697"/>
                  </a:lnTo>
                  <a:lnTo>
                    <a:pt x="2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>
              <a:off x="5703480" y="251028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Freeform: Shape 13"/>
            <p:cNvSpPr/>
            <p:nvPr/>
          </p:nvSpPr>
          <p:spPr>
            <a:xfrm>
              <a:off x="5704920" y="2309400"/>
              <a:ext cx="75960" cy="183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2" h="512">
                  <a:moveTo>
                    <a:pt x="0" y="396"/>
                  </a:moveTo>
                  <a:lnTo>
                    <a:pt x="212" y="512"/>
                  </a:lnTo>
                  <a:lnTo>
                    <a:pt x="19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Freeform: Shape 14"/>
            <p:cNvSpPr/>
            <p:nvPr/>
          </p:nvSpPr>
          <p:spPr>
            <a:xfrm>
              <a:off x="874080" y="2129400"/>
              <a:ext cx="503640" cy="143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00" h="400" fill="none">
                  <a:moveTo>
                    <a:pt x="414" y="305"/>
                  </a:moveTo>
                  <a:lnTo>
                    <a:pt x="414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400" y="40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eform: Shape 15"/>
            <p:cNvSpPr/>
            <p:nvPr/>
          </p:nvSpPr>
          <p:spPr>
            <a:xfrm>
              <a:off x="919439" y="2069280"/>
              <a:ext cx="43200" cy="59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67" fill="none">
                  <a:moveTo>
                    <a:pt x="0" y="167"/>
                  </a:moveTo>
                  <a:lnTo>
                    <a:pt x="0" y="0"/>
                  </a:lnTo>
                  <a:lnTo>
                    <a:pt x="121" y="0"/>
                  </a:lnTo>
                  <a:lnTo>
                    <a:pt x="121" y="16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Freeform: Shape 16"/>
            <p:cNvSpPr/>
            <p:nvPr/>
          </p:nvSpPr>
          <p:spPr>
            <a:xfrm>
              <a:off x="742680" y="2213280"/>
              <a:ext cx="84240" cy="61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5" h="172">
                  <a:moveTo>
                    <a:pt x="117" y="172"/>
                  </a:moveTo>
                  <a:lnTo>
                    <a:pt x="0" y="172"/>
                  </a:lnTo>
                  <a:lnTo>
                    <a:pt x="0" y="0"/>
                  </a:lnTo>
                  <a:lnTo>
                    <a:pt x="235" y="0"/>
                  </a:lnTo>
                  <a:lnTo>
                    <a:pt x="235" y="17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17"/>
            <p:cNvSpPr/>
            <p:nvPr/>
          </p:nvSpPr>
          <p:spPr>
            <a:xfrm>
              <a:off x="1068840" y="1292760"/>
              <a:ext cx="286200" cy="951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6" h="2643" fill="none">
                  <a:moveTo>
                    <a:pt x="0" y="2638"/>
                  </a:moveTo>
                  <a:lnTo>
                    <a:pt x="0" y="0"/>
                  </a:lnTo>
                  <a:lnTo>
                    <a:pt x="796" y="0"/>
                  </a:lnTo>
                  <a:lnTo>
                    <a:pt x="796" y="264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1234080" y="2244240"/>
              <a:ext cx="332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Freeform: Shape 19"/>
            <p:cNvSpPr/>
            <p:nvPr/>
          </p:nvSpPr>
          <p:spPr>
            <a:xfrm>
              <a:off x="1391040" y="2003039"/>
              <a:ext cx="230040" cy="240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0" h="670" fill="none">
                  <a:moveTo>
                    <a:pt x="0" y="670"/>
                  </a:moveTo>
                  <a:lnTo>
                    <a:pt x="0" y="197"/>
                  </a:lnTo>
                  <a:lnTo>
                    <a:pt x="352" y="197"/>
                  </a:lnTo>
                  <a:lnTo>
                    <a:pt x="352" y="0"/>
                  </a:lnTo>
                  <a:lnTo>
                    <a:pt x="487" y="0"/>
                  </a:lnTo>
                  <a:lnTo>
                    <a:pt x="487" y="193"/>
                  </a:lnTo>
                  <a:lnTo>
                    <a:pt x="640" y="193"/>
                  </a:lnTo>
                  <a:lnTo>
                    <a:pt x="640" y="66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1640880" y="1088280"/>
              <a:ext cx="29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21"/>
            <p:cNvSpPr/>
            <p:nvPr/>
          </p:nvSpPr>
          <p:spPr>
            <a:xfrm>
              <a:off x="1741680" y="1088280"/>
              <a:ext cx="91800" cy="123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6" h="3423" fill="none">
                  <a:moveTo>
                    <a:pt x="0" y="0"/>
                  </a:moveTo>
                  <a:lnTo>
                    <a:pt x="0" y="3423"/>
                  </a:lnTo>
                  <a:lnTo>
                    <a:pt x="256" y="3423"/>
                  </a:lnTo>
                  <a:lnTo>
                    <a:pt x="256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2"/>
            <p:cNvSpPr/>
            <p:nvPr/>
          </p:nvSpPr>
          <p:spPr>
            <a:xfrm>
              <a:off x="1741680" y="945360"/>
              <a:ext cx="91800" cy="10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6" h="303">
                  <a:moveTo>
                    <a:pt x="128" y="303"/>
                  </a:moveTo>
                  <a:lnTo>
                    <a:pt x="0" y="303"/>
                  </a:lnTo>
                  <a:lnTo>
                    <a:pt x="0" y="0"/>
                  </a:lnTo>
                  <a:lnTo>
                    <a:pt x="256" y="0"/>
                  </a:lnTo>
                  <a:lnTo>
                    <a:pt x="256" y="30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3"/>
            <p:cNvSpPr/>
            <p:nvPr/>
          </p:nvSpPr>
          <p:spPr>
            <a:xfrm>
              <a:off x="1963440" y="2003039"/>
              <a:ext cx="93960" cy="278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774" fill="none">
                  <a:moveTo>
                    <a:pt x="0" y="774"/>
                  </a:moveTo>
                  <a:lnTo>
                    <a:pt x="0" y="0"/>
                  </a:lnTo>
                  <a:lnTo>
                    <a:pt x="262" y="0"/>
                  </a:lnTo>
                  <a:lnTo>
                    <a:pt x="262" y="36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>
              <a:off x="110448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113184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115956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118692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123732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126468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129204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132012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110448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110448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110448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110448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110448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>
              <a:off x="110448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110448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110448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110448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110448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110448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110448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>
              <a:off x="110448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>
              <a:off x="110448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113184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113184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113184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113184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113184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113184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113184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113184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13184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113184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113184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113184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113184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113184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115956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115956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115956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115956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115956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115956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115956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115956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115956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115956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>
              <a:off x="115956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115956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115956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115956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118692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18692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118692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118692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118692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118692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118692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118692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118692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118692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118692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118692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118692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118692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123732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123732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123732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123732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123732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123732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123732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123732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123732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123732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123732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123732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123732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123732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26468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126468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Straight Connector 105"/>
            <p:cNvSpPr/>
            <p:nvPr/>
          </p:nvSpPr>
          <p:spPr>
            <a:xfrm>
              <a:off x="126468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Straight Connector 106"/>
            <p:cNvSpPr/>
            <p:nvPr/>
          </p:nvSpPr>
          <p:spPr>
            <a:xfrm>
              <a:off x="126468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126468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Straight Connector 108"/>
            <p:cNvSpPr/>
            <p:nvPr/>
          </p:nvSpPr>
          <p:spPr>
            <a:xfrm>
              <a:off x="126468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Straight Connector 109"/>
            <p:cNvSpPr/>
            <p:nvPr/>
          </p:nvSpPr>
          <p:spPr>
            <a:xfrm>
              <a:off x="126468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126468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Straight Connector 111"/>
            <p:cNvSpPr/>
            <p:nvPr/>
          </p:nvSpPr>
          <p:spPr>
            <a:xfrm>
              <a:off x="126468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Straight Connector 112"/>
            <p:cNvSpPr/>
            <p:nvPr/>
          </p:nvSpPr>
          <p:spPr>
            <a:xfrm>
              <a:off x="126468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Straight Connector 113"/>
            <p:cNvSpPr/>
            <p:nvPr/>
          </p:nvSpPr>
          <p:spPr>
            <a:xfrm>
              <a:off x="126468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>
              <a:off x="126468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>
              <a:off x="126468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>
              <a:off x="126468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>
              <a:off x="129204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>
              <a:off x="129204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>
              <a:off x="129204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>
              <a:off x="129204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>
              <a:off x="129204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129204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129204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129204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>
              <a:off x="129204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129204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129204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>
              <a:off x="129204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29204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129204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32012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32012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32012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32012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32012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32012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32012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32012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132012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132012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132012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132012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132012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132012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1662119" y="111744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1662119" y="11628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1662119" y="1206719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1662119" y="125172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1662119" y="12960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1662119" y="13410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1662119" y="138492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1662119" y="142848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1662119" y="14742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1662119" y="151776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662119" y="156348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1662119" y="1607039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1662119" y="16524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1662119" y="169596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1662119" y="1740239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1662119" y="178524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1662119" y="182916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1662119" y="187452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1662119" y="191844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1662119" y="19620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1662119" y="200772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1662119" y="2051279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1662119" y="2096639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1662119" y="21402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1662119" y="218592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1662119" y="222948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1662119" y="22734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1833839" y="111744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1833839" y="11628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1833839" y="1206719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1833839" y="125172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1833839" y="12960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1833839" y="13410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1833839" y="138492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1833839" y="142848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1833839" y="14742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1833839" y="151776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1833839" y="156348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1833839" y="1607039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1833839" y="16524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1833839" y="169596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1833839" y="1740239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1833839" y="178524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1833839" y="182916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1833839" y="187452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1833839" y="191844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1833839" y="19620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1833839" y="200772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1833839" y="2051279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1833839" y="2096639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1833839" y="21402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1833839" y="218592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1833839" y="222948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1833839" y="22734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3022200" y="121824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3022200" y="126180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3022200" y="13035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3022200" y="134604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3022200" y="1047599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3049920" y="1018439"/>
              <a:ext cx="25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3022200" y="109008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3022200" y="113220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3022200" y="11757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3022200" y="138960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3022200" y="143208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3022200" y="147420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Straight Connector 211"/>
            <p:cNvSpPr/>
            <p:nvPr/>
          </p:nvSpPr>
          <p:spPr>
            <a:xfrm>
              <a:off x="3022200" y="15177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3022200" y="1560239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022200" y="16023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3022200" y="164592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3022200" y="1688399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Straight Connector 216"/>
            <p:cNvSpPr/>
            <p:nvPr/>
          </p:nvSpPr>
          <p:spPr>
            <a:xfrm>
              <a:off x="3022200" y="17301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3022200" y="177444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>
              <a:off x="3022200" y="181620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022200" y="1858319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3022200" y="190224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022200" y="19443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3022200" y="198648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3022200" y="203040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3022200" y="2072519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3022200" y="211428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3022200" y="21585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3022200" y="2200319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3022200" y="224244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3022200" y="22863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Straight Connector 230"/>
            <p:cNvSpPr/>
            <p:nvPr/>
          </p:nvSpPr>
          <p:spPr>
            <a:xfrm>
              <a:off x="3022200" y="232848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3119400" y="121824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3119400" y="126180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3119400" y="13035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3119400" y="134604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3119400" y="1047599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3119400" y="1018439"/>
              <a:ext cx="29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>
              <a:off x="3119400" y="109008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3119400" y="113220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>
              <a:off x="3119400" y="11757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>
              <a:off x="3119400" y="138960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>
              <a:off x="3119400" y="143208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Straight Connector 242"/>
            <p:cNvSpPr/>
            <p:nvPr/>
          </p:nvSpPr>
          <p:spPr>
            <a:xfrm>
              <a:off x="3119400" y="147420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>
              <a:off x="3119400" y="15177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Straight Connector 244"/>
            <p:cNvSpPr/>
            <p:nvPr/>
          </p:nvSpPr>
          <p:spPr>
            <a:xfrm>
              <a:off x="3119400" y="1560239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Straight Connector 245"/>
            <p:cNvSpPr/>
            <p:nvPr/>
          </p:nvSpPr>
          <p:spPr>
            <a:xfrm>
              <a:off x="3119400" y="16023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Straight Connector 246"/>
            <p:cNvSpPr/>
            <p:nvPr/>
          </p:nvSpPr>
          <p:spPr>
            <a:xfrm>
              <a:off x="3119400" y="164592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Straight Connector 247"/>
            <p:cNvSpPr/>
            <p:nvPr/>
          </p:nvSpPr>
          <p:spPr>
            <a:xfrm>
              <a:off x="3119400" y="1688399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Straight Connector 248"/>
            <p:cNvSpPr/>
            <p:nvPr/>
          </p:nvSpPr>
          <p:spPr>
            <a:xfrm>
              <a:off x="3119400" y="17301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Straight Connector 249"/>
            <p:cNvSpPr/>
            <p:nvPr/>
          </p:nvSpPr>
          <p:spPr>
            <a:xfrm>
              <a:off x="3119400" y="177444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Straight Connector 250"/>
            <p:cNvSpPr/>
            <p:nvPr/>
          </p:nvSpPr>
          <p:spPr>
            <a:xfrm>
              <a:off x="3119400" y="181620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Straight Connector 251"/>
            <p:cNvSpPr/>
            <p:nvPr/>
          </p:nvSpPr>
          <p:spPr>
            <a:xfrm>
              <a:off x="3119400" y="1858319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Straight Connector 252"/>
            <p:cNvSpPr/>
            <p:nvPr/>
          </p:nvSpPr>
          <p:spPr>
            <a:xfrm>
              <a:off x="3119400" y="190224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Straight Connector 253"/>
            <p:cNvSpPr/>
            <p:nvPr/>
          </p:nvSpPr>
          <p:spPr>
            <a:xfrm>
              <a:off x="3119400" y="19443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Straight Connector 254"/>
            <p:cNvSpPr/>
            <p:nvPr/>
          </p:nvSpPr>
          <p:spPr>
            <a:xfrm>
              <a:off x="3119400" y="198648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Straight Connector 255"/>
            <p:cNvSpPr/>
            <p:nvPr/>
          </p:nvSpPr>
          <p:spPr>
            <a:xfrm>
              <a:off x="3119400" y="203040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Straight Connector 256"/>
            <p:cNvSpPr/>
            <p:nvPr/>
          </p:nvSpPr>
          <p:spPr>
            <a:xfrm>
              <a:off x="3119400" y="2072519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Straight Connector 257"/>
            <p:cNvSpPr/>
            <p:nvPr/>
          </p:nvSpPr>
          <p:spPr>
            <a:xfrm>
              <a:off x="3119400" y="211428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Straight Connector 258"/>
            <p:cNvSpPr/>
            <p:nvPr/>
          </p:nvSpPr>
          <p:spPr>
            <a:xfrm>
              <a:off x="3119400" y="21585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Straight Connector 259"/>
            <p:cNvSpPr/>
            <p:nvPr/>
          </p:nvSpPr>
          <p:spPr>
            <a:xfrm>
              <a:off x="3119400" y="2200319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Straight Connector 260"/>
            <p:cNvSpPr/>
            <p:nvPr/>
          </p:nvSpPr>
          <p:spPr>
            <a:xfrm>
              <a:off x="3119400" y="224244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Straight Connector 261"/>
            <p:cNvSpPr/>
            <p:nvPr/>
          </p:nvSpPr>
          <p:spPr>
            <a:xfrm>
              <a:off x="3119400" y="22863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Straight Connector 262"/>
            <p:cNvSpPr/>
            <p:nvPr/>
          </p:nvSpPr>
          <p:spPr>
            <a:xfrm>
              <a:off x="3119400" y="232848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Straight Connector 263"/>
            <p:cNvSpPr/>
            <p:nvPr/>
          </p:nvSpPr>
          <p:spPr>
            <a:xfrm>
              <a:off x="2654280" y="171720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Straight Connector 264"/>
            <p:cNvSpPr/>
            <p:nvPr/>
          </p:nvSpPr>
          <p:spPr>
            <a:xfrm>
              <a:off x="2654280" y="1759319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Straight Connector 265"/>
            <p:cNvSpPr/>
            <p:nvPr/>
          </p:nvSpPr>
          <p:spPr>
            <a:xfrm>
              <a:off x="2654280" y="180180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Straight Connector 266"/>
            <p:cNvSpPr/>
            <p:nvPr/>
          </p:nvSpPr>
          <p:spPr>
            <a:xfrm>
              <a:off x="2654280" y="1843919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Straight Connector 267"/>
            <p:cNvSpPr/>
            <p:nvPr/>
          </p:nvSpPr>
          <p:spPr>
            <a:xfrm>
              <a:off x="2654280" y="188568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Straight Connector 268"/>
            <p:cNvSpPr/>
            <p:nvPr/>
          </p:nvSpPr>
          <p:spPr>
            <a:xfrm>
              <a:off x="2654280" y="192996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Straight Connector 269"/>
            <p:cNvSpPr/>
            <p:nvPr/>
          </p:nvSpPr>
          <p:spPr>
            <a:xfrm>
              <a:off x="2654280" y="197172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Straight Connector 270"/>
            <p:cNvSpPr/>
            <p:nvPr/>
          </p:nvSpPr>
          <p:spPr>
            <a:xfrm>
              <a:off x="2654280" y="2013839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Straight Connector 271"/>
            <p:cNvSpPr/>
            <p:nvPr/>
          </p:nvSpPr>
          <p:spPr>
            <a:xfrm>
              <a:off x="2654280" y="205632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2654280" y="209844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Straight Connector 273"/>
            <p:cNvSpPr/>
            <p:nvPr/>
          </p:nvSpPr>
          <p:spPr>
            <a:xfrm>
              <a:off x="2654280" y="214236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2654280" y="218448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2654280" y="2226239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2654280" y="226872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2428920" y="172548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2428920" y="176616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Straight Connector 279"/>
            <p:cNvSpPr/>
            <p:nvPr/>
          </p:nvSpPr>
          <p:spPr>
            <a:xfrm>
              <a:off x="2428920" y="180648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Straight Connector 280"/>
            <p:cNvSpPr/>
            <p:nvPr/>
          </p:nvSpPr>
          <p:spPr>
            <a:xfrm>
              <a:off x="2428920" y="184680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Straight Connector 281"/>
            <p:cNvSpPr/>
            <p:nvPr/>
          </p:nvSpPr>
          <p:spPr>
            <a:xfrm>
              <a:off x="2428920" y="188748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Straight Connector 282"/>
            <p:cNvSpPr/>
            <p:nvPr/>
          </p:nvSpPr>
          <p:spPr>
            <a:xfrm>
              <a:off x="2428920" y="1926719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Straight Connector 283"/>
            <p:cNvSpPr/>
            <p:nvPr/>
          </p:nvSpPr>
          <p:spPr>
            <a:xfrm>
              <a:off x="2428920" y="1967039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Straight Connector 284"/>
            <p:cNvSpPr/>
            <p:nvPr/>
          </p:nvSpPr>
          <p:spPr>
            <a:xfrm>
              <a:off x="2428920" y="200772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Straight Connector 285"/>
            <p:cNvSpPr/>
            <p:nvPr/>
          </p:nvSpPr>
          <p:spPr>
            <a:xfrm>
              <a:off x="2428920" y="204804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Straight Connector 286"/>
            <p:cNvSpPr/>
            <p:nvPr/>
          </p:nvSpPr>
          <p:spPr>
            <a:xfrm>
              <a:off x="2428920" y="208836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Straight Connector 287"/>
            <p:cNvSpPr/>
            <p:nvPr/>
          </p:nvSpPr>
          <p:spPr>
            <a:xfrm>
              <a:off x="2428920" y="212724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Straight Connector 288"/>
            <p:cNvSpPr/>
            <p:nvPr/>
          </p:nvSpPr>
          <p:spPr>
            <a:xfrm>
              <a:off x="2428920" y="216828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Straight Connector 289"/>
            <p:cNvSpPr/>
            <p:nvPr/>
          </p:nvSpPr>
          <p:spPr>
            <a:xfrm>
              <a:off x="2428920" y="220860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2428920" y="224928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2179080" y="189576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2179080" y="1937519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2179080" y="198000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2179080" y="2022119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2179080" y="206424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2179080" y="210816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2179080" y="215028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2179080" y="219204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2179080" y="223452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2179080" y="2276639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Freeform: Shape 300"/>
            <p:cNvSpPr/>
            <p:nvPr/>
          </p:nvSpPr>
          <p:spPr>
            <a:xfrm>
              <a:off x="1872720" y="2328480"/>
              <a:ext cx="162000" cy="32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1" h="91">
                  <a:moveTo>
                    <a:pt x="225" y="91"/>
                  </a:moveTo>
                  <a:lnTo>
                    <a:pt x="0" y="91"/>
                  </a:lnTo>
                  <a:lnTo>
                    <a:pt x="0" y="0"/>
                  </a:lnTo>
                  <a:lnTo>
                    <a:pt x="451" y="0"/>
                  </a:lnTo>
                  <a:lnTo>
                    <a:pt x="451" y="9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Freeform: Shape 301"/>
            <p:cNvSpPr/>
            <p:nvPr/>
          </p:nvSpPr>
          <p:spPr>
            <a:xfrm>
              <a:off x="2004119" y="2210400"/>
              <a:ext cx="46800" cy="82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1" h="230">
                  <a:moveTo>
                    <a:pt x="66" y="230"/>
                  </a:moveTo>
                  <a:lnTo>
                    <a:pt x="0" y="230"/>
                  </a:lnTo>
                  <a:lnTo>
                    <a:pt x="0" y="0"/>
                  </a:lnTo>
                  <a:lnTo>
                    <a:pt x="131" y="0"/>
                  </a:lnTo>
                  <a:lnTo>
                    <a:pt x="131" y="23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Freeform: Shape 302"/>
            <p:cNvSpPr/>
            <p:nvPr/>
          </p:nvSpPr>
          <p:spPr>
            <a:xfrm>
              <a:off x="3137400" y="2381760"/>
              <a:ext cx="19584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5" h="104">
                  <a:moveTo>
                    <a:pt x="272" y="104"/>
                  </a:moveTo>
                  <a:lnTo>
                    <a:pt x="0" y="104"/>
                  </a:lnTo>
                  <a:lnTo>
                    <a:pt x="0" y="0"/>
                  </a:lnTo>
                  <a:lnTo>
                    <a:pt x="545" y="0"/>
                  </a:lnTo>
                  <a:lnTo>
                    <a:pt x="545" y="10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3"/>
            <p:cNvSpPr/>
            <p:nvPr/>
          </p:nvSpPr>
          <p:spPr>
            <a:xfrm>
              <a:off x="3393000" y="2341440"/>
              <a:ext cx="33840" cy="8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5" h="235">
                  <a:moveTo>
                    <a:pt x="48" y="235"/>
                  </a:moveTo>
                  <a:lnTo>
                    <a:pt x="0" y="235"/>
                  </a:lnTo>
                  <a:lnTo>
                    <a:pt x="0" y="0"/>
                  </a:lnTo>
                  <a:lnTo>
                    <a:pt x="95" y="0"/>
                  </a:lnTo>
                  <a:lnTo>
                    <a:pt x="95" y="23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Freeform: Shape 304"/>
            <p:cNvSpPr/>
            <p:nvPr/>
          </p:nvSpPr>
          <p:spPr>
            <a:xfrm>
              <a:off x="4453560" y="2296440"/>
              <a:ext cx="223560" cy="49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22" h="139">
                  <a:moveTo>
                    <a:pt x="311" y="139"/>
                  </a:moveTo>
                  <a:lnTo>
                    <a:pt x="0" y="139"/>
                  </a:lnTo>
                  <a:lnTo>
                    <a:pt x="0" y="0"/>
                  </a:lnTo>
                  <a:lnTo>
                    <a:pt x="622" y="0"/>
                  </a:lnTo>
                  <a:lnTo>
                    <a:pt x="622" y="1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Freeform: Shape 305"/>
            <p:cNvSpPr/>
            <p:nvPr/>
          </p:nvSpPr>
          <p:spPr>
            <a:xfrm>
              <a:off x="4645080" y="2117880"/>
              <a:ext cx="65880" cy="126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4" h="351">
                  <a:moveTo>
                    <a:pt x="92" y="351"/>
                  </a:moveTo>
                  <a:lnTo>
                    <a:pt x="0" y="351"/>
                  </a:lnTo>
                  <a:lnTo>
                    <a:pt x="0" y="0"/>
                  </a:lnTo>
                  <a:lnTo>
                    <a:pt x="184" y="0"/>
                  </a:lnTo>
                  <a:lnTo>
                    <a:pt x="184" y="35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Freeform: Shape 306"/>
            <p:cNvSpPr/>
            <p:nvPr/>
          </p:nvSpPr>
          <p:spPr>
            <a:xfrm>
              <a:off x="5218920" y="2338200"/>
              <a:ext cx="163080" cy="3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4" h="108">
                  <a:moveTo>
                    <a:pt x="227" y="108"/>
                  </a:moveTo>
                  <a:lnTo>
                    <a:pt x="0" y="108"/>
                  </a:lnTo>
                  <a:lnTo>
                    <a:pt x="0" y="0"/>
                  </a:lnTo>
                  <a:lnTo>
                    <a:pt x="454" y="0"/>
                  </a:lnTo>
                  <a:lnTo>
                    <a:pt x="454" y="10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Freeform: Shape 307"/>
            <p:cNvSpPr/>
            <p:nvPr/>
          </p:nvSpPr>
          <p:spPr>
            <a:xfrm>
              <a:off x="5337000" y="2171520"/>
              <a:ext cx="52920" cy="78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8" h="220">
                  <a:moveTo>
                    <a:pt x="74" y="220"/>
                  </a:moveTo>
                  <a:lnTo>
                    <a:pt x="0" y="220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22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Freeform: Shape 308"/>
            <p:cNvSpPr/>
            <p:nvPr/>
          </p:nvSpPr>
          <p:spPr>
            <a:xfrm>
              <a:off x="2089800" y="2121120"/>
              <a:ext cx="787680" cy="288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89" h="802" fill="none">
                  <a:moveTo>
                    <a:pt x="0" y="644"/>
                  </a:moveTo>
                  <a:lnTo>
                    <a:pt x="749" y="644"/>
                  </a:lnTo>
                  <a:lnTo>
                    <a:pt x="537" y="802"/>
                  </a:lnTo>
                  <a:lnTo>
                    <a:pt x="1640" y="802"/>
                  </a:lnTo>
                  <a:lnTo>
                    <a:pt x="2027" y="491"/>
                  </a:lnTo>
                  <a:lnTo>
                    <a:pt x="2027" y="0"/>
                  </a:lnTo>
                  <a:lnTo>
                    <a:pt x="2189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2240639" y="2443680"/>
              <a:ext cx="405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3989880" y="2443680"/>
              <a:ext cx="405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2850480" y="2387160"/>
              <a:ext cx="238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Freeform: Shape 312"/>
            <p:cNvSpPr/>
            <p:nvPr/>
          </p:nvSpPr>
          <p:spPr>
            <a:xfrm>
              <a:off x="3456359" y="2391839"/>
              <a:ext cx="1270800" cy="98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31" h="275" fill="none">
                  <a:moveTo>
                    <a:pt x="0" y="31"/>
                  </a:moveTo>
                  <a:lnTo>
                    <a:pt x="401" y="275"/>
                  </a:lnTo>
                  <a:lnTo>
                    <a:pt x="1126" y="275"/>
                  </a:lnTo>
                  <a:lnTo>
                    <a:pt x="707" y="0"/>
                  </a:lnTo>
                  <a:lnTo>
                    <a:pt x="3531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4800600" y="2409839"/>
              <a:ext cx="86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4750200" y="2352960"/>
              <a:ext cx="41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5432760" y="2349719"/>
              <a:ext cx="105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5828400" y="2409839"/>
              <a:ext cx="163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4894200" y="2299320"/>
              <a:ext cx="543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Freeform: Shape 318"/>
            <p:cNvSpPr/>
            <p:nvPr/>
          </p:nvSpPr>
          <p:spPr>
            <a:xfrm>
              <a:off x="2095199" y="1498679"/>
              <a:ext cx="677160" cy="808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82" h="2247" fill="none">
                  <a:moveTo>
                    <a:pt x="607" y="2242"/>
                  </a:moveTo>
                  <a:lnTo>
                    <a:pt x="607" y="175"/>
                  </a:lnTo>
                  <a:lnTo>
                    <a:pt x="1238" y="0"/>
                  </a:lnTo>
                  <a:lnTo>
                    <a:pt x="1238" y="404"/>
                  </a:lnTo>
                  <a:lnTo>
                    <a:pt x="1715" y="252"/>
                  </a:lnTo>
                  <a:lnTo>
                    <a:pt x="1814" y="252"/>
                  </a:lnTo>
                  <a:lnTo>
                    <a:pt x="1882" y="296"/>
                  </a:lnTo>
                  <a:lnTo>
                    <a:pt x="1882" y="2247"/>
                  </a:lnTo>
                  <a:lnTo>
                    <a:pt x="0" y="2247"/>
                  </a:lnTo>
                  <a:lnTo>
                    <a:pt x="0" y="734"/>
                  </a:lnTo>
                  <a:lnTo>
                    <a:pt x="129" y="635"/>
                  </a:lnTo>
                  <a:lnTo>
                    <a:pt x="409" y="554"/>
                  </a:lnTo>
                  <a:lnTo>
                    <a:pt x="607" y="55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Freeform: Shape 319"/>
            <p:cNvSpPr/>
            <p:nvPr/>
          </p:nvSpPr>
          <p:spPr>
            <a:xfrm>
              <a:off x="2359440" y="1456200"/>
              <a:ext cx="124200" cy="92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46" h="257" fill="none">
                  <a:moveTo>
                    <a:pt x="0" y="257"/>
                  </a:moveTo>
                  <a:lnTo>
                    <a:pt x="0" y="63"/>
                  </a:lnTo>
                  <a:lnTo>
                    <a:pt x="193" y="0"/>
                  </a:lnTo>
                  <a:lnTo>
                    <a:pt x="346" y="27"/>
                  </a:lnTo>
                  <a:lnTo>
                    <a:pt x="346" y="15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Freeform: Shape 320"/>
            <p:cNvSpPr/>
            <p:nvPr/>
          </p:nvSpPr>
          <p:spPr>
            <a:xfrm>
              <a:off x="2456280" y="1331640"/>
              <a:ext cx="157320" cy="12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8" h="360" fill="none">
                  <a:moveTo>
                    <a:pt x="0" y="360"/>
                  </a:moveTo>
                  <a:lnTo>
                    <a:pt x="0" y="108"/>
                  </a:lnTo>
                  <a:lnTo>
                    <a:pt x="438" y="0"/>
                  </a:lnTo>
                  <a:lnTo>
                    <a:pt x="438" y="32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2630160" y="1446840"/>
              <a:ext cx="0" cy="168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Freeform: Shape 322"/>
            <p:cNvSpPr/>
            <p:nvPr/>
          </p:nvSpPr>
          <p:spPr>
            <a:xfrm>
              <a:off x="2559960" y="1605240"/>
              <a:ext cx="212400" cy="5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91" h="140" fill="none">
                  <a:moveTo>
                    <a:pt x="0" y="140"/>
                  </a:moveTo>
                  <a:lnTo>
                    <a:pt x="258" y="140"/>
                  </a:lnTo>
                  <a:lnTo>
                    <a:pt x="591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2540880" y="1678319"/>
              <a:ext cx="0" cy="6292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2428920" y="1456200"/>
              <a:ext cx="0" cy="851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Freeform: Shape 325"/>
            <p:cNvSpPr/>
            <p:nvPr/>
          </p:nvSpPr>
          <p:spPr>
            <a:xfrm>
              <a:off x="2095199" y="1712519"/>
              <a:ext cx="216720" cy="5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3" h="140" fill="none">
                  <a:moveTo>
                    <a:pt x="0" y="140"/>
                  </a:moveTo>
                  <a:lnTo>
                    <a:pt x="229" y="140"/>
                  </a:lnTo>
                  <a:lnTo>
                    <a:pt x="603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2177640" y="1762919"/>
              <a:ext cx="0" cy="5446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Freeform: Shape 327"/>
            <p:cNvSpPr/>
            <p:nvPr/>
          </p:nvSpPr>
          <p:spPr>
            <a:xfrm>
              <a:off x="2498760" y="1308960"/>
              <a:ext cx="215280" cy="28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99" h="779" fill="none">
                  <a:moveTo>
                    <a:pt x="0" y="139"/>
                  </a:moveTo>
                  <a:lnTo>
                    <a:pt x="0" y="31"/>
                  </a:lnTo>
                  <a:lnTo>
                    <a:pt x="103" y="0"/>
                  </a:lnTo>
                  <a:lnTo>
                    <a:pt x="103" y="445"/>
                  </a:lnTo>
                  <a:lnTo>
                    <a:pt x="599" y="319"/>
                  </a:lnTo>
                  <a:lnTo>
                    <a:pt x="594" y="7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8"/>
            <p:cNvSpPr/>
            <p:nvPr/>
          </p:nvSpPr>
          <p:spPr>
            <a:xfrm>
              <a:off x="2535840" y="1308960"/>
              <a:ext cx="3888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9" h="85" fill="none">
                  <a:moveTo>
                    <a:pt x="109" y="85"/>
                  </a:moveTo>
                  <a:lnTo>
                    <a:pt x="109" y="13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9"/>
            <p:cNvSpPr/>
            <p:nvPr/>
          </p:nvSpPr>
          <p:spPr>
            <a:xfrm>
              <a:off x="2877840" y="789840"/>
              <a:ext cx="217080" cy="15562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4" h="4324" fill="none">
                  <a:moveTo>
                    <a:pt x="0" y="4324"/>
                  </a:moveTo>
                  <a:lnTo>
                    <a:pt x="0" y="735"/>
                  </a:lnTo>
                  <a:lnTo>
                    <a:pt x="63" y="460"/>
                  </a:lnTo>
                  <a:lnTo>
                    <a:pt x="131" y="735"/>
                  </a:lnTo>
                  <a:lnTo>
                    <a:pt x="131" y="955"/>
                  </a:lnTo>
                  <a:lnTo>
                    <a:pt x="212" y="955"/>
                  </a:lnTo>
                  <a:lnTo>
                    <a:pt x="212" y="4324"/>
                  </a:lnTo>
                  <a:lnTo>
                    <a:pt x="285" y="4324"/>
                  </a:lnTo>
                  <a:lnTo>
                    <a:pt x="285" y="699"/>
                  </a:lnTo>
                  <a:lnTo>
                    <a:pt x="604" y="369"/>
                  </a:lnTo>
                  <a:lnTo>
                    <a:pt x="604" y="0"/>
                  </a:lnTo>
                  <a:lnTo>
                    <a:pt x="190" y="460"/>
                  </a:lnTo>
                  <a:lnTo>
                    <a:pt x="63" y="46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30"/>
            <p:cNvSpPr/>
            <p:nvPr/>
          </p:nvSpPr>
          <p:spPr>
            <a:xfrm>
              <a:off x="3095279" y="789840"/>
              <a:ext cx="192600" cy="165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36" h="460" fill="none">
                  <a:moveTo>
                    <a:pt x="0" y="0"/>
                  </a:moveTo>
                  <a:lnTo>
                    <a:pt x="410" y="460"/>
                  </a:lnTo>
                  <a:lnTo>
                    <a:pt x="536" y="46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1"/>
            <p:cNvSpPr/>
            <p:nvPr/>
          </p:nvSpPr>
          <p:spPr>
            <a:xfrm>
              <a:off x="3095279" y="922680"/>
              <a:ext cx="215280" cy="1423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99" h="3955" fill="none">
                  <a:moveTo>
                    <a:pt x="599" y="3955"/>
                  </a:moveTo>
                  <a:lnTo>
                    <a:pt x="599" y="366"/>
                  </a:lnTo>
                  <a:lnTo>
                    <a:pt x="536" y="91"/>
                  </a:lnTo>
                  <a:lnTo>
                    <a:pt x="468" y="366"/>
                  </a:lnTo>
                  <a:lnTo>
                    <a:pt x="468" y="586"/>
                  </a:lnTo>
                  <a:lnTo>
                    <a:pt x="388" y="586"/>
                  </a:lnTo>
                  <a:lnTo>
                    <a:pt x="388" y="3955"/>
                  </a:lnTo>
                  <a:lnTo>
                    <a:pt x="316" y="3955"/>
                  </a:lnTo>
                  <a:lnTo>
                    <a:pt x="316" y="33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Straight Connector 333"/>
            <p:cNvSpPr/>
            <p:nvPr/>
          </p:nvSpPr>
          <p:spPr>
            <a:xfrm>
              <a:off x="3313800" y="2082240"/>
              <a:ext cx="1425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Straight Connector 334"/>
            <p:cNvSpPr/>
            <p:nvPr/>
          </p:nvSpPr>
          <p:spPr>
            <a:xfrm>
              <a:off x="3388320" y="1984680"/>
              <a:ext cx="0" cy="96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Freeform: Shape 334"/>
            <p:cNvSpPr/>
            <p:nvPr/>
          </p:nvSpPr>
          <p:spPr>
            <a:xfrm>
              <a:off x="3457800" y="1477439"/>
              <a:ext cx="533160" cy="8391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82" h="2332" fill="none">
                  <a:moveTo>
                    <a:pt x="0" y="2332"/>
                  </a:moveTo>
                  <a:lnTo>
                    <a:pt x="0" y="0"/>
                  </a:lnTo>
                  <a:lnTo>
                    <a:pt x="1482" y="0"/>
                  </a:lnTo>
                  <a:lnTo>
                    <a:pt x="1482" y="233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Freeform: Shape 335"/>
            <p:cNvSpPr/>
            <p:nvPr/>
          </p:nvSpPr>
          <p:spPr>
            <a:xfrm>
              <a:off x="3539160" y="2296440"/>
              <a:ext cx="316080" cy="44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79" h="125" fill="none">
                  <a:moveTo>
                    <a:pt x="0" y="0"/>
                  </a:moveTo>
                  <a:lnTo>
                    <a:pt x="879" y="0"/>
                  </a:lnTo>
                  <a:lnTo>
                    <a:pt x="879" y="12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3482280" y="1445039"/>
              <a:ext cx="484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7"/>
            <p:cNvSpPr/>
            <p:nvPr/>
          </p:nvSpPr>
          <p:spPr>
            <a:xfrm>
              <a:off x="3457800" y="1218240"/>
              <a:ext cx="533160" cy="19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82" h="544">
                  <a:moveTo>
                    <a:pt x="1181" y="0"/>
                  </a:moveTo>
                  <a:lnTo>
                    <a:pt x="303" y="0"/>
                  </a:lnTo>
                  <a:lnTo>
                    <a:pt x="0" y="544"/>
                  </a:lnTo>
                  <a:lnTo>
                    <a:pt x="1482" y="5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Freeform: Shape 338"/>
            <p:cNvSpPr/>
            <p:nvPr/>
          </p:nvSpPr>
          <p:spPr>
            <a:xfrm>
              <a:off x="4043159" y="2250720"/>
              <a:ext cx="241200" cy="69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71" h="194" fill="none">
                  <a:moveTo>
                    <a:pt x="0" y="194"/>
                  </a:moveTo>
                  <a:lnTo>
                    <a:pt x="0" y="0"/>
                  </a:lnTo>
                  <a:lnTo>
                    <a:pt x="671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Freeform: Shape 339"/>
            <p:cNvSpPr/>
            <p:nvPr/>
          </p:nvSpPr>
          <p:spPr>
            <a:xfrm>
              <a:off x="4114800" y="1188719"/>
              <a:ext cx="446759" cy="1058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42" h="2941" fill="none">
                  <a:moveTo>
                    <a:pt x="0" y="2941"/>
                  </a:moveTo>
                  <a:lnTo>
                    <a:pt x="0" y="450"/>
                  </a:lnTo>
                  <a:lnTo>
                    <a:pt x="1202" y="243"/>
                  </a:lnTo>
                  <a:lnTo>
                    <a:pt x="1242" y="0"/>
                  </a:lnTo>
                  <a:lnTo>
                    <a:pt x="85" y="198"/>
                  </a:lnTo>
                  <a:lnTo>
                    <a:pt x="8" y="3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40"/>
            <p:cNvSpPr/>
            <p:nvPr/>
          </p:nvSpPr>
          <p:spPr>
            <a:xfrm>
              <a:off x="4547520" y="1188719"/>
              <a:ext cx="52920" cy="1058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8" h="2941" fill="none">
                  <a:moveTo>
                    <a:pt x="40" y="0"/>
                  </a:moveTo>
                  <a:lnTo>
                    <a:pt x="148" y="338"/>
                  </a:lnTo>
                  <a:lnTo>
                    <a:pt x="148" y="2941"/>
                  </a:lnTo>
                  <a:lnTo>
                    <a:pt x="0" y="2941"/>
                  </a:lnTo>
                  <a:lnTo>
                    <a:pt x="0" y="24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Freeform: Shape 341"/>
            <p:cNvSpPr/>
            <p:nvPr/>
          </p:nvSpPr>
          <p:spPr>
            <a:xfrm>
              <a:off x="4205520" y="1326600"/>
              <a:ext cx="54360" cy="9223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2563" fill="none">
                  <a:moveTo>
                    <a:pt x="0" y="2563"/>
                  </a:moveTo>
                  <a:lnTo>
                    <a:pt x="0" y="514"/>
                  </a:lnTo>
                  <a:lnTo>
                    <a:pt x="152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Freeform: Shape 342"/>
            <p:cNvSpPr/>
            <p:nvPr/>
          </p:nvSpPr>
          <p:spPr>
            <a:xfrm>
              <a:off x="4258800" y="1315080"/>
              <a:ext cx="58320" cy="9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3" h="2595" fill="none">
                  <a:moveTo>
                    <a:pt x="0" y="2595"/>
                  </a:moveTo>
                  <a:lnTo>
                    <a:pt x="0" y="546"/>
                  </a:lnTo>
                  <a:lnTo>
                    <a:pt x="163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3"/>
            <p:cNvSpPr/>
            <p:nvPr/>
          </p:nvSpPr>
          <p:spPr>
            <a:xfrm>
              <a:off x="4312800" y="1308960"/>
              <a:ext cx="59040" cy="9399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5" h="2612" fill="none">
                  <a:moveTo>
                    <a:pt x="0" y="2612"/>
                  </a:moveTo>
                  <a:lnTo>
                    <a:pt x="0" y="563"/>
                  </a:lnTo>
                  <a:lnTo>
                    <a:pt x="16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4"/>
            <p:cNvSpPr/>
            <p:nvPr/>
          </p:nvSpPr>
          <p:spPr>
            <a:xfrm>
              <a:off x="4366079" y="1297440"/>
              <a:ext cx="61200" cy="951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" h="2644" fill="none">
                  <a:moveTo>
                    <a:pt x="0" y="2644"/>
                  </a:moveTo>
                  <a:lnTo>
                    <a:pt x="0" y="595"/>
                  </a:lnTo>
                  <a:lnTo>
                    <a:pt x="171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Freeform: Shape 345"/>
            <p:cNvSpPr/>
            <p:nvPr/>
          </p:nvSpPr>
          <p:spPr>
            <a:xfrm>
              <a:off x="4419360" y="1287720"/>
              <a:ext cx="64440" cy="96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0" h="2671" fill="none">
                  <a:moveTo>
                    <a:pt x="0" y="2671"/>
                  </a:moveTo>
                  <a:lnTo>
                    <a:pt x="0" y="622"/>
                  </a:lnTo>
                  <a:lnTo>
                    <a:pt x="18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Freeform: Shape 346"/>
            <p:cNvSpPr/>
            <p:nvPr/>
          </p:nvSpPr>
          <p:spPr>
            <a:xfrm>
              <a:off x="4473000" y="1276200"/>
              <a:ext cx="69480" cy="97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4" h="2703" fill="none">
                  <a:moveTo>
                    <a:pt x="0" y="2703"/>
                  </a:moveTo>
                  <a:lnTo>
                    <a:pt x="0" y="654"/>
                  </a:lnTo>
                  <a:lnTo>
                    <a:pt x="19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4142160" y="1392840"/>
              <a:ext cx="0" cy="35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4173120" y="1386719"/>
              <a:ext cx="0" cy="342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4205520" y="1378440"/>
              <a:ext cx="0" cy="35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4270320" y="1365480"/>
              <a:ext cx="0" cy="356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4327200" y="1359000"/>
              <a:ext cx="0" cy="33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Straight Connector 353"/>
            <p:cNvSpPr/>
            <p:nvPr/>
          </p:nvSpPr>
          <p:spPr>
            <a:xfrm>
              <a:off x="4382280" y="1349280"/>
              <a:ext cx="0" cy="34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4439160" y="1336320"/>
              <a:ext cx="0" cy="356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4495680" y="1324800"/>
              <a:ext cx="0" cy="34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4572000" y="1308960"/>
              <a:ext cx="0" cy="35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4756680" y="161064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4756680" y="16570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4756680" y="170280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4756680" y="14709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4756680" y="151632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4756680" y="15634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4756680" y="17499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4756680" y="17967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4756680" y="1843919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4756680" y="18910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4756680" y="19360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4756680" y="198324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4756680" y="203040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4756680" y="207720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Straight Connector 371"/>
            <p:cNvSpPr/>
            <p:nvPr/>
          </p:nvSpPr>
          <p:spPr>
            <a:xfrm>
              <a:off x="4756680" y="21225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4756680" y="2169719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4756680" y="2216519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4862160" y="165564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4862160" y="1698119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4862160" y="174168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4862160" y="152604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4862160" y="156816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4862160" y="161208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4862160" y="17838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4862160" y="182772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4862160" y="1871279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4862160" y="191376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4862160" y="195732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4862160" y="200088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4862160" y="204336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4862160" y="208692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4862160" y="213084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4862160" y="217296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4862160" y="2216519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Freeform: Shape 390"/>
            <p:cNvSpPr/>
            <p:nvPr/>
          </p:nvSpPr>
          <p:spPr>
            <a:xfrm>
              <a:off x="4756680" y="1402559"/>
              <a:ext cx="137160" cy="851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2" h="2365" fill="none">
                  <a:moveTo>
                    <a:pt x="0" y="0"/>
                  </a:moveTo>
                  <a:lnTo>
                    <a:pt x="382" y="334"/>
                  </a:lnTo>
                  <a:lnTo>
                    <a:pt x="382" y="236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Freeform: Shape 391"/>
            <p:cNvSpPr/>
            <p:nvPr/>
          </p:nvSpPr>
          <p:spPr>
            <a:xfrm>
              <a:off x="4748760" y="1362240"/>
              <a:ext cx="229680" cy="896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39" h="2491">
                  <a:moveTo>
                    <a:pt x="0" y="2491"/>
                  </a:moveTo>
                  <a:lnTo>
                    <a:pt x="639" y="2491"/>
                  </a:lnTo>
                  <a:lnTo>
                    <a:pt x="639" y="328"/>
                  </a:lnTo>
                  <a:lnTo>
                    <a:pt x="28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5064840" y="161064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5064840" y="16570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5064840" y="170280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5064840" y="14709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5064840" y="151632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5064840" y="15634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5064840" y="17499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5064840" y="17967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5064840" y="1843919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5064840" y="18910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5064840" y="19360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5064840" y="198324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5064840" y="203040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5064840" y="207720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5064840" y="21225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5064840" y="2169719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5064840" y="2216519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5171760" y="165564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5171760" y="1698119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5171760" y="174168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5171760" y="152604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5171760" y="156816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5171760" y="161208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5171760" y="178380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5171760" y="182772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5171760" y="1871279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5171760" y="191376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5171760" y="195732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5171760" y="200088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5171760" y="204336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5171760" y="208692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5171760" y="213084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5171760" y="217296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5171760" y="2216519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Freeform: Shape 426"/>
            <p:cNvSpPr/>
            <p:nvPr/>
          </p:nvSpPr>
          <p:spPr>
            <a:xfrm>
              <a:off x="5064840" y="1402559"/>
              <a:ext cx="137520" cy="851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3" h="2365" fill="none">
                  <a:moveTo>
                    <a:pt x="0" y="0"/>
                  </a:moveTo>
                  <a:lnTo>
                    <a:pt x="383" y="334"/>
                  </a:lnTo>
                  <a:lnTo>
                    <a:pt x="383" y="236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Freeform: Shape 427"/>
            <p:cNvSpPr/>
            <p:nvPr/>
          </p:nvSpPr>
          <p:spPr>
            <a:xfrm>
              <a:off x="5056560" y="1362240"/>
              <a:ext cx="229680" cy="896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39" h="2491">
                  <a:moveTo>
                    <a:pt x="0" y="2491"/>
                  </a:moveTo>
                  <a:lnTo>
                    <a:pt x="639" y="2491"/>
                  </a:lnTo>
                  <a:lnTo>
                    <a:pt x="639" y="328"/>
                  </a:lnTo>
                  <a:lnTo>
                    <a:pt x="28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3496679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3496679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3496679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3496679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3496679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3496679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3496679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3496679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3496679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3496679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3496679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3496679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353268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353268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353268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353268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353268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353268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353268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353268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353268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353268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353268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353268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356688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356688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356688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356688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356688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356688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356688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356688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356688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356688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356688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356688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360252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360252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360252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360252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360252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360252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360252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360252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360252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360252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360252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360252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363780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363780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363780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363780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363780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363780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363780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363780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363780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363780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363780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363780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3671999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3671999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3671999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3671999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3671999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3671999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3671999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3671999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3671999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3671999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3671999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3671999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370764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370764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370764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370764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370764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370764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370764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370764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370764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370764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370764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370764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374364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374364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374364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374364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374364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374364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374364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374364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374364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374364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374364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374364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377712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377712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Straight Connector 527"/>
            <p:cNvSpPr/>
            <p:nvPr/>
          </p:nvSpPr>
          <p:spPr>
            <a:xfrm>
              <a:off x="377712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377712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Straight Connector 529"/>
            <p:cNvSpPr/>
            <p:nvPr/>
          </p:nvSpPr>
          <p:spPr>
            <a:xfrm>
              <a:off x="377712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377712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Straight Connector 531"/>
            <p:cNvSpPr/>
            <p:nvPr/>
          </p:nvSpPr>
          <p:spPr>
            <a:xfrm>
              <a:off x="377712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377712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Straight Connector 533"/>
            <p:cNvSpPr/>
            <p:nvPr/>
          </p:nvSpPr>
          <p:spPr>
            <a:xfrm>
              <a:off x="377712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377712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377712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377712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381312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Straight Connector 538"/>
            <p:cNvSpPr/>
            <p:nvPr/>
          </p:nvSpPr>
          <p:spPr>
            <a:xfrm>
              <a:off x="381312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381312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381312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381312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381312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381312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381312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381312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381312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381312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381312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3848759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3848759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3848759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3848759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3848759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3848759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Straight Connector 555"/>
            <p:cNvSpPr/>
            <p:nvPr/>
          </p:nvSpPr>
          <p:spPr>
            <a:xfrm>
              <a:off x="3848759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3848759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3848759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3848759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3848759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3848759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388296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388296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388296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388296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388296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388296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388296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388296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388296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388296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388296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88296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91860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91860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91860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91860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91860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91860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91860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91860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91860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91860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91860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91860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95388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95388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8" name="Straight Connector 587"/>
            <p:cNvSpPr/>
            <p:nvPr/>
          </p:nvSpPr>
          <p:spPr>
            <a:xfrm>
              <a:off x="395388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9" name="Straight Connector 588"/>
            <p:cNvSpPr/>
            <p:nvPr/>
          </p:nvSpPr>
          <p:spPr>
            <a:xfrm>
              <a:off x="395388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0" name="Straight Connector 589"/>
            <p:cNvSpPr/>
            <p:nvPr/>
          </p:nvSpPr>
          <p:spPr>
            <a:xfrm>
              <a:off x="395388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1" name="Straight Connector 590"/>
            <p:cNvSpPr/>
            <p:nvPr/>
          </p:nvSpPr>
          <p:spPr>
            <a:xfrm>
              <a:off x="395388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2" name="Straight Connector 591"/>
            <p:cNvSpPr/>
            <p:nvPr/>
          </p:nvSpPr>
          <p:spPr>
            <a:xfrm>
              <a:off x="395388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3" name="Straight Connector 592"/>
            <p:cNvSpPr/>
            <p:nvPr/>
          </p:nvSpPr>
          <p:spPr>
            <a:xfrm>
              <a:off x="395388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4" name="Straight Connector 593"/>
            <p:cNvSpPr/>
            <p:nvPr/>
          </p:nvSpPr>
          <p:spPr>
            <a:xfrm>
              <a:off x="395388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5" name="Straight Connector 594"/>
            <p:cNvSpPr/>
            <p:nvPr/>
          </p:nvSpPr>
          <p:spPr>
            <a:xfrm>
              <a:off x="395388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6" name="Straight Connector 595"/>
            <p:cNvSpPr/>
            <p:nvPr/>
          </p:nvSpPr>
          <p:spPr>
            <a:xfrm>
              <a:off x="395388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7" name="Straight Connector 596"/>
            <p:cNvSpPr/>
            <p:nvPr/>
          </p:nvSpPr>
          <p:spPr>
            <a:xfrm>
              <a:off x="395388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8" name="Straight Connector 597"/>
            <p:cNvSpPr/>
            <p:nvPr/>
          </p:nvSpPr>
          <p:spPr>
            <a:xfrm>
              <a:off x="3629880" y="2678760"/>
              <a:ext cx="105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9" name="Straight Connector 598"/>
            <p:cNvSpPr/>
            <p:nvPr/>
          </p:nvSpPr>
          <p:spPr>
            <a:xfrm>
              <a:off x="4401719" y="2565360"/>
              <a:ext cx="792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0" name="Straight Connector 599"/>
            <p:cNvSpPr/>
            <p:nvPr/>
          </p:nvSpPr>
          <p:spPr>
            <a:xfrm>
              <a:off x="4526280" y="2626920"/>
              <a:ext cx="105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40525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146958" y="2168501"/>
            <a:ext cx="7898085" cy="2237127"/>
            <a:chOff x="2555137" y="3659759"/>
            <a:chExt cx="3895510" cy="1103403"/>
          </a:xfrm>
        </p:grpSpPr>
        <p:sp>
          <p:nvSpPr>
            <p:cNvPr id="3" name="Straight Connector 2"/>
            <p:cNvSpPr/>
            <p:nvPr/>
          </p:nvSpPr>
          <p:spPr>
            <a:xfrm>
              <a:off x="2759018" y="4472230"/>
              <a:ext cx="3798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" name="Freeform: Shape 226"/>
            <p:cNvSpPr/>
            <p:nvPr/>
          </p:nvSpPr>
          <p:spPr>
            <a:xfrm>
              <a:off x="2806743" y="4103793"/>
              <a:ext cx="547883" cy="350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" name="Freeform: Shape 227"/>
            <p:cNvSpPr/>
            <p:nvPr/>
          </p:nvSpPr>
          <p:spPr>
            <a:xfrm>
              <a:off x="3389752" y="3780789"/>
              <a:ext cx="339039" cy="71434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Freeform: Shape 228"/>
            <p:cNvSpPr/>
            <p:nvPr/>
          </p:nvSpPr>
          <p:spPr>
            <a:xfrm>
              <a:off x="3590197" y="4350436"/>
              <a:ext cx="277951" cy="2172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3767735" y="4304620"/>
              <a:ext cx="843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3793697" y="4253458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3539036" y="3659759"/>
              <a:ext cx="423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3508492" y="3696793"/>
              <a:ext cx="1030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Freeform: Shape 233"/>
            <p:cNvSpPr/>
            <p:nvPr/>
          </p:nvSpPr>
          <p:spPr>
            <a:xfrm>
              <a:off x="3485585" y="3725428"/>
              <a:ext cx="151575" cy="549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3476421" y="4584861"/>
              <a:ext cx="1977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V="1">
              <a:off x="3783007" y="4393578"/>
              <a:ext cx="0" cy="1679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V="1">
              <a:off x="3925800" y="3842259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V="1">
              <a:off x="4057140" y="3842259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Freeform: Shape 238"/>
            <p:cNvSpPr/>
            <p:nvPr/>
          </p:nvSpPr>
          <p:spPr>
            <a:xfrm>
              <a:off x="3932292" y="3818205"/>
              <a:ext cx="116831" cy="358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V="1">
              <a:off x="3991470" y="3703666"/>
              <a:ext cx="0" cy="1145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Freeform: Shape 240"/>
            <p:cNvSpPr/>
            <p:nvPr/>
          </p:nvSpPr>
          <p:spPr>
            <a:xfrm>
              <a:off x="3962071" y="3878530"/>
              <a:ext cx="58034" cy="320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241"/>
            <p:cNvSpPr/>
            <p:nvPr/>
          </p:nvSpPr>
          <p:spPr>
            <a:xfrm>
              <a:off x="3946799" y="3941146"/>
              <a:ext cx="87050" cy="164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Freeform: Shape 242"/>
            <p:cNvSpPr/>
            <p:nvPr/>
          </p:nvSpPr>
          <p:spPr>
            <a:xfrm>
              <a:off x="3943363" y="398123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Freeform: Shape 243"/>
            <p:cNvSpPr/>
            <p:nvPr/>
          </p:nvSpPr>
          <p:spPr>
            <a:xfrm>
              <a:off x="3943363" y="4012923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244"/>
            <p:cNvSpPr/>
            <p:nvPr/>
          </p:nvSpPr>
          <p:spPr>
            <a:xfrm>
              <a:off x="3943363" y="404423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245"/>
            <p:cNvSpPr/>
            <p:nvPr/>
          </p:nvSpPr>
          <p:spPr>
            <a:xfrm>
              <a:off x="3943363" y="407553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46"/>
            <p:cNvSpPr/>
            <p:nvPr/>
          </p:nvSpPr>
          <p:spPr>
            <a:xfrm>
              <a:off x="3943363" y="4106847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47"/>
            <p:cNvSpPr/>
            <p:nvPr/>
          </p:nvSpPr>
          <p:spPr>
            <a:xfrm>
              <a:off x="3943363" y="413815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48"/>
            <p:cNvSpPr/>
            <p:nvPr/>
          </p:nvSpPr>
          <p:spPr>
            <a:xfrm>
              <a:off x="3943363" y="416946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49"/>
            <p:cNvSpPr/>
            <p:nvPr/>
          </p:nvSpPr>
          <p:spPr>
            <a:xfrm>
              <a:off x="3943363" y="420115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eform: Shape 250"/>
            <p:cNvSpPr/>
            <p:nvPr/>
          </p:nvSpPr>
          <p:spPr>
            <a:xfrm>
              <a:off x="3943363" y="423245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51"/>
            <p:cNvSpPr/>
            <p:nvPr/>
          </p:nvSpPr>
          <p:spPr>
            <a:xfrm>
              <a:off x="3943363" y="426376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Freeform: Shape 252"/>
            <p:cNvSpPr/>
            <p:nvPr/>
          </p:nvSpPr>
          <p:spPr>
            <a:xfrm>
              <a:off x="3943363" y="429545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53"/>
            <p:cNvSpPr/>
            <p:nvPr/>
          </p:nvSpPr>
          <p:spPr>
            <a:xfrm>
              <a:off x="3943363" y="432714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Freeform: Shape 254"/>
            <p:cNvSpPr/>
            <p:nvPr/>
          </p:nvSpPr>
          <p:spPr>
            <a:xfrm>
              <a:off x="3943363" y="4358453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55"/>
            <p:cNvSpPr/>
            <p:nvPr/>
          </p:nvSpPr>
          <p:spPr>
            <a:xfrm>
              <a:off x="4073939" y="405988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256"/>
            <p:cNvSpPr/>
            <p:nvPr/>
          </p:nvSpPr>
          <p:spPr>
            <a:xfrm>
              <a:off x="4073939" y="408126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257"/>
            <p:cNvSpPr/>
            <p:nvPr/>
          </p:nvSpPr>
          <p:spPr>
            <a:xfrm>
              <a:off x="4073939" y="4102265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258"/>
            <p:cNvSpPr/>
            <p:nvPr/>
          </p:nvSpPr>
          <p:spPr>
            <a:xfrm>
              <a:off x="4073939" y="412364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259"/>
            <p:cNvSpPr/>
            <p:nvPr/>
          </p:nvSpPr>
          <p:spPr>
            <a:xfrm>
              <a:off x="4073939" y="414502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260"/>
            <p:cNvSpPr/>
            <p:nvPr/>
          </p:nvSpPr>
          <p:spPr>
            <a:xfrm>
              <a:off x="4073939" y="4166408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261"/>
            <p:cNvSpPr/>
            <p:nvPr/>
          </p:nvSpPr>
          <p:spPr>
            <a:xfrm>
              <a:off x="4073939" y="418778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262"/>
            <p:cNvSpPr/>
            <p:nvPr/>
          </p:nvSpPr>
          <p:spPr>
            <a:xfrm>
              <a:off x="4073939" y="420955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263"/>
            <p:cNvSpPr/>
            <p:nvPr/>
          </p:nvSpPr>
          <p:spPr>
            <a:xfrm>
              <a:off x="4073939" y="4230550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264"/>
            <p:cNvSpPr/>
            <p:nvPr/>
          </p:nvSpPr>
          <p:spPr>
            <a:xfrm>
              <a:off x="4073939" y="425193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265"/>
            <p:cNvSpPr/>
            <p:nvPr/>
          </p:nvSpPr>
          <p:spPr>
            <a:xfrm>
              <a:off x="4073939" y="427331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266"/>
            <p:cNvSpPr/>
            <p:nvPr/>
          </p:nvSpPr>
          <p:spPr>
            <a:xfrm>
              <a:off x="4073939" y="4294693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267"/>
            <p:cNvSpPr/>
            <p:nvPr/>
          </p:nvSpPr>
          <p:spPr>
            <a:xfrm>
              <a:off x="4073939" y="431607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268"/>
            <p:cNvSpPr/>
            <p:nvPr/>
          </p:nvSpPr>
          <p:spPr>
            <a:xfrm>
              <a:off x="4073939" y="433745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269"/>
            <p:cNvSpPr/>
            <p:nvPr/>
          </p:nvSpPr>
          <p:spPr>
            <a:xfrm>
              <a:off x="4073939" y="435921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4236587" y="4055304"/>
              <a:ext cx="0" cy="30887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271"/>
            <p:cNvSpPr/>
            <p:nvPr/>
          </p:nvSpPr>
          <p:spPr>
            <a:xfrm>
              <a:off x="3965125" y="4381362"/>
              <a:ext cx="652497" cy="1061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272"/>
            <p:cNvSpPr/>
            <p:nvPr/>
          </p:nvSpPr>
          <p:spPr>
            <a:xfrm>
              <a:off x="4353416" y="4498574"/>
              <a:ext cx="483740" cy="523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3888002" y="4229405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3905946" y="4229405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Freeform: Shape 275"/>
            <p:cNvSpPr/>
            <p:nvPr/>
          </p:nvSpPr>
          <p:spPr>
            <a:xfrm>
              <a:off x="3913582" y="4434814"/>
              <a:ext cx="190137" cy="10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Freeform: Shape 276"/>
            <p:cNvSpPr/>
            <p:nvPr/>
          </p:nvSpPr>
          <p:spPr>
            <a:xfrm>
              <a:off x="3943363" y="4461540"/>
              <a:ext cx="103086" cy="26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277"/>
            <p:cNvSpPr/>
            <p:nvPr/>
          </p:nvSpPr>
          <p:spPr>
            <a:xfrm>
              <a:off x="4188097" y="4400069"/>
              <a:ext cx="146611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278"/>
            <p:cNvSpPr/>
            <p:nvPr/>
          </p:nvSpPr>
          <p:spPr>
            <a:xfrm>
              <a:off x="4407250" y="4387852"/>
              <a:ext cx="88960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279"/>
            <p:cNvSpPr/>
            <p:nvPr/>
          </p:nvSpPr>
          <p:spPr>
            <a:xfrm>
              <a:off x="4634803" y="4381743"/>
              <a:ext cx="82469" cy="553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Freeform: Shape 280"/>
            <p:cNvSpPr/>
            <p:nvPr/>
          </p:nvSpPr>
          <p:spPr>
            <a:xfrm>
              <a:off x="4650839" y="4468794"/>
              <a:ext cx="31308" cy="534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Freeform: Shape 281"/>
            <p:cNvSpPr/>
            <p:nvPr/>
          </p:nvSpPr>
          <p:spPr>
            <a:xfrm>
              <a:off x="4303782" y="4219478"/>
              <a:ext cx="60324" cy="198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282"/>
            <p:cNvSpPr/>
            <p:nvPr/>
          </p:nvSpPr>
          <p:spPr>
            <a:xfrm>
              <a:off x="4284693" y="4201152"/>
              <a:ext cx="137066" cy="1603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283"/>
            <p:cNvSpPr/>
            <p:nvPr/>
          </p:nvSpPr>
          <p:spPr>
            <a:xfrm>
              <a:off x="3312247" y="4292784"/>
              <a:ext cx="42380" cy="614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284"/>
            <p:cNvSpPr/>
            <p:nvPr/>
          </p:nvSpPr>
          <p:spPr>
            <a:xfrm>
              <a:off x="3283994" y="4496665"/>
              <a:ext cx="74069" cy="244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285"/>
            <p:cNvSpPr/>
            <p:nvPr/>
          </p:nvSpPr>
          <p:spPr>
            <a:xfrm>
              <a:off x="5569833" y="4334018"/>
              <a:ext cx="34362" cy="6299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Freeform: Shape 286"/>
            <p:cNvSpPr/>
            <p:nvPr/>
          </p:nvSpPr>
          <p:spPr>
            <a:xfrm>
              <a:off x="5621759" y="4441686"/>
              <a:ext cx="59561" cy="225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287"/>
            <p:cNvSpPr/>
            <p:nvPr/>
          </p:nvSpPr>
          <p:spPr>
            <a:xfrm>
              <a:off x="5733626" y="4372580"/>
              <a:ext cx="160356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4075084" y="3978944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4075084" y="4004906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4075084" y="4031251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4089975" y="3930455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4479793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4501937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>
              <a:off x="4524081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4546226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4568370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4590516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4613041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4634803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5367478" y="4003379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5532798" y="4003379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302"/>
            <p:cNvSpPr/>
            <p:nvPr/>
          </p:nvSpPr>
          <p:spPr>
            <a:xfrm>
              <a:off x="4459175" y="3844932"/>
              <a:ext cx="193573" cy="5303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4446958" y="3815914"/>
              <a:ext cx="2210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4704673" y="4253458"/>
              <a:ext cx="0" cy="545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4673747" y="4313401"/>
              <a:ext cx="6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5037603" y="4326382"/>
              <a:ext cx="1084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5130762" y="4292784"/>
              <a:ext cx="0" cy="309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5238812" y="4318746"/>
              <a:ext cx="1160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5298373" y="4257276"/>
              <a:ext cx="0" cy="45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5283864" y="4503156"/>
              <a:ext cx="0" cy="855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5392677" y="4557753"/>
              <a:ext cx="185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5384278" y="4464594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5384278" y="4305001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5384278" y="4149227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5404514" y="4326382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5435058" y="4326382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5465602" y="4326382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5495763" y="4326382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5404514" y="4168699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5435058" y="4168699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5465602" y="4168699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5495763" y="4168699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5404514" y="4014833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5435058" y="4014833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5465602" y="4014833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5495763" y="4014833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327"/>
            <p:cNvSpPr/>
            <p:nvPr/>
          </p:nvSpPr>
          <p:spPr>
            <a:xfrm>
              <a:off x="5377787" y="3906402"/>
              <a:ext cx="144321" cy="8285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328"/>
            <p:cNvSpPr/>
            <p:nvPr/>
          </p:nvSpPr>
          <p:spPr>
            <a:xfrm>
              <a:off x="4192678" y="4555081"/>
              <a:ext cx="1040406" cy="419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329"/>
            <p:cNvSpPr/>
            <p:nvPr/>
          </p:nvSpPr>
          <p:spPr>
            <a:xfrm>
              <a:off x="4705818" y="4398161"/>
              <a:ext cx="439834" cy="11683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330"/>
            <p:cNvSpPr/>
            <p:nvPr/>
          </p:nvSpPr>
          <p:spPr>
            <a:xfrm>
              <a:off x="5173906" y="4346999"/>
              <a:ext cx="59179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331"/>
            <p:cNvSpPr/>
            <p:nvPr/>
          </p:nvSpPr>
          <p:spPr>
            <a:xfrm>
              <a:off x="5228503" y="4409615"/>
              <a:ext cx="101559" cy="416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332"/>
            <p:cNvSpPr/>
            <p:nvPr/>
          </p:nvSpPr>
          <p:spPr>
            <a:xfrm>
              <a:off x="5641612" y="3985434"/>
              <a:ext cx="267260" cy="391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5698881" y="4516137"/>
              <a:ext cx="855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Straight Connector 111"/>
            <p:cNvSpPr/>
            <p:nvPr/>
          </p:nvSpPr>
          <p:spPr>
            <a:xfrm>
              <a:off x="5923762" y="4489029"/>
              <a:ext cx="331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Straight Connector 112"/>
            <p:cNvSpPr/>
            <p:nvPr/>
          </p:nvSpPr>
          <p:spPr>
            <a:xfrm>
              <a:off x="6274254" y="4464594"/>
              <a:ext cx="0" cy="116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336"/>
            <p:cNvSpPr/>
            <p:nvPr/>
          </p:nvSpPr>
          <p:spPr>
            <a:xfrm>
              <a:off x="5997450" y="4334018"/>
              <a:ext cx="442507" cy="1817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>
              <a:off x="6194076" y="4358453"/>
              <a:ext cx="0" cy="4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>
              <a:off x="5564869" y="4269112"/>
              <a:ext cx="0" cy="278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339"/>
            <p:cNvSpPr/>
            <p:nvPr/>
          </p:nvSpPr>
          <p:spPr>
            <a:xfrm>
              <a:off x="5936743" y="4040032"/>
              <a:ext cx="34744" cy="3581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>
              <a:off x="3459622" y="4681457"/>
              <a:ext cx="0" cy="7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>
              <a:off x="4632513" y="4694820"/>
              <a:ext cx="0" cy="683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342"/>
            <p:cNvSpPr/>
            <p:nvPr/>
          </p:nvSpPr>
          <p:spPr>
            <a:xfrm>
              <a:off x="2555137" y="4510792"/>
              <a:ext cx="3895510" cy="1183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343"/>
            <p:cNvSpPr/>
            <p:nvPr/>
          </p:nvSpPr>
          <p:spPr>
            <a:xfrm>
              <a:off x="2736110" y="4536754"/>
              <a:ext cx="507413" cy="328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>
              <a:off x="2916320" y="4660839"/>
              <a:ext cx="3428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3046132" y="4708946"/>
              <a:ext cx="109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3542472" y="4659694"/>
              <a:ext cx="15745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5203686" y="4675348"/>
              <a:ext cx="3130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>
              <a:off x="5369387" y="4717728"/>
              <a:ext cx="15844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5838620" y="4660839"/>
              <a:ext cx="5856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4075084" y="4557753"/>
              <a:ext cx="530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Freeform: Shape 351"/>
            <p:cNvSpPr/>
            <p:nvPr/>
          </p:nvSpPr>
          <p:spPr>
            <a:xfrm>
              <a:off x="4754689" y="3883494"/>
              <a:ext cx="281769" cy="623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4754689" y="397512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4754689" y="401750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4754689" y="404957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4754689" y="408164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4754689" y="411333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4754689" y="4145027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4754689" y="417709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4754689" y="420916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4754689" y="424085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4754689" y="427293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4754689" y="430462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4754689" y="433669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4754689" y="4368762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4754689" y="440083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4754689" y="4428705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4754689" y="4460776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4754689" y="4492847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Freeform: Shape 369"/>
            <p:cNvSpPr/>
            <p:nvPr/>
          </p:nvSpPr>
          <p:spPr>
            <a:xfrm>
              <a:off x="4803941" y="3843787"/>
              <a:ext cx="81323" cy="813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4906263" y="3911365"/>
              <a:ext cx="7750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3420678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3420678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3420678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3420678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3420678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3420678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3420678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3420678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3420678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3420678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3420678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3420678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3420678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3420678" y="43527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3420678" y="439434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3420678" y="4435576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3420678" y="4476812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3450840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3450840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3450840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3450840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3450840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3450840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3450840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3450840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3450840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3450840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3450840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3450840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3450840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3450840" y="43527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3450840" y="439434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3450840" y="4435576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3450840" y="4476812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3481384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3481384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3481384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3481384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3481384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3481384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3481384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3481384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3481384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3481384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3481384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3481384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3481384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3481384" y="43527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3481384" y="439434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3481384" y="4435576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3481384" y="4476812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3511928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3511928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3511928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3511928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3511928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3511928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3511928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3511928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3511928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3511928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3511928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3511928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Straight Connector 211"/>
            <p:cNvSpPr/>
            <p:nvPr/>
          </p:nvSpPr>
          <p:spPr>
            <a:xfrm>
              <a:off x="3511928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3511928" y="43527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511928" y="439434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3511928" y="4435576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3511928" y="4476812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Straight Connector 216"/>
            <p:cNvSpPr/>
            <p:nvPr/>
          </p:nvSpPr>
          <p:spPr>
            <a:xfrm>
              <a:off x="3542472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3542472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>
              <a:off x="3542472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542472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3542472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542472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3542472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3542472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3542472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3542472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3542472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3542472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3542472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3542472" y="43527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Straight Connector 230"/>
            <p:cNvSpPr/>
            <p:nvPr/>
          </p:nvSpPr>
          <p:spPr>
            <a:xfrm>
              <a:off x="3542472" y="439434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3542472" y="4435576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3542472" y="4476812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3573016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3573016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3573016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3573016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>
              <a:off x="3573016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3573016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>
              <a:off x="3573016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>
              <a:off x="3573016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>
              <a:off x="3573016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Straight Connector 242"/>
            <p:cNvSpPr/>
            <p:nvPr/>
          </p:nvSpPr>
          <p:spPr>
            <a:xfrm>
              <a:off x="3573016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>
              <a:off x="3573016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Straight Connector 244"/>
            <p:cNvSpPr/>
            <p:nvPr/>
          </p:nvSpPr>
          <p:spPr>
            <a:xfrm>
              <a:off x="3573016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Straight Connector 245"/>
            <p:cNvSpPr/>
            <p:nvPr/>
          </p:nvSpPr>
          <p:spPr>
            <a:xfrm>
              <a:off x="3573016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Straight Connector 246"/>
            <p:cNvSpPr/>
            <p:nvPr/>
          </p:nvSpPr>
          <p:spPr>
            <a:xfrm>
              <a:off x="3573016" y="43527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Straight Connector 247"/>
            <p:cNvSpPr/>
            <p:nvPr/>
          </p:nvSpPr>
          <p:spPr>
            <a:xfrm>
              <a:off x="3573016" y="439434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Straight Connector 248"/>
            <p:cNvSpPr/>
            <p:nvPr/>
          </p:nvSpPr>
          <p:spPr>
            <a:xfrm>
              <a:off x="3573016" y="4435576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Straight Connector 249"/>
            <p:cNvSpPr/>
            <p:nvPr/>
          </p:nvSpPr>
          <p:spPr>
            <a:xfrm>
              <a:off x="3573016" y="4476812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Straight Connector 250"/>
            <p:cNvSpPr/>
            <p:nvPr/>
          </p:nvSpPr>
          <p:spPr>
            <a:xfrm>
              <a:off x="3694811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Straight Connector 251"/>
            <p:cNvSpPr/>
            <p:nvPr/>
          </p:nvSpPr>
          <p:spPr>
            <a:xfrm>
              <a:off x="3694811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Straight Connector 252"/>
            <p:cNvSpPr/>
            <p:nvPr/>
          </p:nvSpPr>
          <p:spPr>
            <a:xfrm>
              <a:off x="3694811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Straight Connector 253"/>
            <p:cNvSpPr/>
            <p:nvPr/>
          </p:nvSpPr>
          <p:spPr>
            <a:xfrm>
              <a:off x="3694811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Straight Connector 254"/>
            <p:cNvSpPr/>
            <p:nvPr/>
          </p:nvSpPr>
          <p:spPr>
            <a:xfrm>
              <a:off x="3694811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Straight Connector 255"/>
            <p:cNvSpPr/>
            <p:nvPr/>
          </p:nvSpPr>
          <p:spPr>
            <a:xfrm>
              <a:off x="3694811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Straight Connector 256"/>
            <p:cNvSpPr/>
            <p:nvPr/>
          </p:nvSpPr>
          <p:spPr>
            <a:xfrm>
              <a:off x="3694811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Straight Connector 257"/>
            <p:cNvSpPr/>
            <p:nvPr/>
          </p:nvSpPr>
          <p:spPr>
            <a:xfrm>
              <a:off x="3694811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Straight Connector 258"/>
            <p:cNvSpPr/>
            <p:nvPr/>
          </p:nvSpPr>
          <p:spPr>
            <a:xfrm>
              <a:off x="3694811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Straight Connector 259"/>
            <p:cNvSpPr/>
            <p:nvPr/>
          </p:nvSpPr>
          <p:spPr>
            <a:xfrm>
              <a:off x="3694811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Straight Connector 260"/>
            <p:cNvSpPr/>
            <p:nvPr/>
          </p:nvSpPr>
          <p:spPr>
            <a:xfrm>
              <a:off x="3694811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Straight Connector 261"/>
            <p:cNvSpPr/>
            <p:nvPr/>
          </p:nvSpPr>
          <p:spPr>
            <a:xfrm>
              <a:off x="3694811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Straight Connector 262"/>
            <p:cNvSpPr/>
            <p:nvPr/>
          </p:nvSpPr>
          <p:spPr>
            <a:xfrm>
              <a:off x="3694811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Straight Connector 263"/>
            <p:cNvSpPr/>
            <p:nvPr/>
          </p:nvSpPr>
          <p:spPr>
            <a:xfrm>
              <a:off x="3664268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Straight Connector 264"/>
            <p:cNvSpPr/>
            <p:nvPr/>
          </p:nvSpPr>
          <p:spPr>
            <a:xfrm>
              <a:off x="3664268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Straight Connector 265"/>
            <p:cNvSpPr/>
            <p:nvPr/>
          </p:nvSpPr>
          <p:spPr>
            <a:xfrm>
              <a:off x="3664268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Straight Connector 266"/>
            <p:cNvSpPr/>
            <p:nvPr/>
          </p:nvSpPr>
          <p:spPr>
            <a:xfrm>
              <a:off x="3664268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Straight Connector 267"/>
            <p:cNvSpPr/>
            <p:nvPr/>
          </p:nvSpPr>
          <p:spPr>
            <a:xfrm>
              <a:off x="3664268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Straight Connector 268"/>
            <p:cNvSpPr/>
            <p:nvPr/>
          </p:nvSpPr>
          <p:spPr>
            <a:xfrm>
              <a:off x="3664268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Straight Connector 269"/>
            <p:cNvSpPr/>
            <p:nvPr/>
          </p:nvSpPr>
          <p:spPr>
            <a:xfrm>
              <a:off x="3664268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Straight Connector 270"/>
            <p:cNvSpPr/>
            <p:nvPr/>
          </p:nvSpPr>
          <p:spPr>
            <a:xfrm>
              <a:off x="3664268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Straight Connector 271"/>
            <p:cNvSpPr/>
            <p:nvPr/>
          </p:nvSpPr>
          <p:spPr>
            <a:xfrm>
              <a:off x="3664268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3664268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Straight Connector 273"/>
            <p:cNvSpPr/>
            <p:nvPr/>
          </p:nvSpPr>
          <p:spPr>
            <a:xfrm>
              <a:off x="3664268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3664268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3664268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3633723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3633723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3633723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Straight Connector 279"/>
            <p:cNvSpPr/>
            <p:nvPr/>
          </p:nvSpPr>
          <p:spPr>
            <a:xfrm>
              <a:off x="3633723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Straight Connector 280"/>
            <p:cNvSpPr/>
            <p:nvPr/>
          </p:nvSpPr>
          <p:spPr>
            <a:xfrm>
              <a:off x="3633723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Straight Connector 281"/>
            <p:cNvSpPr/>
            <p:nvPr/>
          </p:nvSpPr>
          <p:spPr>
            <a:xfrm>
              <a:off x="3633723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Straight Connector 282"/>
            <p:cNvSpPr/>
            <p:nvPr/>
          </p:nvSpPr>
          <p:spPr>
            <a:xfrm>
              <a:off x="3633723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Straight Connector 283"/>
            <p:cNvSpPr/>
            <p:nvPr/>
          </p:nvSpPr>
          <p:spPr>
            <a:xfrm>
              <a:off x="3633723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Straight Connector 284"/>
            <p:cNvSpPr/>
            <p:nvPr/>
          </p:nvSpPr>
          <p:spPr>
            <a:xfrm>
              <a:off x="3633723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Straight Connector 285"/>
            <p:cNvSpPr/>
            <p:nvPr/>
          </p:nvSpPr>
          <p:spPr>
            <a:xfrm>
              <a:off x="3633723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Straight Connector 286"/>
            <p:cNvSpPr/>
            <p:nvPr/>
          </p:nvSpPr>
          <p:spPr>
            <a:xfrm>
              <a:off x="3633723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Straight Connector 287"/>
            <p:cNvSpPr/>
            <p:nvPr/>
          </p:nvSpPr>
          <p:spPr>
            <a:xfrm>
              <a:off x="3633723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Straight Connector 288"/>
            <p:cNvSpPr/>
            <p:nvPr/>
          </p:nvSpPr>
          <p:spPr>
            <a:xfrm>
              <a:off x="3633723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Straight Connector 289"/>
            <p:cNvSpPr/>
            <p:nvPr/>
          </p:nvSpPr>
          <p:spPr>
            <a:xfrm>
              <a:off x="3603560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3603560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3603560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3603560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3603560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3603560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3603560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3603560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3603560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3603560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3603560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3603560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3603560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3733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7013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D6FC029-451F-BB43-995E-1D4211C5B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D8110-A292-5241-B630-D6774E40F8D8}" type="datetimeFigureOut">
              <a:rPr lang="en-US" smtClean="0"/>
              <a:t>1/16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EE2F31-595F-7442-BFDB-4BE120A35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E8A2E-01DC-1942-B97B-0BD2A920A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55991-60D6-4E43-B72D-641256C7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807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233525" y="2233035"/>
            <a:ext cx="5724953" cy="2103967"/>
            <a:chOff x="737640" y="2185200"/>
            <a:chExt cx="7802280" cy="2867400"/>
          </a:xfrm>
        </p:grpSpPr>
        <p:sp>
          <p:nvSpPr>
            <p:cNvPr id="3" name="Freeform: Shape 1"/>
            <p:cNvSpPr/>
            <p:nvPr/>
          </p:nvSpPr>
          <p:spPr>
            <a:xfrm>
              <a:off x="1261080" y="3500279"/>
              <a:ext cx="765720" cy="765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28" h="2128">
                  <a:moveTo>
                    <a:pt x="2128" y="1064"/>
                  </a:moveTo>
                  <a:cubicBezTo>
                    <a:pt x="2128" y="1260"/>
                    <a:pt x="2083" y="1426"/>
                    <a:pt x="1985" y="1596"/>
                  </a:cubicBezTo>
                  <a:cubicBezTo>
                    <a:pt x="1887" y="1765"/>
                    <a:pt x="1765" y="1888"/>
                    <a:pt x="1596" y="1986"/>
                  </a:cubicBezTo>
                  <a:cubicBezTo>
                    <a:pt x="1426" y="2084"/>
                    <a:pt x="1260" y="2128"/>
                    <a:pt x="1064" y="2128"/>
                  </a:cubicBezTo>
                  <a:cubicBezTo>
                    <a:pt x="868" y="2128"/>
                    <a:pt x="701" y="2084"/>
                    <a:pt x="532" y="1986"/>
                  </a:cubicBezTo>
                  <a:cubicBezTo>
                    <a:pt x="362" y="1888"/>
                    <a:pt x="240" y="1765"/>
                    <a:pt x="142" y="1596"/>
                  </a:cubicBezTo>
                  <a:cubicBezTo>
                    <a:pt x="44" y="1426"/>
                    <a:pt x="0" y="1260"/>
                    <a:pt x="0" y="1064"/>
                  </a:cubicBezTo>
                  <a:cubicBezTo>
                    <a:pt x="0" y="868"/>
                    <a:pt x="44" y="701"/>
                    <a:pt x="142" y="532"/>
                  </a:cubicBezTo>
                  <a:cubicBezTo>
                    <a:pt x="240" y="362"/>
                    <a:pt x="362" y="241"/>
                    <a:pt x="532" y="143"/>
                  </a:cubicBezTo>
                  <a:cubicBezTo>
                    <a:pt x="701" y="45"/>
                    <a:pt x="868" y="0"/>
                    <a:pt x="1064" y="0"/>
                  </a:cubicBezTo>
                  <a:cubicBezTo>
                    <a:pt x="1260" y="0"/>
                    <a:pt x="1426" y="45"/>
                    <a:pt x="1596" y="143"/>
                  </a:cubicBezTo>
                  <a:cubicBezTo>
                    <a:pt x="1765" y="241"/>
                    <a:pt x="1887" y="362"/>
                    <a:pt x="1985" y="532"/>
                  </a:cubicBezTo>
                  <a:cubicBezTo>
                    <a:pt x="2083" y="701"/>
                    <a:pt x="2128" y="868"/>
                    <a:pt x="2128" y="106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" name="Straight Connector 3"/>
            <p:cNvSpPr/>
            <p:nvPr/>
          </p:nvSpPr>
          <p:spPr>
            <a:xfrm>
              <a:off x="1644119" y="3484079"/>
              <a:ext cx="0" cy="50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" name="Straight Connector 4"/>
            <p:cNvSpPr/>
            <p:nvPr/>
          </p:nvSpPr>
          <p:spPr>
            <a:xfrm>
              <a:off x="1644119" y="4248000"/>
              <a:ext cx="0" cy="50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 flipH="1">
              <a:off x="1779120" y="3514680"/>
              <a:ext cx="19440" cy="46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 flipH="1">
              <a:off x="1489680" y="4221719"/>
              <a:ext cx="18360" cy="4572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 flipH="1">
              <a:off x="1897920" y="3605039"/>
              <a:ext cx="35640" cy="35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 flipH="1">
              <a:off x="1354320" y="4142520"/>
              <a:ext cx="35640" cy="34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1974240" y="3738240"/>
              <a:ext cx="46799" cy="17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1267200" y="4025520"/>
              <a:ext cx="46800" cy="183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2000519" y="389052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1237680" y="3892680"/>
              <a:ext cx="49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 flipV="1">
              <a:off x="1974240" y="4025520"/>
              <a:ext cx="46799" cy="183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 flipV="1">
              <a:off x="1267200" y="3738240"/>
              <a:ext cx="45720" cy="1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>
              <a:off x="1358640" y="3602160"/>
              <a:ext cx="34559" cy="352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>
              <a:off x="1895039" y="4145400"/>
              <a:ext cx="34560" cy="345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1480319" y="3518639"/>
              <a:ext cx="20520" cy="4572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1787400" y="4217760"/>
              <a:ext cx="19080" cy="4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Freeform: Shape 18"/>
            <p:cNvSpPr/>
            <p:nvPr/>
          </p:nvSpPr>
          <p:spPr>
            <a:xfrm>
              <a:off x="1523160" y="3877200"/>
              <a:ext cx="240480" cy="712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79" fill="none">
                  <a:moveTo>
                    <a:pt x="0" y="1979"/>
                  </a:moveTo>
                  <a:lnTo>
                    <a:pt x="378" y="0"/>
                  </a:lnTo>
                  <a:lnTo>
                    <a:pt x="669" y="154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1289520" y="4565160"/>
              <a:ext cx="0" cy="25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20"/>
            <p:cNvSpPr/>
            <p:nvPr/>
          </p:nvSpPr>
          <p:spPr>
            <a:xfrm>
              <a:off x="2216160" y="3975839"/>
              <a:ext cx="354960" cy="79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2218" fill="none">
                  <a:moveTo>
                    <a:pt x="0" y="2218"/>
                  </a:moveTo>
                  <a:lnTo>
                    <a:pt x="0" y="0"/>
                  </a:lnTo>
                  <a:lnTo>
                    <a:pt x="987" y="0"/>
                  </a:lnTo>
                  <a:lnTo>
                    <a:pt x="987" y="221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21"/>
            <p:cNvSpPr/>
            <p:nvPr/>
          </p:nvSpPr>
          <p:spPr>
            <a:xfrm>
              <a:off x="2290319" y="4447080"/>
              <a:ext cx="206640" cy="341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75" h="949">
                  <a:moveTo>
                    <a:pt x="0" y="949"/>
                  </a:moveTo>
                  <a:lnTo>
                    <a:pt x="0" y="198"/>
                  </a:lnTo>
                  <a:cubicBezTo>
                    <a:pt x="0" y="88"/>
                    <a:pt x="87" y="0"/>
                    <a:pt x="197" y="0"/>
                  </a:cubicBezTo>
                  <a:lnTo>
                    <a:pt x="378" y="0"/>
                  </a:lnTo>
                  <a:cubicBezTo>
                    <a:pt x="488" y="0"/>
                    <a:pt x="575" y="88"/>
                    <a:pt x="575" y="198"/>
                  </a:cubicBezTo>
                  <a:lnTo>
                    <a:pt x="575" y="94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>
              <a:off x="2267640" y="4190039"/>
              <a:ext cx="254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3"/>
            <p:cNvSpPr/>
            <p:nvPr/>
          </p:nvSpPr>
          <p:spPr>
            <a:xfrm>
              <a:off x="1356480" y="3975839"/>
              <a:ext cx="843840" cy="7351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5" h="2043">
                  <a:moveTo>
                    <a:pt x="2345" y="0"/>
                  </a:moveTo>
                  <a:cubicBezTo>
                    <a:pt x="2156" y="1137"/>
                    <a:pt x="1183" y="2012"/>
                    <a:pt x="0" y="20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>
              <a:off x="1769040" y="4606560"/>
              <a:ext cx="405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5"/>
            <p:cNvSpPr/>
            <p:nvPr/>
          </p:nvSpPr>
          <p:spPr>
            <a:xfrm>
              <a:off x="3854879" y="3975839"/>
              <a:ext cx="843840" cy="7351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5" h="2043">
                  <a:moveTo>
                    <a:pt x="0" y="0"/>
                  </a:moveTo>
                  <a:cubicBezTo>
                    <a:pt x="189" y="1137"/>
                    <a:pt x="1162" y="2012"/>
                    <a:pt x="2345" y="20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 flipH="1">
              <a:off x="3881159" y="4606560"/>
              <a:ext cx="405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1388159" y="4815000"/>
              <a:ext cx="478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2571480" y="3998160"/>
              <a:ext cx="90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2571480" y="4059000"/>
              <a:ext cx="90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2571480" y="4172040"/>
              <a:ext cx="90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2571480" y="4578120"/>
              <a:ext cx="90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2571480" y="4694040"/>
              <a:ext cx="90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33"/>
            <p:cNvSpPr/>
            <p:nvPr/>
          </p:nvSpPr>
          <p:spPr>
            <a:xfrm>
              <a:off x="2208960" y="3750479"/>
              <a:ext cx="86760" cy="15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2" h="434">
                  <a:moveTo>
                    <a:pt x="121" y="0"/>
                  </a:moveTo>
                  <a:lnTo>
                    <a:pt x="0" y="434"/>
                  </a:lnTo>
                  <a:lnTo>
                    <a:pt x="242" y="43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34"/>
            <p:cNvSpPr/>
            <p:nvPr/>
          </p:nvSpPr>
          <p:spPr>
            <a:xfrm>
              <a:off x="2495520" y="3750479"/>
              <a:ext cx="86760" cy="15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2" h="434">
                  <a:moveTo>
                    <a:pt x="121" y="0"/>
                  </a:moveTo>
                  <a:lnTo>
                    <a:pt x="0" y="434"/>
                  </a:lnTo>
                  <a:lnTo>
                    <a:pt x="242" y="43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5"/>
            <p:cNvSpPr/>
            <p:nvPr/>
          </p:nvSpPr>
          <p:spPr>
            <a:xfrm>
              <a:off x="2265840" y="3579480"/>
              <a:ext cx="255600" cy="32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1" h="909">
                  <a:moveTo>
                    <a:pt x="355" y="0"/>
                  </a:moveTo>
                  <a:lnTo>
                    <a:pt x="0" y="909"/>
                  </a:lnTo>
                  <a:lnTo>
                    <a:pt x="711" y="90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6"/>
            <p:cNvSpPr/>
            <p:nvPr/>
          </p:nvSpPr>
          <p:spPr>
            <a:xfrm>
              <a:off x="2360160" y="4034879"/>
              <a:ext cx="66960" cy="79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7" h="223">
                  <a:moveTo>
                    <a:pt x="93" y="223"/>
                  </a:moveTo>
                  <a:lnTo>
                    <a:pt x="0" y="223"/>
                  </a:lnTo>
                  <a:lnTo>
                    <a:pt x="0" y="0"/>
                  </a:lnTo>
                  <a:lnTo>
                    <a:pt x="187" y="0"/>
                  </a:lnTo>
                  <a:lnTo>
                    <a:pt x="187" y="22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7"/>
            <p:cNvSpPr/>
            <p:nvPr/>
          </p:nvSpPr>
          <p:spPr>
            <a:xfrm>
              <a:off x="3483720" y="3975839"/>
              <a:ext cx="355320" cy="79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2218" fill="none">
                  <a:moveTo>
                    <a:pt x="0" y="2218"/>
                  </a:moveTo>
                  <a:lnTo>
                    <a:pt x="0" y="0"/>
                  </a:lnTo>
                  <a:lnTo>
                    <a:pt x="988" y="0"/>
                  </a:lnTo>
                  <a:lnTo>
                    <a:pt x="988" y="221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8"/>
            <p:cNvSpPr/>
            <p:nvPr/>
          </p:nvSpPr>
          <p:spPr>
            <a:xfrm>
              <a:off x="3558240" y="4447080"/>
              <a:ext cx="206640" cy="341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75" h="949">
                  <a:moveTo>
                    <a:pt x="0" y="949"/>
                  </a:moveTo>
                  <a:lnTo>
                    <a:pt x="0" y="198"/>
                  </a:lnTo>
                  <a:cubicBezTo>
                    <a:pt x="0" y="88"/>
                    <a:pt x="87" y="0"/>
                    <a:pt x="197" y="0"/>
                  </a:cubicBezTo>
                  <a:lnTo>
                    <a:pt x="378" y="0"/>
                  </a:lnTo>
                  <a:cubicBezTo>
                    <a:pt x="488" y="0"/>
                    <a:pt x="575" y="88"/>
                    <a:pt x="575" y="198"/>
                  </a:cubicBezTo>
                  <a:lnTo>
                    <a:pt x="575" y="94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3534840" y="4190039"/>
              <a:ext cx="2537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40"/>
            <p:cNvSpPr/>
            <p:nvPr/>
          </p:nvSpPr>
          <p:spPr>
            <a:xfrm>
              <a:off x="3475800" y="3750479"/>
              <a:ext cx="87120" cy="15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434">
                  <a:moveTo>
                    <a:pt x="124" y="0"/>
                  </a:moveTo>
                  <a:lnTo>
                    <a:pt x="0" y="434"/>
                  </a:lnTo>
                  <a:lnTo>
                    <a:pt x="243" y="43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41"/>
            <p:cNvSpPr/>
            <p:nvPr/>
          </p:nvSpPr>
          <p:spPr>
            <a:xfrm>
              <a:off x="3762360" y="3750479"/>
              <a:ext cx="86760" cy="15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2" h="434">
                  <a:moveTo>
                    <a:pt x="121" y="0"/>
                  </a:moveTo>
                  <a:lnTo>
                    <a:pt x="0" y="434"/>
                  </a:lnTo>
                  <a:lnTo>
                    <a:pt x="242" y="43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2"/>
            <p:cNvSpPr/>
            <p:nvPr/>
          </p:nvSpPr>
          <p:spPr>
            <a:xfrm>
              <a:off x="3532680" y="3579480"/>
              <a:ext cx="256680" cy="32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909">
                  <a:moveTo>
                    <a:pt x="358" y="0"/>
                  </a:moveTo>
                  <a:lnTo>
                    <a:pt x="0" y="909"/>
                  </a:lnTo>
                  <a:lnTo>
                    <a:pt x="714" y="90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3"/>
            <p:cNvSpPr/>
            <p:nvPr/>
          </p:nvSpPr>
          <p:spPr>
            <a:xfrm>
              <a:off x="3628080" y="4034879"/>
              <a:ext cx="66600" cy="79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6" h="223">
                  <a:moveTo>
                    <a:pt x="93" y="223"/>
                  </a:moveTo>
                  <a:lnTo>
                    <a:pt x="0" y="223"/>
                  </a:lnTo>
                  <a:lnTo>
                    <a:pt x="0" y="0"/>
                  </a:lnTo>
                  <a:lnTo>
                    <a:pt x="186" y="0"/>
                  </a:lnTo>
                  <a:lnTo>
                    <a:pt x="186" y="22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>
              <a:off x="2111399" y="4815000"/>
              <a:ext cx="1778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>
              <a:off x="2371320" y="4890240"/>
              <a:ext cx="0" cy="12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2509560" y="4885200"/>
              <a:ext cx="1019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2817360" y="4982760"/>
              <a:ext cx="372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2922119" y="5046480"/>
              <a:ext cx="178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7921080" y="4750920"/>
              <a:ext cx="618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8061480" y="4813920"/>
              <a:ext cx="357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3872160" y="4872960"/>
              <a:ext cx="0" cy="179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 flipH="1">
              <a:off x="3927960" y="4895280"/>
              <a:ext cx="813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 flipV="1">
              <a:off x="3927960" y="4623120"/>
              <a:ext cx="0" cy="102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54"/>
            <p:cNvSpPr/>
            <p:nvPr/>
          </p:nvSpPr>
          <p:spPr>
            <a:xfrm>
              <a:off x="4017240" y="4754160"/>
              <a:ext cx="681480" cy="95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94" h="265">
                  <a:moveTo>
                    <a:pt x="947" y="265"/>
                  </a:moveTo>
                  <a:lnTo>
                    <a:pt x="0" y="265"/>
                  </a:lnTo>
                  <a:lnTo>
                    <a:pt x="0" y="0"/>
                  </a:lnTo>
                  <a:lnTo>
                    <a:pt x="1894" y="0"/>
                  </a:lnTo>
                  <a:lnTo>
                    <a:pt x="1894" y="2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55"/>
            <p:cNvSpPr/>
            <p:nvPr/>
          </p:nvSpPr>
          <p:spPr>
            <a:xfrm>
              <a:off x="4233600" y="3298680"/>
              <a:ext cx="188640" cy="1324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3680" fill="none">
                  <a:moveTo>
                    <a:pt x="0" y="3378"/>
                  </a:moveTo>
                  <a:lnTo>
                    <a:pt x="0" y="0"/>
                  </a:lnTo>
                  <a:lnTo>
                    <a:pt x="525" y="0"/>
                  </a:lnTo>
                  <a:lnTo>
                    <a:pt x="525" y="36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Freeform: Shape 56"/>
            <p:cNvSpPr/>
            <p:nvPr/>
          </p:nvSpPr>
          <p:spPr>
            <a:xfrm>
              <a:off x="4350600" y="3022200"/>
              <a:ext cx="641520" cy="16423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83" h="4563" fill="none">
                  <a:moveTo>
                    <a:pt x="0" y="4369"/>
                  </a:moveTo>
                  <a:lnTo>
                    <a:pt x="0" y="0"/>
                  </a:lnTo>
                  <a:lnTo>
                    <a:pt x="657" y="0"/>
                  </a:lnTo>
                  <a:lnTo>
                    <a:pt x="657" y="4563"/>
                  </a:lnTo>
                  <a:lnTo>
                    <a:pt x="1783" y="4563"/>
                  </a:lnTo>
                  <a:lnTo>
                    <a:pt x="1306" y="4349"/>
                  </a:lnTo>
                  <a:lnTo>
                    <a:pt x="968" y="434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Freeform: Shape 57"/>
            <p:cNvSpPr/>
            <p:nvPr/>
          </p:nvSpPr>
          <p:spPr>
            <a:xfrm>
              <a:off x="4422600" y="3138119"/>
              <a:ext cx="235440" cy="1484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55" h="4126" fill="none">
                  <a:moveTo>
                    <a:pt x="655" y="4126"/>
                  </a:moveTo>
                  <a:lnTo>
                    <a:pt x="655" y="0"/>
                  </a:lnTo>
                  <a:lnTo>
                    <a:pt x="0" y="0"/>
                  </a:lnTo>
                  <a:lnTo>
                    <a:pt x="0" y="46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4707720" y="4087440"/>
              <a:ext cx="69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4738320" y="4181039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60"/>
            <p:cNvSpPr/>
            <p:nvPr/>
          </p:nvSpPr>
          <p:spPr>
            <a:xfrm>
              <a:off x="4820400" y="2950200"/>
              <a:ext cx="172440" cy="163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0" h="4549" fill="none">
                  <a:moveTo>
                    <a:pt x="0" y="4549"/>
                  </a:moveTo>
                  <a:lnTo>
                    <a:pt x="0" y="1464"/>
                  </a:lnTo>
                  <a:lnTo>
                    <a:pt x="480" y="1126"/>
                  </a:lnTo>
                  <a:lnTo>
                    <a:pt x="226" y="1126"/>
                  </a:lnTo>
                  <a:lnTo>
                    <a:pt x="226" y="0"/>
                  </a:lnTo>
                  <a:lnTo>
                    <a:pt x="477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61"/>
            <p:cNvSpPr/>
            <p:nvPr/>
          </p:nvSpPr>
          <p:spPr>
            <a:xfrm>
              <a:off x="4993200" y="2185200"/>
              <a:ext cx="251640" cy="25862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0" h="7185" fill="none">
                  <a:moveTo>
                    <a:pt x="0" y="7185"/>
                  </a:moveTo>
                  <a:lnTo>
                    <a:pt x="0" y="1196"/>
                  </a:lnTo>
                  <a:lnTo>
                    <a:pt x="469" y="728"/>
                  </a:lnTo>
                  <a:lnTo>
                    <a:pt x="469" y="0"/>
                  </a:lnTo>
                  <a:lnTo>
                    <a:pt x="700" y="451"/>
                  </a:lnTo>
                  <a:lnTo>
                    <a:pt x="700" y="212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5041080" y="2636280"/>
              <a:ext cx="0" cy="2137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3"/>
            <p:cNvSpPr/>
            <p:nvPr/>
          </p:nvSpPr>
          <p:spPr>
            <a:xfrm>
              <a:off x="4993200" y="2820240"/>
              <a:ext cx="362519" cy="19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08" h="5426" fill="none">
                  <a:moveTo>
                    <a:pt x="0" y="5426"/>
                  </a:moveTo>
                  <a:lnTo>
                    <a:pt x="325" y="5426"/>
                  </a:lnTo>
                  <a:lnTo>
                    <a:pt x="325" y="846"/>
                  </a:lnTo>
                  <a:lnTo>
                    <a:pt x="1008" y="166"/>
                  </a:lnTo>
                  <a:lnTo>
                    <a:pt x="7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Freeform: Shape 64"/>
            <p:cNvSpPr/>
            <p:nvPr/>
          </p:nvSpPr>
          <p:spPr>
            <a:xfrm>
              <a:off x="5245200" y="2760119"/>
              <a:ext cx="253440" cy="1638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5" h="4552" fill="none">
                  <a:moveTo>
                    <a:pt x="0" y="0"/>
                  </a:moveTo>
                  <a:lnTo>
                    <a:pt x="474" y="251"/>
                  </a:lnTo>
                  <a:lnTo>
                    <a:pt x="474" y="4552"/>
                  </a:lnTo>
                  <a:lnTo>
                    <a:pt x="705" y="4552"/>
                  </a:lnTo>
                  <a:lnTo>
                    <a:pt x="705" y="1555"/>
                  </a:lnTo>
                  <a:lnTo>
                    <a:pt x="491" y="138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5338800" y="3042720"/>
              <a:ext cx="0" cy="131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6"/>
            <p:cNvSpPr/>
            <p:nvPr/>
          </p:nvSpPr>
          <p:spPr>
            <a:xfrm>
              <a:off x="5238000" y="4439160"/>
              <a:ext cx="896759" cy="327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2" h="911" fill="none">
                  <a:moveTo>
                    <a:pt x="0" y="911"/>
                  </a:moveTo>
                  <a:lnTo>
                    <a:pt x="0" y="0"/>
                  </a:lnTo>
                  <a:lnTo>
                    <a:pt x="1042" y="0"/>
                  </a:lnTo>
                  <a:lnTo>
                    <a:pt x="1042" y="796"/>
                  </a:lnTo>
                  <a:lnTo>
                    <a:pt x="1219" y="796"/>
                  </a:lnTo>
                  <a:lnTo>
                    <a:pt x="1219" y="0"/>
                  </a:lnTo>
                  <a:lnTo>
                    <a:pt x="1885" y="0"/>
                  </a:lnTo>
                  <a:lnTo>
                    <a:pt x="1885" y="815"/>
                  </a:lnTo>
                  <a:lnTo>
                    <a:pt x="2492" y="81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4959720" y="4844520"/>
              <a:ext cx="439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4919040" y="4872960"/>
              <a:ext cx="0" cy="133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5534640" y="4008239"/>
              <a:ext cx="17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>
              <a:off x="5585400" y="3880440"/>
              <a:ext cx="0" cy="12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5638320" y="3880440"/>
              <a:ext cx="0" cy="12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Freeform: Shape 72"/>
            <p:cNvSpPr/>
            <p:nvPr/>
          </p:nvSpPr>
          <p:spPr>
            <a:xfrm>
              <a:off x="5585400" y="4181039"/>
              <a:ext cx="91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4" h="570">
                  <a:moveTo>
                    <a:pt x="127" y="570"/>
                  </a:moveTo>
                  <a:lnTo>
                    <a:pt x="0" y="570"/>
                  </a:lnTo>
                  <a:lnTo>
                    <a:pt x="0" y="0"/>
                  </a:lnTo>
                  <a:lnTo>
                    <a:pt x="254" y="0"/>
                  </a:lnTo>
                  <a:lnTo>
                    <a:pt x="254" y="5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73"/>
            <p:cNvSpPr/>
            <p:nvPr/>
          </p:nvSpPr>
          <p:spPr>
            <a:xfrm>
              <a:off x="5327640" y="4705200"/>
              <a:ext cx="172080" cy="70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9" h="198">
                  <a:moveTo>
                    <a:pt x="239" y="198"/>
                  </a:moveTo>
                  <a:lnTo>
                    <a:pt x="0" y="198"/>
                  </a:lnTo>
                  <a:lnTo>
                    <a:pt x="0" y="0"/>
                  </a:lnTo>
                  <a:lnTo>
                    <a:pt x="479" y="0"/>
                  </a:lnTo>
                  <a:lnTo>
                    <a:pt x="479" y="19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74"/>
            <p:cNvSpPr/>
            <p:nvPr/>
          </p:nvSpPr>
          <p:spPr>
            <a:xfrm>
              <a:off x="6982560" y="4762079"/>
              <a:ext cx="156960" cy="70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7" h="198">
                  <a:moveTo>
                    <a:pt x="218" y="198"/>
                  </a:moveTo>
                  <a:lnTo>
                    <a:pt x="0" y="198"/>
                  </a:lnTo>
                  <a:lnTo>
                    <a:pt x="0" y="0"/>
                  </a:lnTo>
                  <a:lnTo>
                    <a:pt x="437" y="0"/>
                  </a:lnTo>
                  <a:lnTo>
                    <a:pt x="437" y="19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Freeform: Shape 75"/>
            <p:cNvSpPr/>
            <p:nvPr/>
          </p:nvSpPr>
          <p:spPr>
            <a:xfrm>
              <a:off x="5659559" y="4847400"/>
              <a:ext cx="402120" cy="100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18" h="280">
                  <a:moveTo>
                    <a:pt x="559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118" y="0"/>
                  </a:lnTo>
                  <a:lnTo>
                    <a:pt x="1118" y="28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76"/>
            <p:cNvSpPr/>
            <p:nvPr/>
          </p:nvSpPr>
          <p:spPr>
            <a:xfrm>
              <a:off x="4869360" y="4371120"/>
              <a:ext cx="123480" cy="20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44" h="564" fill="none">
                  <a:moveTo>
                    <a:pt x="344" y="564"/>
                  </a:moveTo>
                  <a:lnTo>
                    <a:pt x="0" y="564"/>
                  </a:lnTo>
                  <a:lnTo>
                    <a:pt x="0" y="0"/>
                  </a:lnTo>
                  <a:lnTo>
                    <a:pt x="3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4856040" y="3493439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4856040" y="356220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4856040" y="363060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4856040" y="3698639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4856040" y="376668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4856040" y="383580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4856040" y="390384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4856040" y="397296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4856040" y="404100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4856040" y="411012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4856040" y="417816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4856040" y="424620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5421960" y="3319920"/>
              <a:ext cx="77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5886360" y="5026320"/>
              <a:ext cx="4935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6207119" y="4759200"/>
              <a:ext cx="5965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Freeform: Shape 92"/>
            <p:cNvSpPr/>
            <p:nvPr/>
          </p:nvSpPr>
          <p:spPr>
            <a:xfrm>
              <a:off x="5712480" y="2892239"/>
              <a:ext cx="678240" cy="17593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85" h="4888">
                  <a:moveTo>
                    <a:pt x="0" y="4213"/>
                  </a:moveTo>
                  <a:lnTo>
                    <a:pt x="0" y="0"/>
                  </a:lnTo>
                  <a:lnTo>
                    <a:pt x="1287" y="0"/>
                  </a:lnTo>
                  <a:lnTo>
                    <a:pt x="1885" y="3606"/>
                  </a:lnTo>
                  <a:lnTo>
                    <a:pt x="1555" y="3606"/>
                  </a:lnTo>
                  <a:lnTo>
                    <a:pt x="1555" y="4145"/>
                  </a:lnTo>
                  <a:lnTo>
                    <a:pt x="1287" y="4145"/>
                  </a:lnTo>
                  <a:lnTo>
                    <a:pt x="1287" y="4888"/>
                  </a:lnTo>
                  <a:lnTo>
                    <a:pt x="1084" y="4888"/>
                  </a:lnTo>
                  <a:lnTo>
                    <a:pt x="375" y="183"/>
                  </a:lnTo>
                  <a:lnTo>
                    <a:pt x="184" y="183"/>
                  </a:lnTo>
                  <a:lnTo>
                    <a:pt x="184" y="421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Freeform: Shape 93"/>
            <p:cNvSpPr/>
            <p:nvPr/>
          </p:nvSpPr>
          <p:spPr>
            <a:xfrm>
              <a:off x="6311880" y="4158720"/>
              <a:ext cx="810360" cy="5054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52" h="1405" fill="none">
                  <a:moveTo>
                    <a:pt x="0" y="200"/>
                  </a:moveTo>
                  <a:lnTo>
                    <a:pt x="655" y="200"/>
                  </a:lnTo>
                  <a:lnTo>
                    <a:pt x="655" y="0"/>
                  </a:lnTo>
                  <a:lnTo>
                    <a:pt x="979" y="0"/>
                  </a:lnTo>
                  <a:lnTo>
                    <a:pt x="979" y="494"/>
                  </a:lnTo>
                  <a:lnTo>
                    <a:pt x="1383" y="494"/>
                  </a:lnTo>
                  <a:lnTo>
                    <a:pt x="1383" y="1405"/>
                  </a:lnTo>
                  <a:lnTo>
                    <a:pt x="2252" y="14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6499800" y="4890240"/>
              <a:ext cx="1691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Freeform: Shape 95"/>
            <p:cNvSpPr/>
            <p:nvPr/>
          </p:nvSpPr>
          <p:spPr>
            <a:xfrm>
              <a:off x="6321240" y="4282560"/>
              <a:ext cx="128520" cy="418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8" h="1163">
                  <a:moveTo>
                    <a:pt x="179" y="1163"/>
                  </a:moveTo>
                  <a:lnTo>
                    <a:pt x="0" y="1163"/>
                  </a:lnTo>
                  <a:lnTo>
                    <a:pt x="0" y="0"/>
                  </a:lnTo>
                  <a:lnTo>
                    <a:pt x="358" y="0"/>
                  </a:lnTo>
                  <a:lnTo>
                    <a:pt x="358" y="116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Freeform: Shape 96"/>
            <p:cNvSpPr/>
            <p:nvPr/>
          </p:nvSpPr>
          <p:spPr>
            <a:xfrm>
              <a:off x="6517080" y="4569120"/>
              <a:ext cx="249480" cy="58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94" h="164">
                  <a:moveTo>
                    <a:pt x="347" y="164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694" y="0"/>
                  </a:lnTo>
                  <a:lnTo>
                    <a:pt x="694" y="1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6379919" y="3869279"/>
              <a:ext cx="0" cy="752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8"/>
            <p:cNvSpPr/>
            <p:nvPr/>
          </p:nvSpPr>
          <p:spPr>
            <a:xfrm>
              <a:off x="6425280" y="2873880"/>
              <a:ext cx="570960" cy="1649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87" h="4583">
                  <a:moveTo>
                    <a:pt x="10" y="3370"/>
                  </a:moveTo>
                  <a:cubicBezTo>
                    <a:pt x="10" y="3370"/>
                    <a:pt x="-148" y="1578"/>
                    <a:pt x="800" y="0"/>
                  </a:cubicBezTo>
                  <a:cubicBezTo>
                    <a:pt x="800" y="0"/>
                    <a:pt x="2008" y="1928"/>
                    <a:pt x="1432" y="458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Freeform: Shape 99"/>
            <p:cNvSpPr/>
            <p:nvPr/>
          </p:nvSpPr>
          <p:spPr>
            <a:xfrm>
              <a:off x="6635880" y="3045600"/>
              <a:ext cx="237600" cy="273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1" h="762">
                  <a:moveTo>
                    <a:pt x="0" y="0"/>
                  </a:moveTo>
                  <a:cubicBezTo>
                    <a:pt x="0" y="0"/>
                    <a:pt x="246" y="511"/>
                    <a:pt x="661" y="76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100"/>
            <p:cNvSpPr/>
            <p:nvPr/>
          </p:nvSpPr>
          <p:spPr>
            <a:xfrm>
              <a:off x="6596280" y="3231360"/>
              <a:ext cx="302400" cy="34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1" h="951">
                  <a:moveTo>
                    <a:pt x="0" y="0"/>
                  </a:moveTo>
                  <a:cubicBezTo>
                    <a:pt x="0" y="0"/>
                    <a:pt x="314" y="641"/>
                    <a:pt x="841" y="95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101"/>
            <p:cNvSpPr/>
            <p:nvPr/>
          </p:nvSpPr>
          <p:spPr>
            <a:xfrm>
              <a:off x="6557760" y="3418200"/>
              <a:ext cx="355320" cy="400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1114">
                  <a:moveTo>
                    <a:pt x="0" y="0"/>
                  </a:moveTo>
                  <a:cubicBezTo>
                    <a:pt x="0" y="0"/>
                    <a:pt x="370" y="750"/>
                    <a:pt x="988" y="111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Freeform: Shape 102"/>
            <p:cNvSpPr/>
            <p:nvPr/>
          </p:nvSpPr>
          <p:spPr>
            <a:xfrm>
              <a:off x="6517080" y="3602160"/>
              <a:ext cx="416160" cy="463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7" h="1289">
                  <a:moveTo>
                    <a:pt x="0" y="0"/>
                  </a:moveTo>
                  <a:cubicBezTo>
                    <a:pt x="0" y="0"/>
                    <a:pt x="432" y="866"/>
                    <a:pt x="1157" y="128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3"/>
            <p:cNvSpPr/>
            <p:nvPr/>
          </p:nvSpPr>
          <p:spPr>
            <a:xfrm>
              <a:off x="6477479" y="3791880"/>
              <a:ext cx="461879" cy="51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84" h="1439">
                  <a:moveTo>
                    <a:pt x="0" y="0"/>
                  </a:moveTo>
                  <a:cubicBezTo>
                    <a:pt x="0" y="0"/>
                    <a:pt x="480" y="968"/>
                    <a:pt x="1284" y="143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4"/>
            <p:cNvSpPr/>
            <p:nvPr/>
          </p:nvSpPr>
          <p:spPr>
            <a:xfrm>
              <a:off x="6550560" y="3062879"/>
              <a:ext cx="237600" cy="273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1" h="762">
                  <a:moveTo>
                    <a:pt x="661" y="0"/>
                  </a:moveTo>
                  <a:cubicBezTo>
                    <a:pt x="661" y="0"/>
                    <a:pt x="415" y="511"/>
                    <a:pt x="0" y="76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5"/>
            <p:cNvSpPr/>
            <p:nvPr/>
          </p:nvSpPr>
          <p:spPr>
            <a:xfrm>
              <a:off x="6525360" y="3248639"/>
              <a:ext cx="302400" cy="34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1" h="951">
                  <a:moveTo>
                    <a:pt x="841" y="0"/>
                  </a:moveTo>
                  <a:cubicBezTo>
                    <a:pt x="841" y="0"/>
                    <a:pt x="527" y="641"/>
                    <a:pt x="0" y="95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6"/>
            <p:cNvSpPr/>
            <p:nvPr/>
          </p:nvSpPr>
          <p:spPr>
            <a:xfrm>
              <a:off x="6510959" y="3435479"/>
              <a:ext cx="355320" cy="400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1114">
                  <a:moveTo>
                    <a:pt x="988" y="0"/>
                  </a:moveTo>
                  <a:cubicBezTo>
                    <a:pt x="988" y="0"/>
                    <a:pt x="618" y="750"/>
                    <a:pt x="0" y="111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7"/>
            <p:cNvSpPr/>
            <p:nvPr/>
          </p:nvSpPr>
          <p:spPr>
            <a:xfrm>
              <a:off x="6490800" y="3619080"/>
              <a:ext cx="416160" cy="464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7" h="1290">
                  <a:moveTo>
                    <a:pt x="1157" y="0"/>
                  </a:moveTo>
                  <a:cubicBezTo>
                    <a:pt x="1157" y="0"/>
                    <a:pt x="725" y="867"/>
                    <a:pt x="0" y="129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8"/>
            <p:cNvSpPr/>
            <p:nvPr/>
          </p:nvSpPr>
          <p:spPr>
            <a:xfrm>
              <a:off x="6694920" y="3810240"/>
              <a:ext cx="251640" cy="349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0" h="971">
                  <a:moveTo>
                    <a:pt x="700" y="0"/>
                  </a:moveTo>
                  <a:cubicBezTo>
                    <a:pt x="700" y="0"/>
                    <a:pt x="449" y="511"/>
                    <a:pt x="0" y="97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9"/>
            <p:cNvSpPr/>
            <p:nvPr/>
          </p:nvSpPr>
          <p:spPr>
            <a:xfrm>
              <a:off x="7182360" y="3319920"/>
              <a:ext cx="555840" cy="132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45" h="3683">
                  <a:moveTo>
                    <a:pt x="159" y="3683"/>
                  </a:moveTo>
                  <a:cubicBezTo>
                    <a:pt x="159" y="3683"/>
                    <a:pt x="-169" y="626"/>
                    <a:pt x="116" y="116"/>
                  </a:cubicBezTo>
                  <a:cubicBezTo>
                    <a:pt x="116" y="116"/>
                    <a:pt x="870" y="-164"/>
                    <a:pt x="1440" y="147"/>
                  </a:cubicBezTo>
                  <a:cubicBezTo>
                    <a:pt x="1440" y="147"/>
                    <a:pt x="1719" y="1027"/>
                    <a:pt x="1364" y="368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10"/>
            <p:cNvSpPr/>
            <p:nvPr/>
          </p:nvSpPr>
          <p:spPr>
            <a:xfrm>
              <a:off x="7097040" y="3239640"/>
              <a:ext cx="128880" cy="13903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9" h="3863">
                  <a:moveTo>
                    <a:pt x="187" y="3863"/>
                  </a:moveTo>
                  <a:cubicBezTo>
                    <a:pt x="187" y="3863"/>
                    <a:pt x="-225" y="824"/>
                    <a:pt x="173" y="0"/>
                  </a:cubicBezTo>
                  <a:lnTo>
                    <a:pt x="359" y="27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11"/>
            <p:cNvSpPr/>
            <p:nvPr/>
          </p:nvSpPr>
          <p:spPr>
            <a:xfrm>
              <a:off x="7179479" y="3179160"/>
              <a:ext cx="599400" cy="12160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66" h="3379">
                  <a:moveTo>
                    <a:pt x="0" y="112"/>
                  </a:moveTo>
                  <a:cubicBezTo>
                    <a:pt x="0" y="112"/>
                    <a:pt x="900" y="-173"/>
                    <a:pt x="1442" y="168"/>
                  </a:cubicBezTo>
                  <a:cubicBezTo>
                    <a:pt x="1442" y="168"/>
                    <a:pt x="1857" y="439"/>
                    <a:pt x="1558" y="337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Straight Connector 113"/>
            <p:cNvSpPr/>
            <p:nvPr/>
          </p:nvSpPr>
          <p:spPr>
            <a:xfrm flipV="1">
              <a:off x="7239600" y="3434399"/>
              <a:ext cx="44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 flipV="1">
              <a:off x="7243560" y="3499199"/>
              <a:ext cx="441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 flipV="1">
              <a:off x="7247520" y="3565440"/>
              <a:ext cx="433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 flipV="1">
              <a:off x="7251840" y="3631320"/>
              <a:ext cx="42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 flipV="1">
              <a:off x="7255800" y="3696479"/>
              <a:ext cx="418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7259760" y="3762360"/>
              <a:ext cx="411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7263720" y="3828599"/>
              <a:ext cx="40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7268040" y="3894480"/>
              <a:ext cx="397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7272000" y="3960720"/>
              <a:ext cx="38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7275960" y="4026600"/>
              <a:ext cx="3830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7280280" y="4091760"/>
              <a:ext cx="374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7284240" y="4157640"/>
              <a:ext cx="367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7289279" y="4223880"/>
              <a:ext cx="359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7293240" y="4289760"/>
              <a:ext cx="352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7297560" y="4355640"/>
              <a:ext cx="345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>
              <a:off x="7301519" y="4421880"/>
              <a:ext cx="338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7305480" y="4486680"/>
              <a:ext cx="330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7309440" y="4552919"/>
              <a:ext cx="3232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7313760" y="4618800"/>
              <a:ext cx="315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6977519" y="4308120"/>
              <a:ext cx="1501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7053480" y="4431960"/>
              <a:ext cx="0" cy="137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7214040" y="4701240"/>
              <a:ext cx="364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7696800" y="4752000"/>
              <a:ext cx="11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6781320" y="4970520"/>
              <a:ext cx="110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7718040" y="4399559"/>
              <a:ext cx="208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7848000" y="4464360"/>
              <a:ext cx="0" cy="224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 flipH="1">
              <a:off x="945000" y="4815000"/>
              <a:ext cx="262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 flipH="1">
              <a:off x="737640" y="4736880"/>
              <a:ext cx="474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 flipV="1">
              <a:off x="8155800" y="4576320"/>
              <a:ext cx="0" cy="102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Freeform: Shape 141"/>
            <p:cNvSpPr/>
            <p:nvPr/>
          </p:nvSpPr>
          <p:spPr>
            <a:xfrm>
              <a:off x="1866599" y="4736880"/>
              <a:ext cx="129600" cy="305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1" h="849">
                  <a:moveTo>
                    <a:pt x="361" y="0"/>
                  </a:moveTo>
                  <a:lnTo>
                    <a:pt x="361" y="849"/>
                  </a:lnTo>
                  <a:lnTo>
                    <a:pt x="0" y="56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1868399" y="5051880"/>
              <a:ext cx="73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Freeform: Shape 143"/>
            <p:cNvSpPr/>
            <p:nvPr/>
          </p:nvSpPr>
          <p:spPr>
            <a:xfrm>
              <a:off x="7959600" y="4528800"/>
              <a:ext cx="72720" cy="16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451">
                  <a:moveTo>
                    <a:pt x="200" y="227"/>
                  </a:moveTo>
                  <a:lnTo>
                    <a:pt x="197" y="451"/>
                  </a:lnTo>
                  <a:lnTo>
                    <a:pt x="0" y="448"/>
                  </a:lnTo>
                  <a:lnTo>
                    <a:pt x="6" y="0"/>
                  </a:lnTo>
                  <a:lnTo>
                    <a:pt x="203" y="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502739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0" name="Group 179"/>
          <p:cNvGrpSpPr/>
          <p:nvPr/>
        </p:nvGrpSpPr>
        <p:grpSpPr>
          <a:xfrm>
            <a:off x="2945626" y="2214314"/>
            <a:ext cx="6300751" cy="2081881"/>
            <a:chOff x="449280" y="3051000"/>
            <a:chExt cx="7860960" cy="2597400"/>
          </a:xfrm>
        </p:grpSpPr>
        <p:sp>
          <p:nvSpPr>
            <p:cNvPr id="181" name="Freeform: Shape 1"/>
            <p:cNvSpPr/>
            <p:nvPr/>
          </p:nvSpPr>
          <p:spPr>
            <a:xfrm>
              <a:off x="3499920" y="4960440"/>
              <a:ext cx="543240" cy="81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0" h="226">
                  <a:moveTo>
                    <a:pt x="754" y="0"/>
                  </a:moveTo>
                  <a:lnTo>
                    <a:pt x="0" y="226"/>
                  </a:lnTo>
                  <a:lnTo>
                    <a:pt x="1510" y="22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1723320" y="5565240"/>
              <a:ext cx="4968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Freeform: Shape 3"/>
            <p:cNvSpPr/>
            <p:nvPr/>
          </p:nvSpPr>
          <p:spPr>
            <a:xfrm>
              <a:off x="1303560" y="5018400"/>
              <a:ext cx="799200" cy="293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21" h="816" fill="none">
                  <a:moveTo>
                    <a:pt x="0" y="816"/>
                  </a:moveTo>
                  <a:lnTo>
                    <a:pt x="0" y="0"/>
                  </a:lnTo>
                  <a:lnTo>
                    <a:pt x="926" y="0"/>
                  </a:lnTo>
                  <a:lnTo>
                    <a:pt x="926" y="709"/>
                  </a:lnTo>
                  <a:lnTo>
                    <a:pt x="1087" y="709"/>
                  </a:lnTo>
                  <a:lnTo>
                    <a:pt x="1087" y="0"/>
                  </a:lnTo>
                  <a:lnTo>
                    <a:pt x="1679" y="0"/>
                  </a:lnTo>
                  <a:lnTo>
                    <a:pt x="1679" y="728"/>
                  </a:lnTo>
                  <a:lnTo>
                    <a:pt x="2221" y="72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1055519" y="5380200"/>
              <a:ext cx="392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1019159" y="5404680"/>
              <a:ext cx="0" cy="119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Freeform: Shape 6"/>
            <p:cNvSpPr/>
            <p:nvPr/>
          </p:nvSpPr>
          <p:spPr>
            <a:xfrm>
              <a:off x="1311840" y="4635360"/>
              <a:ext cx="412920" cy="214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8" h="596" fill="none">
                  <a:moveTo>
                    <a:pt x="1148" y="0"/>
                  </a:moveTo>
                  <a:lnTo>
                    <a:pt x="623" y="0"/>
                  </a:lnTo>
                  <a:lnTo>
                    <a:pt x="623" y="596"/>
                  </a:lnTo>
                  <a:lnTo>
                    <a:pt x="0" y="59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1612440" y="4520520"/>
              <a:ext cx="0" cy="114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1122840" y="4893480"/>
              <a:ext cx="0" cy="114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1660319" y="4520520"/>
              <a:ext cx="0" cy="114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Freeform: Shape 10"/>
            <p:cNvSpPr/>
            <p:nvPr/>
          </p:nvSpPr>
          <p:spPr>
            <a:xfrm>
              <a:off x="1612440" y="4789080"/>
              <a:ext cx="81000" cy="182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507">
                  <a:moveTo>
                    <a:pt x="113" y="507"/>
                  </a:moveTo>
                  <a:lnTo>
                    <a:pt x="0" y="507"/>
                  </a:lnTo>
                  <a:lnTo>
                    <a:pt x="0" y="0"/>
                  </a:lnTo>
                  <a:lnTo>
                    <a:pt x="226" y="0"/>
                  </a:lnTo>
                  <a:lnTo>
                    <a:pt x="226" y="5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Freeform: Shape 11"/>
            <p:cNvSpPr/>
            <p:nvPr/>
          </p:nvSpPr>
          <p:spPr>
            <a:xfrm>
              <a:off x="1382760" y="5256360"/>
              <a:ext cx="1540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9" h="175">
                  <a:moveTo>
                    <a:pt x="215" y="175"/>
                  </a:moveTo>
                  <a:lnTo>
                    <a:pt x="0" y="175"/>
                  </a:lnTo>
                  <a:lnTo>
                    <a:pt x="0" y="0"/>
                  </a:lnTo>
                  <a:lnTo>
                    <a:pt x="429" y="0"/>
                  </a:lnTo>
                  <a:lnTo>
                    <a:pt x="429" y="17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Freeform: Shape 12"/>
            <p:cNvSpPr/>
            <p:nvPr/>
          </p:nvSpPr>
          <p:spPr>
            <a:xfrm>
              <a:off x="1078199" y="5017320"/>
              <a:ext cx="87840" cy="26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5" h="740">
                  <a:moveTo>
                    <a:pt x="122" y="740"/>
                  </a:moveTo>
                  <a:lnTo>
                    <a:pt x="0" y="740"/>
                  </a:lnTo>
                  <a:lnTo>
                    <a:pt x="0" y="0"/>
                  </a:lnTo>
                  <a:lnTo>
                    <a:pt x="245" y="0"/>
                  </a:lnTo>
                  <a:lnTo>
                    <a:pt x="245" y="7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Freeform: Shape 13"/>
            <p:cNvSpPr/>
            <p:nvPr/>
          </p:nvSpPr>
          <p:spPr>
            <a:xfrm>
              <a:off x="1679399" y="5312160"/>
              <a:ext cx="357480" cy="88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94" h="248">
                  <a:moveTo>
                    <a:pt x="497" y="248"/>
                  </a:moveTo>
                  <a:lnTo>
                    <a:pt x="0" y="248"/>
                  </a:lnTo>
                  <a:lnTo>
                    <a:pt x="0" y="0"/>
                  </a:lnTo>
                  <a:lnTo>
                    <a:pt x="994" y="0"/>
                  </a:lnTo>
                  <a:lnTo>
                    <a:pt x="994" y="24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167200" y="5303880"/>
              <a:ext cx="530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Freeform: Shape 15"/>
            <p:cNvSpPr/>
            <p:nvPr/>
          </p:nvSpPr>
          <p:spPr>
            <a:xfrm>
              <a:off x="1725120" y="3640320"/>
              <a:ext cx="605160" cy="156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82" h="4357">
                  <a:moveTo>
                    <a:pt x="0" y="3756"/>
                  </a:moveTo>
                  <a:lnTo>
                    <a:pt x="0" y="0"/>
                  </a:lnTo>
                  <a:lnTo>
                    <a:pt x="1149" y="0"/>
                  </a:lnTo>
                  <a:lnTo>
                    <a:pt x="1682" y="3214"/>
                  </a:lnTo>
                  <a:lnTo>
                    <a:pt x="1389" y="3214"/>
                  </a:lnTo>
                  <a:lnTo>
                    <a:pt x="1389" y="3694"/>
                  </a:lnTo>
                  <a:lnTo>
                    <a:pt x="1149" y="3694"/>
                  </a:lnTo>
                  <a:lnTo>
                    <a:pt x="1149" y="4357"/>
                  </a:lnTo>
                  <a:lnTo>
                    <a:pt x="968" y="4357"/>
                  </a:lnTo>
                  <a:lnTo>
                    <a:pt x="336" y="163"/>
                  </a:lnTo>
                  <a:lnTo>
                    <a:pt x="164" y="163"/>
                  </a:lnTo>
                  <a:lnTo>
                    <a:pt x="164" y="37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Freeform: Shape 16"/>
            <p:cNvSpPr/>
            <p:nvPr/>
          </p:nvSpPr>
          <p:spPr>
            <a:xfrm>
              <a:off x="2259720" y="4768559"/>
              <a:ext cx="669960" cy="450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62" h="1253" fill="none">
                  <a:moveTo>
                    <a:pt x="0" y="181"/>
                  </a:moveTo>
                  <a:lnTo>
                    <a:pt x="584" y="181"/>
                  </a:lnTo>
                  <a:lnTo>
                    <a:pt x="584" y="0"/>
                  </a:lnTo>
                  <a:lnTo>
                    <a:pt x="872" y="0"/>
                  </a:lnTo>
                  <a:lnTo>
                    <a:pt x="872" y="443"/>
                  </a:lnTo>
                  <a:lnTo>
                    <a:pt x="1233" y="443"/>
                  </a:lnTo>
                  <a:lnTo>
                    <a:pt x="1233" y="1253"/>
                  </a:lnTo>
                  <a:lnTo>
                    <a:pt x="1862" y="125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1208159" y="5460480"/>
              <a:ext cx="2337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Freeform: Shape 18"/>
            <p:cNvSpPr/>
            <p:nvPr/>
          </p:nvSpPr>
          <p:spPr>
            <a:xfrm>
              <a:off x="2267640" y="4879440"/>
              <a:ext cx="114480" cy="372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9" h="1035">
                  <a:moveTo>
                    <a:pt x="160" y="1035"/>
                  </a:moveTo>
                  <a:lnTo>
                    <a:pt x="0" y="1035"/>
                  </a:lnTo>
                  <a:lnTo>
                    <a:pt x="0" y="0"/>
                  </a:lnTo>
                  <a:lnTo>
                    <a:pt x="319" y="0"/>
                  </a:lnTo>
                  <a:lnTo>
                    <a:pt x="319" y="103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Freeform: Shape 19"/>
            <p:cNvSpPr/>
            <p:nvPr/>
          </p:nvSpPr>
          <p:spPr>
            <a:xfrm>
              <a:off x="2442600" y="5135400"/>
              <a:ext cx="222120" cy="51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18" h="144">
                  <a:moveTo>
                    <a:pt x="309" y="144"/>
                  </a:moveTo>
                  <a:lnTo>
                    <a:pt x="0" y="144"/>
                  </a:lnTo>
                  <a:lnTo>
                    <a:pt x="0" y="0"/>
                  </a:lnTo>
                  <a:lnTo>
                    <a:pt x="618" y="0"/>
                  </a:lnTo>
                  <a:lnTo>
                    <a:pt x="618" y="1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320560" y="4511520"/>
              <a:ext cx="0" cy="66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Freeform: Shape 21"/>
            <p:cNvSpPr/>
            <p:nvPr/>
          </p:nvSpPr>
          <p:spPr>
            <a:xfrm>
              <a:off x="2360880" y="3624120"/>
              <a:ext cx="508679" cy="1469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4" h="4083">
                  <a:moveTo>
                    <a:pt x="9" y="3002"/>
                  </a:moveTo>
                  <a:cubicBezTo>
                    <a:pt x="9" y="3002"/>
                    <a:pt x="-132" y="1405"/>
                    <a:pt x="712" y="0"/>
                  </a:cubicBezTo>
                  <a:cubicBezTo>
                    <a:pt x="712" y="0"/>
                    <a:pt x="1787" y="1718"/>
                    <a:pt x="1276" y="408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Freeform: Shape 22"/>
            <p:cNvSpPr/>
            <p:nvPr/>
          </p:nvSpPr>
          <p:spPr>
            <a:xfrm>
              <a:off x="2549160" y="3777480"/>
              <a:ext cx="210960" cy="243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87" h="677">
                  <a:moveTo>
                    <a:pt x="0" y="0"/>
                  </a:moveTo>
                  <a:cubicBezTo>
                    <a:pt x="0" y="0"/>
                    <a:pt x="220" y="457"/>
                    <a:pt x="587" y="67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Freeform: Shape 23"/>
            <p:cNvSpPr/>
            <p:nvPr/>
          </p:nvSpPr>
          <p:spPr>
            <a:xfrm>
              <a:off x="2513520" y="3943080"/>
              <a:ext cx="270000" cy="305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1" h="849">
                  <a:moveTo>
                    <a:pt x="0" y="0"/>
                  </a:moveTo>
                  <a:cubicBezTo>
                    <a:pt x="0" y="0"/>
                    <a:pt x="280" y="570"/>
                    <a:pt x="751" y="84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24"/>
            <p:cNvSpPr/>
            <p:nvPr/>
          </p:nvSpPr>
          <p:spPr>
            <a:xfrm>
              <a:off x="2478960" y="4109760"/>
              <a:ext cx="316800" cy="357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1" h="993">
                  <a:moveTo>
                    <a:pt x="0" y="0"/>
                  </a:moveTo>
                  <a:cubicBezTo>
                    <a:pt x="0" y="0"/>
                    <a:pt x="328" y="668"/>
                    <a:pt x="881" y="99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5"/>
            <p:cNvSpPr/>
            <p:nvPr/>
          </p:nvSpPr>
          <p:spPr>
            <a:xfrm>
              <a:off x="2442600" y="4273200"/>
              <a:ext cx="371159" cy="412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2" h="1148">
                  <a:moveTo>
                    <a:pt x="0" y="0"/>
                  </a:moveTo>
                  <a:cubicBezTo>
                    <a:pt x="0" y="0"/>
                    <a:pt x="383" y="773"/>
                    <a:pt x="1032" y="11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Freeform: Shape 26"/>
            <p:cNvSpPr/>
            <p:nvPr/>
          </p:nvSpPr>
          <p:spPr>
            <a:xfrm>
              <a:off x="2408040" y="4442400"/>
              <a:ext cx="411840" cy="4618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5" h="1284">
                  <a:moveTo>
                    <a:pt x="0" y="0"/>
                  </a:moveTo>
                  <a:cubicBezTo>
                    <a:pt x="0" y="0"/>
                    <a:pt x="426" y="864"/>
                    <a:pt x="1145" y="128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7"/>
            <p:cNvSpPr/>
            <p:nvPr/>
          </p:nvSpPr>
          <p:spPr>
            <a:xfrm>
              <a:off x="2473920" y="3792600"/>
              <a:ext cx="210960" cy="243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87" h="677">
                  <a:moveTo>
                    <a:pt x="587" y="0"/>
                  </a:moveTo>
                  <a:cubicBezTo>
                    <a:pt x="587" y="0"/>
                    <a:pt x="367" y="457"/>
                    <a:pt x="0" y="67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8"/>
            <p:cNvSpPr/>
            <p:nvPr/>
          </p:nvSpPr>
          <p:spPr>
            <a:xfrm>
              <a:off x="2449440" y="3958200"/>
              <a:ext cx="270000" cy="305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1" h="850">
                  <a:moveTo>
                    <a:pt x="751" y="0"/>
                  </a:moveTo>
                  <a:cubicBezTo>
                    <a:pt x="751" y="0"/>
                    <a:pt x="472" y="570"/>
                    <a:pt x="0" y="85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9"/>
            <p:cNvSpPr/>
            <p:nvPr/>
          </p:nvSpPr>
          <p:spPr>
            <a:xfrm>
              <a:off x="2437200" y="4124880"/>
              <a:ext cx="316800" cy="357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1" h="993">
                  <a:moveTo>
                    <a:pt x="881" y="0"/>
                  </a:moveTo>
                  <a:cubicBezTo>
                    <a:pt x="881" y="0"/>
                    <a:pt x="554" y="669"/>
                    <a:pt x="0" y="99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30"/>
            <p:cNvSpPr/>
            <p:nvPr/>
          </p:nvSpPr>
          <p:spPr>
            <a:xfrm>
              <a:off x="2419200" y="4288320"/>
              <a:ext cx="371520" cy="41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3" h="1149">
                  <a:moveTo>
                    <a:pt x="1033" y="0"/>
                  </a:moveTo>
                  <a:cubicBezTo>
                    <a:pt x="1033" y="0"/>
                    <a:pt x="649" y="773"/>
                    <a:pt x="0" y="114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31"/>
            <p:cNvSpPr/>
            <p:nvPr/>
          </p:nvSpPr>
          <p:spPr>
            <a:xfrm>
              <a:off x="2601000" y="4457880"/>
              <a:ext cx="223920" cy="311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23" h="866">
                  <a:moveTo>
                    <a:pt x="623" y="0"/>
                  </a:moveTo>
                  <a:cubicBezTo>
                    <a:pt x="623" y="0"/>
                    <a:pt x="398" y="457"/>
                    <a:pt x="0" y="86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32"/>
            <p:cNvSpPr/>
            <p:nvPr/>
          </p:nvSpPr>
          <p:spPr>
            <a:xfrm>
              <a:off x="2983679" y="4021560"/>
              <a:ext cx="493560" cy="1180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72" h="3280">
                  <a:moveTo>
                    <a:pt x="142" y="3280"/>
                  </a:moveTo>
                  <a:cubicBezTo>
                    <a:pt x="142" y="3280"/>
                    <a:pt x="-149" y="557"/>
                    <a:pt x="102" y="102"/>
                  </a:cubicBezTo>
                  <a:cubicBezTo>
                    <a:pt x="102" y="102"/>
                    <a:pt x="774" y="-146"/>
                    <a:pt x="1279" y="131"/>
                  </a:cubicBezTo>
                  <a:cubicBezTo>
                    <a:pt x="1279" y="131"/>
                    <a:pt x="1527" y="915"/>
                    <a:pt x="1211" y="328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Freeform: Shape 33"/>
            <p:cNvSpPr/>
            <p:nvPr/>
          </p:nvSpPr>
          <p:spPr>
            <a:xfrm>
              <a:off x="2907000" y="3951000"/>
              <a:ext cx="114120" cy="12380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8" h="3440">
                  <a:moveTo>
                    <a:pt x="169" y="3440"/>
                  </a:moveTo>
                  <a:cubicBezTo>
                    <a:pt x="169" y="3440"/>
                    <a:pt x="-201" y="734"/>
                    <a:pt x="154" y="0"/>
                  </a:cubicBezTo>
                  <a:lnTo>
                    <a:pt x="318" y="24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Freeform: Shape 34"/>
            <p:cNvSpPr/>
            <p:nvPr/>
          </p:nvSpPr>
          <p:spPr>
            <a:xfrm>
              <a:off x="2980800" y="3895920"/>
              <a:ext cx="535320" cy="1083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88" h="3011">
                  <a:moveTo>
                    <a:pt x="0" y="99"/>
                  </a:moveTo>
                  <a:cubicBezTo>
                    <a:pt x="0" y="99"/>
                    <a:pt x="802" y="-155"/>
                    <a:pt x="1287" y="150"/>
                  </a:cubicBezTo>
                  <a:cubicBezTo>
                    <a:pt x="1287" y="150"/>
                    <a:pt x="1657" y="392"/>
                    <a:pt x="1392" y="30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 flipV="1">
              <a:off x="3034800" y="4123800"/>
              <a:ext cx="399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 flipV="1">
              <a:off x="3038759" y="4181760"/>
              <a:ext cx="392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Straight Connector 216"/>
            <p:cNvSpPr/>
            <p:nvPr/>
          </p:nvSpPr>
          <p:spPr>
            <a:xfrm flipV="1">
              <a:off x="3042000" y="4240800"/>
              <a:ext cx="385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 flipV="1">
              <a:off x="3045960" y="4299480"/>
              <a:ext cx="379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 flipV="1">
              <a:off x="3049920" y="4357080"/>
              <a:ext cx="372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 flipV="1">
              <a:off x="3053160" y="4416120"/>
              <a:ext cx="366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 flipV="1">
              <a:off x="3057120" y="4474800"/>
              <a:ext cx="359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 flipV="1">
              <a:off x="3060000" y="4533840"/>
              <a:ext cx="353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 flipV="1">
              <a:off x="3064320" y="4592880"/>
              <a:ext cx="346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 flipV="1">
              <a:off x="3067200" y="4650840"/>
              <a:ext cx="341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 flipV="1">
              <a:off x="3071159" y="4709520"/>
              <a:ext cx="334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3075479" y="4768559"/>
              <a:ext cx="3268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3079440" y="4827600"/>
              <a:ext cx="320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3082320" y="4886280"/>
              <a:ext cx="315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3086640" y="4944239"/>
              <a:ext cx="306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3089520" y="5003280"/>
              <a:ext cx="301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Straight Connector 230"/>
            <p:cNvSpPr/>
            <p:nvPr/>
          </p:nvSpPr>
          <p:spPr>
            <a:xfrm>
              <a:off x="3093840" y="5062320"/>
              <a:ext cx="294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3096720" y="5119920"/>
              <a:ext cx="288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3100680" y="5178960"/>
              <a:ext cx="281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2853000" y="4901760"/>
              <a:ext cx="82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2890440" y="5012280"/>
              <a:ext cx="0" cy="123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3012480" y="5252040"/>
              <a:ext cx="325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3441960" y="5297760"/>
              <a:ext cx="98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>
              <a:off x="3734640" y="5315040"/>
              <a:ext cx="0" cy="17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3875039" y="5390280"/>
              <a:ext cx="137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>
              <a:off x="3885120" y="5462640"/>
              <a:ext cx="11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>
              <a:off x="2839680" y="5648400"/>
              <a:ext cx="1057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>
              <a:off x="1218240" y="5648400"/>
              <a:ext cx="872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Straight Connector 242"/>
            <p:cNvSpPr/>
            <p:nvPr/>
          </p:nvSpPr>
          <p:spPr>
            <a:xfrm>
              <a:off x="3461400" y="4983840"/>
              <a:ext cx="186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>
              <a:off x="3926880" y="4975920"/>
              <a:ext cx="107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Straight Connector 244"/>
            <p:cNvSpPr/>
            <p:nvPr/>
          </p:nvSpPr>
          <p:spPr>
            <a:xfrm>
              <a:off x="3993840" y="4894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Straight Connector 245"/>
            <p:cNvSpPr/>
            <p:nvPr/>
          </p:nvSpPr>
          <p:spPr>
            <a:xfrm>
              <a:off x="4019040" y="5135400"/>
              <a:ext cx="0" cy="147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Straight Connector 246"/>
            <p:cNvSpPr/>
            <p:nvPr/>
          </p:nvSpPr>
          <p:spPr>
            <a:xfrm>
              <a:off x="3616919" y="4827600"/>
              <a:ext cx="0" cy="102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Straight Connector 247"/>
            <p:cNvSpPr/>
            <p:nvPr/>
          </p:nvSpPr>
          <p:spPr>
            <a:xfrm>
              <a:off x="3668759" y="4827600"/>
              <a:ext cx="0" cy="102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Straight Connector 248"/>
            <p:cNvSpPr/>
            <p:nvPr/>
          </p:nvSpPr>
          <p:spPr>
            <a:xfrm>
              <a:off x="3719520" y="4827600"/>
              <a:ext cx="0" cy="102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Straight Connector 249"/>
            <p:cNvSpPr/>
            <p:nvPr/>
          </p:nvSpPr>
          <p:spPr>
            <a:xfrm>
              <a:off x="3771360" y="4828680"/>
              <a:ext cx="0" cy="101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Straight Connector 250"/>
            <p:cNvSpPr/>
            <p:nvPr/>
          </p:nvSpPr>
          <p:spPr>
            <a:xfrm>
              <a:off x="3823199" y="4828680"/>
              <a:ext cx="0" cy="101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Straight Connector 251"/>
            <p:cNvSpPr/>
            <p:nvPr/>
          </p:nvSpPr>
          <p:spPr>
            <a:xfrm>
              <a:off x="3875039" y="4828680"/>
              <a:ext cx="0" cy="101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Straight Connector 252"/>
            <p:cNvSpPr/>
            <p:nvPr/>
          </p:nvSpPr>
          <p:spPr>
            <a:xfrm>
              <a:off x="3926880" y="4829400"/>
              <a:ext cx="0" cy="10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Straight Connector 253"/>
            <p:cNvSpPr/>
            <p:nvPr/>
          </p:nvSpPr>
          <p:spPr>
            <a:xfrm>
              <a:off x="3577320" y="5041800"/>
              <a:ext cx="0" cy="20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Straight Connector 254"/>
            <p:cNvSpPr/>
            <p:nvPr/>
          </p:nvSpPr>
          <p:spPr>
            <a:xfrm>
              <a:off x="3969360" y="5041800"/>
              <a:ext cx="0" cy="20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Straight Connector 255"/>
            <p:cNvSpPr/>
            <p:nvPr/>
          </p:nvSpPr>
          <p:spPr>
            <a:xfrm>
              <a:off x="3595680" y="4775760"/>
              <a:ext cx="358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77"/>
            <p:cNvSpPr/>
            <p:nvPr/>
          </p:nvSpPr>
          <p:spPr>
            <a:xfrm>
              <a:off x="3600720" y="4518720"/>
              <a:ext cx="339840" cy="203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45" h="567">
                  <a:moveTo>
                    <a:pt x="945" y="567"/>
                  </a:moveTo>
                  <a:lnTo>
                    <a:pt x="0" y="567"/>
                  </a:lnTo>
                  <a:cubicBezTo>
                    <a:pt x="0" y="567"/>
                    <a:pt x="127" y="0"/>
                    <a:pt x="477" y="0"/>
                  </a:cubicBezTo>
                  <a:cubicBezTo>
                    <a:pt x="824" y="0"/>
                    <a:pt x="945" y="567"/>
                    <a:pt x="945" y="56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Straight Connector 257"/>
            <p:cNvSpPr/>
            <p:nvPr/>
          </p:nvSpPr>
          <p:spPr>
            <a:xfrm>
              <a:off x="3734640" y="4469760"/>
              <a:ext cx="74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Straight Connector 258"/>
            <p:cNvSpPr/>
            <p:nvPr/>
          </p:nvSpPr>
          <p:spPr>
            <a:xfrm>
              <a:off x="3747960" y="442224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Straight Connector 259"/>
            <p:cNvSpPr/>
            <p:nvPr/>
          </p:nvSpPr>
          <p:spPr>
            <a:xfrm>
              <a:off x="3773160" y="4264920"/>
              <a:ext cx="0" cy="92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Straight Connector 260"/>
            <p:cNvSpPr/>
            <p:nvPr/>
          </p:nvSpPr>
          <p:spPr>
            <a:xfrm>
              <a:off x="3705120" y="5210640"/>
              <a:ext cx="135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Straight Connector 261"/>
            <p:cNvSpPr/>
            <p:nvPr/>
          </p:nvSpPr>
          <p:spPr>
            <a:xfrm>
              <a:off x="4110479" y="4882320"/>
              <a:ext cx="152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Straight Connector 262"/>
            <p:cNvSpPr/>
            <p:nvPr/>
          </p:nvSpPr>
          <p:spPr>
            <a:xfrm>
              <a:off x="4082040" y="4679280"/>
              <a:ext cx="0" cy="179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Straight Connector 263"/>
            <p:cNvSpPr/>
            <p:nvPr/>
          </p:nvSpPr>
          <p:spPr>
            <a:xfrm>
              <a:off x="4284360" y="4679280"/>
              <a:ext cx="0" cy="179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Straight Connector 264"/>
            <p:cNvSpPr/>
            <p:nvPr/>
          </p:nvSpPr>
          <p:spPr>
            <a:xfrm>
              <a:off x="4092480" y="4905720"/>
              <a:ext cx="0" cy="457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Straight Connector 265"/>
            <p:cNvSpPr/>
            <p:nvPr/>
          </p:nvSpPr>
          <p:spPr>
            <a:xfrm>
              <a:off x="4138920" y="4905720"/>
              <a:ext cx="0" cy="457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Straight Connector 266"/>
            <p:cNvSpPr/>
            <p:nvPr/>
          </p:nvSpPr>
          <p:spPr>
            <a:xfrm>
              <a:off x="4185719" y="4905720"/>
              <a:ext cx="0" cy="457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Straight Connector 267"/>
            <p:cNvSpPr/>
            <p:nvPr/>
          </p:nvSpPr>
          <p:spPr>
            <a:xfrm>
              <a:off x="4232520" y="4905720"/>
              <a:ext cx="0" cy="457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Straight Connector 268"/>
            <p:cNvSpPr/>
            <p:nvPr/>
          </p:nvSpPr>
          <p:spPr>
            <a:xfrm>
              <a:off x="4279320" y="4905720"/>
              <a:ext cx="0" cy="457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90"/>
            <p:cNvSpPr/>
            <p:nvPr/>
          </p:nvSpPr>
          <p:spPr>
            <a:xfrm>
              <a:off x="4075200" y="4463640"/>
              <a:ext cx="210960" cy="181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87" h="506" fill="none">
                  <a:moveTo>
                    <a:pt x="0" y="506"/>
                  </a:moveTo>
                  <a:lnTo>
                    <a:pt x="152" y="260"/>
                  </a:lnTo>
                  <a:lnTo>
                    <a:pt x="152" y="0"/>
                  </a:lnTo>
                  <a:lnTo>
                    <a:pt x="431" y="0"/>
                  </a:lnTo>
                  <a:lnTo>
                    <a:pt x="431" y="252"/>
                  </a:lnTo>
                  <a:lnTo>
                    <a:pt x="587" y="50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91"/>
            <p:cNvSpPr/>
            <p:nvPr/>
          </p:nvSpPr>
          <p:spPr>
            <a:xfrm>
              <a:off x="4138200" y="4726800"/>
              <a:ext cx="92880" cy="93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9" h="260">
                  <a:moveTo>
                    <a:pt x="259" y="130"/>
                  </a:moveTo>
                  <a:cubicBezTo>
                    <a:pt x="259" y="154"/>
                    <a:pt x="254" y="174"/>
                    <a:pt x="242" y="195"/>
                  </a:cubicBezTo>
                  <a:cubicBezTo>
                    <a:pt x="230" y="216"/>
                    <a:pt x="214" y="231"/>
                    <a:pt x="194" y="243"/>
                  </a:cubicBezTo>
                  <a:cubicBezTo>
                    <a:pt x="173" y="255"/>
                    <a:pt x="152" y="260"/>
                    <a:pt x="129" y="260"/>
                  </a:cubicBezTo>
                  <a:cubicBezTo>
                    <a:pt x="105" y="260"/>
                    <a:pt x="85" y="255"/>
                    <a:pt x="65" y="243"/>
                  </a:cubicBezTo>
                  <a:cubicBezTo>
                    <a:pt x="44" y="231"/>
                    <a:pt x="29" y="216"/>
                    <a:pt x="17" y="195"/>
                  </a:cubicBezTo>
                  <a:cubicBezTo>
                    <a:pt x="5" y="174"/>
                    <a:pt x="0" y="154"/>
                    <a:pt x="0" y="130"/>
                  </a:cubicBezTo>
                  <a:cubicBezTo>
                    <a:pt x="0" y="106"/>
                    <a:pt x="5" y="85"/>
                    <a:pt x="17" y="65"/>
                  </a:cubicBezTo>
                  <a:cubicBezTo>
                    <a:pt x="29" y="44"/>
                    <a:pt x="44" y="30"/>
                    <a:pt x="65" y="18"/>
                  </a:cubicBezTo>
                  <a:cubicBezTo>
                    <a:pt x="85" y="6"/>
                    <a:pt x="106" y="0"/>
                    <a:pt x="129" y="0"/>
                  </a:cubicBezTo>
                  <a:cubicBezTo>
                    <a:pt x="153" y="0"/>
                    <a:pt x="173" y="6"/>
                    <a:pt x="194" y="18"/>
                  </a:cubicBezTo>
                  <a:cubicBezTo>
                    <a:pt x="214" y="30"/>
                    <a:pt x="230" y="44"/>
                    <a:pt x="242" y="65"/>
                  </a:cubicBezTo>
                  <a:cubicBezTo>
                    <a:pt x="254" y="85"/>
                    <a:pt x="259" y="106"/>
                    <a:pt x="259" y="130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Straight Connector 271"/>
            <p:cNvSpPr/>
            <p:nvPr/>
          </p:nvSpPr>
          <p:spPr>
            <a:xfrm>
              <a:off x="4127760" y="4628520"/>
              <a:ext cx="108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4127760" y="4664880"/>
              <a:ext cx="108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Straight Connector 273"/>
            <p:cNvSpPr/>
            <p:nvPr/>
          </p:nvSpPr>
          <p:spPr>
            <a:xfrm>
              <a:off x="4129920" y="4557240"/>
              <a:ext cx="101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95"/>
            <p:cNvSpPr/>
            <p:nvPr/>
          </p:nvSpPr>
          <p:spPr>
            <a:xfrm>
              <a:off x="4129920" y="4383720"/>
              <a:ext cx="100080" cy="79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9" h="222" fill="none">
                  <a:moveTo>
                    <a:pt x="0" y="222"/>
                  </a:moveTo>
                  <a:lnTo>
                    <a:pt x="141" y="0"/>
                  </a:lnTo>
                  <a:lnTo>
                    <a:pt x="279" y="22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4182840" y="44931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 flipV="1">
              <a:off x="4180680" y="4306680"/>
              <a:ext cx="0" cy="77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4367520" y="4997160"/>
              <a:ext cx="0" cy="171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4313880" y="5168880"/>
              <a:ext cx="126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Straight Connector 279"/>
            <p:cNvSpPr/>
            <p:nvPr/>
          </p:nvSpPr>
          <p:spPr>
            <a:xfrm>
              <a:off x="4176720" y="5468400"/>
              <a:ext cx="837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101"/>
            <p:cNvSpPr/>
            <p:nvPr/>
          </p:nvSpPr>
          <p:spPr>
            <a:xfrm>
              <a:off x="4416120" y="3051000"/>
              <a:ext cx="596880" cy="23821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59" h="6618" fill="none">
                  <a:moveTo>
                    <a:pt x="0" y="6618"/>
                  </a:moveTo>
                  <a:lnTo>
                    <a:pt x="683" y="0"/>
                  </a:lnTo>
                  <a:lnTo>
                    <a:pt x="798" y="333"/>
                  </a:lnTo>
                  <a:lnTo>
                    <a:pt x="917" y="0"/>
                  </a:lnTo>
                  <a:lnTo>
                    <a:pt x="1659" y="660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Straight Connector 281"/>
            <p:cNvSpPr/>
            <p:nvPr/>
          </p:nvSpPr>
          <p:spPr>
            <a:xfrm>
              <a:off x="4713840" y="3226680"/>
              <a:ext cx="243720" cy="2202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Straight Connector 282"/>
            <p:cNvSpPr/>
            <p:nvPr/>
          </p:nvSpPr>
          <p:spPr>
            <a:xfrm>
              <a:off x="4978800" y="5117039"/>
              <a:ext cx="244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Straight Connector 283"/>
            <p:cNvSpPr/>
            <p:nvPr/>
          </p:nvSpPr>
          <p:spPr>
            <a:xfrm>
              <a:off x="5077440" y="5258160"/>
              <a:ext cx="0" cy="2246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Straight Connector 284"/>
            <p:cNvSpPr/>
            <p:nvPr/>
          </p:nvSpPr>
          <p:spPr>
            <a:xfrm>
              <a:off x="6446879" y="5258160"/>
              <a:ext cx="0" cy="2246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Straight Connector 285"/>
            <p:cNvSpPr/>
            <p:nvPr/>
          </p:nvSpPr>
          <p:spPr>
            <a:xfrm>
              <a:off x="5406480" y="5468400"/>
              <a:ext cx="507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Straight Connector 286"/>
            <p:cNvSpPr/>
            <p:nvPr/>
          </p:nvSpPr>
          <p:spPr>
            <a:xfrm>
              <a:off x="5005440" y="4813200"/>
              <a:ext cx="129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Straight Connector 287"/>
            <p:cNvSpPr/>
            <p:nvPr/>
          </p:nvSpPr>
          <p:spPr>
            <a:xfrm>
              <a:off x="5311080" y="4813200"/>
              <a:ext cx="285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Straight Connector 288"/>
            <p:cNvSpPr/>
            <p:nvPr/>
          </p:nvSpPr>
          <p:spPr>
            <a:xfrm>
              <a:off x="5139360" y="4630320"/>
              <a:ext cx="0" cy="38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110"/>
            <p:cNvSpPr/>
            <p:nvPr/>
          </p:nvSpPr>
          <p:spPr>
            <a:xfrm>
              <a:off x="5311080" y="4630320"/>
              <a:ext cx="675360" cy="62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77" h="1727" fill="none">
                  <a:moveTo>
                    <a:pt x="0" y="0"/>
                  </a:moveTo>
                  <a:lnTo>
                    <a:pt x="0" y="1727"/>
                  </a:lnTo>
                  <a:lnTo>
                    <a:pt x="1877" y="1727"/>
                  </a:lnTo>
                  <a:lnTo>
                    <a:pt x="1786" y="1581"/>
                  </a:lnTo>
                  <a:lnTo>
                    <a:pt x="158" y="158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5223600" y="4630320"/>
              <a:ext cx="0" cy="85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5223600" y="4807080"/>
              <a:ext cx="0" cy="36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5090759" y="4595760"/>
              <a:ext cx="2692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Freeform: Shape 114"/>
            <p:cNvSpPr/>
            <p:nvPr/>
          </p:nvSpPr>
          <p:spPr>
            <a:xfrm>
              <a:off x="5112000" y="4478040"/>
              <a:ext cx="216000" cy="90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1" h="251">
                  <a:moveTo>
                    <a:pt x="0" y="251"/>
                  </a:moveTo>
                  <a:cubicBezTo>
                    <a:pt x="0" y="251"/>
                    <a:pt x="62" y="0"/>
                    <a:pt x="313" y="0"/>
                  </a:cubicBezTo>
                  <a:cubicBezTo>
                    <a:pt x="564" y="0"/>
                    <a:pt x="601" y="251"/>
                    <a:pt x="601" y="25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5225760" y="4309920"/>
              <a:ext cx="0" cy="168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Freeform: Shape 116"/>
            <p:cNvSpPr/>
            <p:nvPr/>
          </p:nvSpPr>
          <p:spPr>
            <a:xfrm>
              <a:off x="5774400" y="4813200"/>
              <a:ext cx="831599" cy="12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11" h="356" fill="none">
                  <a:moveTo>
                    <a:pt x="0" y="0"/>
                  </a:moveTo>
                  <a:lnTo>
                    <a:pt x="2311" y="0"/>
                  </a:lnTo>
                  <a:lnTo>
                    <a:pt x="2311" y="356"/>
                  </a:lnTo>
                  <a:lnTo>
                    <a:pt x="1575" y="356"/>
                  </a:lnTo>
                  <a:lnTo>
                    <a:pt x="1575" y="17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5602680" y="4630320"/>
              <a:ext cx="0" cy="38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5774400" y="4630320"/>
              <a:ext cx="0" cy="38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5686920" y="4630320"/>
              <a:ext cx="0" cy="85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5686920" y="4807080"/>
              <a:ext cx="0" cy="36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5554080" y="4595760"/>
              <a:ext cx="270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Freeform: Shape 122"/>
            <p:cNvSpPr/>
            <p:nvPr/>
          </p:nvSpPr>
          <p:spPr>
            <a:xfrm>
              <a:off x="5576400" y="4478040"/>
              <a:ext cx="216000" cy="90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1" h="251">
                  <a:moveTo>
                    <a:pt x="0" y="251"/>
                  </a:moveTo>
                  <a:cubicBezTo>
                    <a:pt x="0" y="251"/>
                    <a:pt x="62" y="0"/>
                    <a:pt x="313" y="0"/>
                  </a:cubicBezTo>
                  <a:cubicBezTo>
                    <a:pt x="564" y="0"/>
                    <a:pt x="601" y="251"/>
                    <a:pt x="601" y="25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5689080" y="4309920"/>
              <a:ext cx="0" cy="168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Freeform: Shape 124"/>
            <p:cNvSpPr/>
            <p:nvPr/>
          </p:nvSpPr>
          <p:spPr>
            <a:xfrm>
              <a:off x="5826240" y="5045760"/>
              <a:ext cx="87120" cy="74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09" fill="none">
                  <a:moveTo>
                    <a:pt x="243" y="0"/>
                  </a:moveTo>
                  <a:lnTo>
                    <a:pt x="243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125"/>
            <p:cNvSpPr/>
            <p:nvPr/>
          </p:nvSpPr>
          <p:spPr>
            <a:xfrm>
              <a:off x="6001920" y="5045760"/>
              <a:ext cx="87120" cy="74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09" fill="none">
                  <a:moveTo>
                    <a:pt x="243" y="0"/>
                  </a:moveTo>
                  <a:lnTo>
                    <a:pt x="243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Freeform: Shape 126"/>
            <p:cNvSpPr/>
            <p:nvPr/>
          </p:nvSpPr>
          <p:spPr>
            <a:xfrm>
              <a:off x="6177600" y="5045760"/>
              <a:ext cx="87120" cy="74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09" fill="none">
                  <a:moveTo>
                    <a:pt x="243" y="0"/>
                  </a:moveTo>
                  <a:lnTo>
                    <a:pt x="243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Freeform: Shape 127"/>
            <p:cNvSpPr/>
            <p:nvPr/>
          </p:nvSpPr>
          <p:spPr>
            <a:xfrm>
              <a:off x="6352560" y="5045760"/>
              <a:ext cx="87840" cy="74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5" h="209" fill="none">
                  <a:moveTo>
                    <a:pt x="245" y="0"/>
                  </a:moveTo>
                  <a:lnTo>
                    <a:pt x="245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Freeform: Shape 128"/>
            <p:cNvSpPr/>
            <p:nvPr/>
          </p:nvSpPr>
          <p:spPr>
            <a:xfrm>
              <a:off x="5119200" y="5333400"/>
              <a:ext cx="381600" cy="95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61" h="265">
                  <a:moveTo>
                    <a:pt x="0" y="265"/>
                  </a:moveTo>
                  <a:cubicBezTo>
                    <a:pt x="0" y="265"/>
                    <a:pt x="126" y="0"/>
                    <a:pt x="558" y="0"/>
                  </a:cubicBezTo>
                  <a:cubicBezTo>
                    <a:pt x="989" y="0"/>
                    <a:pt x="1061" y="265"/>
                    <a:pt x="1061" y="26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Freeform: Shape 129"/>
            <p:cNvSpPr/>
            <p:nvPr/>
          </p:nvSpPr>
          <p:spPr>
            <a:xfrm>
              <a:off x="5575320" y="5333400"/>
              <a:ext cx="381600" cy="95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61" h="265">
                  <a:moveTo>
                    <a:pt x="0" y="265"/>
                  </a:moveTo>
                  <a:cubicBezTo>
                    <a:pt x="0" y="265"/>
                    <a:pt x="127" y="0"/>
                    <a:pt x="559" y="0"/>
                  </a:cubicBezTo>
                  <a:cubicBezTo>
                    <a:pt x="990" y="0"/>
                    <a:pt x="1061" y="265"/>
                    <a:pt x="1061" y="26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Freeform: Shape 130"/>
            <p:cNvSpPr/>
            <p:nvPr/>
          </p:nvSpPr>
          <p:spPr>
            <a:xfrm>
              <a:off x="6031440" y="5333400"/>
              <a:ext cx="381600" cy="95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61" h="265">
                  <a:moveTo>
                    <a:pt x="0" y="265"/>
                  </a:moveTo>
                  <a:cubicBezTo>
                    <a:pt x="0" y="265"/>
                    <a:pt x="127" y="0"/>
                    <a:pt x="559" y="0"/>
                  </a:cubicBezTo>
                  <a:cubicBezTo>
                    <a:pt x="990" y="0"/>
                    <a:pt x="1061" y="265"/>
                    <a:pt x="1061" y="26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6523200" y="4703400"/>
              <a:ext cx="0" cy="110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Freeform: Shape 132"/>
            <p:cNvSpPr/>
            <p:nvPr/>
          </p:nvSpPr>
          <p:spPr>
            <a:xfrm>
              <a:off x="5874840" y="3362040"/>
              <a:ext cx="564480" cy="141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9" h="3939" fill="none">
                  <a:moveTo>
                    <a:pt x="0" y="3936"/>
                  </a:moveTo>
                  <a:lnTo>
                    <a:pt x="807" y="0"/>
                  </a:lnTo>
                  <a:lnTo>
                    <a:pt x="1569" y="39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Freeform: Shape 133"/>
            <p:cNvSpPr/>
            <p:nvPr/>
          </p:nvSpPr>
          <p:spPr>
            <a:xfrm>
              <a:off x="6010920" y="3644279"/>
              <a:ext cx="304560" cy="39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7" h="1106" fill="none">
                  <a:moveTo>
                    <a:pt x="43" y="1106"/>
                  </a:moveTo>
                  <a:lnTo>
                    <a:pt x="0" y="0"/>
                  </a:lnTo>
                  <a:lnTo>
                    <a:pt x="847" y="0"/>
                  </a:lnTo>
                  <a:lnTo>
                    <a:pt x="788" y="108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6139080" y="3711240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6127919" y="3775320"/>
              <a:ext cx="6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6115679" y="3839400"/>
              <a:ext cx="90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6104520" y="3902400"/>
              <a:ext cx="11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6093359" y="3966479"/>
              <a:ext cx="1350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6082200" y="4030200"/>
              <a:ext cx="158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6069960" y="4094280"/>
              <a:ext cx="181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6058800" y="4157279"/>
              <a:ext cx="204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6047640" y="4221360"/>
              <a:ext cx="2264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6035399" y="4285440"/>
              <a:ext cx="249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6024240" y="4349520"/>
              <a:ext cx="272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6012000" y="4412880"/>
              <a:ext cx="295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6000840" y="4476960"/>
              <a:ext cx="318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5989680" y="4541040"/>
              <a:ext cx="340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5977440" y="4604040"/>
              <a:ext cx="363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5966280" y="4668120"/>
              <a:ext cx="386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Straight Connector 329"/>
            <p:cNvSpPr/>
            <p:nvPr/>
          </p:nvSpPr>
          <p:spPr>
            <a:xfrm>
              <a:off x="5955119" y="4731839"/>
              <a:ext cx="4096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151"/>
            <p:cNvSpPr/>
            <p:nvPr/>
          </p:nvSpPr>
          <p:spPr>
            <a:xfrm>
              <a:off x="6786360" y="5175000"/>
              <a:ext cx="193680" cy="387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39" h="1078">
                  <a:moveTo>
                    <a:pt x="539" y="0"/>
                  </a:moveTo>
                  <a:lnTo>
                    <a:pt x="539" y="1078"/>
                  </a:lnTo>
                  <a:lnTo>
                    <a:pt x="0" y="71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Straight Connector 331"/>
            <p:cNvSpPr/>
            <p:nvPr/>
          </p:nvSpPr>
          <p:spPr>
            <a:xfrm>
              <a:off x="6786360" y="5590440"/>
              <a:ext cx="11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Straight Connector 332"/>
            <p:cNvSpPr/>
            <p:nvPr/>
          </p:nvSpPr>
          <p:spPr>
            <a:xfrm flipH="1">
              <a:off x="7532999" y="5271480"/>
              <a:ext cx="777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Straight Connector 333"/>
            <p:cNvSpPr/>
            <p:nvPr/>
          </p:nvSpPr>
          <p:spPr>
            <a:xfrm flipH="1">
              <a:off x="7761600" y="5404680"/>
              <a:ext cx="269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Straight Connector 334"/>
            <p:cNvSpPr/>
            <p:nvPr/>
          </p:nvSpPr>
          <p:spPr>
            <a:xfrm flipH="1">
              <a:off x="449280" y="5261400"/>
              <a:ext cx="143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 flipH="1">
              <a:off x="888120" y="5261400"/>
              <a:ext cx="11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 flipH="1">
              <a:off x="7673040" y="5499000"/>
              <a:ext cx="149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7238520" y="5160600"/>
              <a:ext cx="0" cy="67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Straight Connector 338"/>
            <p:cNvSpPr/>
            <p:nvPr/>
          </p:nvSpPr>
          <p:spPr>
            <a:xfrm>
              <a:off x="6575040" y="5160600"/>
              <a:ext cx="0" cy="118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Freeform: Shape 160"/>
            <p:cNvSpPr/>
            <p:nvPr/>
          </p:nvSpPr>
          <p:spPr>
            <a:xfrm>
              <a:off x="7279919" y="5299920"/>
              <a:ext cx="107280" cy="253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9" h="705">
                  <a:moveTo>
                    <a:pt x="299" y="0"/>
                  </a:moveTo>
                  <a:lnTo>
                    <a:pt x="299" y="705"/>
                  </a:lnTo>
                  <a:lnTo>
                    <a:pt x="0" y="47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7282079" y="5571000"/>
              <a:ext cx="60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162"/>
            <p:cNvSpPr/>
            <p:nvPr/>
          </p:nvSpPr>
          <p:spPr>
            <a:xfrm>
              <a:off x="690119" y="5188320"/>
              <a:ext cx="107280" cy="254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9" h="708">
                  <a:moveTo>
                    <a:pt x="299" y="0"/>
                  </a:moveTo>
                  <a:lnTo>
                    <a:pt x="299" y="708"/>
                  </a:lnTo>
                  <a:lnTo>
                    <a:pt x="0" y="4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691920" y="5460480"/>
              <a:ext cx="60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Freeform: Shape 164"/>
            <p:cNvSpPr/>
            <p:nvPr/>
          </p:nvSpPr>
          <p:spPr>
            <a:xfrm>
              <a:off x="6678720" y="5096880"/>
              <a:ext cx="12978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6">
                  <a:moveTo>
                    <a:pt x="0" y="0"/>
                  </a:moveTo>
                  <a:cubicBezTo>
                    <a:pt x="1199" y="0"/>
                    <a:pt x="2407" y="0"/>
                    <a:pt x="3606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Straight Connector 344"/>
            <p:cNvSpPr/>
            <p:nvPr/>
          </p:nvSpPr>
          <p:spPr>
            <a:xfrm>
              <a:off x="7109279" y="4611960"/>
              <a:ext cx="0" cy="666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166"/>
            <p:cNvSpPr/>
            <p:nvPr/>
          </p:nvSpPr>
          <p:spPr>
            <a:xfrm>
              <a:off x="7109279" y="4667040"/>
              <a:ext cx="867239" cy="325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10" h="906">
                  <a:moveTo>
                    <a:pt x="2410" y="906"/>
                  </a:moveTo>
                  <a:cubicBezTo>
                    <a:pt x="1583" y="900"/>
                    <a:pt x="748" y="663"/>
                    <a:pt x="110" y="99"/>
                  </a:cubicBezTo>
                  <a:cubicBezTo>
                    <a:pt x="82" y="70"/>
                    <a:pt x="20" y="22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7248600" y="4780800"/>
              <a:ext cx="0" cy="310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7351199" y="4841640"/>
              <a:ext cx="0" cy="255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7455600" y="4895640"/>
              <a:ext cx="0" cy="20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7559279" y="4933080"/>
              <a:ext cx="0" cy="163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7661879" y="4957560"/>
              <a:ext cx="0" cy="139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7764479" y="4979880"/>
              <a:ext cx="0" cy="11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7867080" y="4988880"/>
              <a:ext cx="0" cy="10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174"/>
            <p:cNvSpPr/>
            <p:nvPr/>
          </p:nvSpPr>
          <p:spPr>
            <a:xfrm>
              <a:off x="6672600" y="4665960"/>
              <a:ext cx="436320" cy="257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3" h="717">
                  <a:moveTo>
                    <a:pt x="1213" y="0"/>
                  </a:moveTo>
                  <a:cubicBezTo>
                    <a:pt x="883" y="310"/>
                    <a:pt x="468" y="559"/>
                    <a:pt x="0" y="71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6964200" y="4780800"/>
              <a:ext cx="0" cy="310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6862319" y="4841640"/>
              <a:ext cx="0" cy="255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6756839" y="4895640"/>
              <a:ext cx="0" cy="20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60514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" name="Group 136"/>
          <p:cNvGrpSpPr/>
          <p:nvPr/>
        </p:nvGrpSpPr>
        <p:grpSpPr>
          <a:xfrm>
            <a:off x="2950079" y="2417706"/>
            <a:ext cx="6291843" cy="2207809"/>
            <a:chOff x="1212480" y="3200760"/>
            <a:chExt cx="7896600" cy="2770919"/>
          </a:xfrm>
        </p:grpSpPr>
        <p:sp>
          <p:nvSpPr>
            <p:cNvPr id="138" name="Straight Connector 137"/>
            <p:cNvSpPr/>
            <p:nvPr/>
          </p:nvSpPr>
          <p:spPr>
            <a:xfrm>
              <a:off x="3532680" y="5910840"/>
              <a:ext cx="240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212480" y="5922000"/>
              <a:ext cx="19472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3753360" y="5971679"/>
              <a:ext cx="15195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6198120" y="5910840"/>
              <a:ext cx="2910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5351040" y="5727960"/>
              <a:ext cx="678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5617080" y="5790959"/>
              <a:ext cx="66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6815880" y="5719680"/>
              <a:ext cx="631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7980120" y="5757480"/>
              <a:ext cx="400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7354439" y="5787720"/>
              <a:ext cx="1951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1809719" y="5517720"/>
              <a:ext cx="0" cy="194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1755000" y="5797080"/>
              <a:ext cx="99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1812600" y="560808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215080" y="5388480"/>
              <a:ext cx="358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4241880" y="5762520"/>
              <a:ext cx="76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Freeform: Shape 15"/>
            <p:cNvSpPr/>
            <p:nvPr/>
          </p:nvSpPr>
          <p:spPr>
            <a:xfrm>
              <a:off x="2061719" y="5416920"/>
              <a:ext cx="9612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8" h="587">
                  <a:moveTo>
                    <a:pt x="134" y="587"/>
                  </a:moveTo>
                  <a:lnTo>
                    <a:pt x="0" y="587"/>
                  </a:lnTo>
                  <a:lnTo>
                    <a:pt x="0" y="0"/>
                  </a:lnTo>
                  <a:lnTo>
                    <a:pt x="268" y="0"/>
                  </a:lnTo>
                  <a:lnTo>
                    <a:pt x="268" y="58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Freeform: Shape 16"/>
            <p:cNvSpPr/>
            <p:nvPr/>
          </p:nvSpPr>
          <p:spPr>
            <a:xfrm>
              <a:off x="1918440" y="5716800"/>
              <a:ext cx="614160" cy="5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07" h="149">
                  <a:moveTo>
                    <a:pt x="854" y="149"/>
                  </a:moveTo>
                  <a:lnTo>
                    <a:pt x="0" y="149"/>
                  </a:lnTo>
                  <a:lnTo>
                    <a:pt x="0" y="0"/>
                  </a:lnTo>
                  <a:lnTo>
                    <a:pt x="1707" y="0"/>
                  </a:lnTo>
                  <a:lnTo>
                    <a:pt x="1707" y="14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Freeform: Shape 17"/>
            <p:cNvSpPr/>
            <p:nvPr/>
          </p:nvSpPr>
          <p:spPr>
            <a:xfrm>
              <a:off x="1366920" y="5726880"/>
              <a:ext cx="165240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60" h="138">
                  <a:moveTo>
                    <a:pt x="230" y="138"/>
                  </a:moveTo>
                  <a:lnTo>
                    <a:pt x="0" y="138"/>
                  </a:lnTo>
                  <a:lnTo>
                    <a:pt x="0" y="0"/>
                  </a:lnTo>
                  <a:lnTo>
                    <a:pt x="460" y="0"/>
                  </a:lnTo>
                  <a:lnTo>
                    <a:pt x="460" y="13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Freeform: Shape 18"/>
            <p:cNvSpPr/>
            <p:nvPr/>
          </p:nvSpPr>
          <p:spPr>
            <a:xfrm>
              <a:off x="2313720" y="5442479"/>
              <a:ext cx="463680" cy="214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89" h="598">
                  <a:moveTo>
                    <a:pt x="645" y="598"/>
                  </a:moveTo>
                  <a:lnTo>
                    <a:pt x="0" y="598"/>
                  </a:lnTo>
                  <a:lnTo>
                    <a:pt x="0" y="0"/>
                  </a:lnTo>
                  <a:lnTo>
                    <a:pt x="1289" y="0"/>
                  </a:lnTo>
                  <a:lnTo>
                    <a:pt x="1289" y="59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Freeform: Shape 19"/>
            <p:cNvSpPr/>
            <p:nvPr/>
          </p:nvSpPr>
          <p:spPr>
            <a:xfrm>
              <a:off x="3362040" y="5723640"/>
              <a:ext cx="297360" cy="46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27" h="130">
                  <a:moveTo>
                    <a:pt x="414" y="130"/>
                  </a:moveTo>
                  <a:lnTo>
                    <a:pt x="0" y="130"/>
                  </a:lnTo>
                  <a:lnTo>
                    <a:pt x="0" y="0"/>
                  </a:lnTo>
                  <a:lnTo>
                    <a:pt x="827" y="0"/>
                  </a:lnTo>
                  <a:lnTo>
                    <a:pt x="827" y="13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Freeform: Shape 20"/>
            <p:cNvSpPr/>
            <p:nvPr/>
          </p:nvSpPr>
          <p:spPr>
            <a:xfrm>
              <a:off x="8432280" y="5723640"/>
              <a:ext cx="155160" cy="46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2" h="130">
                  <a:moveTo>
                    <a:pt x="216" y="130"/>
                  </a:moveTo>
                  <a:lnTo>
                    <a:pt x="0" y="130"/>
                  </a:lnTo>
                  <a:lnTo>
                    <a:pt x="0" y="0"/>
                  </a:lnTo>
                  <a:lnTo>
                    <a:pt x="432" y="0"/>
                  </a:lnTo>
                  <a:lnTo>
                    <a:pt x="432" y="13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Freeform: Shape 21"/>
            <p:cNvSpPr/>
            <p:nvPr/>
          </p:nvSpPr>
          <p:spPr>
            <a:xfrm>
              <a:off x="3841560" y="5729760"/>
              <a:ext cx="254520" cy="4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8" h="122">
                  <a:moveTo>
                    <a:pt x="354" y="122"/>
                  </a:moveTo>
                  <a:lnTo>
                    <a:pt x="0" y="122"/>
                  </a:lnTo>
                  <a:lnTo>
                    <a:pt x="0" y="0"/>
                  </a:lnTo>
                  <a:lnTo>
                    <a:pt x="708" y="0"/>
                  </a:lnTo>
                  <a:lnTo>
                    <a:pt x="708" y="12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Freeform: Shape 22"/>
            <p:cNvSpPr/>
            <p:nvPr/>
          </p:nvSpPr>
          <p:spPr>
            <a:xfrm>
              <a:off x="3330720" y="5562360"/>
              <a:ext cx="250560" cy="7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97" h="203">
                  <a:moveTo>
                    <a:pt x="348" y="203"/>
                  </a:moveTo>
                  <a:lnTo>
                    <a:pt x="0" y="203"/>
                  </a:lnTo>
                  <a:lnTo>
                    <a:pt x="0" y="0"/>
                  </a:lnTo>
                  <a:lnTo>
                    <a:pt x="697" y="0"/>
                  </a:lnTo>
                  <a:lnTo>
                    <a:pt x="697" y="20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Freeform: Shape 23"/>
            <p:cNvSpPr/>
            <p:nvPr/>
          </p:nvSpPr>
          <p:spPr>
            <a:xfrm>
              <a:off x="3119400" y="5388480"/>
              <a:ext cx="129600" cy="155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1" h="432">
                  <a:moveTo>
                    <a:pt x="180" y="432"/>
                  </a:moveTo>
                  <a:lnTo>
                    <a:pt x="0" y="432"/>
                  </a:lnTo>
                  <a:lnTo>
                    <a:pt x="0" y="0"/>
                  </a:lnTo>
                  <a:lnTo>
                    <a:pt x="361" y="0"/>
                  </a:lnTo>
                  <a:lnTo>
                    <a:pt x="361" y="4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Freeform: Shape 24"/>
            <p:cNvSpPr/>
            <p:nvPr/>
          </p:nvSpPr>
          <p:spPr>
            <a:xfrm>
              <a:off x="3365279" y="5393520"/>
              <a:ext cx="316440" cy="58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164">
                  <a:moveTo>
                    <a:pt x="440" y="164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80" y="0"/>
                  </a:lnTo>
                  <a:lnTo>
                    <a:pt x="880" y="1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Freeform: Shape 25"/>
            <p:cNvSpPr/>
            <p:nvPr/>
          </p:nvSpPr>
          <p:spPr>
            <a:xfrm>
              <a:off x="2721960" y="5263559"/>
              <a:ext cx="127800" cy="102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6" h="285">
                  <a:moveTo>
                    <a:pt x="178" y="285"/>
                  </a:moveTo>
                  <a:lnTo>
                    <a:pt x="0" y="285"/>
                  </a:lnTo>
                  <a:lnTo>
                    <a:pt x="0" y="0"/>
                  </a:lnTo>
                  <a:lnTo>
                    <a:pt x="356" y="0"/>
                  </a:lnTo>
                  <a:lnTo>
                    <a:pt x="356" y="2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Freeform: Shape 26"/>
            <p:cNvSpPr/>
            <p:nvPr/>
          </p:nvSpPr>
          <p:spPr>
            <a:xfrm>
              <a:off x="4483800" y="5663880"/>
              <a:ext cx="829439" cy="87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05" h="243">
                  <a:moveTo>
                    <a:pt x="1152" y="243"/>
                  </a:moveTo>
                  <a:lnTo>
                    <a:pt x="0" y="243"/>
                  </a:lnTo>
                  <a:lnTo>
                    <a:pt x="0" y="0"/>
                  </a:lnTo>
                  <a:lnTo>
                    <a:pt x="2305" y="0"/>
                  </a:lnTo>
                  <a:lnTo>
                    <a:pt x="2305" y="24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Freeform: Shape 27"/>
            <p:cNvSpPr/>
            <p:nvPr/>
          </p:nvSpPr>
          <p:spPr>
            <a:xfrm>
              <a:off x="4962240" y="5464800"/>
              <a:ext cx="53280" cy="69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9" h="195">
                  <a:moveTo>
                    <a:pt x="75" y="195"/>
                  </a:moveTo>
                  <a:lnTo>
                    <a:pt x="0" y="195"/>
                  </a:lnTo>
                  <a:lnTo>
                    <a:pt x="0" y="0"/>
                  </a:lnTo>
                  <a:lnTo>
                    <a:pt x="149" y="0"/>
                  </a:lnTo>
                  <a:lnTo>
                    <a:pt x="149" y="19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Freeform: Shape 28"/>
            <p:cNvSpPr/>
            <p:nvPr/>
          </p:nvSpPr>
          <p:spPr>
            <a:xfrm>
              <a:off x="5807160" y="5091839"/>
              <a:ext cx="69840" cy="25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714">
                  <a:moveTo>
                    <a:pt x="97" y="714"/>
                  </a:moveTo>
                  <a:lnTo>
                    <a:pt x="0" y="714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71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29"/>
            <p:cNvSpPr/>
            <p:nvPr/>
          </p:nvSpPr>
          <p:spPr>
            <a:xfrm>
              <a:off x="8070480" y="5463720"/>
              <a:ext cx="63720" cy="121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8" h="339">
                  <a:moveTo>
                    <a:pt x="89" y="33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178" y="0"/>
                  </a:lnTo>
                  <a:lnTo>
                    <a:pt x="178" y="3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Freeform: Shape 30"/>
            <p:cNvSpPr/>
            <p:nvPr/>
          </p:nvSpPr>
          <p:spPr>
            <a:xfrm>
              <a:off x="8869320" y="5693400"/>
              <a:ext cx="52200" cy="121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6" h="338">
                  <a:moveTo>
                    <a:pt x="73" y="338"/>
                  </a:moveTo>
                  <a:lnTo>
                    <a:pt x="0" y="338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146" y="33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3643559" y="398988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3643559" y="40579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3643559" y="41252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3643559" y="41922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3643559" y="42591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3643559" y="43261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3643559" y="43941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3643559" y="446148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3643559" y="45284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3643559" y="45950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3643559" y="46620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3643559" y="47304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3643559" y="47973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3643559" y="48643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3643559" y="4931279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3643559" y="49993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3643559" y="50666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3643559" y="51336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3643559" y="52005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3643559" y="52675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Freeform: Shape 51"/>
            <p:cNvSpPr/>
            <p:nvPr/>
          </p:nvSpPr>
          <p:spPr>
            <a:xfrm>
              <a:off x="1987560" y="3769560"/>
              <a:ext cx="2429640" cy="1904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750" h="5291" fill="none">
                  <a:moveTo>
                    <a:pt x="2760" y="5291"/>
                  </a:moveTo>
                  <a:lnTo>
                    <a:pt x="6750" y="5291"/>
                  </a:lnTo>
                  <a:lnTo>
                    <a:pt x="6457" y="4848"/>
                  </a:lnTo>
                  <a:lnTo>
                    <a:pt x="5404" y="4848"/>
                  </a:lnTo>
                  <a:lnTo>
                    <a:pt x="5404" y="4388"/>
                  </a:lnTo>
                  <a:lnTo>
                    <a:pt x="4382" y="4388"/>
                  </a:lnTo>
                  <a:lnTo>
                    <a:pt x="4382" y="3536"/>
                  </a:lnTo>
                  <a:lnTo>
                    <a:pt x="3821" y="3536"/>
                  </a:lnTo>
                  <a:lnTo>
                    <a:pt x="3821" y="1721"/>
                  </a:lnTo>
                  <a:lnTo>
                    <a:pt x="3211" y="1721"/>
                  </a:lnTo>
                  <a:lnTo>
                    <a:pt x="3211" y="3804"/>
                  </a:lnTo>
                  <a:lnTo>
                    <a:pt x="2763" y="3804"/>
                  </a:lnTo>
                  <a:lnTo>
                    <a:pt x="2763" y="2224"/>
                  </a:lnTo>
                  <a:lnTo>
                    <a:pt x="2602" y="2088"/>
                  </a:lnTo>
                  <a:lnTo>
                    <a:pt x="2602" y="553"/>
                  </a:lnTo>
                  <a:lnTo>
                    <a:pt x="2503" y="135"/>
                  </a:lnTo>
                  <a:lnTo>
                    <a:pt x="2503" y="429"/>
                  </a:lnTo>
                  <a:lnTo>
                    <a:pt x="2274" y="0"/>
                  </a:lnTo>
                  <a:lnTo>
                    <a:pt x="2057" y="420"/>
                  </a:lnTo>
                  <a:lnTo>
                    <a:pt x="2057" y="144"/>
                  </a:lnTo>
                  <a:lnTo>
                    <a:pt x="1975" y="559"/>
                  </a:lnTo>
                  <a:lnTo>
                    <a:pt x="1975" y="2097"/>
                  </a:lnTo>
                  <a:lnTo>
                    <a:pt x="1803" y="2226"/>
                  </a:lnTo>
                  <a:lnTo>
                    <a:pt x="1803" y="3841"/>
                  </a:lnTo>
                  <a:lnTo>
                    <a:pt x="1453" y="3841"/>
                  </a:lnTo>
                  <a:lnTo>
                    <a:pt x="1453" y="3302"/>
                  </a:lnTo>
                  <a:lnTo>
                    <a:pt x="1287" y="3302"/>
                  </a:lnTo>
                  <a:lnTo>
                    <a:pt x="1287" y="4106"/>
                  </a:lnTo>
                  <a:lnTo>
                    <a:pt x="911" y="4106"/>
                  </a:lnTo>
                  <a:lnTo>
                    <a:pt x="911" y="4267"/>
                  </a:lnTo>
                  <a:lnTo>
                    <a:pt x="0" y="4267"/>
                  </a:lnTo>
                  <a:lnTo>
                    <a:pt x="0" y="460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Freeform: Shape 52"/>
            <p:cNvSpPr/>
            <p:nvPr/>
          </p:nvSpPr>
          <p:spPr>
            <a:xfrm>
              <a:off x="3269520" y="4442040"/>
              <a:ext cx="42480" cy="76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9" h="2122">
                  <a:moveTo>
                    <a:pt x="60" y="2122"/>
                  </a:moveTo>
                  <a:lnTo>
                    <a:pt x="0" y="2122"/>
                  </a:lnTo>
                  <a:lnTo>
                    <a:pt x="0" y="0"/>
                  </a:lnTo>
                  <a:lnTo>
                    <a:pt x="119" y="0"/>
                  </a:lnTo>
                  <a:lnTo>
                    <a:pt x="119" y="212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861280" y="3974759"/>
              <a:ext cx="0" cy="6552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2916000" y="4584960"/>
              <a:ext cx="0" cy="516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 flipV="1">
              <a:off x="2806200" y="3648600"/>
              <a:ext cx="0" cy="124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Freeform: Shape 56"/>
            <p:cNvSpPr/>
            <p:nvPr/>
          </p:nvSpPr>
          <p:spPr>
            <a:xfrm>
              <a:off x="3548160" y="3751200"/>
              <a:ext cx="605880" cy="1549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84" h="4304" fill="none">
                  <a:moveTo>
                    <a:pt x="0" y="3429"/>
                  </a:moveTo>
                  <a:lnTo>
                    <a:pt x="0" y="474"/>
                  </a:lnTo>
                  <a:lnTo>
                    <a:pt x="1382" y="474"/>
                  </a:lnTo>
                  <a:lnTo>
                    <a:pt x="1267" y="319"/>
                  </a:lnTo>
                  <a:lnTo>
                    <a:pt x="98" y="319"/>
                  </a:lnTo>
                  <a:lnTo>
                    <a:pt x="352" y="0"/>
                  </a:lnTo>
                  <a:lnTo>
                    <a:pt x="1394" y="0"/>
                  </a:lnTo>
                  <a:lnTo>
                    <a:pt x="1684" y="483"/>
                  </a:lnTo>
                  <a:lnTo>
                    <a:pt x="1684" y="43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4088520" y="4026600"/>
              <a:ext cx="0" cy="635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Freeform: Shape 58"/>
            <p:cNvSpPr/>
            <p:nvPr/>
          </p:nvSpPr>
          <p:spPr>
            <a:xfrm>
              <a:off x="4100760" y="4614480"/>
              <a:ext cx="23004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0" h="1916" fill="none">
                  <a:moveTo>
                    <a:pt x="0" y="1916"/>
                  </a:moveTo>
                  <a:lnTo>
                    <a:pt x="640" y="1916"/>
                  </a:lnTo>
                  <a:lnTo>
                    <a:pt x="64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4209480" y="4755600"/>
              <a:ext cx="0" cy="5475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4908239" y="4755600"/>
              <a:ext cx="0" cy="574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Freeform: Shape 61"/>
            <p:cNvSpPr/>
            <p:nvPr/>
          </p:nvSpPr>
          <p:spPr>
            <a:xfrm>
              <a:off x="4281480" y="4410720"/>
              <a:ext cx="151920" cy="1206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3" h="3352" fill="none">
                  <a:moveTo>
                    <a:pt x="423" y="0"/>
                  </a:moveTo>
                  <a:lnTo>
                    <a:pt x="0" y="505"/>
                  </a:lnTo>
                  <a:lnTo>
                    <a:pt x="0" y="680"/>
                  </a:lnTo>
                  <a:lnTo>
                    <a:pt x="418" y="248"/>
                  </a:lnTo>
                  <a:lnTo>
                    <a:pt x="418" y="335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Freeform: Shape 62"/>
            <p:cNvSpPr/>
            <p:nvPr/>
          </p:nvSpPr>
          <p:spPr>
            <a:xfrm>
              <a:off x="4480560" y="4410720"/>
              <a:ext cx="153000" cy="1206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6" h="3352" fill="none">
                  <a:moveTo>
                    <a:pt x="0" y="0"/>
                  </a:moveTo>
                  <a:lnTo>
                    <a:pt x="426" y="505"/>
                  </a:lnTo>
                  <a:lnTo>
                    <a:pt x="426" y="680"/>
                  </a:lnTo>
                  <a:lnTo>
                    <a:pt x="9" y="248"/>
                  </a:lnTo>
                  <a:lnTo>
                    <a:pt x="9" y="335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4585319" y="4604400"/>
              <a:ext cx="0" cy="68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5095440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5142960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5189400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5237279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68"/>
            <p:cNvSpPr/>
            <p:nvPr/>
          </p:nvSpPr>
          <p:spPr>
            <a:xfrm>
              <a:off x="4965120" y="4209480"/>
              <a:ext cx="554400" cy="112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41" h="3132" fill="none">
                  <a:moveTo>
                    <a:pt x="0" y="3132"/>
                  </a:moveTo>
                  <a:lnTo>
                    <a:pt x="0" y="0"/>
                  </a:lnTo>
                  <a:lnTo>
                    <a:pt x="1098" y="0"/>
                  </a:lnTo>
                  <a:lnTo>
                    <a:pt x="1098" y="1908"/>
                  </a:lnTo>
                  <a:lnTo>
                    <a:pt x="1541" y="190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Freeform: Shape 69"/>
            <p:cNvSpPr/>
            <p:nvPr/>
          </p:nvSpPr>
          <p:spPr>
            <a:xfrm>
              <a:off x="5239080" y="5090759"/>
              <a:ext cx="630720" cy="485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53" h="1349" fill="none">
                  <a:moveTo>
                    <a:pt x="0" y="514"/>
                  </a:moveTo>
                  <a:lnTo>
                    <a:pt x="0" y="0"/>
                  </a:lnTo>
                  <a:lnTo>
                    <a:pt x="1059" y="0"/>
                  </a:lnTo>
                  <a:lnTo>
                    <a:pt x="1059" y="1349"/>
                  </a:lnTo>
                  <a:lnTo>
                    <a:pt x="1753" y="88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5522760" y="4630680"/>
              <a:ext cx="0" cy="452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71"/>
            <p:cNvSpPr/>
            <p:nvPr/>
          </p:nvSpPr>
          <p:spPr>
            <a:xfrm>
              <a:off x="5569200" y="4282560"/>
              <a:ext cx="82080" cy="80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2224" fill="none">
                  <a:moveTo>
                    <a:pt x="0" y="2224"/>
                  </a:moveTo>
                  <a:lnTo>
                    <a:pt x="0" y="0"/>
                  </a:lnTo>
                  <a:lnTo>
                    <a:pt x="229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72"/>
            <p:cNvSpPr/>
            <p:nvPr/>
          </p:nvSpPr>
          <p:spPr>
            <a:xfrm>
              <a:off x="5025240" y="3963600"/>
              <a:ext cx="275040" cy="200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65" h="559">
                  <a:moveTo>
                    <a:pt x="382" y="559"/>
                  </a:moveTo>
                  <a:lnTo>
                    <a:pt x="0" y="559"/>
                  </a:lnTo>
                  <a:lnTo>
                    <a:pt x="0" y="0"/>
                  </a:lnTo>
                  <a:lnTo>
                    <a:pt x="765" y="0"/>
                  </a:lnTo>
                  <a:lnTo>
                    <a:pt x="765" y="55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5039280" y="3888360"/>
              <a:ext cx="2602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74"/>
            <p:cNvSpPr/>
            <p:nvPr/>
          </p:nvSpPr>
          <p:spPr>
            <a:xfrm>
              <a:off x="5062680" y="3632400"/>
              <a:ext cx="84960" cy="327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7" h="911">
                  <a:moveTo>
                    <a:pt x="0" y="911"/>
                  </a:moveTo>
                  <a:lnTo>
                    <a:pt x="0" y="717"/>
                  </a:lnTo>
                  <a:cubicBezTo>
                    <a:pt x="0" y="717"/>
                    <a:pt x="237" y="584"/>
                    <a:pt x="237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75"/>
            <p:cNvSpPr/>
            <p:nvPr/>
          </p:nvSpPr>
          <p:spPr>
            <a:xfrm>
              <a:off x="5193360" y="3629160"/>
              <a:ext cx="79920" cy="330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3" h="920">
                  <a:moveTo>
                    <a:pt x="3" y="0"/>
                  </a:moveTo>
                  <a:cubicBezTo>
                    <a:pt x="3" y="0"/>
                    <a:pt x="-45" y="455"/>
                    <a:pt x="223" y="726"/>
                  </a:cubicBezTo>
                  <a:lnTo>
                    <a:pt x="223" y="92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5123880" y="3624120"/>
              <a:ext cx="92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5137920" y="358560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 flipV="1">
              <a:off x="5169240" y="3200760"/>
              <a:ext cx="0" cy="380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5142960" y="337644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80"/>
            <p:cNvSpPr/>
            <p:nvPr/>
          </p:nvSpPr>
          <p:spPr>
            <a:xfrm>
              <a:off x="4542479" y="5340960"/>
              <a:ext cx="720000" cy="242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01" h="674">
                  <a:moveTo>
                    <a:pt x="1001" y="674"/>
                  </a:moveTo>
                  <a:lnTo>
                    <a:pt x="0" y="674"/>
                  </a:lnTo>
                  <a:lnTo>
                    <a:pt x="0" y="0"/>
                  </a:lnTo>
                  <a:lnTo>
                    <a:pt x="2001" y="0"/>
                  </a:lnTo>
                  <a:lnTo>
                    <a:pt x="2001" y="6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Freeform: Shape 81"/>
            <p:cNvSpPr/>
            <p:nvPr/>
          </p:nvSpPr>
          <p:spPr>
            <a:xfrm>
              <a:off x="5844600" y="4279680"/>
              <a:ext cx="252720" cy="1171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3" h="3256" fill="none">
                  <a:moveTo>
                    <a:pt x="0" y="0"/>
                  </a:moveTo>
                  <a:lnTo>
                    <a:pt x="223" y="0"/>
                  </a:lnTo>
                  <a:lnTo>
                    <a:pt x="223" y="3256"/>
                  </a:lnTo>
                  <a:lnTo>
                    <a:pt x="703" y="3256"/>
                  </a:lnTo>
                  <a:lnTo>
                    <a:pt x="703" y="1100"/>
                  </a:lnTo>
                  <a:lnTo>
                    <a:pt x="234" y="110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82"/>
            <p:cNvSpPr/>
            <p:nvPr/>
          </p:nvSpPr>
          <p:spPr>
            <a:xfrm>
              <a:off x="5649480" y="4415760"/>
              <a:ext cx="192960" cy="636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37" h="1769" fill="none">
                  <a:moveTo>
                    <a:pt x="0" y="1763"/>
                  </a:moveTo>
                  <a:lnTo>
                    <a:pt x="0" y="0"/>
                  </a:lnTo>
                  <a:lnTo>
                    <a:pt x="537" y="0"/>
                  </a:lnTo>
                  <a:lnTo>
                    <a:pt x="537" y="17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Freeform: Shape 83"/>
            <p:cNvSpPr/>
            <p:nvPr/>
          </p:nvSpPr>
          <p:spPr>
            <a:xfrm>
              <a:off x="5714640" y="3956400"/>
              <a:ext cx="65520" cy="4517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3" h="1256">
                  <a:moveTo>
                    <a:pt x="0" y="1250"/>
                  </a:moveTo>
                  <a:lnTo>
                    <a:pt x="0" y="88"/>
                  </a:lnTo>
                  <a:cubicBezTo>
                    <a:pt x="0" y="88"/>
                    <a:pt x="-6" y="0"/>
                    <a:pt x="90" y="0"/>
                  </a:cubicBezTo>
                  <a:cubicBezTo>
                    <a:pt x="192" y="0"/>
                    <a:pt x="183" y="88"/>
                    <a:pt x="183" y="88"/>
                  </a:cubicBezTo>
                  <a:lnTo>
                    <a:pt x="183" y="125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Freeform: Shape 84"/>
            <p:cNvSpPr/>
            <p:nvPr/>
          </p:nvSpPr>
          <p:spPr>
            <a:xfrm>
              <a:off x="5657760" y="3903480"/>
              <a:ext cx="178920" cy="462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8" h="1287">
                  <a:moveTo>
                    <a:pt x="1" y="1287"/>
                  </a:moveTo>
                  <a:lnTo>
                    <a:pt x="1" y="218"/>
                  </a:lnTo>
                  <a:cubicBezTo>
                    <a:pt x="1" y="218"/>
                    <a:pt x="-25" y="0"/>
                    <a:pt x="249" y="0"/>
                  </a:cubicBezTo>
                  <a:cubicBezTo>
                    <a:pt x="522" y="0"/>
                    <a:pt x="498" y="221"/>
                    <a:pt x="498" y="221"/>
                  </a:cubicBezTo>
                  <a:lnTo>
                    <a:pt x="498" y="12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Freeform: Shape 85"/>
            <p:cNvSpPr/>
            <p:nvPr/>
          </p:nvSpPr>
          <p:spPr>
            <a:xfrm>
              <a:off x="5616000" y="3839760"/>
              <a:ext cx="261000" cy="439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6" h="1222">
                  <a:moveTo>
                    <a:pt x="0" y="1222"/>
                  </a:moveTo>
                  <a:lnTo>
                    <a:pt x="0" y="200"/>
                  </a:lnTo>
                  <a:lnTo>
                    <a:pt x="141" y="200"/>
                  </a:lnTo>
                  <a:cubicBezTo>
                    <a:pt x="141" y="200"/>
                    <a:pt x="178" y="0"/>
                    <a:pt x="361" y="0"/>
                  </a:cubicBezTo>
                  <a:cubicBezTo>
                    <a:pt x="542" y="0"/>
                    <a:pt x="579" y="197"/>
                    <a:pt x="579" y="197"/>
                  </a:cubicBezTo>
                  <a:lnTo>
                    <a:pt x="726" y="197"/>
                  </a:lnTo>
                  <a:lnTo>
                    <a:pt x="726" y="12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Freeform: Shape 86"/>
            <p:cNvSpPr/>
            <p:nvPr/>
          </p:nvSpPr>
          <p:spPr>
            <a:xfrm>
              <a:off x="5650560" y="3751200"/>
              <a:ext cx="78840" cy="155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0" h="432">
                  <a:moveTo>
                    <a:pt x="0" y="432"/>
                  </a:moveTo>
                  <a:cubicBezTo>
                    <a:pt x="0" y="432"/>
                    <a:pt x="-5" y="79"/>
                    <a:pt x="22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Freeform: Shape 87"/>
            <p:cNvSpPr/>
            <p:nvPr/>
          </p:nvSpPr>
          <p:spPr>
            <a:xfrm>
              <a:off x="5766480" y="3752280"/>
              <a:ext cx="77760" cy="156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437">
                  <a:moveTo>
                    <a:pt x="0" y="0"/>
                  </a:moveTo>
                  <a:cubicBezTo>
                    <a:pt x="0" y="0"/>
                    <a:pt x="217" y="39"/>
                    <a:pt x="217" y="43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Freeform: Shape 88"/>
            <p:cNvSpPr/>
            <p:nvPr/>
          </p:nvSpPr>
          <p:spPr>
            <a:xfrm>
              <a:off x="5689080" y="3663000"/>
              <a:ext cx="11664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25" h="321">
                  <a:moveTo>
                    <a:pt x="0" y="302"/>
                  </a:moveTo>
                  <a:cubicBezTo>
                    <a:pt x="0" y="302"/>
                    <a:pt x="3" y="90"/>
                    <a:pt x="167" y="0"/>
                  </a:cubicBezTo>
                  <a:cubicBezTo>
                    <a:pt x="167" y="0"/>
                    <a:pt x="322" y="64"/>
                    <a:pt x="325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 flipV="1">
              <a:off x="5749200" y="3480120"/>
              <a:ext cx="0" cy="181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5705640" y="5169240"/>
              <a:ext cx="0" cy="263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Freeform: Shape 91"/>
            <p:cNvSpPr/>
            <p:nvPr/>
          </p:nvSpPr>
          <p:spPr>
            <a:xfrm>
              <a:off x="7290360" y="4978080"/>
              <a:ext cx="515879" cy="636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4" h="1769">
                  <a:moveTo>
                    <a:pt x="717" y="1769"/>
                  </a:moveTo>
                  <a:lnTo>
                    <a:pt x="0" y="1769"/>
                  </a:lnTo>
                  <a:lnTo>
                    <a:pt x="0" y="0"/>
                  </a:lnTo>
                  <a:lnTo>
                    <a:pt x="1434" y="0"/>
                  </a:lnTo>
                  <a:lnTo>
                    <a:pt x="1434" y="17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92"/>
            <p:cNvSpPr/>
            <p:nvPr/>
          </p:nvSpPr>
          <p:spPr>
            <a:xfrm>
              <a:off x="7873560" y="4957920"/>
              <a:ext cx="134640" cy="664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5" h="1848">
                  <a:moveTo>
                    <a:pt x="188" y="1848"/>
                  </a:moveTo>
                  <a:lnTo>
                    <a:pt x="0" y="1848"/>
                  </a:lnTo>
                  <a:lnTo>
                    <a:pt x="0" y="0"/>
                  </a:lnTo>
                  <a:lnTo>
                    <a:pt x="375" y="0"/>
                  </a:lnTo>
                  <a:lnTo>
                    <a:pt x="375" y="184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93"/>
            <p:cNvSpPr/>
            <p:nvPr/>
          </p:nvSpPr>
          <p:spPr>
            <a:xfrm>
              <a:off x="6774120" y="5575320"/>
              <a:ext cx="66960" cy="92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7" h="257">
                  <a:moveTo>
                    <a:pt x="94" y="257"/>
                  </a:moveTo>
                  <a:cubicBezTo>
                    <a:pt x="43" y="257"/>
                    <a:pt x="0" y="215"/>
                    <a:pt x="0" y="164"/>
                  </a:cubicBezTo>
                  <a:lnTo>
                    <a:pt x="0" y="94"/>
                  </a:lnTo>
                  <a:cubicBezTo>
                    <a:pt x="0" y="43"/>
                    <a:pt x="43" y="0"/>
                    <a:pt x="94" y="0"/>
                  </a:cubicBezTo>
                  <a:cubicBezTo>
                    <a:pt x="144" y="0"/>
                    <a:pt x="187" y="43"/>
                    <a:pt x="187" y="94"/>
                  </a:cubicBezTo>
                  <a:lnTo>
                    <a:pt x="187" y="164"/>
                  </a:lnTo>
                  <a:cubicBezTo>
                    <a:pt x="187" y="215"/>
                    <a:pt x="144" y="257"/>
                    <a:pt x="94" y="25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Straight Connector 230"/>
            <p:cNvSpPr/>
            <p:nvPr/>
          </p:nvSpPr>
          <p:spPr>
            <a:xfrm>
              <a:off x="5510520" y="5680079"/>
              <a:ext cx="712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Freeform: Shape 95"/>
            <p:cNvSpPr/>
            <p:nvPr/>
          </p:nvSpPr>
          <p:spPr>
            <a:xfrm>
              <a:off x="5834520" y="4135320"/>
              <a:ext cx="876239" cy="1562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5" h="4340" fill="none">
                  <a:moveTo>
                    <a:pt x="1245" y="4340"/>
                  </a:moveTo>
                  <a:lnTo>
                    <a:pt x="1245" y="4080"/>
                  </a:lnTo>
                  <a:lnTo>
                    <a:pt x="0" y="4080"/>
                  </a:lnTo>
                  <a:lnTo>
                    <a:pt x="308" y="3877"/>
                  </a:lnTo>
                  <a:lnTo>
                    <a:pt x="1002" y="3877"/>
                  </a:lnTo>
                  <a:lnTo>
                    <a:pt x="1002" y="367"/>
                  </a:lnTo>
                  <a:lnTo>
                    <a:pt x="1357" y="0"/>
                  </a:lnTo>
                  <a:lnTo>
                    <a:pt x="2054" y="0"/>
                  </a:lnTo>
                  <a:lnTo>
                    <a:pt x="2435" y="243"/>
                  </a:lnTo>
                  <a:lnTo>
                    <a:pt x="2435" y="32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6335280" y="4214520"/>
              <a:ext cx="0" cy="101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6410520" y="4204440"/>
              <a:ext cx="89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Freeform: Shape 98"/>
            <p:cNvSpPr/>
            <p:nvPr/>
          </p:nvSpPr>
          <p:spPr>
            <a:xfrm>
              <a:off x="6573960" y="4135320"/>
              <a:ext cx="330840" cy="1173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0" h="3262" fill="none">
                  <a:moveTo>
                    <a:pt x="0" y="0"/>
                  </a:moveTo>
                  <a:lnTo>
                    <a:pt x="0" y="3262"/>
                  </a:lnTo>
                  <a:lnTo>
                    <a:pt x="920" y="32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6775200" y="5112360"/>
              <a:ext cx="0" cy="189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Freeform: Shape 100"/>
            <p:cNvSpPr/>
            <p:nvPr/>
          </p:nvSpPr>
          <p:spPr>
            <a:xfrm>
              <a:off x="6239880" y="5280840"/>
              <a:ext cx="137880" cy="324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4" h="903">
                  <a:moveTo>
                    <a:pt x="0" y="48"/>
                  </a:moveTo>
                  <a:lnTo>
                    <a:pt x="0" y="612"/>
                  </a:lnTo>
                  <a:lnTo>
                    <a:pt x="384" y="903"/>
                  </a:lnTo>
                  <a:lnTo>
                    <a:pt x="384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>
              <a:off x="6433920" y="5569560"/>
              <a:ext cx="300600" cy="15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Freeform: Shape 102"/>
            <p:cNvSpPr/>
            <p:nvPr/>
          </p:nvSpPr>
          <p:spPr>
            <a:xfrm>
              <a:off x="6325200" y="5683320"/>
              <a:ext cx="265680" cy="69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94">
                  <a:moveTo>
                    <a:pt x="0" y="194"/>
                  </a:moveTo>
                  <a:cubicBezTo>
                    <a:pt x="0" y="87"/>
                    <a:pt x="88" y="0"/>
                    <a:pt x="195" y="0"/>
                  </a:cubicBezTo>
                  <a:lnTo>
                    <a:pt x="545" y="0"/>
                  </a:lnTo>
                  <a:cubicBezTo>
                    <a:pt x="652" y="0"/>
                    <a:pt x="739" y="87"/>
                    <a:pt x="739" y="19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Freeform: Shape 103"/>
            <p:cNvSpPr/>
            <p:nvPr/>
          </p:nvSpPr>
          <p:spPr>
            <a:xfrm>
              <a:off x="6630120" y="5458680"/>
              <a:ext cx="653760" cy="69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17" h="195" fill="none">
                  <a:moveTo>
                    <a:pt x="194" y="0"/>
                  </a:moveTo>
                  <a:lnTo>
                    <a:pt x="0" y="195"/>
                  </a:lnTo>
                  <a:lnTo>
                    <a:pt x="1817" y="19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104"/>
            <p:cNvSpPr/>
            <p:nvPr/>
          </p:nvSpPr>
          <p:spPr>
            <a:xfrm>
              <a:off x="6915600" y="5178240"/>
              <a:ext cx="373320" cy="288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8" h="801" fill="none">
                  <a:moveTo>
                    <a:pt x="714" y="0"/>
                  </a:moveTo>
                  <a:lnTo>
                    <a:pt x="0" y="0"/>
                  </a:lnTo>
                  <a:lnTo>
                    <a:pt x="0" y="801"/>
                  </a:lnTo>
                  <a:lnTo>
                    <a:pt x="1038" y="80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Freeform: Shape 105"/>
            <p:cNvSpPr/>
            <p:nvPr/>
          </p:nvSpPr>
          <p:spPr>
            <a:xfrm>
              <a:off x="7174439" y="5074560"/>
              <a:ext cx="111600" cy="38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1" h="1070" fill="none">
                  <a:moveTo>
                    <a:pt x="0" y="1070"/>
                  </a:moveTo>
                  <a:lnTo>
                    <a:pt x="0" y="0"/>
                  </a:lnTo>
                  <a:lnTo>
                    <a:pt x="311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106"/>
            <p:cNvSpPr/>
            <p:nvPr/>
          </p:nvSpPr>
          <p:spPr>
            <a:xfrm>
              <a:off x="7403040" y="4898880"/>
              <a:ext cx="28404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0" h="214" fill="none">
                  <a:moveTo>
                    <a:pt x="0" y="209"/>
                  </a:moveTo>
                  <a:lnTo>
                    <a:pt x="0" y="0"/>
                  </a:lnTo>
                  <a:lnTo>
                    <a:pt x="790" y="0"/>
                  </a:lnTo>
                  <a:lnTo>
                    <a:pt x="790" y="2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107"/>
            <p:cNvSpPr/>
            <p:nvPr/>
          </p:nvSpPr>
          <p:spPr>
            <a:xfrm>
              <a:off x="7574760" y="4848120"/>
              <a:ext cx="49320" cy="47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8" h="133" fill="none">
                  <a:moveTo>
                    <a:pt x="0" y="133"/>
                  </a:moveTo>
                  <a:lnTo>
                    <a:pt x="0" y="0"/>
                  </a:lnTo>
                  <a:lnTo>
                    <a:pt x="138" y="0"/>
                  </a:lnTo>
                  <a:lnTo>
                    <a:pt x="138" y="12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Straight Connector 244"/>
            <p:cNvSpPr/>
            <p:nvPr/>
          </p:nvSpPr>
          <p:spPr>
            <a:xfrm>
              <a:off x="7744320" y="5073480"/>
              <a:ext cx="0" cy="412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Straight Connector 245"/>
            <p:cNvSpPr/>
            <p:nvPr/>
          </p:nvSpPr>
          <p:spPr>
            <a:xfrm>
              <a:off x="7820640" y="5380560"/>
              <a:ext cx="43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Straight Connector 246"/>
            <p:cNvSpPr/>
            <p:nvPr/>
          </p:nvSpPr>
          <p:spPr>
            <a:xfrm>
              <a:off x="8219880" y="5549040"/>
              <a:ext cx="0" cy="88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Straight Connector 247"/>
            <p:cNvSpPr/>
            <p:nvPr/>
          </p:nvSpPr>
          <p:spPr>
            <a:xfrm>
              <a:off x="8786880" y="5693400"/>
              <a:ext cx="0" cy="88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112"/>
            <p:cNvSpPr/>
            <p:nvPr/>
          </p:nvSpPr>
          <p:spPr>
            <a:xfrm>
              <a:off x="8052479" y="5644440"/>
              <a:ext cx="23004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0" h="311" fill="none">
                  <a:moveTo>
                    <a:pt x="0" y="311"/>
                  </a:moveTo>
                  <a:lnTo>
                    <a:pt x="0" y="0"/>
                  </a:lnTo>
                  <a:lnTo>
                    <a:pt x="640" y="0"/>
                  </a:lnTo>
                  <a:lnTo>
                    <a:pt x="640" y="30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113"/>
            <p:cNvSpPr/>
            <p:nvPr/>
          </p:nvSpPr>
          <p:spPr>
            <a:xfrm>
              <a:off x="7600320" y="5686200"/>
              <a:ext cx="272880" cy="83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9" h="234">
                  <a:moveTo>
                    <a:pt x="0" y="217"/>
                  </a:moveTo>
                  <a:cubicBezTo>
                    <a:pt x="0" y="99"/>
                    <a:pt x="96" y="0"/>
                    <a:pt x="217" y="0"/>
                  </a:cubicBezTo>
                  <a:lnTo>
                    <a:pt x="525" y="0"/>
                  </a:lnTo>
                  <a:cubicBezTo>
                    <a:pt x="654" y="0"/>
                    <a:pt x="759" y="104"/>
                    <a:pt x="759" y="23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Straight Connector 250"/>
            <p:cNvSpPr/>
            <p:nvPr/>
          </p:nvSpPr>
          <p:spPr>
            <a:xfrm>
              <a:off x="7081200" y="5584680"/>
              <a:ext cx="0" cy="83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Straight Connector 251"/>
            <p:cNvSpPr/>
            <p:nvPr/>
          </p:nvSpPr>
          <p:spPr>
            <a:xfrm>
              <a:off x="7151040" y="5577480"/>
              <a:ext cx="0" cy="114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Straight Connector 252"/>
            <p:cNvSpPr/>
            <p:nvPr/>
          </p:nvSpPr>
          <p:spPr>
            <a:xfrm>
              <a:off x="6996600" y="5111279"/>
              <a:ext cx="0" cy="658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117"/>
            <p:cNvSpPr/>
            <p:nvPr/>
          </p:nvSpPr>
          <p:spPr>
            <a:xfrm>
              <a:off x="8174160" y="4755600"/>
              <a:ext cx="694800" cy="6944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31" h="1930">
                  <a:moveTo>
                    <a:pt x="1931" y="965"/>
                  </a:moveTo>
                  <a:cubicBezTo>
                    <a:pt x="1931" y="1143"/>
                    <a:pt x="1890" y="1294"/>
                    <a:pt x="1801" y="1448"/>
                  </a:cubicBezTo>
                  <a:cubicBezTo>
                    <a:pt x="1712" y="1602"/>
                    <a:pt x="1602" y="1712"/>
                    <a:pt x="1448" y="1801"/>
                  </a:cubicBezTo>
                  <a:cubicBezTo>
                    <a:pt x="1294" y="1890"/>
                    <a:pt x="1142" y="1930"/>
                    <a:pt x="965" y="1930"/>
                  </a:cubicBezTo>
                  <a:cubicBezTo>
                    <a:pt x="787" y="1930"/>
                    <a:pt x="637" y="1890"/>
                    <a:pt x="483" y="1801"/>
                  </a:cubicBezTo>
                  <a:cubicBezTo>
                    <a:pt x="329" y="1712"/>
                    <a:pt x="218" y="1602"/>
                    <a:pt x="130" y="1448"/>
                  </a:cubicBezTo>
                  <a:cubicBezTo>
                    <a:pt x="41" y="1294"/>
                    <a:pt x="0" y="1142"/>
                    <a:pt x="0" y="965"/>
                  </a:cubicBezTo>
                  <a:cubicBezTo>
                    <a:pt x="0" y="787"/>
                    <a:pt x="41" y="637"/>
                    <a:pt x="130" y="483"/>
                  </a:cubicBezTo>
                  <a:cubicBezTo>
                    <a:pt x="218" y="329"/>
                    <a:pt x="329" y="217"/>
                    <a:pt x="483" y="129"/>
                  </a:cubicBezTo>
                  <a:cubicBezTo>
                    <a:pt x="637" y="40"/>
                    <a:pt x="788" y="0"/>
                    <a:pt x="965" y="0"/>
                  </a:cubicBezTo>
                  <a:cubicBezTo>
                    <a:pt x="1143" y="0"/>
                    <a:pt x="1294" y="40"/>
                    <a:pt x="1448" y="129"/>
                  </a:cubicBezTo>
                  <a:cubicBezTo>
                    <a:pt x="1602" y="217"/>
                    <a:pt x="1712" y="329"/>
                    <a:pt x="1801" y="483"/>
                  </a:cubicBezTo>
                  <a:cubicBezTo>
                    <a:pt x="1890" y="637"/>
                    <a:pt x="1931" y="788"/>
                    <a:pt x="1931" y="965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Straight Connector 254"/>
            <p:cNvSpPr/>
            <p:nvPr/>
          </p:nvSpPr>
          <p:spPr>
            <a:xfrm>
              <a:off x="8521560" y="4740480"/>
              <a:ext cx="0" cy="4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Straight Connector 255"/>
            <p:cNvSpPr/>
            <p:nvPr/>
          </p:nvSpPr>
          <p:spPr>
            <a:xfrm>
              <a:off x="8521560" y="5434200"/>
              <a:ext cx="0" cy="4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Straight Connector 256"/>
            <p:cNvSpPr/>
            <p:nvPr/>
          </p:nvSpPr>
          <p:spPr>
            <a:xfrm>
              <a:off x="8381519" y="4767839"/>
              <a:ext cx="17281" cy="424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Straight Connector 257"/>
            <p:cNvSpPr/>
            <p:nvPr/>
          </p:nvSpPr>
          <p:spPr>
            <a:xfrm>
              <a:off x="8644680" y="5409720"/>
              <a:ext cx="17280" cy="4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Straight Connector 258"/>
            <p:cNvSpPr/>
            <p:nvPr/>
          </p:nvSpPr>
          <p:spPr>
            <a:xfrm>
              <a:off x="8258399" y="4850280"/>
              <a:ext cx="32761" cy="32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Straight Connector 259"/>
            <p:cNvSpPr/>
            <p:nvPr/>
          </p:nvSpPr>
          <p:spPr>
            <a:xfrm>
              <a:off x="8752320" y="5337720"/>
              <a:ext cx="32400" cy="3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Straight Connector 260"/>
            <p:cNvSpPr/>
            <p:nvPr/>
          </p:nvSpPr>
          <p:spPr>
            <a:xfrm>
              <a:off x="8179200" y="4970880"/>
              <a:ext cx="41760" cy="16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Straight Connector 261"/>
            <p:cNvSpPr/>
            <p:nvPr/>
          </p:nvSpPr>
          <p:spPr>
            <a:xfrm>
              <a:off x="8822520" y="5232240"/>
              <a:ext cx="42480" cy="17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Straight Connector 262"/>
            <p:cNvSpPr/>
            <p:nvPr/>
          </p:nvSpPr>
          <p:spPr>
            <a:xfrm>
              <a:off x="8845920" y="5111279"/>
              <a:ext cx="45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Straight Connector 263"/>
            <p:cNvSpPr/>
            <p:nvPr/>
          </p:nvSpPr>
          <p:spPr>
            <a:xfrm>
              <a:off x="8151840" y="5111279"/>
              <a:ext cx="44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Straight Connector 264"/>
            <p:cNvSpPr/>
            <p:nvPr/>
          </p:nvSpPr>
          <p:spPr>
            <a:xfrm flipV="1">
              <a:off x="8178480" y="5232240"/>
              <a:ext cx="42480" cy="16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Straight Connector 265"/>
            <p:cNvSpPr/>
            <p:nvPr/>
          </p:nvSpPr>
          <p:spPr>
            <a:xfrm flipV="1">
              <a:off x="8822520" y="4970880"/>
              <a:ext cx="42480" cy="17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Straight Connector 266"/>
            <p:cNvSpPr/>
            <p:nvPr/>
          </p:nvSpPr>
          <p:spPr>
            <a:xfrm flipH="1">
              <a:off x="8750160" y="4847040"/>
              <a:ext cx="31680" cy="32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Straight Connector 267"/>
            <p:cNvSpPr/>
            <p:nvPr/>
          </p:nvSpPr>
          <p:spPr>
            <a:xfrm flipH="1">
              <a:off x="8261639" y="5340960"/>
              <a:ext cx="32401" cy="32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Straight Connector 268"/>
            <p:cNvSpPr/>
            <p:nvPr/>
          </p:nvSpPr>
          <p:spPr>
            <a:xfrm flipH="1">
              <a:off x="8651880" y="4770720"/>
              <a:ext cx="18000" cy="41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Straight Connector 269"/>
            <p:cNvSpPr/>
            <p:nvPr/>
          </p:nvSpPr>
          <p:spPr>
            <a:xfrm flipH="1">
              <a:off x="8373240" y="5406840"/>
              <a:ext cx="18360" cy="41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134"/>
            <p:cNvSpPr/>
            <p:nvPr/>
          </p:nvSpPr>
          <p:spPr>
            <a:xfrm>
              <a:off x="8429400" y="5096880"/>
              <a:ext cx="217800" cy="648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6" h="1801" fill="none">
                  <a:moveTo>
                    <a:pt x="606" y="1801"/>
                  </a:moveTo>
                  <a:lnTo>
                    <a:pt x="262" y="0"/>
                  </a:lnTo>
                  <a:lnTo>
                    <a:pt x="0" y="14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658769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711200" y="1797051"/>
            <a:ext cx="10820400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0" y="5530961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60566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711200" y="1602318"/>
            <a:ext cx="10820400" cy="374438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0" y="5530961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53471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883" y="1797051"/>
            <a:ext cx="11040076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910" marR="0" indent="-380910" algn="ctr" defTabSz="60945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5253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220243"/>
            <a:ext cx="4882699" cy="390115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60000"/>
              <a:buFont typeface="Arial"/>
              <a:buChar char="•"/>
              <a:defRPr sz="2667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60000"/>
              <a:buFont typeface="Arial"/>
              <a:buChar char="•"/>
              <a:defRPr sz="2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537620" indent="-152396">
              <a:buClr>
                <a:schemeClr val="tx2"/>
              </a:buClr>
              <a:buSzPct val="60000"/>
              <a:buFont typeface="Arial"/>
              <a:buChar char="•"/>
              <a:defRPr sz="2133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690016" indent="-152396">
              <a:buClr>
                <a:schemeClr val="tx2"/>
              </a:buClr>
              <a:buSzPct val="60000"/>
              <a:buFont typeface="Arial"/>
              <a:buChar char="•"/>
              <a:defRPr sz="1867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842412" indent="-152396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5"/>
            <a:ext cx="4915412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05"/>
            <a:ext cx="4757856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10427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2209800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709083"/>
            <a:ext cx="4734983" cy="5412316"/>
          </a:xfrm>
          <a:prstGeom prst="rect">
            <a:avLst/>
          </a:prstGeom>
        </p:spPr>
        <p:txBody>
          <a:bodyPr lIns="0" rIns="0" anchor="ctr" anchorCtr="0"/>
          <a:lstStyle>
            <a:lvl1pPr marL="226478" indent="-226478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304792" algn="l"/>
              </a:tabLst>
              <a:defRPr sz="3200"/>
            </a:lvl1pPr>
            <a:lvl2pPr marL="461422" indent="-228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3200"/>
            </a:lvl2pPr>
            <a:lvl3pPr marL="609585" indent="-15662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667"/>
            </a:lvl3pPr>
            <a:lvl4pPr marL="766214" indent="-15662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2400"/>
            </a:lvl4pPr>
            <a:lvl5pPr marL="992693" indent="-15028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636906" y="6322205"/>
            <a:ext cx="462238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86755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680720"/>
            <a:ext cx="5078396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680720"/>
            <a:ext cx="4734983" cy="5440680"/>
          </a:xfrm>
          <a:prstGeom prst="rect">
            <a:avLst/>
          </a:prstGeom>
        </p:spPr>
        <p:txBody>
          <a:bodyPr lIns="0" rIns="0"/>
          <a:lstStyle>
            <a:lvl1pPr marL="152396" indent="-152396">
              <a:lnSpc>
                <a:spcPct val="100000"/>
              </a:lnSpc>
              <a:buClr>
                <a:schemeClr val="tx1"/>
              </a:buClr>
              <a:buSzPct val="60000"/>
              <a:defRPr sz="2667"/>
            </a:lvl1pPr>
            <a:lvl2pPr marL="304792" indent="-152396">
              <a:lnSpc>
                <a:spcPct val="100000"/>
              </a:lnSpc>
              <a:buClr>
                <a:schemeClr val="tx1"/>
              </a:buClr>
              <a:buSzPct val="60000"/>
              <a:defRPr sz="2667"/>
            </a:lvl2pPr>
            <a:lvl3pPr marL="457189" indent="-152396">
              <a:lnSpc>
                <a:spcPct val="100000"/>
              </a:lnSpc>
              <a:buClr>
                <a:schemeClr val="tx1"/>
              </a:buClr>
              <a:buSzPct val="60000"/>
              <a:defRPr sz="2400"/>
            </a:lvl3pPr>
            <a:lvl4pPr marL="609585" indent="-165096">
              <a:lnSpc>
                <a:spcPct val="100000"/>
              </a:lnSpc>
              <a:buClr>
                <a:schemeClr val="tx1"/>
              </a:buClr>
              <a:buSzPct val="60000"/>
              <a:defRPr sz="2133"/>
            </a:lvl4pPr>
            <a:lvl5pPr marL="766214" indent="-156629">
              <a:lnSpc>
                <a:spcPct val="100000"/>
              </a:lnSpc>
              <a:buClr>
                <a:schemeClr val="tx1"/>
              </a:buClr>
              <a:buSzPct val="60000"/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689" y="2213123"/>
            <a:ext cx="5078396" cy="3908277"/>
          </a:xfrm>
          <a:prstGeom prst="rect">
            <a:avLst/>
          </a:prstGeom>
        </p:spPr>
        <p:txBody>
          <a:bodyPr/>
          <a:lstStyle>
            <a:lvl1pPr marL="152396" indent="-152396">
              <a:buClr>
                <a:schemeClr val="tx2"/>
              </a:buClr>
              <a:buSzPct val="60000"/>
              <a:defRPr lang="en-US" sz="2667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304792" indent="-152396">
              <a:buClr>
                <a:schemeClr val="tx2"/>
              </a:buClr>
              <a:buSzPct val="60000"/>
              <a:defRPr sz="2667">
                <a:solidFill>
                  <a:schemeClr val="bg1"/>
                </a:solidFill>
              </a:defRPr>
            </a:lvl2pPr>
            <a:lvl3pPr marL="457189" indent="-152396">
              <a:buClr>
                <a:schemeClr val="tx2"/>
              </a:buClr>
              <a:buSzPct val="60000"/>
              <a:defRPr sz="2400">
                <a:solidFill>
                  <a:schemeClr val="bg1"/>
                </a:solidFill>
              </a:defRPr>
            </a:lvl3pPr>
            <a:lvl4pPr marL="609585" indent="-165096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4pPr>
            <a:lvl5pPr marL="766214" indent="-156629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05"/>
            <a:ext cx="447895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01915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4" y="709084"/>
            <a:ext cx="4745567" cy="44864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6034" y="5416468"/>
            <a:ext cx="4745567" cy="7001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636906" y="6322205"/>
            <a:ext cx="3817557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00462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A664A-F2ED-B546-A5BA-BA3913BA1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54468A-98B5-8D41-B8C0-9ACF8F589C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4081F-4047-E341-B7EF-1F9B2A4FAB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1CDB5F-DE35-8C4E-86B1-C27EBF667D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D8110-A292-5241-B630-D6774E40F8D8}" type="datetimeFigureOut">
              <a:rPr lang="en-US" smtClean="0"/>
              <a:t>1/16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671E3F-2637-824F-9C2E-F6A6023DF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E92713-8BB2-164D-9035-24FA1E12A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55991-60D6-4E43-B72D-641256C7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32112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4" y="709084"/>
            <a:ext cx="4745567" cy="541231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05"/>
            <a:ext cx="4351456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0540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05"/>
            <a:ext cx="392911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8955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106790" y="0"/>
            <a:ext cx="6085209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05"/>
            <a:ext cx="4399267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33343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6034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05"/>
            <a:ext cx="4239895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60976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786034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05"/>
            <a:ext cx="454270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66834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>
            <a:spLocks noChangeAspect="1" noEditPoints="1"/>
          </p:cNvSpPr>
          <p:nvPr/>
        </p:nvSpPr>
        <p:spPr bwMode="auto">
          <a:xfrm>
            <a:off x="5017326" y="2838769"/>
            <a:ext cx="2157349" cy="114609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/>
              </a:solidFill>
            </a:endParaRPr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202603" y="5067845"/>
            <a:ext cx="11786796" cy="1621536"/>
            <a:chOff x="-5539320" y="3765960"/>
            <a:chExt cx="9964800" cy="1370880"/>
          </a:xfrm>
        </p:grpSpPr>
        <p:sp>
          <p:nvSpPr>
            <p:cNvPr id="7" name="Freeform: Shape 2"/>
            <p:cNvSpPr/>
            <p:nvPr/>
          </p:nvSpPr>
          <p:spPr>
            <a:xfrm>
              <a:off x="-777239" y="4393080"/>
              <a:ext cx="32184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-616320" y="4386240"/>
              <a:ext cx="0" cy="212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-616320" y="470736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-559080" y="4399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-681120" y="4696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-509399" y="44373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-737999" y="4663080"/>
              <a:ext cx="15119" cy="14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-477360" y="449280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-775080" y="46137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>
              <a:off x="-466560" y="4556880"/>
              <a:ext cx="21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>
              <a:off x="-787320" y="4557600"/>
              <a:ext cx="208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 flipH="1" flipV="1">
              <a:off x="-477360" y="4613760"/>
              <a:ext cx="19801" cy="7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 flipH="1" flipV="1">
              <a:off x="-775080" y="44931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-736559" y="443592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-510839" y="46641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-685079" y="4400639"/>
              <a:ext cx="8639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-555840" y="4694759"/>
              <a:ext cx="828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19"/>
            <p:cNvSpPr/>
            <p:nvPr/>
          </p:nvSpPr>
          <p:spPr>
            <a:xfrm>
              <a:off x="-667080" y="4551120"/>
              <a:ext cx="100800" cy="29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-765000" y="4831200"/>
              <a:ext cx="0" cy="10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1"/>
            <p:cNvSpPr/>
            <p:nvPr/>
          </p:nvSpPr>
          <p:spPr>
            <a:xfrm>
              <a:off x="-37548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2"/>
            <p:cNvSpPr/>
            <p:nvPr/>
          </p:nvSpPr>
          <p:spPr>
            <a:xfrm>
              <a:off x="-3441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353880" y="4683240"/>
              <a:ext cx="106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4"/>
            <p:cNvSpPr/>
            <p:nvPr/>
          </p:nvSpPr>
          <p:spPr>
            <a:xfrm>
              <a:off x="-737280" y="4592880"/>
              <a:ext cx="35532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-563400" y="4858560"/>
              <a:ext cx="170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6"/>
            <p:cNvSpPr/>
            <p:nvPr/>
          </p:nvSpPr>
          <p:spPr>
            <a:xfrm>
              <a:off x="314280" y="4592880"/>
              <a:ext cx="35496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 flipH="1">
              <a:off x="325080" y="4858560"/>
              <a:ext cx="171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723959" y="4946040"/>
              <a:ext cx="20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-225720" y="46026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-225720" y="46278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-225720" y="46756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-225720" y="484632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-225720" y="48952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4"/>
            <p:cNvSpPr/>
            <p:nvPr/>
          </p:nvSpPr>
          <p:spPr>
            <a:xfrm>
              <a:off x="-37872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5"/>
            <p:cNvSpPr/>
            <p:nvPr/>
          </p:nvSpPr>
          <p:spPr>
            <a:xfrm>
              <a:off x="-25776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6"/>
            <p:cNvSpPr/>
            <p:nvPr/>
          </p:nvSpPr>
          <p:spPr>
            <a:xfrm>
              <a:off x="-35460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7"/>
            <p:cNvSpPr/>
            <p:nvPr/>
          </p:nvSpPr>
          <p:spPr>
            <a:xfrm>
              <a:off x="-31464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38"/>
            <p:cNvSpPr/>
            <p:nvPr/>
          </p:nvSpPr>
          <p:spPr>
            <a:xfrm>
              <a:off x="15804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39"/>
            <p:cNvSpPr/>
            <p:nvPr/>
          </p:nvSpPr>
          <p:spPr>
            <a:xfrm>
              <a:off x="1893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179280" y="4683240"/>
              <a:ext cx="107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1"/>
            <p:cNvSpPr/>
            <p:nvPr/>
          </p:nvSpPr>
          <p:spPr>
            <a:xfrm>
              <a:off x="15480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2"/>
            <p:cNvSpPr/>
            <p:nvPr/>
          </p:nvSpPr>
          <p:spPr>
            <a:xfrm>
              <a:off x="27540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3"/>
            <p:cNvSpPr/>
            <p:nvPr/>
          </p:nvSpPr>
          <p:spPr>
            <a:xfrm>
              <a:off x="17856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44"/>
            <p:cNvSpPr/>
            <p:nvPr/>
          </p:nvSpPr>
          <p:spPr>
            <a:xfrm>
              <a:off x="1934639" y="4760280"/>
              <a:ext cx="25668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5"/>
            <p:cNvSpPr/>
            <p:nvPr/>
          </p:nvSpPr>
          <p:spPr>
            <a:xfrm>
              <a:off x="21888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-419760" y="4946040"/>
              <a:ext cx="748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-309960" y="4977720"/>
              <a:ext cx="0" cy="5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-252000" y="4975200"/>
              <a:ext cx="429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-122400" y="5016960"/>
              <a:ext cx="15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-78480" y="50436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734119" y="5067000"/>
              <a:ext cx="156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1778040" y="50940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1966680" y="5038920"/>
              <a:ext cx="377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321480" y="4970160"/>
              <a:ext cx="0" cy="75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 flipH="1">
              <a:off x="344880" y="4979880"/>
              <a:ext cx="34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 flipV="1">
              <a:off x="344880" y="4865040"/>
              <a:ext cx="0" cy="431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7"/>
            <p:cNvSpPr/>
            <p:nvPr/>
          </p:nvSpPr>
          <p:spPr>
            <a:xfrm>
              <a:off x="382680" y="4920480"/>
              <a:ext cx="286560" cy="39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58"/>
            <p:cNvSpPr/>
            <p:nvPr/>
          </p:nvSpPr>
          <p:spPr>
            <a:xfrm>
              <a:off x="473760" y="4308120"/>
              <a:ext cx="79200" cy="556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Freeform: Shape 59"/>
            <p:cNvSpPr/>
            <p:nvPr/>
          </p:nvSpPr>
          <p:spPr>
            <a:xfrm>
              <a:off x="523079" y="4191479"/>
              <a:ext cx="269640" cy="69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0"/>
            <p:cNvSpPr/>
            <p:nvPr/>
          </p:nvSpPr>
          <p:spPr>
            <a:xfrm>
              <a:off x="553320" y="4240440"/>
              <a:ext cx="99000" cy="624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673560" y="463968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686160" y="4679280"/>
              <a:ext cx="0" cy="2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3"/>
            <p:cNvSpPr/>
            <p:nvPr/>
          </p:nvSpPr>
          <p:spPr>
            <a:xfrm>
              <a:off x="721080" y="4161240"/>
              <a:ext cx="72000" cy="68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4"/>
            <p:cNvSpPr/>
            <p:nvPr/>
          </p:nvSpPr>
          <p:spPr>
            <a:xfrm>
              <a:off x="793440" y="3839400"/>
              <a:ext cx="105840" cy="1087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813960" y="4029480"/>
              <a:ext cx="0" cy="898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66"/>
            <p:cNvSpPr/>
            <p:nvPr/>
          </p:nvSpPr>
          <p:spPr>
            <a:xfrm>
              <a:off x="793440" y="4106520"/>
              <a:ext cx="152640" cy="82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7"/>
            <p:cNvSpPr/>
            <p:nvPr/>
          </p:nvSpPr>
          <p:spPr>
            <a:xfrm>
              <a:off x="899639" y="4081320"/>
              <a:ext cx="10692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939240" y="4200120"/>
              <a:ext cx="0" cy="55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Freeform: Shape 69"/>
            <p:cNvSpPr/>
            <p:nvPr/>
          </p:nvSpPr>
          <p:spPr>
            <a:xfrm>
              <a:off x="897119" y="4787640"/>
              <a:ext cx="377280" cy="13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779760" y="4958280"/>
              <a:ext cx="185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762480" y="4970160"/>
              <a:ext cx="0" cy="56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021679" y="4606560"/>
              <a:ext cx="748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1042919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1065600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5"/>
            <p:cNvSpPr/>
            <p:nvPr/>
          </p:nvSpPr>
          <p:spPr>
            <a:xfrm>
              <a:off x="1042919" y="4679280"/>
              <a:ext cx="38160" cy="8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6"/>
            <p:cNvSpPr/>
            <p:nvPr/>
          </p:nvSpPr>
          <p:spPr>
            <a:xfrm>
              <a:off x="934199" y="4899960"/>
              <a:ext cx="72720" cy="2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Freeform: Shape 77"/>
            <p:cNvSpPr/>
            <p:nvPr/>
          </p:nvSpPr>
          <p:spPr>
            <a:xfrm>
              <a:off x="1074600" y="4926240"/>
              <a:ext cx="168840" cy="41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Freeform: Shape 78"/>
            <p:cNvSpPr/>
            <p:nvPr/>
          </p:nvSpPr>
          <p:spPr>
            <a:xfrm>
              <a:off x="741600" y="4759200"/>
              <a:ext cx="51480" cy="85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36200" y="43902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36200" y="44190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36200" y="44478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36200" y="4476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36200" y="45050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36200" y="4533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36200" y="4562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36200" y="45914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36200" y="4620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36200" y="46494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736200" y="4677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736200" y="4706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974160" y="4316760"/>
              <a:ext cx="32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1169640" y="4992480"/>
              <a:ext cx="207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1305000" y="4922640"/>
              <a:ext cx="250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4"/>
            <p:cNvSpPr/>
            <p:nvPr/>
          </p:nvSpPr>
          <p:spPr>
            <a:xfrm>
              <a:off x="1096560" y="4136760"/>
              <a:ext cx="285480" cy="740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5"/>
            <p:cNvSpPr/>
            <p:nvPr/>
          </p:nvSpPr>
          <p:spPr>
            <a:xfrm>
              <a:off x="1348920" y="4669560"/>
              <a:ext cx="316440" cy="212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1428120" y="4977720"/>
              <a:ext cx="51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97"/>
            <p:cNvSpPr/>
            <p:nvPr/>
          </p:nvSpPr>
          <p:spPr>
            <a:xfrm>
              <a:off x="1352520" y="4721760"/>
              <a:ext cx="54000" cy="17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98"/>
            <p:cNvSpPr/>
            <p:nvPr/>
          </p:nvSpPr>
          <p:spPr>
            <a:xfrm>
              <a:off x="1435320" y="4842720"/>
              <a:ext cx="10476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377359" y="4548239"/>
              <a:ext cx="0" cy="31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0"/>
            <p:cNvSpPr/>
            <p:nvPr/>
          </p:nvSpPr>
          <p:spPr>
            <a:xfrm>
              <a:off x="1396439" y="4129200"/>
              <a:ext cx="240480" cy="694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1"/>
            <p:cNvSpPr/>
            <p:nvPr/>
          </p:nvSpPr>
          <p:spPr>
            <a:xfrm>
              <a:off x="1485359" y="4201560"/>
              <a:ext cx="99360" cy="11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2"/>
            <p:cNvSpPr/>
            <p:nvPr/>
          </p:nvSpPr>
          <p:spPr>
            <a:xfrm>
              <a:off x="1468800" y="42796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3"/>
            <p:cNvSpPr/>
            <p:nvPr/>
          </p:nvSpPr>
          <p:spPr>
            <a:xfrm>
              <a:off x="1452240" y="4358520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4"/>
            <p:cNvSpPr/>
            <p:nvPr/>
          </p:nvSpPr>
          <p:spPr>
            <a:xfrm>
              <a:off x="1435320" y="4435920"/>
              <a:ext cx="17532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5"/>
            <p:cNvSpPr/>
            <p:nvPr/>
          </p:nvSpPr>
          <p:spPr>
            <a:xfrm>
              <a:off x="1418760" y="4515480"/>
              <a:ext cx="194400" cy="21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6"/>
            <p:cNvSpPr/>
            <p:nvPr/>
          </p:nvSpPr>
          <p:spPr>
            <a:xfrm>
              <a:off x="1449719" y="4208760"/>
              <a:ext cx="9972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7"/>
            <p:cNvSpPr/>
            <p:nvPr/>
          </p:nvSpPr>
          <p:spPr>
            <a:xfrm>
              <a:off x="1438559" y="42868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8"/>
            <p:cNvSpPr/>
            <p:nvPr/>
          </p:nvSpPr>
          <p:spPr>
            <a:xfrm>
              <a:off x="1432800" y="4366079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9"/>
            <p:cNvSpPr/>
            <p:nvPr/>
          </p:nvSpPr>
          <p:spPr>
            <a:xfrm>
              <a:off x="1424159" y="4443120"/>
              <a:ext cx="17496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0"/>
            <p:cNvSpPr/>
            <p:nvPr/>
          </p:nvSpPr>
          <p:spPr>
            <a:xfrm>
              <a:off x="1510199" y="4523040"/>
              <a:ext cx="105480" cy="14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1"/>
            <p:cNvSpPr/>
            <p:nvPr/>
          </p:nvSpPr>
          <p:spPr>
            <a:xfrm>
              <a:off x="1690919" y="4317120"/>
              <a:ext cx="233280" cy="55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12"/>
            <p:cNvSpPr/>
            <p:nvPr/>
          </p:nvSpPr>
          <p:spPr>
            <a:xfrm>
              <a:off x="1654919" y="4283280"/>
              <a:ext cx="54000" cy="585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13"/>
            <p:cNvSpPr/>
            <p:nvPr/>
          </p:nvSpPr>
          <p:spPr>
            <a:xfrm>
              <a:off x="1689479" y="4257720"/>
              <a:ext cx="252360" cy="51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1715039" y="4365000"/>
              <a:ext cx="188641" cy="10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1716480" y="4392720"/>
              <a:ext cx="18576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1718280" y="4420440"/>
              <a:ext cx="18252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1720080" y="4448160"/>
              <a:ext cx="179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1721880" y="4475520"/>
              <a:ext cx="17640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1723680" y="4503240"/>
              <a:ext cx="17316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1725480" y="4530960"/>
              <a:ext cx="170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1727280" y="4558680"/>
              <a:ext cx="1666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1728719" y="4586399"/>
              <a:ext cx="16380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1730519" y="4614120"/>
              <a:ext cx="16092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1732319" y="4641840"/>
              <a:ext cx="157681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734119" y="4669560"/>
              <a:ext cx="1548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1735919" y="4697279"/>
              <a:ext cx="151561" cy="3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737719" y="4725000"/>
              <a:ext cx="1483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739160" y="4752720"/>
              <a:ext cx="145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740960" y="4780440"/>
              <a:ext cx="142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742760" y="4808160"/>
              <a:ext cx="139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744560" y="4835880"/>
              <a:ext cx="136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745999" y="4863600"/>
              <a:ext cx="133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628999" y="4732560"/>
              <a:ext cx="39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646640" y="4785120"/>
              <a:ext cx="0" cy="57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1704240" y="4898160"/>
              <a:ext cx="153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1907280" y="4919400"/>
              <a:ext cx="46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2045880" y="4927680"/>
              <a:ext cx="0" cy="82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2111760" y="4963320"/>
              <a:ext cx="6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2116800" y="4997160"/>
              <a:ext cx="5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1916639" y="4771440"/>
              <a:ext cx="8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2136240" y="4767839"/>
              <a:ext cx="51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2167920" y="4729319"/>
              <a:ext cx="0" cy="38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2180160" y="4842720"/>
              <a:ext cx="0" cy="69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1990079" y="4697279"/>
              <a:ext cx="0" cy="486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01420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2038679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206316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208764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211176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2136240" y="4698360"/>
              <a:ext cx="0" cy="47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9713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21567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1979640" y="467280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Freeform: Shape 154"/>
            <p:cNvSpPr/>
            <p:nvPr/>
          </p:nvSpPr>
          <p:spPr>
            <a:xfrm>
              <a:off x="1982160" y="4551480"/>
              <a:ext cx="160920" cy="96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2045880" y="4528440"/>
              <a:ext cx="34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2052000" y="4505760"/>
              <a:ext cx="24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2064240" y="44319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2031480" y="4878720"/>
              <a:ext cx="644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2223360" y="4723559"/>
              <a:ext cx="72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221004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230508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2214719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223704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225900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228096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230292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Freeform: Shape 167"/>
            <p:cNvSpPr/>
            <p:nvPr/>
          </p:nvSpPr>
          <p:spPr>
            <a:xfrm>
              <a:off x="2206440" y="4525560"/>
              <a:ext cx="99720" cy="85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Freeform: Shape 168"/>
            <p:cNvSpPr/>
            <p:nvPr/>
          </p:nvSpPr>
          <p:spPr>
            <a:xfrm>
              <a:off x="2235960" y="4650120"/>
              <a:ext cx="43920" cy="43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2231640" y="46033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2231640" y="462060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232360" y="4569840"/>
              <a:ext cx="47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Freeform: Shape 172"/>
            <p:cNvSpPr/>
            <p:nvPr/>
          </p:nvSpPr>
          <p:spPr>
            <a:xfrm>
              <a:off x="2232360" y="4487760"/>
              <a:ext cx="4716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2257200" y="4539600"/>
              <a:ext cx="0" cy="20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 flipV="1">
              <a:off x="2256480" y="4451760"/>
              <a:ext cx="0" cy="3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2345039" y="4777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2319120" y="48589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2247480" y="4997160"/>
              <a:ext cx="414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Freeform: Shape 178"/>
            <p:cNvSpPr/>
            <p:nvPr/>
          </p:nvSpPr>
          <p:spPr>
            <a:xfrm>
              <a:off x="2357280" y="3765960"/>
              <a:ext cx="304200" cy="1213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2508841" y="3855598"/>
              <a:ext cx="123081" cy="11160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2644560" y="4823280"/>
              <a:ext cx="121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26935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33721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856960" y="4997160"/>
              <a:ext cx="250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905560" y="5026680"/>
              <a:ext cx="7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657880" y="467316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2809800" y="4673160"/>
              <a:ext cx="141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72448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Freeform: Shape 188"/>
            <p:cNvSpPr/>
            <p:nvPr/>
          </p:nvSpPr>
          <p:spPr>
            <a:xfrm>
              <a:off x="2809800" y="4582440"/>
              <a:ext cx="333720" cy="30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76588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276588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700000" y="4565160"/>
              <a:ext cx="13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Freeform: Shape 192"/>
            <p:cNvSpPr/>
            <p:nvPr/>
          </p:nvSpPr>
          <p:spPr>
            <a:xfrm>
              <a:off x="2710800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76696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Freeform: Shape 194"/>
            <p:cNvSpPr/>
            <p:nvPr/>
          </p:nvSpPr>
          <p:spPr>
            <a:xfrm>
              <a:off x="3039120" y="4673160"/>
              <a:ext cx="4114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95380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303912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99556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299556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2929679" y="4565160"/>
              <a:ext cx="13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0"/>
            <p:cNvSpPr/>
            <p:nvPr/>
          </p:nvSpPr>
          <p:spPr>
            <a:xfrm>
              <a:off x="2940479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299664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2"/>
            <p:cNvSpPr/>
            <p:nvPr/>
          </p:nvSpPr>
          <p:spPr>
            <a:xfrm>
              <a:off x="306432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3"/>
            <p:cNvSpPr/>
            <p:nvPr/>
          </p:nvSpPr>
          <p:spPr>
            <a:xfrm>
              <a:off x="315144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4"/>
            <p:cNvSpPr/>
            <p:nvPr/>
          </p:nvSpPr>
          <p:spPr>
            <a:xfrm>
              <a:off x="323856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5"/>
            <p:cNvSpPr/>
            <p:nvPr/>
          </p:nvSpPr>
          <p:spPr>
            <a:xfrm>
              <a:off x="3325679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206"/>
            <p:cNvSpPr/>
            <p:nvPr/>
          </p:nvSpPr>
          <p:spPr>
            <a:xfrm>
              <a:off x="271404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7"/>
            <p:cNvSpPr/>
            <p:nvPr/>
          </p:nvSpPr>
          <p:spPr>
            <a:xfrm>
              <a:off x="2940120" y="4930200"/>
              <a:ext cx="18864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Freeform: Shape 208"/>
            <p:cNvSpPr/>
            <p:nvPr/>
          </p:nvSpPr>
          <p:spPr>
            <a:xfrm>
              <a:off x="316620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506039" y="4715280"/>
              <a:ext cx="5212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3629160" y="4756680"/>
              <a:ext cx="274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3711960" y="4797360"/>
              <a:ext cx="10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12"/>
            <p:cNvSpPr/>
            <p:nvPr/>
          </p:nvSpPr>
          <p:spPr>
            <a:xfrm>
              <a:off x="4082040" y="4701600"/>
              <a:ext cx="54720" cy="136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4082040" y="4852440"/>
              <a:ext cx="41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14"/>
            <p:cNvSpPr/>
            <p:nvPr/>
          </p:nvSpPr>
          <p:spPr>
            <a:xfrm>
              <a:off x="3835440" y="4838760"/>
              <a:ext cx="95400" cy="19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835440" y="5044320"/>
              <a:ext cx="5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3506039" y="4866120"/>
              <a:ext cx="10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409920" y="4618440"/>
              <a:ext cx="0" cy="55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4205880" y="4715280"/>
              <a:ext cx="219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-5216400" y="4862160"/>
              <a:ext cx="19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-5132520" y="4893480"/>
              <a:ext cx="0" cy="11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-4992480" y="4796640"/>
              <a:ext cx="535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-4873320" y="483912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-4781520" y="4879440"/>
              <a:ext cx="106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-4398840" y="4768559"/>
              <a:ext cx="0" cy="32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-4361040" y="4801320"/>
              <a:ext cx="35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6"/>
            <p:cNvSpPr/>
            <p:nvPr/>
          </p:nvSpPr>
          <p:spPr>
            <a:xfrm>
              <a:off x="-4316040" y="4453920"/>
              <a:ext cx="516599" cy="330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Freeform: Shape 227"/>
            <p:cNvSpPr/>
            <p:nvPr/>
          </p:nvSpPr>
          <p:spPr>
            <a:xfrm>
              <a:off x="-3766320" y="4149360"/>
              <a:ext cx="319680" cy="67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Freeform: Shape 228"/>
            <p:cNvSpPr/>
            <p:nvPr/>
          </p:nvSpPr>
          <p:spPr>
            <a:xfrm>
              <a:off x="-3577320" y="4686480"/>
              <a:ext cx="262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-3409920" y="4643280"/>
              <a:ext cx="7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-3385440" y="459504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-3625560" y="4035240"/>
              <a:ext cx="39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-3654360" y="4070160"/>
              <a:ext cx="97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Freeform: Shape 233"/>
            <p:cNvSpPr/>
            <p:nvPr/>
          </p:nvSpPr>
          <p:spPr>
            <a:xfrm>
              <a:off x="-3675959" y="4097160"/>
              <a:ext cx="142920" cy="5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-3684600" y="4907520"/>
              <a:ext cx="186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-3395520" y="4727159"/>
              <a:ext cx="0" cy="158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 flipV="1">
              <a:off x="-3260880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-3137039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38"/>
            <p:cNvSpPr/>
            <p:nvPr/>
          </p:nvSpPr>
          <p:spPr>
            <a:xfrm>
              <a:off x="-3254759" y="4184639"/>
              <a:ext cx="110160" cy="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 flipV="1">
              <a:off x="-3198960" y="4076640"/>
              <a:ext cx="0" cy="107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0"/>
            <p:cNvSpPr/>
            <p:nvPr/>
          </p:nvSpPr>
          <p:spPr>
            <a:xfrm>
              <a:off x="-3226680" y="4241520"/>
              <a:ext cx="547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1"/>
            <p:cNvSpPr/>
            <p:nvPr/>
          </p:nvSpPr>
          <p:spPr>
            <a:xfrm>
              <a:off x="-3241080" y="4300560"/>
              <a:ext cx="82080" cy="1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2"/>
            <p:cNvSpPr/>
            <p:nvPr/>
          </p:nvSpPr>
          <p:spPr>
            <a:xfrm>
              <a:off x="-3244320" y="43383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3"/>
            <p:cNvSpPr/>
            <p:nvPr/>
          </p:nvSpPr>
          <p:spPr>
            <a:xfrm>
              <a:off x="-3244320" y="436823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4"/>
            <p:cNvSpPr/>
            <p:nvPr/>
          </p:nvSpPr>
          <p:spPr>
            <a:xfrm>
              <a:off x="-3244320" y="43977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5"/>
            <p:cNvSpPr/>
            <p:nvPr/>
          </p:nvSpPr>
          <p:spPr>
            <a:xfrm>
              <a:off x="-3244320" y="442727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6"/>
            <p:cNvSpPr/>
            <p:nvPr/>
          </p:nvSpPr>
          <p:spPr>
            <a:xfrm>
              <a:off x="-3244320" y="445680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7"/>
            <p:cNvSpPr/>
            <p:nvPr/>
          </p:nvSpPr>
          <p:spPr>
            <a:xfrm>
              <a:off x="-3244320" y="44863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48"/>
            <p:cNvSpPr/>
            <p:nvPr/>
          </p:nvSpPr>
          <p:spPr>
            <a:xfrm>
              <a:off x="-3244320" y="45158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49"/>
            <p:cNvSpPr/>
            <p:nvPr/>
          </p:nvSpPr>
          <p:spPr>
            <a:xfrm>
              <a:off x="-3244320" y="45457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0"/>
            <p:cNvSpPr/>
            <p:nvPr/>
          </p:nvSpPr>
          <p:spPr>
            <a:xfrm>
              <a:off x="-3244320" y="45752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1"/>
            <p:cNvSpPr/>
            <p:nvPr/>
          </p:nvSpPr>
          <p:spPr>
            <a:xfrm>
              <a:off x="-3244320" y="460475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2"/>
            <p:cNvSpPr/>
            <p:nvPr/>
          </p:nvSpPr>
          <p:spPr>
            <a:xfrm>
              <a:off x="-3244320" y="46346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3"/>
            <p:cNvSpPr/>
            <p:nvPr/>
          </p:nvSpPr>
          <p:spPr>
            <a:xfrm>
              <a:off x="-3244320" y="46645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4"/>
            <p:cNvSpPr/>
            <p:nvPr/>
          </p:nvSpPr>
          <p:spPr>
            <a:xfrm>
              <a:off x="-3244320" y="46940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5"/>
            <p:cNvSpPr/>
            <p:nvPr/>
          </p:nvSpPr>
          <p:spPr>
            <a:xfrm>
              <a:off x="-3121200" y="44125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6"/>
            <p:cNvSpPr/>
            <p:nvPr/>
          </p:nvSpPr>
          <p:spPr>
            <a:xfrm>
              <a:off x="-3121200" y="44326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7"/>
            <p:cNvSpPr/>
            <p:nvPr/>
          </p:nvSpPr>
          <p:spPr>
            <a:xfrm>
              <a:off x="-3121200" y="44524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58"/>
            <p:cNvSpPr/>
            <p:nvPr/>
          </p:nvSpPr>
          <p:spPr>
            <a:xfrm>
              <a:off x="-3121200" y="4472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59"/>
            <p:cNvSpPr/>
            <p:nvPr/>
          </p:nvSpPr>
          <p:spPr>
            <a:xfrm>
              <a:off x="-3121200" y="44928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0"/>
            <p:cNvSpPr/>
            <p:nvPr/>
          </p:nvSpPr>
          <p:spPr>
            <a:xfrm>
              <a:off x="-3121200" y="45129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1"/>
            <p:cNvSpPr/>
            <p:nvPr/>
          </p:nvSpPr>
          <p:spPr>
            <a:xfrm>
              <a:off x="-3121200" y="45331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2"/>
            <p:cNvSpPr/>
            <p:nvPr/>
          </p:nvSpPr>
          <p:spPr>
            <a:xfrm>
              <a:off x="-3121200" y="4553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3"/>
            <p:cNvSpPr/>
            <p:nvPr/>
          </p:nvSpPr>
          <p:spPr>
            <a:xfrm>
              <a:off x="-3121200" y="45734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4"/>
            <p:cNvSpPr/>
            <p:nvPr/>
          </p:nvSpPr>
          <p:spPr>
            <a:xfrm>
              <a:off x="-3121200" y="45936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5"/>
            <p:cNvSpPr/>
            <p:nvPr/>
          </p:nvSpPr>
          <p:spPr>
            <a:xfrm>
              <a:off x="-3121200" y="46137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6"/>
            <p:cNvSpPr/>
            <p:nvPr/>
          </p:nvSpPr>
          <p:spPr>
            <a:xfrm>
              <a:off x="-3121200" y="46339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7"/>
            <p:cNvSpPr/>
            <p:nvPr/>
          </p:nvSpPr>
          <p:spPr>
            <a:xfrm>
              <a:off x="-3121200" y="46540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Freeform: Shape 268"/>
            <p:cNvSpPr/>
            <p:nvPr/>
          </p:nvSpPr>
          <p:spPr>
            <a:xfrm>
              <a:off x="-3121200" y="46742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69"/>
            <p:cNvSpPr/>
            <p:nvPr/>
          </p:nvSpPr>
          <p:spPr>
            <a:xfrm>
              <a:off x="-3121200" y="4694759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-2967839" y="4408200"/>
              <a:ext cx="0" cy="29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Freeform: Shape 271"/>
            <p:cNvSpPr/>
            <p:nvPr/>
          </p:nvSpPr>
          <p:spPr>
            <a:xfrm>
              <a:off x="-3223800" y="4715640"/>
              <a:ext cx="615240" cy="10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Freeform: Shape 272"/>
            <p:cNvSpPr/>
            <p:nvPr/>
          </p:nvSpPr>
          <p:spPr>
            <a:xfrm>
              <a:off x="-2857680" y="4826160"/>
              <a:ext cx="456119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-329652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-327960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5"/>
            <p:cNvSpPr/>
            <p:nvPr/>
          </p:nvSpPr>
          <p:spPr>
            <a:xfrm>
              <a:off x="-3272400" y="4766040"/>
              <a:ext cx="17928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6"/>
            <p:cNvSpPr/>
            <p:nvPr/>
          </p:nvSpPr>
          <p:spPr>
            <a:xfrm>
              <a:off x="-3244320" y="4791240"/>
              <a:ext cx="97200" cy="2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7"/>
            <p:cNvSpPr/>
            <p:nvPr/>
          </p:nvSpPr>
          <p:spPr>
            <a:xfrm>
              <a:off x="-3013560" y="4733279"/>
              <a:ext cx="13824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78"/>
            <p:cNvSpPr/>
            <p:nvPr/>
          </p:nvSpPr>
          <p:spPr>
            <a:xfrm>
              <a:off x="-2806920" y="4721760"/>
              <a:ext cx="8388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79"/>
            <p:cNvSpPr/>
            <p:nvPr/>
          </p:nvSpPr>
          <p:spPr>
            <a:xfrm>
              <a:off x="-2592360" y="4716000"/>
              <a:ext cx="77760" cy="52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0"/>
            <p:cNvSpPr/>
            <p:nvPr/>
          </p:nvSpPr>
          <p:spPr>
            <a:xfrm>
              <a:off x="-2577240" y="4798080"/>
              <a:ext cx="29520" cy="50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1"/>
            <p:cNvSpPr/>
            <p:nvPr/>
          </p:nvSpPr>
          <p:spPr>
            <a:xfrm>
              <a:off x="-2904480" y="4563000"/>
              <a:ext cx="56880" cy="1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2"/>
            <p:cNvSpPr/>
            <p:nvPr/>
          </p:nvSpPr>
          <p:spPr>
            <a:xfrm>
              <a:off x="-2922479" y="4545720"/>
              <a:ext cx="129240" cy="15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3"/>
            <p:cNvSpPr/>
            <p:nvPr/>
          </p:nvSpPr>
          <p:spPr>
            <a:xfrm>
              <a:off x="-3839400" y="4632120"/>
              <a:ext cx="39960" cy="5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4"/>
            <p:cNvSpPr/>
            <p:nvPr/>
          </p:nvSpPr>
          <p:spPr>
            <a:xfrm>
              <a:off x="-3866039" y="4824360"/>
              <a:ext cx="69840" cy="23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5"/>
            <p:cNvSpPr/>
            <p:nvPr/>
          </p:nvSpPr>
          <p:spPr>
            <a:xfrm>
              <a:off x="-1710720" y="4671000"/>
              <a:ext cx="32400" cy="59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Freeform: Shape 286"/>
            <p:cNvSpPr/>
            <p:nvPr/>
          </p:nvSpPr>
          <p:spPr>
            <a:xfrm>
              <a:off x="-1661759" y="4772520"/>
              <a:ext cx="56160" cy="21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Freeform: Shape 287"/>
            <p:cNvSpPr/>
            <p:nvPr/>
          </p:nvSpPr>
          <p:spPr>
            <a:xfrm>
              <a:off x="-1556279" y="4707360"/>
              <a:ext cx="1512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-3120120" y="433620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-3120120" y="436068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-3120120" y="438552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-3106079" y="429048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-27385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-271764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-26967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-2675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-265500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-26341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-2612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-25923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Straight Connector 304"/>
            <p:cNvSpPr/>
            <p:nvPr/>
          </p:nvSpPr>
          <p:spPr>
            <a:xfrm>
              <a:off x="-190152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-174564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Freeform: Shape 302"/>
            <p:cNvSpPr/>
            <p:nvPr/>
          </p:nvSpPr>
          <p:spPr>
            <a:xfrm>
              <a:off x="-2757960" y="4209840"/>
              <a:ext cx="182520" cy="50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-2769480" y="4182479"/>
              <a:ext cx="208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-2526480" y="4595040"/>
              <a:ext cx="0" cy="51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-2555640" y="4651560"/>
              <a:ext cx="58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-2212560" y="4663800"/>
              <a:ext cx="10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-2124720" y="4632120"/>
              <a:ext cx="0" cy="29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-2022840" y="4656600"/>
              <a:ext cx="109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-1966680" y="4598640"/>
              <a:ext cx="0" cy="42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-1980360" y="4830480"/>
              <a:ext cx="0" cy="80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-1877760" y="4881960"/>
              <a:ext cx="175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-1885680" y="479412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-1885680" y="464364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-1885680" y="449676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-18665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-18377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-18089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-1780560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-18665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-18377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-18089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-1780560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-18665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-18377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Straight Connector 329"/>
            <p:cNvSpPr/>
            <p:nvPr/>
          </p:nvSpPr>
          <p:spPr>
            <a:xfrm>
              <a:off x="-18089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Straight Connector 330"/>
            <p:cNvSpPr/>
            <p:nvPr/>
          </p:nvSpPr>
          <p:spPr>
            <a:xfrm>
              <a:off x="-1780560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7"/>
            <p:cNvSpPr/>
            <p:nvPr/>
          </p:nvSpPr>
          <p:spPr>
            <a:xfrm>
              <a:off x="-1891800" y="4267800"/>
              <a:ext cx="136080" cy="7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28"/>
            <p:cNvSpPr/>
            <p:nvPr/>
          </p:nvSpPr>
          <p:spPr>
            <a:xfrm>
              <a:off x="-3009240" y="4879440"/>
              <a:ext cx="981000" cy="39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29"/>
            <p:cNvSpPr/>
            <p:nvPr/>
          </p:nvSpPr>
          <p:spPr>
            <a:xfrm>
              <a:off x="-2525400" y="4731480"/>
              <a:ext cx="414720" cy="110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0"/>
            <p:cNvSpPr/>
            <p:nvPr/>
          </p:nvSpPr>
          <p:spPr>
            <a:xfrm>
              <a:off x="-2084040" y="4683240"/>
              <a:ext cx="5580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Freeform: Shape 331"/>
            <p:cNvSpPr/>
            <p:nvPr/>
          </p:nvSpPr>
          <p:spPr>
            <a:xfrm>
              <a:off x="-2032560" y="4742280"/>
              <a:ext cx="95760" cy="3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Freeform: Shape 332"/>
            <p:cNvSpPr/>
            <p:nvPr/>
          </p:nvSpPr>
          <p:spPr>
            <a:xfrm>
              <a:off x="-1643039" y="4342320"/>
              <a:ext cx="252000" cy="368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-1589040" y="4842720"/>
              <a:ext cx="80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Straight Connector 338"/>
            <p:cNvSpPr/>
            <p:nvPr/>
          </p:nvSpPr>
          <p:spPr>
            <a:xfrm>
              <a:off x="-1377000" y="4817160"/>
              <a:ext cx="312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-1046520" y="4794120"/>
              <a:ext cx="0" cy="1094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Freeform: Shape 336"/>
            <p:cNvSpPr/>
            <p:nvPr/>
          </p:nvSpPr>
          <p:spPr>
            <a:xfrm>
              <a:off x="-1307519" y="4671000"/>
              <a:ext cx="417240" cy="17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Straight Connector 341"/>
            <p:cNvSpPr/>
            <p:nvPr/>
          </p:nvSpPr>
          <p:spPr>
            <a:xfrm>
              <a:off x="-1122120" y="4694040"/>
              <a:ext cx="0" cy="3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-1715400" y="4609800"/>
              <a:ext cx="0" cy="2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Freeform: Shape 339"/>
            <p:cNvSpPr/>
            <p:nvPr/>
          </p:nvSpPr>
          <p:spPr>
            <a:xfrm>
              <a:off x="-1364760" y="4393800"/>
              <a:ext cx="32760" cy="33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Straight Connector 344"/>
            <p:cNvSpPr/>
            <p:nvPr/>
          </p:nvSpPr>
          <p:spPr>
            <a:xfrm>
              <a:off x="-3700440" y="499860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Straight Connector 345"/>
            <p:cNvSpPr/>
            <p:nvPr/>
          </p:nvSpPr>
          <p:spPr>
            <a:xfrm>
              <a:off x="-2594520" y="5011200"/>
              <a:ext cx="0" cy="64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Freeform: Shape 342"/>
            <p:cNvSpPr/>
            <p:nvPr/>
          </p:nvSpPr>
          <p:spPr>
            <a:xfrm>
              <a:off x="-4553279" y="4837680"/>
              <a:ext cx="367308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Freeform: Shape 343"/>
            <p:cNvSpPr/>
            <p:nvPr/>
          </p:nvSpPr>
          <p:spPr>
            <a:xfrm>
              <a:off x="-4382640" y="4862160"/>
              <a:ext cx="47844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-4212720" y="4979160"/>
              <a:ext cx="323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-4090320" y="502452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-3622320" y="4978080"/>
              <a:ext cx="148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-2055960" y="4992840"/>
              <a:ext cx="295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-1899720" y="5032800"/>
              <a:ext cx="149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Straight Connector 353"/>
            <p:cNvSpPr/>
            <p:nvPr/>
          </p:nvSpPr>
          <p:spPr>
            <a:xfrm>
              <a:off x="-1457280" y="4979160"/>
              <a:ext cx="55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-3120120" y="488196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Freeform: Shape 351"/>
            <p:cNvSpPr/>
            <p:nvPr/>
          </p:nvSpPr>
          <p:spPr>
            <a:xfrm>
              <a:off x="-2479320" y="4246200"/>
              <a:ext cx="265680" cy="587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-2479320" y="43326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-2479320" y="43725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-2479320" y="440279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-2479320" y="443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-2479320" y="44629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-2479320" y="44928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-2479320" y="452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-2479320" y="455327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-2479320" y="458315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-2479320" y="46134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-2479320" y="464328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-2479320" y="46735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-2479320" y="47037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-2479320" y="47340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-2479320" y="476028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Straight Connector 371"/>
            <p:cNvSpPr/>
            <p:nvPr/>
          </p:nvSpPr>
          <p:spPr>
            <a:xfrm>
              <a:off x="-2479320" y="479052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-2479320" y="482076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Freeform: Shape 369"/>
            <p:cNvSpPr/>
            <p:nvPr/>
          </p:nvSpPr>
          <p:spPr>
            <a:xfrm>
              <a:off x="-2432880" y="4208760"/>
              <a:ext cx="7668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-2336400" y="4272480"/>
              <a:ext cx="73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-373716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-373716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-373716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-373716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-373716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-373716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-373716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-373716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-373716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-373716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-373716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-373716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-373716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-373716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-373716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-373716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-373716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-3708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-3708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-3708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-3708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-3708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-3708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-3708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-3708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-3708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-3708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-3708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-3708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-3708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-37087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-37087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-37087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-37087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-36799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-36799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-36799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-36799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-36799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-36799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-36799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-36799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-36799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-36799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-36799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-36799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-36799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-36799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-36799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-36799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-36799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-36511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-36511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-36511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-36511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-36511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-36511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-36511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-36511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-36511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-36511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-36511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-36511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-36511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-36511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-36511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-36511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-36511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-36223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-36223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-36223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-36223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-36223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-36223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-36223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-36223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-36223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-36223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-36223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-36223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-36223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-36223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-36223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-36223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-36223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-35935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-35935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-35935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-35935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-35935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-35935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-35935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-35935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-35935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-35935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-35935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-35935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-35935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-35935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-35935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-35935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-35935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-34786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-34786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-34786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-34786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-34786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-34786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-34786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-34786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-34786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-34786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-34786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-34786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-34786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-3507479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-3507479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-3507479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-3507479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-3507479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-3507479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-3507479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-3507479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-3507479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-3507479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-3507479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-3507479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-3507479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-35362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-35362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-35362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-35362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-35362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-35362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-35362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-35362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-35362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-35362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-35362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-35362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-35362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-3564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-3564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-3564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-3564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-3564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-3564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-3564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-3564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-3564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-3564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-3564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Straight Connector 527"/>
            <p:cNvSpPr/>
            <p:nvPr/>
          </p:nvSpPr>
          <p:spPr>
            <a:xfrm>
              <a:off x="-3564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-3564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5"/>
            <p:cNvSpPr/>
            <p:nvPr/>
          </p:nvSpPr>
          <p:spPr>
            <a:xfrm>
              <a:off x="-4857120" y="4914360"/>
              <a:ext cx="64080" cy="15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-4856400" y="5070960"/>
              <a:ext cx="3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7"/>
            <p:cNvSpPr/>
            <p:nvPr/>
          </p:nvSpPr>
          <p:spPr>
            <a:xfrm>
              <a:off x="-522720" y="4912919"/>
              <a:ext cx="54360" cy="12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-522000" y="50454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29"/>
            <p:cNvSpPr/>
            <p:nvPr/>
          </p:nvSpPr>
          <p:spPr>
            <a:xfrm>
              <a:off x="-4664520" y="4919400"/>
              <a:ext cx="8964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-4662720" y="5136840"/>
              <a:ext cx="50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Freeform: Shape 531"/>
            <p:cNvSpPr/>
            <p:nvPr/>
          </p:nvSpPr>
          <p:spPr>
            <a:xfrm>
              <a:off x="-905039" y="4865040"/>
              <a:ext cx="110160" cy="26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-903240" y="5133240"/>
              <a:ext cx="61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-5202360" y="4673160"/>
              <a:ext cx="967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Straight Connector 538"/>
            <p:cNvSpPr/>
            <p:nvPr/>
          </p:nvSpPr>
          <p:spPr>
            <a:xfrm>
              <a:off x="-513252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-432180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Freeform: Shape 536"/>
            <p:cNvSpPr/>
            <p:nvPr/>
          </p:nvSpPr>
          <p:spPr>
            <a:xfrm>
              <a:off x="-5130720" y="447120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-506700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-501948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-496980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-49215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-48733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-482508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-477648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-43898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-443772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-448704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-453528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-45835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-463176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-468036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Straight Connector 555"/>
            <p:cNvSpPr/>
            <p:nvPr/>
          </p:nvSpPr>
          <p:spPr>
            <a:xfrm>
              <a:off x="-4728239" y="462456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-5539320" y="467316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Freeform: Shape 553"/>
            <p:cNvSpPr/>
            <p:nvPr/>
          </p:nvSpPr>
          <p:spPr>
            <a:xfrm>
              <a:off x="-5539320" y="447120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-520056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-524844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-529812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-53463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-539496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-544320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-549144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-4391279" y="4673160"/>
              <a:ext cx="162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Freeform: Shape 562"/>
            <p:cNvSpPr/>
            <p:nvPr/>
          </p:nvSpPr>
          <p:spPr>
            <a:xfrm>
              <a:off x="-4319640" y="4475160"/>
              <a:ext cx="164160" cy="103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-42566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-4208400" y="4553640"/>
              <a:ext cx="0" cy="93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-4159080" y="4578840"/>
              <a:ext cx="0" cy="5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Freeform: Shape 566"/>
            <p:cNvSpPr/>
            <p:nvPr/>
          </p:nvSpPr>
          <p:spPr>
            <a:xfrm>
              <a:off x="3089160" y="3954240"/>
              <a:ext cx="279360" cy="70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Freeform: Shape 567"/>
            <p:cNvSpPr/>
            <p:nvPr/>
          </p:nvSpPr>
          <p:spPr>
            <a:xfrm>
              <a:off x="3156479" y="4094280"/>
              <a:ext cx="150480" cy="196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219839" y="4127040"/>
              <a:ext cx="21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213720" y="4158720"/>
              <a:ext cx="33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208320" y="4190399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202560" y="4221719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196800" y="4253400"/>
              <a:ext cx="67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191040" y="4285080"/>
              <a:ext cx="78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185279" y="4316760"/>
              <a:ext cx="90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179880" y="4348440"/>
              <a:ext cx="101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174120" y="4380120"/>
              <a:ext cx="112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168360" y="4411800"/>
              <a:ext cx="1234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162600" y="4443120"/>
              <a:ext cx="135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156840" y="4474440"/>
              <a:ext cx="14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151080" y="4506120"/>
              <a:ext cx="15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145679" y="4537800"/>
              <a:ext cx="168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139559" y="4569480"/>
              <a:ext cx="180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8" name="Straight Connector 587"/>
            <p:cNvSpPr/>
            <p:nvPr/>
          </p:nvSpPr>
          <p:spPr>
            <a:xfrm>
              <a:off x="3134160" y="4601160"/>
              <a:ext cx="191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9" name="Straight Connector 588"/>
            <p:cNvSpPr/>
            <p:nvPr/>
          </p:nvSpPr>
          <p:spPr>
            <a:xfrm>
              <a:off x="3128400" y="4632840"/>
              <a:ext cx="20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590" name="TextBox 589">
            <a:extLst>
              <a:ext uri="{FF2B5EF4-FFF2-40B4-BE49-F238E27FC236}">
                <a16:creationId xmlns:a16="http://schemas.microsoft.com/office/drawing/2014/main" id="{C5FF10F1-7ED8-4C3C-A67E-89CB9F31911B}"/>
              </a:ext>
            </a:extLst>
          </p:cNvPr>
          <p:cNvSpPr txBox="1"/>
          <p:nvPr userDrawn="1"/>
        </p:nvSpPr>
        <p:spPr>
          <a:xfrm>
            <a:off x="4067504" y="3288404"/>
            <a:ext cx="5686097" cy="922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396" dirty="0">
                <a:latin typeface="+mn-lt"/>
              </a:rPr>
              <a:t>Thank You</a:t>
            </a:r>
          </a:p>
        </p:txBody>
      </p:sp>
      <p:sp>
        <p:nvSpPr>
          <p:cNvPr id="591" name="Freeform 6">
            <a:extLst>
              <a:ext uri="{FF2B5EF4-FFF2-40B4-BE49-F238E27FC236}">
                <a16:creationId xmlns:a16="http://schemas.microsoft.com/office/drawing/2014/main" id="{0B15844C-41F6-477A-B301-57E73D07DAA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954651" y="1600201"/>
            <a:ext cx="2157349" cy="114609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02775" tIns="51387" rIns="102775" bIns="51387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7351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>
            <a:spLocks noChangeAspect="1" noEditPoints="1"/>
          </p:cNvSpPr>
          <p:nvPr/>
        </p:nvSpPr>
        <p:spPr bwMode="auto">
          <a:xfrm>
            <a:off x="5017326" y="2838769"/>
            <a:ext cx="2157349" cy="114609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/>
              </a:solidFill>
            </a:endParaRPr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202603" y="5067845"/>
            <a:ext cx="11786796" cy="1621536"/>
            <a:chOff x="-5539320" y="3765960"/>
            <a:chExt cx="9964800" cy="1370880"/>
          </a:xfrm>
        </p:grpSpPr>
        <p:sp>
          <p:nvSpPr>
            <p:cNvPr id="7" name="Freeform: Shape 2"/>
            <p:cNvSpPr/>
            <p:nvPr/>
          </p:nvSpPr>
          <p:spPr>
            <a:xfrm>
              <a:off x="-777239" y="4393080"/>
              <a:ext cx="32184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-616320" y="4386240"/>
              <a:ext cx="0" cy="212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-616320" y="470736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-559080" y="4399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-681120" y="4696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-509399" y="44373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-737999" y="4663080"/>
              <a:ext cx="15119" cy="14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-477360" y="449280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-775080" y="46137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>
              <a:off x="-466560" y="4556880"/>
              <a:ext cx="21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>
              <a:off x="-787320" y="4557600"/>
              <a:ext cx="208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 flipH="1" flipV="1">
              <a:off x="-477360" y="4613760"/>
              <a:ext cx="19801" cy="7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 flipH="1" flipV="1">
              <a:off x="-775080" y="44931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-736559" y="443592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-510839" y="46641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-685079" y="4400639"/>
              <a:ext cx="8639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-555840" y="4694759"/>
              <a:ext cx="828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19"/>
            <p:cNvSpPr/>
            <p:nvPr/>
          </p:nvSpPr>
          <p:spPr>
            <a:xfrm>
              <a:off x="-667080" y="4551120"/>
              <a:ext cx="100800" cy="29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-765000" y="4831200"/>
              <a:ext cx="0" cy="10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1"/>
            <p:cNvSpPr/>
            <p:nvPr/>
          </p:nvSpPr>
          <p:spPr>
            <a:xfrm>
              <a:off x="-37548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2"/>
            <p:cNvSpPr/>
            <p:nvPr/>
          </p:nvSpPr>
          <p:spPr>
            <a:xfrm>
              <a:off x="-3441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353880" y="4683240"/>
              <a:ext cx="106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4"/>
            <p:cNvSpPr/>
            <p:nvPr/>
          </p:nvSpPr>
          <p:spPr>
            <a:xfrm>
              <a:off x="-737280" y="4592880"/>
              <a:ext cx="35532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-563400" y="4858560"/>
              <a:ext cx="170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6"/>
            <p:cNvSpPr/>
            <p:nvPr/>
          </p:nvSpPr>
          <p:spPr>
            <a:xfrm>
              <a:off x="314280" y="4592880"/>
              <a:ext cx="35496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 flipH="1">
              <a:off x="325080" y="4858560"/>
              <a:ext cx="171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723959" y="4946040"/>
              <a:ext cx="20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-225720" y="46026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-225720" y="46278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-225720" y="46756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-225720" y="484632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-225720" y="48952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4"/>
            <p:cNvSpPr/>
            <p:nvPr/>
          </p:nvSpPr>
          <p:spPr>
            <a:xfrm>
              <a:off x="-37872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5"/>
            <p:cNvSpPr/>
            <p:nvPr/>
          </p:nvSpPr>
          <p:spPr>
            <a:xfrm>
              <a:off x="-25776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6"/>
            <p:cNvSpPr/>
            <p:nvPr/>
          </p:nvSpPr>
          <p:spPr>
            <a:xfrm>
              <a:off x="-35460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7"/>
            <p:cNvSpPr/>
            <p:nvPr/>
          </p:nvSpPr>
          <p:spPr>
            <a:xfrm>
              <a:off x="-31464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38"/>
            <p:cNvSpPr/>
            <p:nvPr/>
          </p:nvSpPr>
          <p:spPr>
            <a:xfrm>
              <a:off x="15804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39"/>
            <p:cNvSpPr/>
            <p:nvPr/>
          </p:nvSpPr>
          <p:spPr>
            <a:xfrm>
              <a:off x="1893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179280" y="4683240"/>
              <a:ext cx="107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1"/>
            <p:cNvSpPr/>
            <p:nvPr/>
          </p:nvSpPr>
          <p:spPr>
            <a:xfrm>
              <a:off x="15480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2"/>
            <p:cNvSpPr/>
            <p:nvPr/>
          </p:nvSpPr>
          <p:spPr>
            <a:xfrm>
              <a:off x="27540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3"/>
            <p:cNvSpPr/>
            <p:nvPr/>
          </p:nvSpPr>
          <p:spPr>
            <a:xfrm>
              <a:off x="17856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44"/>
            <p:cNvSpPr/>
            <p:nvPr/>
          </p:nvSpPr>
          <p:spPr>
            <a:xfrm>
              <a:off x="1934639" y="4760280"/>
              <a:ext cx="25668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5"/>
            <p:cNvSpPr/>
            <p:nvPr/>
          </p:nvSpPr>
          <p:spPr>
            <a:xfrm>
              <a:off x="21888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-419760" y="4946040"/>
              <a:ext cx="748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-309960" y="4977720"/>
              <a:ext cx="0" cy="5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-252000" y="4975200"/>
              <a:ext cx="429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-122400" y="5016960"/>
              <a:ext cx="15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-78480" y="50436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734119" y="5067000"/>
              <a:ext cx="156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1778040" y="50940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1966680" y="5038920"/>
              <a:ext cx="377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321480" y="4970160"/>
              <a:ext cx="0" cy="75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 flipH="1">
              <a:off x="344880" y="4979880"/>
              <a:ext cx="34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 flipV="1">
              <a:off x="344880" y="4865040"/>
              <a:ext cx="0" cy="431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7"/>
            <p:cNvSpPr/>
            <p:nvPr/>
          </p:nvSpPr>
          <p:spPr>
            <a:xfrm>
              <a:off x="382680" y="4920480"/>
              <a:ext cx="286560" cy="39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58"/>
            <p:cNvSpPr/>
            <p:nvPr/>
          </p:nvSpPr>
          <p:spPr>
            <a:xfrm>
              <a:off x="473760" y="4308120"/>
              <a:ext cx="79200" cy="556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Freeform: Shape 59"/>
            <p:cNvSpPr/>
            <p:nvPr/>
          </p:nvSpPr>
          <p:spPr>
            <a:xfrm>
              <a:off x="523079" y="4191479"/>
              <a:ext cx="269640" cy="69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0"/>
            <p:cNvSpPr/>
            <p:nvPr/>
          </p:nvSpPr>
          <p:spPr>
            <a:xfrm>
              <a:off x="553320" y="4240440"/>
              <a:ext cx="99000" cy="624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673560" y="463968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686160" y="4679280"/>
              <a:ext cx="0" cy="2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3"/>
            <p:cNvSpPr/>
            <p:nvPr/>
          </p:nvSpPr>
          <p:spPr>
            <a:xfrm>
              <a:off x="721080" y="4161240"/>
              <a:ext cx="72000" cy="68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4"/>
            <p:cNvSpPr/>
            <p:nvPr/>
          </p:nvSpPr>
          <p:spPr>
            <a:xfrm>
              <a:off x="793440" y="3839400"/>
              <a:ext cx="105840" cy="1087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813960" y="4029480"/>
              <a:ext cx="0" cy="898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66"/>
            <p:cNvSpPr/>
            <p:nvPr/>
          </p:nvSpPr>
          <p:spPr>
            <a:xfrm>
              <a:off x="793440" y="4106520"/>
              <a:ext cx="152640" cy="82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7"/>
            <p:cNvSpPr/>
            <p:nvPr/>
          </p:nvSpPr>
          <p:spPr>
            <a:xfrm>
              <a:off x="899639" y="4081320"/>
              <a:ext cx="10692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939240" y="4200120"/>
              <a:ext cx="0" cy="55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Freeform: Shape 69"/>
            <p:cNvSpPr/>
            <p:nvPr/>
          </p:nvSpPr>
          <p:spPr>
            <a:xfrm>
              <a:off x="897119" y="4787640"/>
              <a:ext cx="377280" cy="13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779760" y="4958280"/>
              <a:ext cx="185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762480" y="4970160"/>
              <a:ext cx="0" cy="56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021679" y="4606560"/>
              <a:ext cx="748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1042919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1065600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5"/>
            <p:cNvSpPr/>
            <p:nvPr/>
          </p:nvSpPr>
          <p:spPr>
            <a:xfrm>
              <a:off x="1042919" y="4679280"/>
              <a:ext cx="38160" cy="8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6"/>
            <p:cNvSpPr/>
            <p:nvPr/>
          </p:nvSpPr>
          <p:spPr>
            <a:xfrm>
              <a:off x="934199" y="4899960"/>
              <a:ext cx="72720" cy="2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Freeform: Shape 77"/>
            <p:cNvSpPr/>
            <p:nvPr/>
          </p:nvSpPr>
          <p:spPr>
            <a:xfrm>
              <a:off x="1074600" y="4926240"/>
              <a:ext cx="168840" cy="41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Freeform: Shape 78"/>
            <p:cNvSpPr/>
            <p:nvPr/>
          </p:nvSpPr>
          <p:spPr>
            <a:xfrm>
              <a:off x="741600" y="4759200"/>
              <a:ext cx="51480" cy="85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36200" y="43902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36200" y="44190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36200" y="44478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36200" y="4476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36200" y="45050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36200" y="4533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36200" y="4562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36200" y="45914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36200" y="4620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36200" y="46494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736200" y="4677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736200" y="4706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974160" y="4316760"/>
              <a:ext cx="32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1169640" y="4992480"/>
              <a:ext cx="207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1305000" y="4922640"/>
              <a:ext cx="250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4"/>
            <p:cNvSpPr/>
            <p:nvPr/>
          </p:nvSpPr>
          <p:spPr>
            <a:xfrm>
              <a:off x="1096560" y="4136760"/>
              <a:ext cx="285480" cy="740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5"/>
            <p:cNvSpPr/>
            <p:nvPr/>
          </p:nvSpPr>
          <p:spPr>
            <a:xfrm>
              <a:off x="1348920" y="4669560"/>
              <a:ext cx="316440" cy="212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1428120" y="4977720"/>
              <a:ext cx="51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97"/>
            <p:cNvSpPr/>
            <p:nvPr/>
          </p:nvSpPr>
          <p:spPr>
            <a:xfrm>
              <a:off x="1352520" y="4721760"/>
              <a:ext cx="54000" cy="17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98"/>
            <p:cNvSpPr/>
            <p:nvPr/>
          </p:nvSpPr>
          <p:spPr>
            <a:xfrm>
              <a:off x="1435320" y="4842720"/>
              <a:ext cx="10476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377359" y="4548239"/>
              <a:ext cx="0" cy="31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0"/>
            <p:cNvSpPr/>
            <p:nvPr/>
          </p:nvSpPr>
          <p:spPr>
            <a:xfrm>
              <a:off x="1396439" y="4129200"/>
              <a:ext cx="240480" cy="694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1"/>
            <p:cNvSpPr/>
            <p:nvPr/>
          </p:nvSpPr>
          <p:spPr>
            <a:xfrm>
              <a:off x="1485359" y="4201560"/>
              <a:ext cx="99360" cy="11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2"/>
            <p:cNvSpPr/>
            <p:nvPr/>
          </p:nvSpPr>
          <p:spPr>
            <a:xfrm>
              <a:off x="1468800" y="42796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3"/>
            <p:cNvSpPr/>
            <p:nvPr/>
          </p:nvSpPr>
          <p:spPr>
            <a:xfrm>
              <a:off x="1452240" y="4358520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4"/>
            <p:cNvSpPr/>
            <p:nvPr/>
          </p:nvSpPr>
          <p:spPr>
            <a:xfrm>
              <a:off x="1435320" y="4435920"/>
              <a:ext cx="17532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5"/>
            <p:cNvSpPr/>
            <p:nvPr/>
          </p:nvSpPr>
          <p:spPr>
            <a:xfrm>
              <a:off x="1418760" y="4515480"/>
              <a:ext cx="194400" cy="21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6"/>
            <p:cNvSpPr/>
            <p:nvPr/>
          </p:nvSpPr>
          <p:spPr>
            <a:xfrm>
              <a:off x="1449719" y="4208760"/>
              <a:ext cx="9972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7"/>
            <p:cNvSpPr/>
            <p:nvPr/>
          </p:nvSpPr>
          <p:spPr>
            <a:xfrm>
              <a:off x="1438559" y="42868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8"/>
            <p:cNvSpPr/>
            <p:nvPr/>
          </p:nvSpPr>
          <p:spPr>
            <a:xfrm>
              <a:off x="1432800" y="4366079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9"/>
            <p:cNvSpPr/>
            <p:nvPr/>
          </p:nvSpPr>
          <p:spPr>
            <a:xfrm>
              <a:off x="1424159" y="4443120"/>
              <a:ext cx="17496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0"/>
            <p:cNvSpPr/>
            <p:nvPr/>
          </p:nvSpPr>
          <p:spPr>
            <a:xfrm>
              <a:off x="1510199" y="4523040"/>
              <a:ext cx="105480" cy="14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1"/>
            <p:cNvSpPr/>
            <p:nvPr/>
          </p:nvSpPr>
          <p:spPr>
            <a:xfrm>
              <a:off x="1690919" y="4317120"/>
              <a:ext cx="233280" cy="55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12"/>
            <p:cNvSpPr/>
            <p:nvPr/>
          </p:nvSpPr>
          <p:spPr>
            <a:xfrm>
              <a:off x="1654919" y="4283280"/>
              <a:ext cx="54000" cy="585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13"/>
            <p:cNvSpPr/>
            <p:nvPr/>
          </p:nvSpPr>
          <p:spPr>
            <a:xfrm>
              <a:off x="1689479" y="4257720"/>
              <a:ext cx="252360" cy="51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1715039" y="4365000"/>
              <a:ext cx="188641" cy="10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1716480" y="4392720"/>
              <a:ext cx="18576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1718280" y="4420440"/>
              <a:ext cx="18252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1720080" y="4448160"/>
              <a:ext cx="179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1721880" y="4475520"/>
              <a:ext cx="17640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1723680" y="4503240"/>
              <a:ext cx="17316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1725480" y="4530960"/>
              <a:ext cx="170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1727280" y="4558680"/>
              <a:ext cx="1666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1728719" y="4586399"/>
              <a:ext cx="16380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1730519" y="4614120"/>
              <a:ext cx="16092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1732319" y="4641840"/>
              <a:ext cx="157681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734119" y="4669560"/>
              <a:ext cx="1548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1735919" y="4697279"/>
              <a:ext cx="151561" cy="3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737719" y="4725000"/>
              <a:ext cx="1483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739160" y="4752720"/>
              <a:ext cx="145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740960" y="4780440"/>
              <a:ext cx="142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742760" y="4808160"/>
              <a:ext cx="139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744560" y="4835880"/>
              <a:ext cx="136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745999" y="4863600"/>
              <a:ext cx="133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628999" y="4732560"/>
              <a:ext cx="39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646640" y="4785120"/>
              <a:ext cx="0" cy="57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1704240" y="4898160"/>
              <a:ext cx="153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1907280" y="4919400"/>
              <a:ext cx="46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2045880" y="4927680"/>
              <a:ext cx="0" cy="82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2111760" y="4963320"/>
              <a:ext cx="6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2116800" y="4997160"/>
              <a:ext cx="5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1916639" y="4771440"/>
              <a:ext cx="8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2136240" y="4767839"/>
              <a:ext cx="51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2167920" y="4729319"/>
              <a:ext cx="0" cy="38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2180160" y="4842720"/>
              <a:ext cx="0" cy="69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1990079" y="4697279"/>
              <a:ext cx="0" cy="486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01420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2038679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206316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208764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211176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2136240" y="4698360"/>
              <a:ext cx="0" cy="47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9713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21567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1979640" y="467280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Freeform: Shape 154"/>
            <p:cNvSpPr/>
            <p:nvPr/>
          </p:nvSpPr>
          <p:spPr>
            <a:xfrm>
              <a:off x="1982160" y="4551480"/>
              <a:ext cx="160920" cy="96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2045880" y="4528440"/>
              <a:ext cx="34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2052000" y="4505760"/>
              <a:ext cx="24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2064240" y="44319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2031480" y="4878720"/>
              <a:ext cx="644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2223360" y="4723559"/>
              <a:ext cx="72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221004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230508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2214719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223704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225900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228096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230292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Freeform: Shape 167"/>
            <p:cNvSpPr/>
            <p:nvPr/>
          </p:nvSpPr>
          <p:spPr>
            <a:xfrm>
              <a:off x="2206440" y="4525560"/>
              <a:ext cx="99720" cy="85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Freeform: Shape 168"/>
            <p:cNvSpPr/>
            <p:nvPr/>
          </p:nvSpPr>
          <p:spPr>
            <a:xfrm>
              <a:off x="2235960" y="4650120"/>
              <a:ext cx="43920" cy="43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2231640" y="46033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2231640" y="462060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232360" y="4569840"/>
              <a:ext cx="47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Freeform: Shape 172"/>
            <p:cNvSpPr/>
            <p:nvPr/>
          </p:nvSpPr>
          <p:spPr>
            <a:xfrm>
              <a:off x="2232360" y="4487760"/>
              <a:ext cx="4716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2257200" y="4539600"/>
              <a:ext cx="0" cy="20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 flipV="1">
              <a:off x="2256480" y="4451760"/>
              <a:ext cx="0" cy="3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2345039" y="4777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2319120" y="48589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2247480" y="4997160"/>
              <a:ext cx="414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Freeform: Shape 178"/>
            <p:cNvSpPr/>
            <p:nvPr/>
          </p:nvSpPr>
          <p:spPr>
            <a:xfrm>
              <a:off x="2357280" y="3765960"/>
              <a:ext cx="304200" cy="1213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2508841" y="3855598"/>
              <a:ext cx="123081" cy="11160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2644560" y="4823280"/>
              <a:ext cx="121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26935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33721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856960" y="4997160"/>
              <a:ext cx="250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905560" y="5026680"/>
              <a:ext cx="7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657880" y="467316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2809800" y="4673160"/>
              <a:ext cx="141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72448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Freeform: Shape 188"/>
            <p:cNvSpPr/>
            <p:nvPr/>
          </p:nvSpPr>
          <p:spPr>
            <a:xfrm>
              <a:off x="2809800" y="4582440"/>
              <a:ext cx="333720" cy="30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76588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276588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700000" y="4565160"/>
              <a:ext cx="13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Freeform: Shape 192"/>
            <p:cNvSpPr/>
            <p:nvPr/>
          </p:nvSpPr>
          <p:spPr>
            <a:xfrm>
              <a:off x="2710800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76696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Freeform: Shape 194"/>
            <p:cNvSpPr/>
            <p:nvPr/>
          </p:nvSpPr>
          <p:spPr>
            <a:xfrm>
              <a:off x="3039120" y="4673160"/>
              <a:ext cx="4114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95380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303912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99556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299556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2929679" y="4565160"/>
              <a:ext cx="13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0"/>
            <p:cNvSpPr/>
            <p:nvPr/>
          </p:nvSpPr>
          <p:spPr>
            <a:xfrm>
              <a:off x="2940479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299664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2"/>
            <p:cNvSpPr/>
            <p:nvPr/>
          </p:nvSpPr>
          <p:spPr>
            <a:xfrm>
              <a:off x="306432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3"/>
            <p:cNvSpPr/>
            <p:nvPr/>
          </p:nvSpPr>
          <p:spPr>
            <a:xfrm>
              <a:off x="315144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4"/>
            <p:cNvSpPr/>
            <p:nvPr/>
          </p:nvSpPr>
          <p:spPr>
            <a:xfrm>
              <a:off x="323856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5"/>
            <p:cNvSpPr/>
            <p:nvPr/>
          </p:nvSpPr>
          <p:spPr>
            <a:xfrm>
              <a:off x="3325679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206"/>
            <p:cNvSpPr/>
            <p:nvPr/>
          </p:nvSpPr>
          <p:spPr>
            <a:xfrm>
              <a:off x="271404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7"/>
            <p:cNvSpPr/>
            <p:nvPr/>
          </p:nvSpPr>
          <p:spPr>
            <a:xfrm>
              <a:off x="2940120" y="4930200"/>
              <a:ext cx="18864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Freeform: Shape 208"/>
            <p:cNvSpPr/>
            <p:nvPr/>
          </p:nvSpPr>
          <p:spPr>
            <a:xfrm>
              <a:off x="316620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506039" y="4715280"/>
              <a:ext cx="5212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3629160" y="4756680"/>
              <a:ext cx="274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3711960" y="4797360"/>
              <a:ext cx="10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12"/>
            <p:cNvSpPr/>
            <p:nvPr/>
          </p:nvSpPr>
          <p:spPr>
            <a:xfrm>
              <a:off x="4082040" y="4701600"/>
              <a:ext cx="54720" cy="136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4082040" y="4852440"/>
              <a:ext cx="41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14"/>
            <p:cNvSpPr/>
            <p:nvPr/>
          </p:nvSpPr>
          <p:spPr>
            <a:xfrm>
              <a:off x="3835440" y="4838760"/>
              <a:ext cx="95400" cy="19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835440" y="5044320"/>
              <a:ext cx="5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3506039" y="4866120"/>
              <a:ext cx="10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409920" y="4618440"/>
              <a:ext cx="0" cy="55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4205880" y="4715280"/>
              <a:ext cx="219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-5216400" y="4862160"/>
              <a:ext cx="19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-5132520" y="4893480"/>
              <a:ext cx="0" cy="11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-4992480" y="4796640"/>
              <a:ext cx="535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-4873320" y="483912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-4781520" y="4879440"/>
              <a:ext cx="106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-4398840" y="4768559"/>
              <a:ext cx="0" cy="32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-4361040" y="4801320"/>
              <a:ext cx="35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6"/>
            <p:cNvSpPr/>
            <p:nvPr/>
          </p:nvSpPr>
          <p:spPr>
            <a:xfrm>
              <a:off x="-4316040" y="4453920"/>
              <a:ext cx="516599" cy="330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Freeform: Shape 227"/>
            <p:cNvSpPr/>
            <p:nvPr/>
          </p:nvSpPr>
          <p:spPr>
            <a:xfrm>
              <a:off x="-3766320" y="4149360"/>
              <a:ext cx="319680" cy="67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Freeform: Shape 228"/>
            <p:cNvSpPr/>
            <p:nvPr/>
          </p:nvSpPr>
          <p:spPr>
            <a:xfrm>
              <a:off x="-3577320" y="4686480"/>
              <a:ext cx="262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-3409920" y="4643280"/>
              <a:ext cx="7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-3385440" y="459504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-3625560" y="4035240"/>
              <a:ext cx="39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-3654360" y="4070160"/>
              <a:ext cx="97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Freeform: Shape 233"/>
            <p:cNvSpPr/>
            <p:nvPr/>
          </p:nvSpPr>
          <p:spPr>
            <a:xfrm>
              <a:off x="-3675959" y="4097160"/>
              <a:ext cx="142920" cy="5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-3684600" y="4907520"/>
              <a:ext cx="186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-3395520" y="4727159"/>
              <a:ext cx="0" cy="158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 flipV="1">
              <a:off x="-3260880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-3137039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38"/>
            <p:cNvSpPr/>
            <p:nvPr/>
          </p:nvSpPr>
          <p:spPr>
            <a:xfrm>
              <a:off x="-3254759" y="4184639"/>
              <a:ext cx="110160" cy="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 flipV="1">
              <a:off x="-3198960" y="4076640"/>
              <a:ext cx="0" cy="107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0"/>
            <p:cNvSpPr/>
            <p:nvPr/>
          </p:nvSpPr>
          <p:spPr>
            <a:xfrm>
              <a:off x="-3226680" y="4241520"/>
              <a:ext cx="547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1"/>
            <p:cNvSpPr/>
            <p:nvPr/>
          </p:nvSpPr>
          <p:spPr>
            <a:xfrm>
              <a:off x="-3241080" y="4300560"/>
              <a:ext cx="82080" cy="1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2"/>
            <p:cNvSpPr/>
            <p:nvPr/>
          </p:nvSpPr>
          <p:spPr>
            <a:xfrm>
              <a:off x="-3244320" y="43383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3"/>
            <p:cNvSpPr/>
            <p:nvPr/>
          </p:nvSpPr>
          <p:spPr>
            <a:xfrm>
              <a:off x="-3244320" y="436823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4"/>
            <p:cNvSpPr/>
            <p:nvPr/>
          </p:nvSpPr>
          <p:spPr>
            <a:xfrm>
              <a:off x="-3244320" y="43977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5"/>
            <p:cNvSpPr/>
            <p:nvPr/>
          </p:nvSpPr>
          <p:spPr>
            <a:xfrm>
              <a:off x="-3244320" y="442727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6"/>
            <p:cNvSpPr/>
            <p:nvPr/>
          </p:nvSpPr>
          <p:spPr>
            <a:xfrm>
              <a:off x="-3244320" y="445680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7"/>
            <p:cNvSpPr/>
            <p:nvPr/>
          </p:nvSpPr>
          <p:spPr>
            <a:xfrm>
              <a:off x="-3244320" y="44863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48"/>
            <p:cNvSpPr/>
            <p:nvPr/>
          </p:nvSpPr>
          <p:spPr>
            <a:xfrm>
              <a:off x="-3244320" y="45158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49"/>
            <p:cNvSpPr/>
            <p:nvPr/>
          </p:nvSpPr>
          <p:spPr>
            <a:xfrm>
              <a:off x="-3244320" y="45457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0"/>
            <p:cNvSpPr/>
            <p:nvPr/>
          </p:nvSpPr>
          <p:spPr>
            <a:xfrm>
              <a:off x="-3244320" y="45752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1"/>
            <p:cNvSpPr/>
            <p:nvPr/>
          </p:nvSpPr>
          <p:spPr>
            <a:xfrm>
              <a:off x="-3244320" y="460475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2"/>
            <p:cNvSpPr/>
            <p:nvPr/>
          </p:nvSpPr>
          <p:spPr>
            <a:xfrm>
              <a:off x="-3244320" y="46346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3"/>
            <p:cNvSpPr/>
            <p:nvPr/>
          </p:nvSpPr>
          <p:spPr>
            <a:xfrm>
              <a:off x="-3244320" y="46645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4"/>
            <p:cNvSpPr/>
            <p:nvPr/>
          </p:nvSpPr>
          <p:spPr>
            <a:xfrm>
              <a:off x="-3244320" y="46940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5"/>
            <p:cNvSpPr/>
            <p:nvPr/>
          </p:nvSpPr>
          <p:spPr>
            <a:xfrm>
              <a:off x="-3121200" y="44125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6"/>
            <p:cNvSpPr/>
            <p:nvPr/>
          </p:nvSpPr>
          <p:spPr>
            <a:xfrm>
              <a:off x="-3121200" y="44326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7"/>
            <p:cNvSpPr/>
            <p:nvPr/>
          </p:nvSpPr>
          <p:spPr>
            <a:xfrm>
              <a:off x="-3121200" y="44524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58"/>
            <p:cNvSpPr/>
            <p:nvPr/>
          </p:nvSpPr>
          <p:spPr>
            <a:xfrm>
              <a:off x="-3121200" y="4472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59"/>
            <p:cNvSpPr/>
            <p:nvPr/>
          </p:nvSpPr>
          <p:spPr>
            <a:xfrm>
              <a:off x="-3121200" y="44928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0"/>
            <p:cNvSpPr/>
            <p:nvPr/>
          </p:nvSpPr>
          <p:spPr>
            <a:xfrm>
              <a:off x="-3121200" y="45129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1"/>
            <p:cNvSpPr/>
            <p:nvPr/>
          </p:nvSpPr>
          <p:spPr>
            <a:xfrm>
              <a:off x="-3121200" y="45331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2"/>
            <p:cNvSpPr/>
            <p:nvPr/>
          </p:nvSpPr>
          <p:spPr>
            <a:xfrm>
              <a:off x="-3121200" y="4553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3"/>
            <p:cNvSpPr/>
            <p:nvPr/>
          </p:nvSpPr>
          <p:spPr>
            <a:xfrm>
              <a:off x="-3121200" y="45734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4"/>
            <p:cNvSpPr/>
            <p:nvPr/>
          </p:nvSpPr>
          <p:spPr>
            <a:xfrm>
              <a:off x="-3121200" y="45936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5"/>
            <p:cNvSpPr/>
            <p:nvPr/>
          </p:nvSpPr>
          <p:spPr>
            <a:xfrm>
              <a:off x="-3121200" y="46137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6"/>
            <p:cNvSpPr/>
            <p:nvPr/>
          </p:nvSpPr>
          <p:spPr>
            <a:xfrm>
              <a:off x="-3121200" y="46339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7"/>
            <p:cNvSpPr/>
            <p:nvPr/>
          </p:nvSpPr>
          <p:spPr>
            <a:xfrm>
              <a:off x="-3121200" y="46540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Freeform: Shape 268"/>
            <p:cNvSpPr/>
            <p:nvPr/>
          </p:nvSpPr>
          <p:spPr>
            <a:xfrm>
              <a:off x="-3121200" y="46742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69"/>
            <p:cNvSpPr/>
            <p:nvPr/>
          </p:nvSpPr>
          <p:spPr>
            <a:xfrm>
              <a:off x="-3121200" y="4694759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-2967839" y="4408200"/>
              <a:ext cx="0" cy="29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Freeform: Shape 271"/>
            <p:cNvSpPr/>
            <p:nvPr/>
          </p:nvSpPr>
          <p:spPr>
            <a:xfrm>
              <a:off x="-3223800" y="4715640"/>
              <a:ext cx="615240" cy="10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Freeform: Shape 272"/>
            <p:cNvSpPr/>
            <p:nvPr/>
          </p:nvSpPr>
          <p:spPr>
            <a:xfrm>
              <a:off x="-2857680" y="4826160"/>
              <a:ext cx="456119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-329652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-327960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5"/>
            <p:cNvSpPr/>
            <p:nvPr/>
          </p:nvSpPr>
          <p:spPr>
            <a:xfrm>
              <a:off x="-3272400" y="4766040"/>
              <a:ext cx="17928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6"/>
            <p:cNvSpPr/>
            <p:nvPr/>
          </p:nvSpPr>
          <p:spPr>
            <a:xfrm>
              <a:off x="-3244320" y="4791240"/>
              <a:ext cx="97200" cy="2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7"/>
            <p:cNvSpPr/>
            <p:nvPr/>
          </p:nvSpPr>
          <p:spPr>
            <a:xfrm>
              <a:off x="-3013560" y="4733279"/>
              <a:ext cx="13824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78"/>
            <p:cNvSpPr/>
            <p:nvPr/>
          </p:nvSpPr>
          <p:spPr>
            <a:xfrm>
              <a:off x="-2806920" y="4721760"/>
              <a:ext cx="8388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79"/>
            <p:cNvSpPr/>
            <p:nvPr/>
          </p:nvSpPr>
          <p:spPr>
            <a:xfrm>
              <a:off x="-2592360" y="4716000"/>
              <a:ext cx="77760" cy="52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0"/>
            <p:cNvSpPr/>
            <p:nvPr/>
          </p:nvSpPr>
          <p:spPr>
            <a:xfrm>
              <a:off x="-2577240" y="4798080"/>
              <a:ext cx="29520" cy="50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1"/>
            <p:cNvSpPr/>
            <p:nvPr/>
          </p:nvSpPr>
          <p:spPr>
            <a:xfrm>
              <a:off x="-2904480" y="4563000"/>
              <a:ext cx="56880" cy="1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2"/>
            <p:cNvSpPr/>
            <p:nvPr/>
          </p:nvSpPr>
          <p:spPr>
            <a:xfrm>
              <a:off x="-2922479" y="4545720"/>
              <a:ext cx="129240" cy="15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3"/>
            <p:cNvSpPr/>
            <p:nvPr/>
          </p:nvSpPr>
          <p:spPr>
            <a:xfrm>
              <a:off x="-3839400" y="4632120"/>
              <a:ext cx="39960" cy="5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4"/>
            <p:cNvSpPr/>
            <p:nvPr/>
          </p:nvSpPr>
          <p:spPr>
            <a:xfrm>
              <a:off x="-3866039" y="4824360"/>
              <a:ext cx="69840" cy="23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5"/>
            <p:cNvSpPr/>
            <p:nvPr/>
          </p:nvSpPr>
          <p:spPr>
            <a:xfrm>
              <a:off x="-1710720" y="4671000"/>
              <a:ext cx="32400" cy="59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Freeform: Shape 286"/>
            <p:cNvSpPr/>
            <p:nvPr/>
          </p:nvSpPr>
          <p:spPr>
            <a:xfrm>
              <a:off x="-1661759" y="4772520"/>
              <a:ext cx="56160" cy="21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Freeform: Shape 287"/>
            <p:cNvSpPr/>
            <p:nvPr/>
          </p:nvSpPr>
          <p:spPr>
            <a:xfrm>
              <a:off x="-1556279" y="4707360"/>
              <a:ext cx="1512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-3120120" y="433620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-3120120" y="436068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-3120120" y="438552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-3106079" y="429048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-27385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-271764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-26967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-2675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-265500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-26341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-2612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-25923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Straight Connector 304"/>
            <p:cNvSpPr/>
            <p:nvPr/>
          </p:nvSpPr>
          <p:spPr>
            <a:xfrm>
              <a:off x="-190152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-174564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Freeform: Shape 302"/>
            <p:cNvSpPr/>
            <p:nvPr/>
          </p:nvSpPr>
          <p:spPr>
            <a:xfrm>
              <a:off x="-2757960" y="4209840"/>
              <a:ext cx="182520" cy="50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-2769480" y="4182479"/>
              <a:ext cx="208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-2526480" y="4595040"/>
              <a:ext cx="0" cy="51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-2555640" y="4651560"/>
              <a:ext cx="58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-2212560" y="4663800"/>
              <a:ext cx="10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-2124720" y="4632120"/>
              <a:ext cx="0" cy="29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-2022840" y="4656600"/>
              <a:ext cx="109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-1966680" y="4598640"/>
              <a:ext cx="0" cy="42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-1980360" y="4830480"/>
              <a:ext cx="0" cy="80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-1877760" y="4881960"/>
              <a:ext cx="175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-1885680" y="479412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-1885680" y="464364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-1885680" y="449676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-18665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-18377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-18089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-1780560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-18665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-18377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-18089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-1780560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-18665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-18377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Straight Connector 329"/>
            <p:cNvSpPr/>
            <p:nvPr/>
          </p:nvSpPr>
          <p:spPr>
            <a:xfrm>
              <a:off x="-18089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Straight Connector 330"/>
            <p:cNvSpPr/>
            <p:nvPr/>
          </p:nvSpPr>
          <p:spPr>
            <a:xfrm>
              <a:off x="-1780560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7"/>
            <p:cNvSpPr/>
            <p:nvPr/>
          </p:nvSpPr>
          <p:spPr>
            <a:xfrm>
              <a:off x="-1891800" y="4267800"/>
              <a:ext cx="136080" cy="7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28"/>
            <p:cNvSpPr/>
            <p:nvPr/>
          </p:nvSpPr>
          <p:spPr>
            <a:xfrm>
              <a:off x="-3009240" y="4879440"/>
              <a:ext cx="981000" cy="39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29"/>
            <p:cNvSpPr/>
            <p:nvPr/>
          </p:nvSpPr>
          <p:spPr>
            <a:xfrm>
              <a:off x="-2525400" y="4731480"/>
              <a:ext cx="414720" cy="110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0"/>
            <p:cNvSpPr/>
            <p:nvPr/>
          </p:nvSpPr>
          <p:spPr>
            <a:xfrm>
              <a:off x="-2084040" y="4683240"/>
              <a:ext cx="5580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Freeform: Shape 331"/>
            <p:cNvSpPr/>
            <p:nvPr/>
          </p:nvSpPr>
          <p:spPr>
            <a:xfrm>
              <a:off x="-2032560" y="4742280"/>
              <a:ext cx="95760" cy="3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Freeform: Shape 332"/>
            <p:cNvSpPr/>
            <p:nvPr/>
          </p:nvSpPr>
          <p:spPr>
            <a:xfrm>
              <a:off x="-1643039" y="4342320"/>
              <a:ext cx="252000" cy="368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-1589040" y="4842720"/>
              <a:ext cx="80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Straight Connector 338"/>
            <p:cNvSpPr/>
            <p:nvPr/>
          </p:nvSpPr>
          <p:spPr>
            <a:xfrm>
              <a:off x="-1377000" y="4817160"/>
              <a:ext cx="312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-1046520" y="4794120"/>
              <a:ext cx="0" cy="1094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Freeform: Shape 336"/>
            <p:cNvSpPr/>
            <p:nvPr/>
          </p:nvSpPr>
          <p:spPr>
            <a:xfrm>
              <a:off x="-1307519" y="4671000"/>
              <a:ext cx="417240" cy="17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Straight Connector 341"/>
            <p:cNvSpPr/>
            <p:nvPr/>
          </p:nvSpPr>
          <p:spPr>
            <a:xfrm>
              <a:off x="-1122120" y="4694040"/>
              <a:ext cx="0" cy="3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-1715400" y="4609800"/>
              <a:ext cx="0" cy="2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Freeform: Shape 339"/>
            <p:cNvSpPr/>
            <p:nvPr/>
          </p:nvSpPr>
          <p:spPr>
            <a:xfrm>
              <a:off x="-1364760" y="4393800"/>
              <a:ext cx="32760" cy="33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Straight Connector 344"/>
            <p:cNvSpPr/>
            <p:nvPr/>
          </p:nvSpPr>
          <p:spPr>
            <a:xfrm>
              <a:off x="-3700440" y="499860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Straight Connector 345"/>
            <p:cNvSpPr/>
            <p:nvPr/>
          </p:nvSpPr>
          <p:spPr>
            <a:xfrm>
              <a:off x="-2594520" y="5011200"/>
              <a:ext cx="0" cy="64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Freeform: Shape 342"/>
            <p:cNvSpPr/>
            <p:nvPr/>
          </p:nvSpPr>
          <p:spPr>
            <a:xfrm>
              <a:off x="-4553279" y="4837680"/>
              <a:ext cx="367308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Freeform: Shape 343"/>
            <p:cNvSpPr/>
            <p:nvPr/>
          </p:nvSpPr>
          <p:spPr>
            <a:xfrm>
              <a:off x="-4382640" y="4862160"/>
              <a:ext cx="47844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-4212720" y="4979160"/>
              <a:ext cx="323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-4090320" y="502452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-3622320" y="4978080"/>
              <a:ext cx="148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-2055960" y="4992840"/>
              <a:ext cx="295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-1899720" y="5032800"/>
              <a:ext cx="149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Straight Connector 353"/>
            <p:cNvSpPr/>
            <p:nvPr/>
          </p:nvSpPr>
          <p:spPr>
            <a:xfrm>
              <a:off x="-1457280" y="4979160"/>
              <a:ext cx="55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-3120120" y="488196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Freeform: Shape 351"/>
            <p:cNvSpPr/>
            <p:nvPr/>
          </p:nvSpPr>
          <p:spPr>
            <a:xfrm>
              <a:off x="-2479320" y="4246200"/>
              <a:ext cx="265680" cy="587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-2479320" y="43326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-2479320" y="43725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-2479320" y="440279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-2479320" y="443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-2479320" y="44629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-2479320" y="44928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-2479320" y="452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-2479320" y="455327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-2479320" y="458315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-2479320" y="46134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-2479320" y="464328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-2479320" y="46735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-2479320" y="47037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-2479320" y="47340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-2479320" y="476028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Straight Connector 371"/>
            <p:cNvSpPr/>
            <p:nvPr/>
          </p:nvSpPr>
          <p:spPr>
            <a:xfrm>
              <a:off x="-2479320" y="479052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-2479320" y="482076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Freeform: Shape 369"/>
            <p:cNvSpPr/>
            <p:nvPr/>
          </p:nvSpPr>
          <p:spPr>
            <a:xfrm>
              <a:off x="-2432880" y="4208760"/>
              <a:ext cx="7668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-2336400" y="4272480"/>
              <a:ext cx="73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-373716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-373716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-373716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-373716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-373716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-373716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-373716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-373716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-373716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-373716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-373716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-373716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-373716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-373716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-373716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-373716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-373716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-3708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-3708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-3708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-3708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-3708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-3708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-3708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-3708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-3708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-3708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-3708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-3708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-3708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-37087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-37087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-37087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-37087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-36799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-36799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-36799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-36799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-36799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-36799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-36799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-36799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-36799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-36799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-36799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-36799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-36799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-36799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-36799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-36799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-36799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-36511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-36511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-36511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-36511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-36511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-36511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-36511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-36511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-36511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-36511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-36511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-36511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-36511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-36511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-36511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-36511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-36511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-36223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-36223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-36223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-36223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-36223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-36223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-36223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-36223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-36223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-36223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-36223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-36223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-36223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-36223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-36223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-36223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-36223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-35935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-35935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-35935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-35935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-35935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-35935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-35935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-35935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-35935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-35935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-35935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-35935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-35935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-35935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-35935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-35935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-35935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-34786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-34786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-34786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-34786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-34786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-34786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-34786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-34786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-34786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-34786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-34786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-34786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-34786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-3507479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-3507479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-3507479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-3507479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-3507479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-3507479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-3507479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-3507479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-3507479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-3507479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-3507479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-3507479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-3507479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-35362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-35362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-35362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-35362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-35362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-35362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-35362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-35362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-35362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-35362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-35362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-35362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-35362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-3564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-3564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-3564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-3564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-3564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-3564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-3564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-3564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-3564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-3564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-3564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Straight Connector 527"/>
            <p:cNvSpPr/>
            <p:nvPr/>
          </p:nvSpPr>
          <p:spPr>
            <a:xfrm>
              <a:off x="-3564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-3564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5"/>
            <p:cNvSpPr/>
            <p:nvPr/>
          </p:nvSpPr>
          <p:spPr>
            <a:xfrm>
              <a:off x="-4857120" y="4914360"/>
              <a:ext cx="64080" cy="15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-4856400" y="5070960"/>
              <a:ext cx="3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7"/>
            <p:cNvSpPr/>
            <p:nvPr/>
          </p:nvSpPr>
          <p:spPr>
            <a:xfrm>
              <a:off x="-522720" y="4912919"/>
              <a:ext cx="54360" cy="12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-522000" y="50454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29"/>
            <p:cNvSpPr/>
            <p:nvPr/>
          </p:nvSpPr>
          <p:spPr>
            <a:xfrm>
              <a:off x="-4664520" y="4919400"/>
              <a:ext cx="8964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-4662720" y="5136840"/>
              <a:ext cx="50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Freeform: Shape 531"/>
            <p:cNvSpPr/>
            <p:nvPr/>
          </p:nvSpPr>
          <p:spPr>
            <a:xfrm>
              <a:off x="-905039" y="4865040"/>
              <a:ext cx="110160" cy="26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-903240" y="5133240"/>
              <a:ext cx="61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-5202360" y="4673160"/>
              <a:ext cx="967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Straight Connector 538"/>
            <p:cNvSpPr/>
            <p:nvPr/>
          </p:nvSpPr>
          <p:spPr>
            <a:xfrm>
              <a:off x="-513252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-432180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Freeform: Shape 536"/>
            <p:cNvSpPr/>
            <p:nvPr/>
          </p:nvSpPr>
          <p:spPr>
            <a:xfrm>
              <a:off x="-5130720" y="447120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-506700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-501948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-496980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-49215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-48733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-482508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-477648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-43898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-443772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-448704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-453528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-45835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-463176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-468036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Straight Connector 555"/>
            <p:cNvSpPr/>
            <p:nvPr/>
          </p:nvSpPr>
          <p:spPr>
            <a:xfrm>
              <a:off x="-4728239" y="462456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-5539320" y="467316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Freeform: Shape 553"/>
            <p:cNvSpPr/>
            <p:nvPr/>
          </p:nvSpPr>
          <p:spPr>
            <a:xfrm>
              <a:off x="-5539320" y="447120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-520056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-524844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-529812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-53463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-539496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-544320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-549144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-4391279" y="4673160"/>
              <a:ext cx="162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Freeform: Shape 562"/>
            <p:cNvSpPr/>
            <p:nvPr/>
          </p:nvSpPr>
          <p:spPr>
            <a:xfrm>
              <a:off x="-4319640" y="4475160"/>
              <a:ext cx="164160" cy="103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-42566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-4208400" y="4553640"/>
              <a:ext cx="0" cy="93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-4159080" y="4578840"/>
              <a:ext cx="0" cy="5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Freeform: Shape 566"/>
            <p:cNvSpPr/>
            <p:nvPr/>
          </p:nvSpPr>
          <p:spPr>
            <a:xfrm>
              <a:off x="3089160" y="3954240"/>
              <a:ext cx="279360" cy="70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Freeform: Shape 567"/>
            <p:cNvSpPr/>
            <p:nvPr/>
          </p:nvSpPr>
          <p:spPr>
            <a:xfrm>
              <a:off x="3156479" y="4094280"/>
              <a:ext cx="150480" cy="196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219839" y="4127040"/>
              <a:ext cx="21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213720" y="4158720"/>
              <a:ext cx="33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208320" y="4190399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202560" y="4221719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196800" y="4253400"/>
              <a:ext cx="67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191040" y="4285080"/>
              <a:ext cx="78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185279" y="4316760"/>
              <a:ext cx="90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179880" y="4348440"/>
              <a:ext cx="101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174120" y="4380120"/>
              <a:ext cx="112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168360" y="4411800"/>
              <a:ext cx="1234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162600" y="4443120"/>
              <a:ext cx="135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156840" y="4474440"/>
              <a:ext cx="14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151080" y="4506120"/>
              <a:ext cx="15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145679" y="4537800"/>
              <a:ext cx="168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139559" y="4569480"/>
              <a:ext cx="180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8" name="Straight Connector 587"/>
            <p:cNvSpPr/>
            <p:nvPr/>
          </p:nvSpPr>
          <p:spPr>
            <a:xfrm>
              <a:off x="3134160" y="4601160"/>
              <a:ext cx="191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9" name="Straight Connector 588"/>
            <p:cNvSpPr/>
            <p:nvPr/>
          </p:nvSpPr>
          <p:spPr>
            <a:xfrm>
              <a:off x="3128400" y="4632840"/>
              <a:ext cx="20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24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87283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048"/>
            <a:ext cx="12192000" cy="686409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8" y="5158742"/>
            <a:ext cx="11061895" cy="384175"/>
          </a:xfrm>
          <a:prstGeom prst="rect">
            <a:avLst/>
          </a:prstGeom>
        </p:spPr>
        <p:txBody>
          <a:bodyPr lIns="121125" tIns="60562" rIns="121125" bIns="60562" anchor="b" anchorCtr="0">
            <a:noAutofit/>
          </a:bodyPr>
          <a:lstStyle>
            <a:lvl1pPr marL="0" indent="0" algn="l">
              <a:buNone/>
              <a:defRPr sz="2100" b="0" i="0">
                <a:solidFill>
                  <a:schemeClr val="bg2"/>
                </a:solidFill>
                <a:latin typeface="+mn-lt"/>
                <a:cs typeface="CiscoSansTT ExtraLight"/>
              </a:defRPr>
            </a:lvl1pPr>
            <a:lvl2pPr marL="453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7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1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15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69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23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769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30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8" y="5478738"/>
            <a:ext cx="11061895" cy="384175"/>
          </a:xfrm>
          <a:prstGeom prst="rect">
            <a:avLst/>
          </a:prstGeom>
        </p:spPr>
        <p:txBody>
          <a:bodyPr lIns="121125" tIns="60562" rIns="121125" bIns="60562"/>
          <a:lstStyle>
            <a:lvl1pPr marL="0" indent="0" algn="l">
              <a:buFontTx/>
              <a:buNone/>
              <a:defRPr lang="en-US" sz="2100" b="0" i="0" kern="1200" dirty="0" smtClean="0">
                <a:solidFill>
                  <a:schemeClr val="bg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8" y="5798734"/>
            <a:ext cx="11061895" cy="384175"/>
          </a:xfrm>
          <a:prstGeom prst="rect">
            <a:avLst/>
          </a:prstGeom>
        </p:spPr>
        <p:txBody>
          <a:bodyPr lIns="121125" tIns="60562" rIns="121125" bIns="60562"/>
          <a:lstStyle>
            <a:lvl1pPr marL="0" indent="0" algn="l">
              <a:buFontTx/>
              <a:buNone/>
              <a:defRPr lang="en-US" sz="2100" b="0" i="0" kern="1200" dirty="0" smtClean="0">
                <a:solidFill>
                  <a:schemeClr val="bg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30" y="4281951"/>
            <a:ext cx="11070167" cy="398668"/>
          </a:xfrm>
          <a:prstGeom prst="rect">
            <a:avLst/>
          </a:prstGeom>
        </p:spPr>
        <p:txBody>
          <a:bodyPr lIns="121125" tIns="60562" rIns="121125" bIns="60562"/>
          <a:lstStyle>
            <a:lvl1pPr marL="0" indent="0">
              <a:buFont typeface="Arial" panose="020B0604020202020204" pitchFamily="34" charset="0"/>
              <a:buNone/>
              <a:defRPr sz="2900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3485" indent="0">
              <a:buNone/>
              <a:defRPr/>
            </a:lvl2pPr>
            <a:lvl3pPr marL="565823" indent="0">
              <a:buNone/>
              <a:defRPr/>
            </a:lvl3pPr>
            <a:lvl4pPr marL="684126" indent="0">
              <a:buNone/>
              <a:defRPr/>
            </a:lvl4pPr>
            <a:lvl5pPr marL="795848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00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625995" y="521747"/>
            <a:ext cx="1060704" cy="563500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152" tIns="60576" rIns="121152" bIns="60576" numCol="1" anchor="t" anchorCtr="0" compatLnSpc="1">
            <a:prstTxWarp prst="textNoShape">
              <a:avLst/>
            </a:prstTxWarp>
          </a:bodyPr>
          <a:lstStyle/>
          <a:p>
            <a:pPr defTabSz="605118"/>
            <a:endParaRPr lang="en-US" sz="1900">
              <a:solidFill>
                <a:srgbClr val="004F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3903979171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048"/>
            <a:ext cx="12192000" cy="6864096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26192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048"/>
            <a:ext cx="12192000" cy="6864096"/>
          </a:xfrm>
          <a:prstGeom prst="rect">
            <a:avLst/>
          </a:prstGeom>
        </p:spPr>
      </p:pic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125" tIns="60562" rIns="121125" bIns="60562" anchor="b" anchorCtr="0">
            <a:noAutofit/>
          </a:bodyPr>
          <a:lstStyle>
            <a:lvl1pPr marL="0" indent="0" algn="l" defTabSz="79898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75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3067" indent="-529437" algn="l">
              <a:lnSpc>
                <a:spcPct val="90000"/>
              </a:lnSpc>
              <a:defRPr sz="53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691770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0C857-6300-BB45-B761-3118435F1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F5BCA8-BE4B-4F4B-B658-687896CC21E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A6098B-9EE8-1840-A8D2-6837F9AE45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F3E717-D690-554A-8966-1704E0C4EE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D8110-A292-5241-B630-D6774E40F8D8}" type="datetimeFigureOut">
              <a:rPr lang="en-US" smtClean="0"/>
              <a:t>1/16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442F86-340E-C944-B6E4-6800EF7A3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5C096F-0153-EB4B-B1FA-E6DDAFDBC3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55991-60D6-4E43-B72D-641256C7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9564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87" y="6172585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125" tIns="60562" rIns="121125" bIns="60562"/>
          <a:lstStyle>
            <a:lvl1pPr marL="0" indent="0" algn="ctr">
              <a:buNone/>
              <a:defRPr sz="29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752" y="4610234"/>
            <a:ext cx="10852149" cy="744807"/>
          </a:xfrm>
          <a:prstGeom prst="rect">
            <a:avLst/>
          </a:prstGeom>
          <a:solidFill>
            <a:schemeClr val="accent1"/>
          </a:solidFill>
        </p:spPr>
        <p:txBody>
          <a:bodyPr wrap="square" lIns="242113" tIns="121152" rIns="242113" bIns="121152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3867"/>
              </a:lnSpc>
              <a:spcBef>
                <a:spcPts val="0"/>
              </a:spcBef>
              <a:buNone/>
              <a:defRPr sz="32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4378880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52" tIns="60576" rIns="121152" bIns="60576" rtlCol="0" anchor="ctr"/>
          <a:lstStyle/>
          <a:p>
            <a:pPr algn="ctr" defTabSz="605118"/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636908" y="6322207"/>
            <a:ext cx="4622389" cy="20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539" tIns="41055" rIns="81539" bIns="41055" anchor="b">
            <a:spAutoFit/>
          </a:bodyPr>
          <a:lstStyle/>
          <a:p>
            <a:pPr defTabSz="808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dirty="0">
                <a:solidFill>
                  <a:srgbClr val="004F73">
                    <a:alpha val="60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386"/>
            <a:ext cx="11417563" cy="3389567"/>
          </a:xfrm>
          <a:prstGeom prst="rect">
            <a:avLst/>
          </a:prstGeom>
          <a:solidFill>
            <a:schemeClr val="bg1"/>
          </a:solidFill>
        </p:spPr>
        <p:txBody>
          <a:bodyPr vert="horz" lIns="121125" tIns="60562" rIns="121125" bIns="60562"/>
          <a:lstStyle>
            <a:lvl1pPr marL="0" indent="0" algn="ctr">
              <a:buNone/>
              <a:defRPr sz="29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8381" y="4072729"/>
            <a:ext cx="11152315" cy="750969"/>
          </a:xfrm>
          <a:prstGeom prst="rect">
            <a:avLst/>
          </a:prstGeom>
        </p:spPr>
        <p:txBody>
          <a:bodyPr vert="horz" wrap="square" lIns="121152" tIns="60576" rIns="121152" bIns="60576">
            <a:spAutoFit/>
          </a:bodyPr>
          <a:lstStyle>
            <a:lvl1pPr marL="0" indent="0">
              <a:buNone/>
              <a:defRPr sz="43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4721518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87" y="6172585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125" tIns="60562" rIns="121125" bIns="60562"/>
          <a:lstStyle>
            <a:lvl1pPr marL="0" indent="0" algn="ctr">
              <a:buNone/>
              <a:defRPr sz="29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792494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12124267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52" tIns="60576" rIns="121152" bIns="60576" rtlCol="0" anchor="ctr"/>
          <a:lstStyle/>
          <a:p>
            <a:pPr algn="ctr" defTabSz="605118"/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636908" y="6322207"/>
            <a:ext cx="4622389" cy="20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539" tIns="41055" rIns="81539" bIns="41055" anchor="b">
            <a:spAutoFit/>
          </a:bodyPr>
          <a:lstStyle/>
          <a:p>
            <a:pPr defTabSz="808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dirty="0">
                <a:solidFill>
                  <a:srgbClr val="004F73">
                    <a:alpha val="60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4"/>
            <a:ext cx="11307184" cy="5688861"/>
          </a:xfrm>
          <a:prstGeom prst="rect">
            <a:avLst/>
          </a:prstGeom>
          <a:solidFill>
            <a:schemeClr val="bg2"/>
          </a:solidFill>
        </p:spPr>
        <p:txBody>
          <a:bodyPr vert="horz" lIns="121130" tIns="60565" rIns="121130" bIns="60565"/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689219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797051"/>
            <a:ext cx="11036459" cy="4224280"/>
          </a:xfrm>
          <a:prstGeom prst="rect">
            <a:avLst/>
          </a:prstGeom>
        </p:spPr>
        <p:txBody>
          <a:bodyPr lIns="121125" tIns="60562" rIns="121125" bIns="60562">
            <a:noAutofit/>
          </a:bodyPr>
          <a:lstStyle>
            <a:lvl1pPr marL="371873" indent="-29607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72566" indent="-28568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89806" indent="-22701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06043" indent="-22701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32863" indent="-22277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4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30" tIns="60565" rIns="121130" bIns="60565" numCol="1" anchor="ctr" anchorCtr="0" compatLnSpc="1">
            <a:prstTxWarp prst="textNoShape">
              <a:avLst/>
            </a:prstTxWarp>
          </a:bodyPr>
          <a:lstStyle>
            <a:lvl1pPr>
              <a:defRPr sz="3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4732385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60562" rIns="0" bIns="60562">
            <a:noAutofit/>
          </a:bodyPr>
          <a:lstStyle>
            <a:lvl1pPr marL="231292" indent="-15547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5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2536" indent="-151244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5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3780" indent="-151244">
              <a:buClr>
                <a:schemeClr val="tx1"/>
              </a:buClr>
              <a:buSzPct val="5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5146" indent="-151244">
              <a:buClr>
                <a:schemeClr val="tx1"/>
              </a:buClr>
              <a:buSzPct val="5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36650" indent="-151244">
              <a:buClr>
                <a:schemeClr val="tx1"/>
              </a:buClr>
              <a:buSzPct val="5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60562" rIns="0" bIns="60562">
            <a:noAutofit/>
          </a:bodyPr>
          <a:lstStyle>
            <a:lvl1pPr marL="231292" indent="-15547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5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2536" indent="-151244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5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3780" indent="-151244">
              <a:buClr>
                <a:schemeClr val="tx1"/>
              </a:buClr>
              <a:buSzPct val="5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5146" indent="-151244">
              <a:buClr>
                <a:schemeClr val="tx1"/>
              </a:buClr>
              <a:buSzPct val="5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36650" indent="-151244">
              <a:buClr>
                <a:schemeClr val="tx1"/>
              </a:buClr>
              <a:buSzPct val="5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4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6683674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4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30" tIns="60565" rIns="121130" bIns="60565" numCol="1" anchor="ctr" anchorCtr="0" compatLnSpc="1">
            <a:prstTxWarp prst="textNoShape">
              <a:avLst/>
            </a:prstTxWarp>
          </a:bodyPr>
          <a:lstStyle>
            <a:lvl1pPr>
              <a:defRPr sz="3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2586224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1298849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711200" y="1797053"/>
            <a:ext cx="10820400" cy="3544971"/>
          </a:xfrm>
          <a:prstGeom prst="rect">
            <a:avLst/>
          </a:prstGeom>
        </p:spPr>
        <p:txBody>
          <a:bodyPr lIns="121125" tIns="60562" rIns="121125" bIns="60562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2" y="5531345"/>
            <a:ext cx="9573749" cy="434977"/>
          </a:xfrm>
          <a:prstGeom prst="rect">
            <a:avLst/>
          </a:prstGeom>
        </p:spPr>
        <p:txBody>
          <a:bodyPr wrap="square" lIns="121125" tIns="60562" rIns="121125" bIns="60562" anchor="b" anchorCtr="0">
            <a:noAutofit/>
          </a:bodyPr>
          <a:lstStyle>
            <a:lvl1pPr algn="l" defTabSz="798987">
              <a:lnSpc>
                <a:spcPct val="100000"/>
              </a:lnSpc>
              <a:spcBef>
                <a:spcPct val="50000"/>
              </a:spcBef>
              <a:buNone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4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4443556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711200" y="1602320"/>
            <a:ext cx="10820400" cy="3744383"/>
          </a:xfrm>
          <a:prstGeom prst="rect">
            <a:avLst/>
          </a:prstGeom>
        </p:spPr>
        <p:txBody>
          <a:bodyPr vert="horz" lIns="121125" tIns="60562" rIns="121125" bIns="60562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2" y="5531345"/>
            <a:ext cx="9573749" cy="434977"/>
          </a:xfrm>
          <a:prstGeom prst="rect">
            <a:avLst/>
          </a:prstGeom>
        </p:spPr>
        <p:txBody>
          <a:bodyPr wrap="square" lIns="121125" tIns="60562" rIns="121125" bIns="60562" anchor="b" anchorCtr="0">
            <a:noAutofit/>
          </a:bodyPr>
          <a:lstStyle>
            <a:lvl1pPr algn="l" defTabSz="798987">
              <a:lnSpc>
                <a:spcPct val="100000"/>
              </a:lnSpc>
              <a:spcBef>
                <a:spcPct val="50000"/>
              </a:spcBef>
              <a:buNone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4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999276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9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42" Type="http://schemas.openxmlformats.org/officeDocument/2006/relationships/slideLayout" Target="../slideLayouts/slideLayout80.xml"/><Relationship Id="rId47" Type="http://schemas.openxmlformats.org/officeDocument/2006/relationships/slideLayout" Target="../slideLayouts/slideLayout85.xml"/><Relationship Id="rId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slideLayout" Target="../slideLayouts/slideLayout75.xml"/><Relationship Id="rId40" Type="http://schemas.openxmlformats.org/officeDocument/2006/relationships/slideLayout" Target="../slideLayouts/slideLayout78.xml"/><Relationship Id="rId45" Type="http://schemas.openxmlformats.org/officeDocument/2006/relationships/slideLayout" Target="../slideLayouts/slideLayout83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slideLayout" Target="../slideLayouts/slideLayout74.xml"/><Relationship Id="rId49" Type="http://schemas.openxmlformats.org/officeDocument/2006/relationships/theme" Target="../theme/theme3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4" Type="http://schemas.openxmlformats.org/officeDocument/2006/relationships/slideLayout" Target="../slideLayouts/slideLayout82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Relationship Id="rId43" Type="http://schemas.openxmlformats.org/officeDocument/2006/relationships/slideLayout" Target="../slideLayouts/slideLayout81.xml"/><Relationship Id="rId48" Type="http://schemas.openxmlformats.org/officeDocument/2006/relationships/slideLayout" Target="../slideLayouts/slideLayout86.xml"/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38" Type="http://schemas.openxmlformats.org/officeDocument/2006/relationships/slideLayout" Target="../slideLayouts/slideLayout76.xml"/><Relationship Id="rId4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58.xml"/><Relationship Id="rId41" Type="http://schemas.openxmlformats.org/officeDocument/2006/relationships/slideLayout" Target="../slideLayouts/slideLayout79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21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20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7.xml"/><Relationship Id="rId18" Type="http://schemas.openxmlformats.org/officeDocument/2006/relationships/slideLayout" Target="../slideLayouts/slideLayout142.xml"/><Relationship Id="rId26" Type="http://schemas.openxmlformats.org/officeDocument/2006/relationships/slideLayout" Target="../slideLayouts/slideLayout150.xml"/><Relationship Id="rId39" Type="http://schemas.openxmlformats.org/officeDocument/2006/relationships/slideLayout" Target="../slideLayouts/slideLayout163.xml"/><Relationship Id="rId21" Type="http://schemas.openxmlformats.org/officeDocument/2006/relationships/slideLayout" Target="../slideLayouts/slideLayout145.xml"/><Relationship Id="rId34" Type="http://schemas.openxmlformats.org/officeDocument/2006/relationships/slideLayout" Target="../slideLayouts/slideLayout158.xml"/><Relationship Id="rId42" Type="http://schemas.openxmlformats.org/officeDocument/2006/relationships/slideLayout" Target="../slideLayouts/slideLayout166.xml"/><Relationship Id="rId47" Type="http://schemas.openxmlformats.org/officeDocument/2006/relationships/slideLayout" Target="../slideLayouts/slideLayout171.xml"/><Relationship Id="rId50" Type="http://schemas.openxmlformats.org/officeDocument/2006/relationships/vmlDrawing" Target="../drawings/vmlDrawing1.vml"/><Relationship Id="rId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35.xml"/><Relationship Id="rId24" Type="http://schemas.openxmlformats.org/officeDocument/2006/relationships/slideLayout" Target="../slideLayouts/slideLayout148.xml"/><Relationship Id="rId32" Type="http://schemas.openxmlformats.org/officeDocument/2006/relationships/slideLayout" Target="../slideLayouts/slideLayout156.xml"/><Relationship Id="rId37" Type="http://schemas.openxmlformats.org/officeDocument/2006/relationships/slideLayout" Target="../slideLayouts/slideLayout161.xml"/><Relationship Id="rId40" Type="http://schemas.openxmlformats.org/officeDocument/2006/relationships/slideLayout" Target="../slideLayouts/slideLayout164.xml"/><Relationship Id="rId45" Type="http://schemas.openxmlformats.org/officeDocument/2006/relationships/slideLayout" Target="../slideLayouts/slideLayout169.xml"/><Relationship Id="rId53" Type="http://schemas.openxmlformats.org/officeDocument/2006/relationships/image" Target="../media/image8.emf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19" Type="http://schemas.openxmlformats.org/officeDocument/2006/relationships/slideLayout" Target="../slideLayouts/slideLayout143.xml"/><Relationship Id="rId31" Type="http://schemas.openxmlformats.org/officeDocument/2006/relationships/slideLayout" Target="../slideLayouts/slideLayout155.xml"/><Relationship Id="rId44" Type="http://schemas.openxmlformats.org/officeDocument/2006/relationships/slideLayout" Target="../slideLayouts/slideLayout168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Relationship Id="rId22" Type="http://schemas.openxmlformats.org/officeDocument/2006/relationships/slideLayout" Target="../slideLayouts/slideLayout146.xml"/><Relationship Id="rId27" Type="http://schemas.openxmlformats.org/officeDocument/2006/relationships/slideLayout" Target="../slideLayouts/slideLayout151.xml"/><Relationship Id="rId30" Type="http://schemas.openxmlformats.org/officeDocument/2006/relationships/slideLayout" Target="../slideLayouts/slideLayout154.xml"/><Relationship Id="rId35" Type="http://schemas.openxmlformats.org/officeDocument/2006/relationships/slideLayout" Target="../slideLayouts/slideLayout159.xml"/><Relationship Id="rId43" Type="http://schemas.openxmlformats.org/officeDocument/2006/relationships/slideLayout" Target="../slideLayouts/slideLayout167.xml"/><Relationship Id="rId48" Type="http://schemas.openxmlformats.org/officeDocument/2006/relationships/slideLayout" Target="../slideLayouts/slideLayout172.xml"/><Relationship Id="rId8" Type="http://schemas.openxmlformats.org/officeDocument/2006/relationships/slideLayout" Target="../slideLayouts/slideLayout132.xml"/><Relationship Id="rId51" Type="http://schemas.openxmlformats.org/officeDocument/2006/relationships/tags" Target="../tags/tag1.xml"/><Relationship Id="rId3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6.xml"/><Relationship Id="rId17" Type="http://schemas.openxmlformats.org/officeDocument/2006/relationships/slideLayout" Target="../slideLayouts/slideLayout141.xml"/><Relationship Id="rId25" Type="http://schemas.openxmlformats.org/officeDocument/2006/relationships/slideLayout" Target="../slideLayouts/slideLayout149.xml"/><Relationship Id="rId33" Type="http://schemas.openxmlformats.org/officeDocument/2006/relationships/slideLayout" Target="../slideLayouts/slideLayout157.xml"/><Relationship Id="rId38" Type="http://schemas.openxmlformats.org/officeDocument/2006/relationships/slideLayout" Target="../slideLayouts/slideLayout162.xml"/><Relationship Id="rId46" Type="http://schemas.openxmlformats.org/officeDocument/2006/relationships/slideLayout" Target="../slideLayouts/slideLayout170.xml"/><Relationship Id="rId20" Type="http://schemas.openxmlformats.org/officeDocument/2006/relationships/slideLayout" Target="../slideLayouts/slideLayout144.xml"/><Relationship Id="rId41" Type="http://schemas.openxmlformats.org/officeDocument/2006/relationships/slideLayout" Target="../slideLayouts/slideLayout165.xml"/><Relationship Id="rId54" Type="http://schemas.openxmlformats.org/officeDocument/2006/relationships/image" Target="../media/image1.png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39.xml"/><Relationship Id="rId23" Type="http://schemas.openxmlformats.org/officeDocument/2006/relationships/slideLayout" Target="../slideLayouts/slideLayout147.xml"/><Relationship Id="rId28" Type="http://schemas.openxmlformats.org/officeDocument/2006/relationships/slideLayout" Target="../slideLayouts/slideLayout152.xml"/><Relationship Id="rId36" Type="http://schemas.openxmlformats.org/officeDocument/2006/relationships/slideLayout" Target="../slideLayouts/slideLayout160.xml"/><Relationship Id="rId49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C16E78-9D49-924A-ADCE-C977344B4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5459E2-4C8A-3B47-9729-AD65135F38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4C3BF5-8750-4E4B-942F-6AF40B2DC5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AD8110-A292-5241-B630-D6774E40F8D8}" type="datetimeFigureOut">
              <a:rPr lang="en-US" smtClean="0"/>
              <a:t>1/1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EA4C09-586A-0E4F-9F94-0489A1971B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5BAA6A-499C-8447-A51E-D2CB0BF2F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E55991-60D6-4E43-B72D-641256C7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615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4200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61039" y="6323876"/>
            <a:ext cx="284456" cy="206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56" rIns="82115" bIns="41056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823344" y="6322205"/>
            <a:ext cx="354402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15" tIns="41056" rIns="82115" bIns="41056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6905" y="6167967"/>
            <a:ext cx="565573" cy="353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4447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9" r:id="rId27"/>
  </p:sldLayoutIdLst>
  <p:transition spd="slow">
    <p:wipe/>
  </p:transition>
  <p:hf sldNum="0" hdr="0" ftr="0" dt="0"/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267" b="0" i="0" u="none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78" indent="-226478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55" indent="-287859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719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636906" y="6322205"/>
            <a:ext cx="453473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 dirty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8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35750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  <p:sldLayoutId id="2147483718" r:id="rId28"/>
    <p:sldLayoutId id="2147483719" r:id="rId29"/>
    <p:sldLayoutId id="2147483720" r:id="rId30"/>
    <p:sldLayoutId id="2147483721" r:id="rId31"/>
    <p:sldLayoutId id="2147483722" r:id="rId32"/>
    <p:sldLayoutId id="2147483723" r:id="rId33"/>
    <p:sldLayoutId id="2147483724" r:id="rId34"/>
    <p:sldLayoutId id="2147483725" r:id="rId35"/>
    <p:sldLayoutId id="2147483726" r:id="rId36"/>
    <p:sldLayoutId id="2147483727" r:id="rId37"/>
    <p:sldLayoutId id="2147483728" r:id="rId38"/>
    <p:sldLayoutId id="2147483729" r:id="rId39"/>
    <p:sldLayoutId id="2147483730" r:id="rId40"/>
    <p:sldLayoutId id="2147483731" r:id="rId41"/>
    <p:sldLayoutId id="2147483732" r:id="rId42"/>
    <p:sldLayoutId id="2147483733" r:id="rId43"/>
    <p:sldLayoutId id="2147483734" r:id="rId44"/>
    <p:sldLayoutId id="2147483735" r:id="rId45"/>
    <p:sldLayoutId id="2147483736" r:id="rId46"/>
    <p:sldLayoutId id="2147483737" r:id="rId47"/>
    <p:sldLayoutId id="2147483738" r:id="rId48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33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78" indent="-226478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55" indent="-287859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719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8" orient="horz" pos="2892">
          <p15:clr>
            <a:srgbClr val="F26B43"/>
          </p15:clr>
        </p15:guide>
        <p15:guide id="9" pos="336">
          <p15:clr>
            <a:srgbClr val="F26B43"/>
          </p15:clr>
        </p15:guide>
        <p15:guide id="10" pos="5448">
          <p15:clr>
            <a:srgbClr val="F26B43"/>
          </p15:clr>
        </p15:guide>
        <p15:guide id="11" orient="horz" pos="756">
          <p15:clr>
            <a:srgbClr val="F26B43"/>
          </p15:clr>
        </p15:guide>
        <p15:guide id="12" orient="horz" pos="336">
          <p15:clr>
            <a:srgbClr val="F26B43"/>
          </p15:clr>
        </p15:guide>
        <p15:guide id="13" pos="2876">
          <p15:clr>
            <a:srgbClr val="F26B43"/>
          </p15:clr>
        </p15:guide>
        <p15:guide id="14" orient="horz" pos="1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/>
          <p:cNvSpPr>
            <a:spLocks noChangeAspect="1" noEditPoints="1"/>
          </p:cNvSpPr>
          <p:nvPr/>
        </p:nvSpPr>
        <p:spPr bwMode="auto">
          <a:xfrm>
            <a:off x="690035" y="6222160"/>
            <a:ext cx="455796" cy="24214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152" tIns="60576" rIns="121152" bIns="60576" numCol="1" anchor="t" anchorCtr="0" compatLnSpc="1">
            <a:prstTxWarp prst="textNoShape">
              <a:avLst/>
            </a:prstTxWarp>
          </a:bodyPr>
          <a:lstStyle/>
          <a:p>
            <a:pPr defTabSz="605118"/>
            <a:endParaRPr lang="en-US" sz="1900">
              <a:solidFill>
                <a:srgbClr val="282828"/>
              </a:solidFill>
              <a:ea typeface="ＭＳ Ｐゴシック" pitchFamily="34" charset="-128"/>
              <a:cs typeface=""/>
            </a:endParaRPr>
          </a:p>
        </p:txBody>
      </p:sp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4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130" tIns="60565" rIns="121130" bIns="6056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355793" y="6323878"/>
            <a:ext cx="289705" cy="2060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539" tIns="41055" rIns="81539" bIns="41055" anchor="b">
            <a:spAutoFit/>
          </a:bodyPr>
          <a:lstStyle/>
          <a:p>
            <a:pPr algn="r" defTabSz="808545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>
                <a:solidFill>
                  <a:srgbClr val="000000">
                    <a:alpha val="25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pPr algn="r" defTabSz="80854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CiscoSansTT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7823344" y="6322207"/>
            <a:ext cx="3544024" cy="20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1539" tIns="41055" rIns="81539" bIns="41055" anchor="b">
            <a:spAutoFit/>
          </a:bodyPr>
          <a:lstStyle/>
          <a:p>
            <a:pPr defTabSz="808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CiscoSansTT ExtraLight"/>
                <a:ea typeface="ＭＳ Ｐゴシック" pitchFamily="34" charset="-128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93536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</p:sldLayoutIdLst>
  <p:transition>
    <p:fade/>
  </p:transition>
  <p:txStyles>
    <p:titleStyle>
      <a:lvl1pPr algn="l" defTabSz="90573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0573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0573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0573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0573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5118" algn="l" defTabSz="90573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0530" algn="l" defTabSz="90573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15699" algn="l" defTabSz="90573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21058" algn="l" defTabSz="90573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4942" indent="-224942" algn="l" defTabSz="905733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4899" indent="-285740" algn="l" defTabSz="905733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1686" indent="-224942" algn="l" defTabSz="90573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66358" indent="-224942" algn="l" defTabSz="90573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0838" indent="-224942" algn="l" defTabSz="90573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43714" indent="-227052" algn="l" defTabSz="907819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38884" indent="-227021" algn="l" defTabSz="907819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77175" indent="0" algn="l" defTabSz="907819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58326" indent="-227052" algn="l" defTabSz="90781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3715" algn="l" defTabSz="9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07819" algn="l" defTabSz="9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1727" algn="l" defTabSz="9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15639" algn="l" defTabSz="9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69734" algn="l" defTabSz="9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23457" algn="l" defTabSz="9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77175" algn="l" defTabSz="9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31123" algn="l" defTabSz="9078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08" tIns="45704" rIns="91408" bIns="4570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4667" y="6323892"/>
            <a:ext cx="290836" cy="2060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9" tIns="41048" rIns="82099" bIns="41048" anchor="b">
            <a:spAutoFit/>
          </a:bodyPr>
          <a:lstStyle/>
          <a:p>
            <a:pPr algn="r" defTabSz="814150"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814150"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823345" y="6322227"/>
            <a:ext cx="3544024" cy="20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99" tIns="41048" rIns="82099" bIns="41048" anchor="b">
            <a:spAutoFit/>
          </a:bodyPr>
          <a:lstStyle/>
          <a:p>
            <a:pPr defTabSz="814150"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6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3496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8" r:id="rId7"/>
    <p:sldLayoutId id="2147483780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208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267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208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08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08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08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467" algn="l" defTabSz="91208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8936" algn="l" defTabSz="91208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405" algn="l" defTabSz="91208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7874" algn="l" defTabSz="91208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36" indent="-226436" algn="l" defTabSz="912087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263" indent="-287803" algn="l" defTabSz="912087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608" indent="-226436" algn="l" defTabSz="91208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838" indent="-226436" algn="l" defTabSz="91208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068" indent="-226436" algn="l" defTabSz="91208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558" indent="-228545" algn="l" defTabSz="914172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22" indent="-228514" algn="l" defTabSz="914172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00" indent="0" algn="l" defTabSz="914172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30" indent="-228545" algn="l" defTabSz="91417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079" algn="l" defTabSz="91417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91417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5" algn="l" defTabSz="91417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3" algn="l" defTabSz="91417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0" algn="l" defTabSz="91417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5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52" imgW="476" imgH="357" progId="TCLayout.ActiveDocument.1">
                  <p:embed/>
                </p:oleObj>
              </mc:Choice>
              <mc:Fallback>
                <p:oleObj name="think-cell Slide" r:id="rId52" imgW="476" imgH="357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4200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Title Goes Here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6905" y="6403177"/>
            <a:ext cx="565573" cy="353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/>
          <p:cNvSpPr>
            <a:spLocks noChangeArrowheads="1"/>
          </p:cNvSpPr>
          <p:nvPr/>
        </p:nvSpPr>
        <p:spPr bwMode="ltGray">
          <a:xfrm>
            <a:off x="11354627" y="6559271"/>
            <a:ext cx="290868" cy="206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56" rIns="82115" bIns="41056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7048501" y="6556986"/>
            <a:ext cx="4223620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r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dirty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t>© 2018 Cisco and/or its affiliates. All rights reserved.  Cisco Confidential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838200" y="1826685"/>
            <a:ext cx="10515600" cy="176150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4838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  <p:sldLayoutId id="2147483802" r:id="rId21"/>
    <p:sldLayoutId id="2147483803" r:id="rId22"/>
    <p:sldLayoutId id="2147483804" r:id="rId23"/>
    <p:sldLayoutId id="2147483805" r:id="rId24"/>
    <p:sldLayoutId id="2147483806" r:id="rId25"/>
    <p:sldLayoutId id="2147483807" r:id="rId26"/>
    <p:sldLayoutId id="2147483808" r:id="rId27"/>
    <p:sldLayoutId id="2147483809" r:id="rId28"/>
    <p:sldLayoutId id="2147483810" r:id="rId29"/>
    <p:sldLayoutId id="2147483811" r:id="rId30"/>
    <p:sldLayoutId id="2147483812" r:id="rId31"/>
    <p:sldLayoutId id="2147483813" r:id="rId32"/>
    <p:sldLayoutId id="2147483814" r:id="rId33"/>
    <p:sldLayoutId id="2147483815" r:id="rId34"/>
    <p:sldLayoutId id="2147483816" r:id="rId35"/>
    <p:sldLayoutId id="2147483817" r:id="rId36"/>
    <p:sldLayoutId id="2147483818" r:id="rId37"/>
    <p:sldLayoutId id="2147483819" r:id="rId38"/>
    <p:sldLayoutId id="2147483820" r:id="rId39"/>
    <p:sldLayoutId id="2147483821" r:id="rId40"/>
    <p:sldLayoutId id="2147483822" r:id="rId41"/>
    <p:sldLayoutId id="2147483823" r:id="rId42"/>
    <p:sldLayoutId id="2147483824" r:id="rId43"/>
    <p:sldLayoutId id="2147483825" r:id="rId44"/>
    <p:sldLayoutId id="2147483826" r:id="rId45"/>
    <p:sldLayoutId id="2147483827" r:id="rId46"/>
    <p:sldLayoutId id="2147483828" r:id="rId47"/>
    <p:sldLayoutId id="2147483829" r:id="rId48"/>
  </p:sldLayoutIdLst>
  <p:transition spd="slow">
    <p:fade/>
  </p:transition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33" kern="1200" baseline="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78" indent="-226478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55" indent="-287859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719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tif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10-01-2020</a:t>
            </a:r>
          </a:p>
          <a:p>
            <a:r>
              <a:rPr lang="en-US" dirty="0"/>
              <a:t>Cisco CX</a:t>
            </a: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535899" y="3949789"/>
            <a:ext cx="11120203" cy="859640"/>
          </a:xfrm>
        </p:spPr>
        <p:txBody>
          <a:bodyPr/>
          <a:lstStyle/>
          <a:p>
            <a:br>
              <a:rPr lang="en-US" sz="4800" dirty="0"/>
            </a:br>
            <a:r>
              <a:rPr lang="en-US" sz="3733" dirty="0"/>
              <a:t>Custom Monitoring Application</a:t>
            </a:r>
            <a:br>
              <a:rPr lang="en-US" sz="3733" dirty="0"/>
            </a:br>
            <a:r>
              <a:rPr lang="en-US" sz="3733" dirty="0"/>
              <a:t>VC/UC + Network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41674536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E098954-93B8-41ED-9B8D-8735E4AC85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3689" y="1295400"/>
            <a:ext cx="5201497" cy="4876800"/>
          </a:xfrm>
        </p:spPr>
        <p:txBody>
          <a:bodyPr/>
          <a:lstStyle/>
          <a:p>
            <a:r>
              <a:rPr lang="en-US" sz="2400" dirty="0"/>
              <a:t>Features </a:t>
            </a:r>
          </a:p>
          <a:p>
            <a:pPr lvl="1"/>
            <a:r>
              <a:rPr lang="en-US" sz="2133" dirty="0"/>
              <a:t>Complete end to end view from Access to Core</a:t>
            </a:r>
          </a:p>
          <a:p>
            <a:pPr lvl="1"/>
            <a:r>
              <a:rPr lang="en-US" sz="2133" dirty="0"/>
              <a:t>Live topology to detect failures </a:t>
            </a:r>
          </a:p>
          <a:p>
            <a:pPr lvl="1"/>
            <a:r>
              <a:rPr lang="en-US" sz="2133" dirty="0"/>
              <a:t>Easy to detect color coding </a:t>
            </a:r>
          </a:p>
          <a:p>
            <a:pPr lvl="1"/>
            <a:r>
              <a:rPr lang="en-US" sz="2133" dirty="0"/>
              <a:t>Active path detection for easy troubleshooting </a:t>
            </a:r>
          </a:p>
          <a:p>
            <a:pPr lvl="1"/>
            <a:r>
              <a:rPr lang="en-US" sz="2133" dirty="0"/>
              <a:t>Context sensitive Menu to get all other info abut device</a:t>
            </a:r>
          </a:p>
          <a:p>
            <a:pPr lvl="1"/>
            <a:r>
              <a:rPr lang="en-US" sz="2133" dirty="0"/>
              <a:t>Quick Search in Topology for easy troubleshooting</a:t>
            </a:r>
            <a:endParaRPr lang="en-US" dirty="0"/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93FABF-B31C-4B2B-92AF-E4289C2C77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12727" y="1295400"/>
            <a:ext cx="5624613" cy="4978400"/>
          </a:xfrm>
        </p:spPr>
        <p:txBody>
          <a:bodyPr/>
          <a:lstStyle/>
          <a:p>
            <a:r>
              <a:rPr lang="en-US" sz="2400" dirty="0"/>
              <a:t>Business Benefits </a:t>
            </a:r>
          </a:p>
          <a:p>
            <a:pPr lvl="1"/>
            <a:r>
              <a:rPr lang="en-US" sz="2133" dirty="0"/>
              <a:t>Nearly no login required on device </a:t>
            </a:r>
          </a:p>
          <a:p>
            <a:pPr lvl="1"/>
            <a:r>
              <a:rPr lang="en-US" sz="2133" dirty="0"/>
              <a:t>Very easy to troubleshoot </a:t>
            </a:r>
          </a:p>
          <a:p>
            <a:pPr lvl="1"/>
            <a:r>
              <a:rPr lang="en-US" sz="2133" dirty="0"/>
              <a:t>Reduced mean time to detection </a:t>
            </a:r>
          </a:p>
          <a:p>
            <a:pPr lvl="1"/>
            <a:r>
              <a:rPr lang="en-US" sz="2133" dirty="0"/>
              <a:t>Drastic Reduction in manpower for troubleshooting </a:t>
            </a:r>
          </a:p>
          <a:p>
            <a:pPr lvl="1"/>
            <a:r>
              <a:rPr lang="en-US" sz="2133" dirty="0"/>
              <a:t>Over all improvements in downtime because of quick troubleshooting.</a:t>
            </a:r>
          </a:p>
          <a:p>
            <a:pPr lvl="1"/>
            <a:r>
              <a:rPr lang="en-US" sz="2133" dirty="0"/>
              <a:t>All required data to troubleshoot at glanc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BBF4293-1618-45E1-BD8D-A91E311984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Details:</a:t>
            </a:r>
            <a:br>
              <a:rPr lang="en-US" dirty="0"/>
            </a:br>
            <a:r>
              <a:rPr lang="en-US" dirty="0"/>
              <a:t>Consolidated Topology </a:t>
            </a:r>
          </a:p>
        </p:txBody>
      </p:sp>
    </p:spTree>
    <p:extLst>
      <p:ext uri="{BB962C8B-B14F-4D97-AF65-F5344CB8AC3E}">
        <p14:creationId xmlns:p14="http://schemas.microsoft.com/office/powerpoint/2010/main" val="4119076869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BD9D14-FAAC-4C24-BE18-39ACD81E1F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3689" y="1373604"/>
            <a:ext cx="5201497" cy="4110792"/>
          </a:xfrm>
        </p:spPr>
        <p:txBody>
          <a:bodyPr/>
          <a:lstStyle/>
          <a:p>
            <a:r>
              <a:rPr lang="en-US" sz="2400" dirty="0"/>
              <a:t>Features</a:t>
            </a:r>
            <a:r>
              <a:rPr lang="en-US" sz="2133" dirty="0"/>
              <a:t> </a:t>
            </a:r>
          </a:p>
          <a:p>
            <a:pPr lvl="1"/>
            <a:r>
              <a:rPr lang="en-US" sz="2133" dirty="0"/>
              <a:t>All IP faults at One place</a:t>
            </a:r>
          </a:p>
          <a:p>
            <a:pPr lvl="1"/>
            <a:r>
              <a:rPr lang="en-US" sz="2133" dirty="0"/>
              <a:t>Easy to address faults in one window </a:t>
            </a:r>
          </a:p>
          <a:p>
            <a:pPr lvl="1"/>
            <a:r>
              <a:rPr lang="en-US" sz="2133" dirty="0"/>
              <a:t>ML cluster based, rule based, syslog and fault correlation to understand trigger of problem.</a:t>
            </a:r>
          </a:p>
          <a:p>
            <a:pPr lvl="1"/>
            <a:r>
              <a:rPr lang="en-US" sz="2133" dirty="0"/>
              <a:t>2 Monitor approach to see impact of fault on topology or see impact on inventory </a:t>
            </a:r>
          </a:p>
          <a:p>
            <a:pPr lvl="1"/>
            <a:r>
              <a:rPr lang="en-US" sz="2133" dirty="0"/>
              <a:t>Context sensitive config window to see associated config changes on devices 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9D2F63-836F-4017-9466-ABFF09019C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73951" y="1436440"/>
            <a:ext cx="5624613" cy="4110792"/>
          </a:xfrm>
        </p:spPr>
        <p:txBody>
          <a:bodyPr/>
          <a:lstStyle/>
          <a:p>
            <a:r>
              <a:rPr lang="en-US" sz="2400" dirty="0"/>
              <a:t>Business Benefits </a:t>
            </a:r>
          </a:p>
          <a:p>
            <a:pPr lvl="1"/>
            <a:r>
              <a:rPr lang="en-US" sz="2133" dirty="0"/>
              <a:t>Drastic reduction of fault detection and resolution time.</a:t>
            </a:r>
          </a:p>
          <a:p>
            <a:pPr lvl="1"/>
            <a:r>
              <a:rPr lang="en-US" sz="2133" dirty="0"/>
              <a:t>Single screen for all IP faults.</a:t>
            </a:r>
          </a:p>
          <a:p>
            <a:pPr lvl="1"/>
            <a:r>
              <a:rPr lang="en-US" sz="2133" dirty="0"/>
              <a:t>Reduction in manpower </a:t>
            </a:r>
          </a:p>
          <a:p>
            <a:pPr lvl="1"/>
            <a:r>
              <a:rPr lang="en-US" sz="2133" dirty="0"/>
              <a:t>End 2 end picture of faults </a:t>
            </a:r>
          </a:p>
          <a:p>
            <a:pPr lvl="1"/>
            <a:r>
              <a:rPr lang="en-US" sz="2133" dirty="0"/>
              <a:t>Per Location, per device-type, per device fault filters for circle/location based management. </a:t>
            </a:r>
          </a:p>
          <a:p>
            <a:pPr marL="321659" lvl="1" indent="0">
              <a:buNone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F2A2E5-55FC-4A5C-8316-59AD3FDC4A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Details </a:t>
            </a:r>
            <a:br>
              <a:rPr lang="en-US" dirty="0"/>
            </a:br>
            <a:r>
              <a:rPr lang="en-US" dirty="0"/>
              <a:t>Consolidated Faults </a:t>
            </a:r>
          </a:p>
        </p:txBody>
      </p:sp>
    </p:spTree>
    <p:extLst>
      <p:ext uri="{BB962C8B-B14F-4D97-AF65-F5344CB8AC3E}">
        <p14:creationId xmlns:p14="http://schemas.microsoft.com/office/powerpoint/2010/main" val="2832795716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3C0B11-2B45-4A29-BE52-50BE034194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eatures</a:t>
            </a:r>
          </a:p>
          <a:p>
            <a:pPr lvl="1"/>
            <a:r>
              <a:rPr lang="en-US" sz="2133" dirty="0"/>
              <a:t>150 network KPIs at one place </a:t>
            </a:r>
          </a:p>
          <a:p>
            <a:pPr lvl="1"/>
            <a:r>
              <a:rPr lang="en-US" sz="2133" dirty="0"/>
              <a:t>High-level executive dashboards  quick understanding of PAN India </a:t>
            </a:r>
          </a:p>
          <a:p>
            <a:pPr lvl="1"/>
            <a:r>
              <a:rPr lang="en-US" sz="2133" dirty="0"/>
              <a:t>Detail KPI tracking for all devices, automated trend analysis </a:t>
            </a:r>
          </a:p>
          <a:p>
            <a:pPr lvl="1"/>
            <a:r>
              <a:rPr lang="en-US" sz="2133" dirty="0"/>
              <a:t>Automated consolidated report </a:t>
            </a:r>
          </a:p>
          <a:p>
            <a:pPr lvl="1"/>
            <a:r>
              <a:rPr lang="en-US" sz="2133" dirty="0"/>
              <a:t>Automated proactive tracking of various KPIs.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F41914-E484-4E46-BDDE-94D88BC1D7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usiness Benefits </a:t>
            </a:r>
          </a:p>
          <a:p>
            <a:pPr lvl="1"/>
            <a:r>
              <a:rPr lang="en-US" dirty="0"/>
              <a:t>One stop shop for health insight</a:t>
            </a:r>
          </a:p>
          <a:p>
            <a:pPr lvl="1"/>
            <a:r>
              <a:rPr lang="en-US" dirty="0"/>
              <a:t>Consolidation of KPIs and report reduces huge manpower.</a:t>
            </a:r>
          </a:p>
          <a:p>
            <a:pPr lvl="1"/>
            <a:r>
              <a:rPr lang="en-US" dirty="0"/>
              <a:t>Automated trend and anomaly detection gives early warning for future possible issues.</a:t>
            </a:r>
          </a:p>
          <a:p>
            <a:pPr lvl="1"/>
            <a:r>
              <a:rPr lang="en-US" dirty="0"/>
              <a:t>Huge possibility of avoidance of downtime by regular monitoring performance and fault KPIs.  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766D709-82D8-4D5A-901B-C3524CD3C0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Details:</a:t>
            </a:r>
            <a:br>
              <a:rPr lang="en-US" dirty="0"/>
            </a:br>
            <a:r>
              <a:rPr lang="en-US" dirty="0"/>
              <a:t>KPI Monitoring and Management </a:t>
            </a:r>
          </a:p>
        </p:txBody>
      </p:sp>
    </p:spTree>
    <p:extLst>
      <p:ext uri="{BB962C8B-B14F-4D97-AF65-F5344CB8AC3E}">
        <p14:creationId xmlns:p14="http://schemas.microsoft.com/office/powerpoint/2010/main" val="3482204004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CF4E9E0-6930-A54C-9248-4C81CA5C8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CA5AB1A-70BC-7348-97C5-9A277FDF6B5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Customer is facing issues with Video and presentation quality with Cisco Video End Points.</a:t>
            </a:r>
          </a:p>
          <a:p>
            <a:r>
              <a:rPr lang="en-US" dirty="0"/>
              <a:t>VCS and TPS logs show error as network related issues.</a:t>
            </a:r>
          </a:p>
          <a:p>
            <a:r>
              <a:rPr lang="en-US" dirty="0"/>
              <a:t>Network do not show any significant deterioration or any issue.</a:t>
            </a:r>
          </a:p>
          <a:p>
            <a:r>
              <a:rPr lang="en-US" dirty="0"/>
              <a:t>Logs from network endpoints are missing hence RCA is not available (TAC haven’t provided RCA in quite a few cases.)</a:t>
            </a:r>
          </a:p>
          <a:p>
            <a:r>
              <a:rPr lang="en-US" dirty="0"/>
              <a:t>No proactive alerting mechanism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34553D-FF7A-824D-8C06-8182AF7508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fld id="{96A97DD0-5BE7-4856-A2A9-C42C6688E607}" type="slidenum">
              <a:rPr lang="en-IN">
                <a:latin typeface="Arial"/>
              </a:rPr>
              <a:pPr defTabSz="609585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IN" dirty="0">
              <a:latin typeface="Arial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28C0F5-0EFB-8345-B0D3-3A56847FF3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814102" fontAlgn="base">
              <a:spcBef>
                <a:spcPct val="0"/>
              </a:spcBef>
              <a:spcAft>
                <a:spcPct val="0"/>
              </a:spcAft>
            </a:pPr>
            <a:r>
              <a:rPr lang="en-IN">
                <a:latin typeface="Arial" charset="0"/>
                <a:ea typeface="ＭＳ Ｐゴシック" charset="0"/>
              </a:rPr>
              <a:t>PSOCCT-0001</a:t>
            </a:r>
          </a:p>
        </p:txBody>
      </p:sp>
    </p:spTree>
    <p:extLst>
      <p:ext uri="{BB962C8B-B14F-4D97-AF65-F5344CB8AC3E}">
        <p14:creationId xmlns:p14="http://schemas.microsoft.com/office/powerpoint/2010/main" val="2751978618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CF4E9E0-6930-A54C-9248-4C81CA5C8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k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CA5AB1A-70BC-7348-97C5-9A277FDF6B5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Real time and historical dashboard for the ongoing Video calls/conferences.</a:t>
            </a:r>
          </a:p>
          <a:p>
            <a:r>
              <a:rPr lang="en-US" dirty="0"/>
              <a:t>Analysis of events in case of degradation of video quality (Packet loss, Jitter).</a:t>
            </a:r>
          </a:p>
          <a:p>
            <a:r>
              <a:rPr lang="en-US" dirty="0"/>
              <a:t>Verify network path for anomalies.</a:t>
            </a:r>
          </a:p>
          <a:p>
            <a:r>
              <a:rPr lang="en-US" dirty="0"/>
              <a:t>Co-relate the events of video quality issue with either UC/VC software or network infrastructure.</a:t>
            </a:r>
          </a:p>
          <a:p>
            <a:r>
              <a:rPr lang="en-US" dirty="0"/>
              <a:t>Dashboard with Network &amp; UC/VC KPI Performance monitoring</a:t>
            </a:r>
          </a:p>
          <a:p>
            <a:r>
              <a:rPr lang="en-US" dirty="0"/>
              <a:t>Topology with fault correlation to bifurcate Network Issues against UC/VC issu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34553D-FF7A-824D-8C06-8182AF7508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fld id="{96A97DD0-5BE7-4856-A2A9-C42C6688E607}" type="slidenum">
              <a:rPr lang="en-IN">
                <a:latin typeface="Arial"/>
              </a:rPr>
              <a:pPr defTabSz="609585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IN" dirty="0">
              <a:latin typeface="Arial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28C0F5-0EFB-8345-B0D3-3A56847FF3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814102" fontAlgn="base">
              <a:spcBef>
                <a:spcPct val="0"/>
              </a:spcBef>
              <a:spcAft>
                <a:spcPct val="0"/>
              </a:spcAft>
            </a:pPr>
            <a:r>
              <a:rPr lang="en-IN">
                <a:latin typeface="Arial" charset="0"/>
                <a:ea typeface="ＭＳ Ｐゴシック" charset="0"/>
              </a:rPr>
              <a:t>PSOCCT-0001</a:t>
            </a:r>
          </a:p>
        </p:txBody>
      </p:sp>
    </p:spTree>
    <p:extLst>
      <p:ext uri="{BB962C8B-B14F-4D97-AF65-F5344CB8AC3E}">
        <p14:creationId xmlns:p14="http://schemas.microsoft.com/office/powerpoint/2010/main" val="155243766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0614B6-0567-0741-805D-DDCCCDB4D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3939"/>
            <a:ext cx="10515600" cy="1009710"/>
          </a:xfrm>
        </p:spPr>
        <p:txBody>
          <a:bodyPr/>
          <a:lstStyle/>
          <a:p>
            <a:r>
              <a:rPr lang="en-US" dirty="0">
                <a:latin typeface="Garamond" panose="02020404030301010803" pitchFamily="18" charset="0"/>
              </a:rPr>
              <a:t>Cisco Proposed High Level Solution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C5B3A0B-A094-9348-A701-72A4F37E93FF}"/>
              </a:ext>
            </a:extLst>
          </p:cNvPr>
          <p:cNvSpPr/>
          <p:nvPr/>
        </p:nvSpPr>
        <p:spPr>
          <a:xfrm>
            <a:off x="3559366" y="5380999"/>
            <a:ext cx="4395898" cy="340519"/>
          </a:xfrm>
          <a:prstGeom prst="roundRect">
            <a:avLst/>
          </a:prstGeom>
          <a:gradFill rotWithShape="1">
            <a:gsLst>
              <a:gs pos="0">
                <a:srgbClr val="676767">
                  <a:tint val="50000"/>
                  <a:satMod val="300000"/>
                </a:srgbClr>
              </a:gs>
              <a:gs pos="35000">
                <a:srgbClr val="676767">
                  <a:tint val="37000"/>
                  <a:satMod val="300000"/>
                </a:srgbClr>
              </a:gs>
              <a:gs pos="100000">
                <a:srgbClr val="676767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676767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llec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D764C209-FD64-0649-938A-44A03E3530C4}"/>
              </a:ext>
            </a:extLst>
          </p:cNvPr>
          <p:cNvSpPr/>
          <p:nvPr/>
        </p:nvSpPr>
        <p:spPr>
          <a:xfrm>
            <a:off x="3559366" y="4351048"/>
            <a:ext cx="4395898" cy="440873"/>
          </a:xfrm>
          <a:prstGeom prst="roundRect">
            <a:avLst/>
          </a:prstGeom>
          <a:gradFill rotWithShape="1">
            <a:gsLst>
              <a:gs pos="0">
                <a:srgbClr val="676767">
                  <a:tint val="50000"/>
                  <a:satMod val="300000"/>
                  <a:alpha val="39000"/>
                </a:srgbClr>
              </a:gs>
              <a:gs pos="3000">
                <a:srgbClr val="676767">
                  <a:tint val="37000"/>
                  <a:satMod val="300000"/>
                </a:srgbClr>
              </a:gs>
              <a:gs pos="5000">
                <a:srgbClr val="676767">
                  <a:tint val="15000"/>
                  <a:satMod val="350000"/>
                  <a:alpha val="61000"/>
                </a:srgbClr>
              </a:gs>
            </a:gsLst>
            <a:lin ang="16200000" scaled="1"/>
          </a:gradFill>
          <a:ln w="9525" cap="flat" cmpd="sng" algn="ctr">
            <a:solidFill>
              <a:srgbClr val="676767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Lak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AA55833-7617-6148-A743-1F86581A47E3}"/>
              </a:ext>
            </a:extLst>
          </p:cNvPr>
          <p:cNvSpPr/>
          <p:nvPr/>
        </p:nvSpPr>
        <p:spPr>
          <a:xfrm>
            <a:off x="3559366" y="4855006"/>
            <a:ext cx="4395898" cy="440873"/>
          </a:xfrm>
          <a:prstGeom prst="roundRect">
            <a:avLst/>
          </a:prstGeom>
          <a:gradFill rotWithShape="1">
            <a:gsLst>
              <a:gs pos="0">
                <a:srgbClr val="676767">
                  <a:tint val="50000"/>
                  <a:satMod val="300000"/>
                  <a:alpha val="47000"/>
                </a:srgbClr>
              </a:gs>
              <a:gs pos="7000">
                <a:srgbClr val="676767">
                  <a:tint val="37000"/>
                  <a:satMod val="300000"/>
                  <a:alpha val="45000"/>
                </a:srgbClr>
              </a:gs>
            </a:gsLst>
            <a:lin ang="16200000" scaled="1"/>
          </a:gradFill>
          <a:ln w="9525" cap="flat" cmpd="sng" algn="ctr">
            <a:solidFill>
              <a:srgbClr val="676767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cessing and Consump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4" descr="Image result for DB">
            <a:extLst>
              <a:ext uri="{FF2B5EF4-FFF2-40B4-BE49-F238E27FC236}">
                <a16:creationId xmlns:a16="http://schemas.microsoft.com/office/drawing/2014/main" id="{83ED6713-0ABE-6B4E-A13B-031E7315B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9366" y="4400038"/>
            <a:ext cx="957549" cy="342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32B6480-E6B0-3244-8C3C-9F5C89A1AFE6}"/>
              </a:ext>
            </a:extLst>
          </p:cNvPr>
          <p:cNvSpPr txBox="1"/>
          <p:nvPr/>
        </p:nvSpPr>
        <p:spPr>
          <a:xfrm>
            <a:off x="4021535" y="2770540"/>
            <a:ext cx="383084" cy="1382767"/>
          </a:xfrm>
          <a:prstGeom prst="roundRect">
            <a:avLst/>
          </a:prstGeom>
          <a:solidFill>
            <a:srgbClr val="FAAB17"/>
          </a:solidFill>
          <a:ln w="9525" cap="flat" cmpd="sng" algn="ctr">
            <a:solidFill>
              <a:srgbClr val="FAAB17">
                <a:shade val="95000"/>
                <a:satMod val="105000"/>
              </a:srgbClr>
            </a:solidFill>
            <a:prstDash val="solid"/>
          </a:ln>
          <a:effectLst/>
        </p:spPr>
        <p:txBody>
          <a:bodyPr vert="vert270" wrap="square" rtlCol="0" anchor="ctr">
            <a:spAutoFit/>
          </a:bodyPr>
          <a:lstStyle/>
          <a:p>
            <a:pPr marL="0" marR="0" lvl="0" indent="0" algn="ctr" defTabSz="45718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2968AF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polog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B321F64-BCBE-F94D-B3C1-CAA4C78E2C8B}"/>
              </a:ext>
            </a:extLst>
          </p:cNvPr>
          <p:cNvSpPr txBox="1"/>
          <p:nvPr/>
        </p:nvSpPr>
        <p:spPr>
          <a:xfrm>
            <a:off x="4438101" y="2765209"/>
            <a:ext cx="383084" cy="1383144"/>
          </a:xfrm>
          <a:prstGeom prst="roundRect">
            <a:avLst/>
          </a:prstGeom>
          <a:solidFill>
            <a:srgbClr val="FAAB17"/>
          </a:solidFill>
          <a:ln w="9525" cap="flat" cmpd="sng" algn="ctr">
            <a:solidFill>
              <a:srgbClr val="FAAB17">
                <a:shade val="95000"/>
                <a:satMod val="105000"/>
              </a:srgbClr>
            </a:solidFill>
            <a:prstDash val="solid"/>
          </a:ln>
          <a:effectLst/>
        </p:spPr>
        <p:txBody>
          <a:bodyPr vert="vert270" wrap="square" rtlCol="0" anchor="ctr">
            <a:spAutoFit/>
          </a:bodyPr>
          <a:lstStyle>
            <a:defPPr>
              <a:defRPr lang="en-US"/>
            </a:defPPr>
            <a:lvl1pPr algn="ctr"/>
          </a:lstStyle>
          <a:p>
            <a:pPr marL="0" marR="0" lvl="0" indent="0" algn="ctr" defTabSz="45718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0" i="0" u="none" strike="noStrike" kern="0" cap="none" spc="0" normalizeH="0" baseline="0" noProof="0" dirty="0">
                <a:ln>
                  <a:noFill/>
                </a:ln>
                <a:solidFill>
                  <a:srgbClr val="2968AF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ult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2968AF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F750CFF-FD9F-F14C-862A-846731487410}"/>
              </a:ext>
            </a:extLst>
          </p:cNvPr>
          <p:cNvSpPr txBox="1"/>
          <p:nvPr/>
        </p:nvSpPr>
        <p:spPr>
          <a:xfrm rot="5400000">
            <a:off x="6167986" y="3003527"/>
            <a:ext cx="408623" cy="2060156"/>
          </a:xfrm>
          <a:prstGeom prst="roundRect">
            <a:avLst/>
          </a:prstGeom>
          <a:solidFill>
            <a:srgbClr val="FAAB17"/>
          </a:solidFill>
          <a:ln w="9525" cap="flat" cmpd="sng" algn="ctr">
            <a:solidFill>
              <a:srgbClr val="FAAB17">
                <a:shade val="95000"/>
                <a:satMod val="105000"/>
              </a:srgbClr>
            </a:solidFill>
            <a:prstDash val="solid"/>
          </a:ln>
          <a:effectLst/>
        </p:spPr>
        <p:txBody>
          <a:bodyPr vert="vert270" wrap="square" rtlCol="0">
            <a:spAutoFit/>
          </a:bodyPr>
          <a:lstStyle>
            <a:defPPr>
              <a:defRPr lang="en-US"/>
            </a:defPPr>
            <a:lvl1pPr algn="ctr"/>
          </a:lstStyle>
          <a:p>
            <a:pPr marL="0" marR="0" lvl="0" indent="0" algn="ctr" defTabSz="45718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rgbClr val="2968AF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ventory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2968AF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C92A68-62BF-0547-B9F5-0CD916B772BC}"/>
              </a:ext>
            </a:extLst>
          </p:cNvPr>
          <p:cNvSpPr txBox="1"/>
          <p:nvPr/>
        </p:nvSpPr>
        <p:spPr>
          <a:xfrm>
            <a:off x="5606625" y="2661991"/>
            <a:ext cx="578882" cy="1135759"/>
          </a:xfrm>
          <a:prstGeom prst="roundRect">
            <a:avLst/>
          </a:prstGeom>
          <a:solidFill>
            <a:srgbClr val="FAAB17"/>
          </a:solidFill>
          <a:ln w="9525" cap="flat" cmpd="sng" algn="ctr">
            <a:solidFill>
              <a:srgbClr val="FAAB17">
                <a:shade val="95000"/>
                <a:satMod val="105000"/>
              </a:srgbClr>
            </a:solidFill>
            <a:prstDash val="solid"/>
          </a:ln>
          <a:effectLst/>
        </p:spPr>
        <p:txBody>
          <a:bodyPr vert="vert270" wrap="square" rtlCol="0" anchor="ctr">
            <a:spAutoFit/>
          </a:bodyPr>
          <a:lstStyle>
            <a:defPPr>
              <a:defRPr lang="en-US"/>
            </a:defPPr>
            <a:lvl1pPr algn="ctr"/>
          </a:lstStyle>
          <a:p>
            <a:pPr marL="0" marR="0" lvl="0" indent="0" algn="ctr" defTabSz="45718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0" cap="none" spc="0" normalizeH="0" baseline="0" noProof="0" dirty="0">
                <a:ln>
                  <a:noFill/>
                </a:ln>
                <a:solidFill>
                  <a:srgbClr val="2968AF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formance / KPI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68AF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Plaque 19">
            <a:extLst>
              <a:ext uri="{FF2B5EF4-FFF2-40B4-BE49-F238E27FC236}">
                <a16:creationId xmlns:a16="http://schemas.microsoft.com/office/drawing/2014/main" id="{A120DBE5-4E84-EB42-86CE-12CC06FADEDD}"/>
              </a:ext>
            </a:extLst>
          </p:cNvPr>
          <p:cNvSpPr/>
          <p:nvPr/>
        </p:nvSpPr>
        <p:spPr>
          <a:xfrm>
            <a:off x="4000042" y="2367520"/>
            <a:ext cx="740847" cy="336099"/>
          </a:xfrm>
          <a:prstGeom prst="plaque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0" cap="none" spc="0" normalizeH="0" baseline="0" noProof="0" dirty="0">
                <a:ln>
                  <a:noFill/>
                </a:ln>
                <a:solidFill>
                  <a:srgbClr val="004F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TBFC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F6069AD-D843-484F-A13F-AFACF767271A}"/>
              </a:ext>
            </a:extLst>
          </p:cNvPr>
          <p:cNvSpPr txBox="1"/>
          <p:nvPr/>
        </p:nvSpPr>
        <p:spPr>
          <a:xfrm>
            <a:off x="6786837" y="2650973"/>
            <a:ext cx="391597" cy="1135759"/>
          </a:xfrm>
          <a:prstGeom prst="roundRect">
            <a:avLst/>
          </a:prstGeom>
          <a:solidFill>
            <a:srgbClr val="FAAB17"/>
          </a:solidFill>
          <a:ln w="9525" cap="flat" cmpd="sng" algn="ctr">
            <a:solidFill>
              <a:srgbClr val="FAAB17">
                <a:shade val="95000"/>
                <a:satMod val="105000"/>
              </a:srgbClr>
            </a:solidFill>
            <a:prstDash val="solid"/>
          </a:ln>
          <a:effectLst/>
        </p:spPr>
        <p:txBody>
          <a:bodyPr vert="vert270" wrap="square" rtlCol="0" anchor="ctr">
            <a:spAutoFit/>
          </a:bodyPr>
          <a:lstStyle>
            <a:defPPr>
              <a:defRPr lang="en-US"/>
            </a:defPPr>
            <a:lvl1pPr algn="ctr"/>
          </a:lstStyle>
          <a:p>
            <a:pPr marL="0" marR="0" lvl="0" indent="0" algn="ctr" defTabSz="45718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0" cap="none" spc="0" normalizeH="0" baseline="0" noProof="0" dirty="0">
                <a:ln>
                  <a:noFill/>
                </a:ln>
                <a:solidFill>
                  <a:srgbClr val="2968AF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C/UC KPI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68AF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F7B39422-A8D2-ED43-BC66-9EE26EFC9411}"/>
              </a:ext>
            </a:extLst>
          </p:cNvPr>
          <p:cNvSpPr/>
          <p:nvPr/>
        </p:nvSpPr>
        <p:spPr>
          <a:xfrm>
            <a:off x="3580859" y="6254070"/>
            <a:ext cx="2208349" cy="306467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45718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twork Devic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D44D55E2-F4AB-E944-9A40-F8C4F3CE98BC}"/>
              </a:ext>
            </a:extLst>
          </p:cNvPr>
          <p:cNvSpPr/>
          <p:nvPr/>
        </p:nvSpPr>
        <p:spPr>
          <a:xfrm>
            <a:off x="5881547" y="6254069"/>
            <a:ext cx="2073717" cy="30646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45718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C/UC Devic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F1239C7A-6268-7F4E-B345-28E37AEE85B4}"/>
              </a:ext>
            </a:extLst>
          </p:cNvPr>
          <p:cNvSpPr/>
          <p:nvPr/>
        </p:nvSpPr>
        <p:spPr>
          <a:xfrm>
            <a:off x="3559366" y="1610425"/>
            <a:ext cx="4395898" cy="521955"/>
          </a:xfrm>
          <a:prstGeom prst="roundRect">
            <a:avLst/>
          </a:prstGeom>
          <a:gradFill rotWithShape="1">
            <a:gsLst>
              <a:gs pos="0">
                <a:srgbClr val="676767">
                  <a:tint val="50000"/>
                  <a:satMod val="300000"/>
                </a:srgbClr>
              </a:gs>
              <a:gs pos="35000">
                <a:srgbClr val="676767">
                  <a:tint val="37000"/>
                  <a:satMod val="300000"/>
                </a:srgbClr>
              </a:gs>
              <a:gs pos="100000">
                <a:srgbClr val="676767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676767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sualisation Front End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1F5B66E-1696-EA49-8E80-E18A81246BB6}"/>
              </a:ext>
            </a:extLst>
          </p:cNvPr>
          <p:cNvGrpSpPr/>
          <p:nvPr/>
        </p:nvGrpSpPr>
        <p:grpSpPr>
          <a:xfrm>
            <a:off x="1035587" y="1200623"/>
            <a:ext cx="1839816" cy="1027480"/>
            <a:chOff x="-51764" y="1321406"/>
            <a:chExt cx="1824977" cy="994572"/>
          </a:xfrm>
        </p:grpSpPr>
        <p:pic>
          <p:nvPicPr>
            <p:cNvPr id="28" name="Picture 27" descr="C:\Users\rr298299\AppData\Local\Temp\wz50c6\Conference\Conference_mid_512.png">
              <a:extLst>
                <a:ext uri="{FF2B5EF4-FFF2-40B4-BE49-F238E27FC236}">
                  <a16:creationId xmlns:a16="http://schemas.microsoft.com/office/drawing/2014/main" id="{5335AD30-E0F7-0E45-B192-3E1925F51C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561" y="1321406"/>
              <a:ext cx="609950" cy="6111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3BDB7CA-AB88-9E42-97A9-ECA5725B78D6}"/>
                </a:ext>
              </a:extLst>
            </p:cNvPr>
            <p:cNvSpPr/>
            <p:nvPr/>
          </p:nvSpPr>
          <p:spPr>
            <a:xfrm>
              <a:off x="-51764" y="1963103"/>
              <a:ext cx="1824977" cy="352875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0960" tIns="60960" rIns="60960" bIns="60960" rtlCol="0" anchor="ctr"/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  <a:latin typeface="Garamond" panose="02020404030301010803" pitchFamily="18" charset="0"/>
                </a:rPr>
                <a:t>JSW</a:t>
              </a:r>
            </a:p>
            <a:p>
              <a:pPr algn="ctr"/>
              <a:r>
                <a:rPr lang="en-US" sz="1200" b="1" dirty="0">
                  <a:solidFill>
                    <a:schemeClr val="tx1"/>
                  </a:solidFill>
                  <a:latin typeface="Garamond" panose="02020404030301010803" pitchFamily="18" charset="0"/>
                </a:rPr>
                <a:t>VC/UC + Network Team</a:t>
              </a:r>
            </a:p>
          </p:txBody>
        </p:sp>
      </p:grpSp>
      <p:sp>
        <p:nvSpPr>
          <p:cNvPr id="30" name="Right Arrow 29">
            <a:extLst>
              <a:ext uri="{FF2B5EF4-FFF2-40B4-BE49-F238E27FC236}">
                <a16:creationId xmlns:a16="http://schemas.microsoft.com/office/drawing/2014/main" id="{DDAC6F88-8F9A-3B4E-BF94-AE63313B7E55}"/>
              </a:ext>
            </a:extLst>
          </p:cNvPr>
          <p:cNvSpPr/>
          <p:nvPr/>
        </p:nvSpPr>
        <p:spPr>
          <a:xfrm>
            <a:off x="2574985" y="1657304"/>
            <a:ext cx="957548" cy="36455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6BC812E-F7DC-D747-A361-E3765466863C}"/>
              </a:ext>
            </a:extLst>
          </p:cNvPr>
          <p:cNvSpPr/>
          <p:nvPr/>
        </p:nvSpPr>
        <p:spPr>
          <a:xfrm>
            <a:off x="3272010" y="1200623"/>
            <a:ext cx="4990642" cy="4693401"/>
          </a:xfrm>
          <a:prstGeom prst="roundRect">
            <a:avLst>
              <a:gd name="adj" fmla="val 3344"/>
            </a:avLst>
          </a:prstGeom>
          <a:noFill/>
          <a:ln w="28575">
            <a:solidFill>
              <a:schemeClr val="accent4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CNAAP</a:t>
            </a:r>
          </a:p>
        </p:txBody>
      </p:sp>
      <p:sp>
        <p:nvSpPr>
          <p:cNvPr id="33" name="Up-Down Arrow 108">
            <a:extLst>
              <a:ext uri="{FF2B5EF4-FFF2-40B4-BE49-F238E27FC236}">
                <a16:creationId xmlns:a16="http://schemas.microsoft.com/office/drawing/2014/main" id="{69128EF0-F149-D64B-8B86-3EB54884D60C}"/>
              </a:ext>
            </a:extLst>
          </p:cNvPr>
          <p:cNvSpPr/>
          <p:nvPr/>
        </p:nvSpPr>
        <p:spPr>
          <a:xfrm>
            <a:off x="5628659" y="5732535"/>
            <a:ext cx="398533" cy="532551"/>
          </a:xfrm>
          <a:prstGeom prst="upDownArrow">
            <a:avLst/>
          </a:prstGeom>
          <a:solidFill>
            <a:srgbClr val="676767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FEB2158-9214-4644-8A20-545652C2B1DA}"/>
              </a:ext>
            </a:extLst>
          </p:cNvPr>
          <p:cNvSpPr txBox="1"/>
          <p:nvPr/>
        </p:nvSpPr>
        <p:spPr>
          <a:xfrm>
            <a:off x="8595910" y="578794"/>
            <a:ext cx="345908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u="sng" dirty="0">
                <a:latin typeface="Garamond" panose="02020404030301010803" pitchFamily="18" charset="0"/>
              </a:rPr>
              <a:t>Key Outcomes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latin typeface="Garamond" panose="02020404030301010803" pitchFamily="18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latin typeface="Garamond" panose="02020404030301010803" pitchFamily="18" charset="0"/>
              </a:rPr>
              <a:t>Proactive Health Check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en-US" dirty="0">
                <a:latin typeface="Garamond" panose="02020404030301010803" pitchFamily="18" charset="0"/>
              </a:rPr>
              <a:t>VC/UC KPI monitoring (real time basis during)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en-US" dirty="0">
                <a:latin typeface="Garamond" panose="02020404030301010803" pitchFamily="18" charset="0"/>
              </a:rPr>
              <a:t>Network KPI Monitoring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latin typeface="Garamond" panose="02020404030301010803" pitchFamily="18" charset="0"/>
              </a:rPr>
              <a:t>Network Topology &amp; Fault Correla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6D32E77-37CC-5947-9DF4-F605CC3EF65D}"/>
              </a:ext>
            </a:extLst>
          </p:cNvPr>
          <p:cNvSpPr txBox="1"/>
          <p:nvPr/>
        </p:nvSpPr>
        <p:spPr>
          <a:xfrm>
            <a:off x="8595910" y="3952517"/>
            <a:ext cx="3459088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>
                <a:latin typeface="Garamond" panose="02020404030301010803" pitchFamily="18" charset="0"/>
              </a:rPr>
              <a:t>Assumptions/ Scope: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sz="1400" dirty="0">
              <a:latin typeface="Garamond" panose="02020404030301010803" pitchFamily="18" charset="0"/>
            </a:endParaRPr>
          </a:p>
          <a:p>
            <a:pPr marL="285750" indent="-285750">
              <a:buFont typeface="Wingdings" pitchFamily="2" charset="2"/>
              <a:buChar char="v"/>
            </a:pPr>
            <a:r>
              <a:rPr lang="en-US" sz="1600" dirty="0">
                <a:latin typeface="Garamond" panose="02020404030301010803" pitchFamily="18" charset="0"/>
              </a:rPr>
              <a:t>Network Nodes: ~1300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sz="1600" dirty="0">
                <a:latin typeface="Garamond" panose="02020404030301010803" pitchFamily="18" charset="0"/>
              </a:rPr>
              <a:t>VC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600" dirty="0">
                <a:latin typeface="Garamond" panose="02020404030301010803" pitchFamily="18" charset="0"/>
              </a:rPr>
              <a:t>Locations: 200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600" dirty="0">
                <a:latin typeface="Garamond" panose="02020404030301010803" pitchFamily="18" charset="0"/>
              </a:rPr>
              <a:t>Devices: 400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sz="1600" dirty="0">
                <a:latin typeface="Garamond" panose="02020404030301010803" pitchFamily="18" charset="0"/>
              </a:rPr>
              <a:t>UC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600" dirty="0">
                <a:latin typeface="Garamond" panose="02020404030301010803" pitchFamily="18" charset="0"/>
              </a:rPr>
              <a:t>Locations: 200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600" dirty="0">
                <a:latin typeface="Garamond" panose="02020404030301010803" pitchFamily="18" charset="0"/>
              </a:rPr>
              <a:t>UC: 5000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600" dirty="0">
                <a:latin typeface="Garamond" panose="02020404030301010803" pitchFamily="18" charset="0"/>
              </a:rPr>
              <a:t>Jabber: 5000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sz="1600" dirty="0">
                <a:latin typeface="Garamond" panose="02020404030301010803" pitchFamily="18" charset="0"/>
              </a:rPr>
              <a:t>HW to be arranged by Customer</a:t>
            </a:r>
          </a:p>
        </p:txBody>
      </p:sp>
    </p:spTree>
    <p:extLst>
      <p:ext uri="{BB962C8B-B14F-4D97-AF65-F5344CB8AC3E}">
        <p14:creationId xmlns:p14="http://schemas.microsoft.com/office/powerpoint/2010/main" val="3643981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2" grpId="0" animBg="1"/>
      <p:bldP spid="24" grpId="0" animBg="1"/>
      <p:bldP spid="25" grpId="0" animBg="1"/>
      <p:bldP spid="26" grpId="0" animBg="1"/>
      <p:bldP spid="30" grpId="0" animBg="1"/>
      <p:bldP spid="31" grpId="0" animBg="1"/>
      <p:bldP spid="33" grpId="0" animBg="1"/>
      <p:bldP spid="34" grpId="0"/>
      <p:bldP spid="3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B8BB1CC-F2B0-3B49-A91C-D33B142FB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203384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Garamond" panose="02020404030301010803" pitchFamily="18" charset="0"/>
              </a:rPr>
              <a:t>UC/VC Monitoring Architecture</a:t>
            </a:r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61FB0D33-82A9-0B4C-ABE6-C53ADD9B3573}"/>
              </a:ext>
            </a:extLst>
          </p:cNvPr>
          <p:cNvSpPr/>
          <p:nvPr/>
        </p:nvSpPr>
        <p:spPr>
          <a:xfrm>
            <a:off x="4439227" y="1002070"/>
            <a:ext cx="5143319" cy="5217468"/>
          </a:xfrm>
          <a:prstGeom prst="roundRect">
            <a:avLst/>
          </a:prstGeom>
          <a:noFill/>
          <a:ln w="25400" cap="flat" cmpd="sng" algn="ctr">
            <a:solidFill>
              <a:srgbClr val="21479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5F831F9-11B2-D64C-BF04-4EBAE54BEC9A}"/>
              </a:ext>
            </a:extLst>
          </p:cNvPr>
          <p:cNvSpPr txBox="1"/>
          <p:nvPr/>
        </p:nvSpPr>
        <p:spPr>
          <a:xfrm>
            <a:off x="4532584" y="1238497"/>
            <a:ext cx="45173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76767"/>
                </a:solidFill>
                <a:latin typeface="Arial" charset="0"/>
                <a:ea typeface="ＭＳ Ｐゴシック" charset="0"/>
              </a:rPr>
              <a:t> Processing and Alert System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349DD34-C28C-794D-8F4F-D7CBC30A397F}"/>
              </a:ext>
            </a:extLst>
          </p:cNvPr>
          <p:cNvSpPr/>
          <p:nvPr/>
        </p:nvSpPr>
        <p:spPr>
          <a:xfrm>
            <a:off x="4589519" y="1990556"/>
            <a:ext cx="534787" cy="3567032"/>
          </a:xfrm>
          <a:prstGeom prst="rect">
            <a:avLst/>
          </a:prstGeom>
          <a:solidFill>
            <a:srgbClr val="2968AF">
              <a:lumMod val="40000"/>
              <a:lumOff val="60000"/>
            </a:srgbClr>
          </a:solidFill>
          <a:ln w="25400" cap="flat" cmpd="sng" algn="ctr">
            <a:solidFill>
              <a:srgbClr val="2968AF">
                <a:lumMod val="20000"/>
                <a:lumOff val="8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5CB5884-E369-6C4A-9117-1D6557E07107}"/>
              </a:ext>
            </a:extLst>
          </p:cNvPr>
          <p:cNvSpPr txBox="1"/>
          <p:nvPr/>
        </p:nvSpPr>
        <p:spPr>
          <a:xfrm rot="16200000">
            <a:off x="3715869" y="3710643"/>
            <a:ext cx="21540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u="sng" dirty="0">
                <a:solidFill>
                  <a:srgbClr val="FFFFFF"/>
                </a:solidFill>
                <a:latin typeface="Arial"/>
                <a:ea typeface="ＭＳ Ｐゴシック" charset="0"/>
              </a:rPr>
              <a:t>Filter &amp; Aggregation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6238C457-95C5-BA42-97B7-E1DF4D60AD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5835152" y="1809052"/>
            <a:ext cx="492449" cy="577273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979378A4-B71A-F841-99F1-1B11EA9CA233}"/>
              </a:ext>
            </a:extLst>
          </p:cNvPr>
          <p:cNvSpPr/>
          <p:nvPr/>
        </p:nvSpPr>
        <p:spPr>
          <a:xfrm>
            <a:off x="5945599" y="2872397"/>
            <a:ext cx="1633603" cy="1258131"/>
          </a:xfrm>
          <a:prstGeom prst="rect">
            <a:avLst/>
          </a:prstGeom>
          <a:solidFill>
            <a:srgbClr val="2968AF">
              <a:lumMod val="40000"/>
              <a:lumOff val="60000"/>
            </a:srgbClr>
          </a:solidFill>
          <a:ln w="25400" cap="flat" cmpd="sng" algn="ctr">
            <a:solidFill>
              <a:srgbClr val="21479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 Processing Engine-  to analyze events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D5CBEBFF-4A42-DD4C-B143-2F567F5CA0DC}"/>
              </a:ext>
            </a:extLst>
          </p:cNvPr>
          <p:cNvSpPr/>
          <p:nvPr/>
        </p:nvSpPr>
        <p:spPr>
          <a:xfrm>
            <a:off x="8077051" y="3226368"/>
            <a:ext cx="1447627" cy="483949"/>
          </a:xfrm>
          <a:prstGeom prst="roundRect">
            <a:avLst/>
          </a:prstGeom>
          <a:solidFill>
            <a:srgbClr val="2968AF">
              <a:lumMod val="40000"/>
              <a:lumOff val="60000"/>
            </a:srgbClr>
          </a:solidFill>
          <a:ln w="25400" cap="flat" cmpd="sng" algn="ctr">
            <a:solidFill>
              <a:srgbClr val="21479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ert feed</a:t>
            </a: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2B042316-F820-AA48-8238-203B6F8F7679}"/>
              </a:ext>
            </a:extLst>
          </p:cNvPr>
          <p:cNvCxnSpPr>
            <a:cxnSpLocks/>
            <a:stCxn id="62" idx="3"/>
          </p:cNvCxnSpPr>
          <p:nvPr/>
        </p:nvCxnSpPr>
        <p:spPr>
          <a:xfrm>
            <a:off x="7579201" y="3501463"/>
            <a:ext cx="472640" cy="0"/>
          </a:xfrm>
          <a:prstGeom prst="straightConnector1">
            <a:avLst/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7542E4D3-29AE-3749-9093-B1752F82483F}"/>
              </a:ext>
            </a:extLst>
          </p:cNvPr>
          <p:cNvCxnSpPr>
            <a:cxnSpLocks/>
            <a:stCxn id="59" idx="3"/>
            <a:endCxn id="62" idx="1"/>
          </p:cNvCxnSpPr>
          <p:nvPr/>
        </p:nvCxnSpPr>
        <p:spPr>
          <a:xfrm flipV="1">
            <a:off x="5124306" y="3501464"/>
            <a:ext cx="821293" cy="272609"/>
          </a:xfrm>
          <a:prstGeom prst="straightConnector1">
            <a:avLst/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003D9428-0F4E-D042-87A1-F2FC7934F94F}"/>
              </a:ext>
            </a:extLst>
          </p:cNvPr>
          <p:cNvSpPr txBox="1"/>
          <p:nvPr/>
        </p:nvSpPr>
        <p:spPr>
          <a:xfrm>
            <a:off x="5086199" y="1783013"/>
            <a:ext cx="8258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676767"/>
                </a:solidFill>
                <a:latin typeface="Arial" charset="0"/>
                <a:ea typeface="ＭＳ Ｐゴシック" charset="0"/>
              </a:rPr>
              <a:t>DB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76A5927-A003-D448-B4BE-188AE596E967}"/>
              </a:ext>
            </a:extLst>
          </p:cNvPr>
          <p:cNvSpPr txBox="1"/>
          <p:nvPr/>
        </p:nvSpPr>
        <p:spPr>
          <a:xfrm>
            <a:off x="7013840" y="1879667"/>
            <a:ext cx="19349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676767"/>
                </a:solidFill>
                <a:latin typeface="Arial" charset="0"/>
                <a:ea typeface="ＭＳ Ｐゴシック" charset="0"/>
              </a:rPr>
              <a:t>Historical &amp; Real Time</a:t>
            </a:r>
            <a:r>
              <a:rPr lang="en-US" sz="2400" dirty="0">
                <a:solidFill>
                  <a:srgbClr val="676767"/>
                </a:solidFill>
                <a:latin typeface="Arial" charset="0"/>
                <a:ea typeface="ＭＳ Ｐゴシック" charset="0"/>
              </a:rPr>
              <a:t> </a:t>
            </a:r>
            <a:r>
              <a:rPr lang="en-US" sz="1200" dirty="0">
                <a:solidFill>
                  <a:srgbClr val="676767"/>
                </a:solidFill>
                <a:latin typeface="Arial" charset="0"/>
                <a:ea typeface="ＭＳ Ｐゴシック" charset="0"/>
              </a:rPr>
              <a:t>results</a:t>
            </a:r>
          </a:p>
        </p:txBody>
      </p:sp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E299D194-2C92-FC4B-A21D-4CA9C0B21908}"/>
              </a:ext>
            </a:extLst>
          </p:cNvPr>
          <p:cNvSpPr/>
          <p:nvPr/>
        </p:nvSpPr>
        <p:spPr>
          <a:xfrm>
            <a:off x="1243169" y="1465093"/>
            <a:ext cx="1720079" cy="408591"/>
          </a:xfrm>
          <a:prstGeom prst="roundRect">
            <a:avLst/>
          </a:prstGeom>
          <a:solidFill>
            <a:srgbClr val="214794"/>
          </a:solidFill>
          <a:ln w="25400" cap="flat" cmpd="sng" algn="ctr">
            <a:solidFill>
              <a:srgbClr val="21479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CM  IP Phone Status 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AED7D514-5DE7-CB46-8667-557B5667CB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5886713" y="1980592"/>
            <a:ext cx="492449" cy="577273"/>
          </a:xfrm>
          <a:prstGeom prst="rect">
            <a:avLst/>
          </a:prstGeom>
        </p:spPr>
      </p:pic>
      <p:sp>
        <p:nvSpPr>
          <p:cNvPr id="70" name="Rounded Rectangle 44">
            <a:extLst>
              <a:ext uri="{FF2B5EF4-FFF2-40B4-BE49-F238E27FC236}">
                <a16:creationId xmlns:a16="http://schemas.microsoft.com/office/drawing/2014/main" id="{9344C058-5DCE-7F41-8516-215567CBB0E8}"/>
              </a:ext>
            </a:extLst>
          </p:cNvPr>
          <p:cNvSpPr/>
          <p:nvPr/>
        </p:nvSpPr>
        <p:spPr>
          <a:xfrm>
            <a:off x="1203108" y="2946099"/>
            <a:ext cx="1690451" cy="408591"/>
          </a:xfrm>
          <a:prstGeom prst="roundRect">
            <a:avLst/>
          </a:prstGeom>
          <a:solidFill>
            <a:srgbClr val="214794"/>
          </a:solidFill>
          <a:ln w="25400" cap="flat" cmpd="sng" algn="ctr">
            <a:solidFill>
              <a:srgbClr val="21479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CM Syslog</a:t>
            </a:r>
          </a:p>
        </p:txBody>
      </p:sp>
      <p:sp>
        <p:nvSpPr>
          <p:cNvPr id="71" name="Rounded Rectangle 44">
            <a:extLst>
              <a:ext uri="{FF2B5EF4-FFF2-40B4-BE49-F238E27FC236}">
                <a16:creationId xmlns:a16="http://schemas.microsoft.com/office/drawing/2014/main" id="{3E62A44E-16B0-464E-95F5-1F266C77CAC3}"/>
              </a:ext>
            </a:extLst>
          </p:cNvPr>
          <p:cNvSpPr/>
          <p:nvPr/>
        </p:nvSpPr>
        <p:spPr>
          <a:xfrm>
            <a:off x="1244892" y="4454913"/>
            <a:ext cx="1660824" cy="368281"/>
          </a:xfrm>
          <a:prstGeom prst="roundRect">
            <a:avLst/>
          </a:prstGeom>
          <a:solidFill>
            <a:srgbClr val="214794"/>
          </a:solidFill>
          <a:ln w="25400" cap="flat" cmpd="sng" algn="ctr">
            <a:solidFill>
              <a:srgbClr val="21479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C Endpoints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D4C8AFC5-6283-0046-9A1F-DEDB17298AC8}"/>
              </a:ext>
            </a:extLst>
          </p:cNvPr>
          <p:cNvCxnSpPr>
            <a:cxnSpLocks/>
          </p:cNvCxnSpPr>
          <p:nvPr/>
        </p:nvCxnSpPr>
        <p:spPr>
          <a:xfrm>
            <a:off x="3028818" y="1619021"/>
            <a:ext cx="1375468" cy="339040"/>
          </a:xfrm>
          <a:prstGeom prst="straightConnector1">
            <a:avLst/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3FF5ABB7-8C66-C74D-AC29-7E04F33AF437}"/>
              </a:ext>
            </a:extLst>
          </p:cNvPr>
          <p:cNvCxnSpPr>
            <a:cxnSpLocks/>
            <a:stCxn id="70" idx="3"/>
          </p:cNvCxnSpPr>
          <p:nvPr/>
        </p:nvCxnSpPr>
        <p:spPr>
          <a:xfrm>
            <a:off x="2893559" y="3150395"/>
            <a:ext cx="1554316" cy="22125"/>
          </a:xfrm>
          <a:prstGeom prst="straightConnector1">
            <a:avLst/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799223C3-A3F8-FD42-B399-B78E28743624}"/>
              </a:ext>
            </a:extLst>
          </p:cNvPr>
          <p:cNvCxnSpPr>
            <a:cxnSpLocks/>
          </p:cNvCxnSpPr>
          <p:nvPr/>
        </p:nvCxnSpPr>
        <p:spPr>
          <a:xfrm flipV="1">
            <a:off x="2931786" y="4604923"/>
            <a:ext cx="1446812" cy="17085"/>
          </a:xfrm>
          <a:prstGeom prst="straightConnector1">
            <a:avLst/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B6945106-1906-CB4D-9303-4A9DD5FE341D}"/>
              </a:ext>
            </a:extLst>
          </p:cNvPr>
          <p:cNvSpPr txBox="1"/>
          <p:nvPr/>
        </p:nvSpPr>
        <p:spPr>
          <a:xfrm>
            <a:off x="3323536" y="1444662"/>
            <a:ext cx="8106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676767"/>
                </a:solidFill>
                <a:latin typeface="Arial" charset="0"/>
                <a:ea typeface="ＭＳ Ｐゴシック" charset="0"/>
              </a:rPr>
              <a:t>JTAPI</a:t>
            </a:r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C57D9A37-A610-3944-B8F6-DA6259F35BCF}"/>
              </a:ext>
            </a:extLst>
          </p:cNvPr>
          <p:cNvCxnSpPr>
            <a:cxnSpLocks/>
          </p:cNvCxnSpPr>
          <p:nvPr/>
        </p:nvCxnSpPr>
        <p:spPr>
          <a:xfrm>
            <a:off x="9674458" y="3718056"/>
            <a:ext cx="590617" cy="412473"/>
          </a:xfrm>
          <a:prstGeom prst="straightConnector1">
            <a:avLst/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4489DDFB-5CD8-0A4B-A76D-2A649F7E43D0}"/>
              </a:ext>
            </a:extLst>
          </p:cNvPr>
          <p:cNvCxnSpPr>
            <a:cxnSpLocks/>
          </p:cNvCxnSpPr>
          <p:nvPr/>
        </p:nvCxnSpPr>
        <p:spPr>
          <a:xfrm flipH="1">
            <a:off x="6428779" y="1967366"/>
            <a:ext cx="3795700" cy="32017"/>
          </a:xfrm>
          <a:prstGeom prst="straightConnector1">
            <a:avLst/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B666C20F-F15D-3140-85A4-CEC3BCF89BB7}"/>
              </a:ext>
            </a:extLst>
          </p:cNvPr>
          <p:cNvSpPr txBox="1"/>
          <p:nvPr/>
        </p:nvSpPr>
        <p:spPr>
          <a:xfrm>
            <a:off x="3285807" y="2892403"/>
            <a:ext cx="920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676767"/>
                </a:solidFill>
                <a:latin typeface="Arial" charset="0"/>
                <a:ea typeface="ＭＳ Ｐゴシック" charset="0"/>
              </a:rPr>
              <a:t>Syslog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5F3141F-5DA2-744B-92C8-5AF24C77966E}"/>
              </a:ext>
            </a:extLst>
          </p:cNvPr>
          <p:cNvSpPr txBox="1"/>
          <p:nvPr/>
        </p:nvSpPr>
        <p:spPr>
          <a:xfrm>
            <a:off x="3326354" y="4284634"/>
            <a:ext cx="8842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676767"/>
                </a:solidFill>
                <a:latin typeface="Arial" charset="0"/>
                <a:ea typeface="ＭＳ Ｐゴシック" charset="0"/>
              </a:rPr>
              <a:t>Http</a:t>
            </a:r>
          </a:p>
        </p:txBody>
      </p:sp>
      <p:sp>
        <p:nvSpPr>
          <p:cNvPr id="80" name="Rounded Rectangle 44">
            <a:extLst>
              <a:ext uri="{FF2B5EF4-FFF2-40B4-BE49-F238E27FC236}">
                <a16:creationId xmlns:a16="http://schemas.microsoft.com/office/drawing/2014/main" id="{99CE2E90-B5B6-C942-BABD-6CB05E135EED}"/>
              </a:ext>
            </a:extLst>
          </p:cNvPr>
          <p:cNvSpPr/>
          <p:nvPr/>
        </p:nvSpPr>
        <p:spPr>
          <a:xfrm>
            <a:off x="1234978" y="5751310"/>
            <a:ext cx="1731909" cy="408591"/>
          </a:xfrm>
          <a:prstGeom prst="roundRect">
            <a:avLst/>
          </a:prstGeom>
          <a:solidFill>
            <a:srgbClr val="214794"/>
          </a:solidFill>
          <a:ln w="25400" cap="flat" cmpd="sng" algn="ctr">
            <a:solidFill>
              <a:srgbClr val="21479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CS &amp; TPS</a:t>
            </a:r>
          </a:p>
        </p:txBody>
      </p: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E3133791-11D6-9F43-9458-2F90E9495ABA}"/>
              </a:ext>
            </a:extLst>
          </p:cNvPr>
          <p:cNvCxnSpPr>
            <a:cxnSpLocks/>
          </p:cNvCxnSpPr>
          <p:nvPr/>
        </p:nvCxnSpPr>
        <p:spPr>
          <a:xfrm flipV="1">
            <a:off x="2963247" y="5499623"/>
            <a:ext cx="1509216" cy="494812"/>
          </a:xfrm>
          <a:prstGeom prst="straightConnector1">
            <a:avLst/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47A9DA01-209A-1549-9B61-6186F068336F}"/>
              </a:ext>
            </a:extLst>
          </p:cNvPr>
          <p:cNvSpPr txBox="1"/>
          <p:nvPr/>
        </p:nvSpPr>
        <p:spPr>
          <a:xfrm>
            <a:off x="3289985" y="5425477"/>
            <a:ext cx="920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676767"/>
                </a:solidFill>
                <a:latin typeface="Arial" charset="0"/>
                <a:ea typeface="ＭＳ Ｐゴシック" charset="0"/>
              </a:rPr>
              <a:t>Http</a:t>
            </a:r>
          </a:p>
        </p:txBody>
      </p:sp>
      <p:sp>
        <p:nvSpPr>
          <p:cNvPr id="83" name="Rounded Rectangle 44">
            <a:extLst>
              <a:ext uri="{FF2B5EF4-FFF2-40B4-BE49-F238E27FC236}">
                <a16:creationId xmlns:a16="http://schemas.microsoft.com/office/drawing/2014/main" id="{C43509F5-D4CB-F249-A8E3-6484ED2C6C0A}"/>
              </a:ext>
            </a:extLst>
          </p:cNvPr>
          <p:cNvSpPr/>
          <p:nvPr/>
        </p:nvSpPr>
        <p:spPr>
          <a:xfrm rot="5400000">
            <a:off x="9682013" y="4185519"/>
            <a:ext cx="1690451" cy="408591"/>
          </a:xfrm>
          <a:prstGeom prst="roundRect">
            <a:avLst/>
          </a:prstGeom>
          <a:solidFill>
            <a:srgbClr val="214794"/>
          </a:solidFill>
          <a:ln w="25400" cap="flat" cmpd="sng" algn="ctr">
            <a:solidFill>
              <a:srgbClr val="21479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NAAP Engine</a:t>
            </a:r>
          </a:p>
        </p:txBody>
      </p:sp>
      <p:sp>
        <p:nvSpPr>
          <p:cNvPr id="84" name="Rounded Rectangle 44">
            <a:extLst>
              <a:ext uri="{FF2B5EF4-FFF2-40B4-BE49-F238E27FC236}">
                <a16:creationId xmlns:a16="http://schemas.microsoft.com/office/drawing/2014/main" id="{DF292481-0C8F-B94D-9F46-55C1B0719545}"/>
              </a:ext>
            </a:extLst>
          </p:cNvPr>
          <p:cNvSpPr/>
          <p:nvPr/>
        </p:nvSpPr>
        <p:spPr>
          <a:xfrm rot="5400000">
            <a:off x="9640319" y="1936698"/>
            <a:ext cx="1690451" cy="408591"/>
          </a:xfrm>
          <a:prstGeom prst="roundRect">
            <a:avLst/>
          </a:prstGeom>
          <a:solidFill>
            <a:srgbClr val="214794"/>
          </a:solidFill>
          <a:ln w="25400" cap="flat" cmpd="sng" algn="ctr">
            <a:solidFill>
              <a:srgbClr val="21479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NAAP Dashboard</a:t>
            </a:r>
          </a:p>
        </p:txBody>
      </p:sp>
      <p:sp>
        <p:nvSpPr>
          <p:cNvPr id="85" name="Rounded Rectangle 44">
            <a:extLst>
              <a:ext uri="{FF2B5EF4-FFF2-40B4-BE49-F238E27FC236}">
                <a16:creationId xmlns:a16="http://schemas.microsoft.com/office/drawing/2014/main" id="{BA1A556E-4BF4-A640-987D-8358CD778958}"/>
              </a:ext>
            </a:extLst>
          </p:cNvPr>
          <p:cNvSpPr/>
          <p:nvPr/>
        </p:nvSpPr>
        <p:spPr>
          <a:xfrm>
            <a:off x="1203109" y="2140993"/>
            <a:ext cx="1720079" cy="408591"/>
          </a:xfrm>
          <a:prstGeom prst="roundRect">
            <a:avLst/>
          </a:prstGeom>
          <a:solidFill>
            <a:srgbClr val="214794"/>
          </a:solidFill>
          <a:ln w="25400" cap="flat" cmpd="sng" algn="ctr">
            <a:solidFill>
              <a:srgbClr val="21479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CM CDR </a:t>
            </a: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AFF0F9A9-4597-394E-A20F-FFB67919F03B}"/>
              </a:ext>
            </a:extLst>
          </p:cNvPr>
          <p:cNvCxnSpPr>
            <a:cxnSpLocks/>
            <a:stCxn id="85" idx="3"/>
          </p:cNvCxnSpPr>
          <p:nvPr/>
        </p:nvCxnSpPr>
        <p:spPr>
          <a:xfrm>
            <a:off x="2923187" y="2345289"/>
            <a:ext cx="1481099" cy="26631"/>
          </a:xfrm>
          <a:prstGeom prst="straightConnector1">
            <a:avLst/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918F79A7-258C-B841-9478-B6982BE90E89}"/>
              </a:ext>
            </a:extLst>
          </p:cNvPr>
          <p:cNvSpPr txBox="1"/>
          <p:nvPr/>
        </p:nvSpPr>
        <p:spPr>
          <a:xfrm>
            <a:off x="3283293" y="2125742"/>
            <a:ext cx="7861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676767"/>
                </a:solidFill>
                <a:latin typeface="Arial" charset="0"/>
                <a:ea typeface="ＭＳ Ｐゴシック" charset="0"/>
              </a:rPr>
              <a:t>SFTP</a:t>
            </a:r>
          </a:p>
        </p:txBody>
      </p:sp>
      <p:sp>
        <p:nvSpPr>
          <p:cNvPr id="88" name="Rounded Rectangle 44">
            <a:extLst>
              <a:ext uri="{FF2B5EF4-FFF2-40B4-BE49-F238E27FC236}">
                <a16:creationId xmlns:a16="http://schemas.microsoft.com/office/drawing/2014/main" id="{CB1D3836-7AA3-4449-B85C-DD3C30CC43DF}"/>
              </a:ext>
            </a:extLst>
          </p:cNvPr>
          <p:cNvSpPr/>
          <p:nvPr/>
        </p:nvSpPr>
        <p:spPr>
          <a:xfrm>
            <a:off x="1191278" y="3587490"/>
            <a:ext cx="1731909" cy="408591"/>
          </a:xfrm>
          <a:prstGeom prst="roundRect">
            <a:avLst/>
          </a:prstGeom>
          <a:solidFill>
            <a:srgbClr val="214794"/>
          </a:solidFill>
          <a:ln w="25400" cap="flat" cmpd="sng" algn="ctr">
            <a:solidFill>
              <a:srgbClr val="21479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CS &amp; TPS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A09ABC65-F15F-9D4C-B3B5-BCBCACA585B8}"/>
              </a:ext>
            </a:extLst>
          </p:cNvPr>
          <p:cNvCxnSpPr>
            <a:cxnSpLocks/>
          </p:cNvCxnSpPr>
          <p:nvPr/>
        </p:nvCxnSpPr>
        <p:spPr>
          <a:xfrm>
            <a:off x="2926607" y="3838079"/>
            <a:ext cx="1554316" cy="22125"/>
          </a:xfrm>
          <a:prstGeom prst="straightConnector1">
            <a:avLst/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1BEA7C96-5571-8F4C-9084-E5CB608B589A}"/>
              </a:ext>
            </a:extLst>
          </p:cNvPr>
          <p:cNvSpPr txBox="1"/>
          <p:nvPr/>
        </p:nvSpPr>
        <p:spPr>
          <a:xfrm>
            <a:off x="3276953" y="3531958"/>
            <a:ext cx="920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676767"/>
                </a:solidFill>
                <a:latin typeface="Arial" charset="0"/>
                <a:ea typeface="ＭＳ Ｐゴシック" charset="0"/>
              </a:rPr>
              <a:t>Syslog</a:t>
            </a:r>
          </a:p>
        </p:txBody>
      </p:sp>
      <p:sp>
        <p:nvSpPr>
          <p:cNvPr id="91" name="Rounded Rectangle 44">
            <a:extLst>
              <a:ext uri="{FF2B5EF4-FFF2-40B4-BE49-F238E27FC236}">
                <a16:creationId xmlns:a16="http://schemas.microsoft.com/office/drawing/2014/main" id="{A7D82116-D8CD-1748-AA6C-FDE5A75B0FF1}"/>
              </a:ext>
            </a:extLst>
          </p:cNvPr>
          <p:cNvSpPr/>
          <p:nvPr/>
        </p:nvSpPr>
        <p:spPr>
          <a:xfrm>
            <a:off x="1217921" y="5097885"/>
            <a:ext cx="1660824" cy="368281"/>
          </a:xfrm>
          <a:prstGeom prst="roundRect">
            <a:avLst/>
          </a:prstGeom>
          <a:solidFill>
            <a:srgbClr val="214794"/>
          </a:solidFill>
          <a:ln w="25400" cap="flat" cmpd="sng" algn="ctr">
            <a:solidFill>
              <a:srgbClr val="21479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58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C Endpoints</a:t>
            </a: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76B4291A-86D8-1F45-893A-6BBBC8024A3F}"/>
              </a:ext>
            </a:extLst>
          </p:cNvPr>
          <p:cNvCxnSpPr>
            <a:cxnSpLocks/>
          </p:cNvCxnSpPr>
          <p:nvPr/>
        </p:nvCxnSpPr>
        <p:spPr>
          <a:xfrm flipV="1">
            <a:off x="2926607" y="5074436"/>
            <a:ext cx="1420708" cy="198065"/>
          </a:xfrm>
          <a:prstGeom prst="straightConnector1">
            <a:avLst/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22A446CD-EC7B-6C4B-8C1C-02E6DF5B1352}"/>
              </a:ext>
            </a:extLst>
          </p:cNvPr>
          <p:cNvSpPr txBox="1"/>
          <p:nvPr/>
        </p:nvSpPr>
        <p:spPr>
          <a:xfrm>
            <a:off x="3326353" y="4804561"/>
            <a:ext cx="725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676767"/>
                </a:solidFill>
                <a:latin typeface="Arial" charset="0"/>
                <a:ea typeface="ＭＳ Ｐゴシック" charset="0"/>
              </a:rPr>
              <a:t>Http</a:t>
            </a:r>
          </a:p>
        </p:txBody>
      </p:sp>
      <p:cxnSp>
        <p:nvCxnSpPr>
          <p:cNvPr id="94" name="Connector: Elbow 43">
            <a:extLst>
              <a:ext uri="{FF2B5EF4-FFF2-40B4-BE49-F238E27FC236}">
                <a16:creationId xmlns:a16="http://schemas.microsoft.com/office/drawing/2014/main" id="{AF6403E7-0754-BA4D-8728-D1542F46D36D}"/>
              </a:ext>
            </a:extLst>
          </p:cNvPr>
          <p:cNvCxnSpPr>
            <a:cxnSpLocks/>
            <a:stCxn id="62" idx="0"/>
            <a:endCxn id="69" idx="1"/>
          </p:cNvCxnSpPr>
          <p:nvPr/>
        </p:nvCxnSpPr>
        <p:spPr>
          <a:xfrm rot="16200000" flipV="1">
            <a:off x="6269198" y="2379194"/>
            <a:ext cx="603169" cy="383239"/>
          </a:xfrm>
          <a:prstGeom prst="bentConnector2">
            <a:avLst/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2963544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B8BB1CC-F2B0-3B49-A91C-D33B142FB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203384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Garamond" panose="02020404030301010803" pitchFamily="18" charset="0"/>
              </a:rPr>
              <a:t>Solution Details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B27DB6B2-5BA4-5C4A-80D2-45F5AA826F88}"/>
              </a:ext>
            </a:extLst>
          </p:cNvPr>
          <p:cNvSpPr txBox="1">
            <a:spLocks/>
          </p:cNvSpPr>
          <p:nvPr/>
        </p:nvSpPr>
        <p:spPr>
          <a:xfrm>
            <a:off x="470567" y="946485"/>
            <a:ext cx="11350752" cy="502251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Garamond" panose="02020404030301010803" pitchFamily="18" charset="0"/>
              </a:rPr>
              <a:t>The Filter &amp; Aggregator layer will have specific interfaces to collect events and call statistics from different types of endpoints/servers. The layer will further aggregate the collected data and convert it into structured format and push the event to Event Engine for analysi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Garamond" panose="02020404030301010803" pitchFamily="18" charset="0"/>
              </a:rPr>
              <a:t>The Event Engine will analyze received event to identify anomaly based on algorithms. The final piece of analyzed data will be written back to DB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Garamond" panose="02020404030301010803" pitchFamily="18" charset="0"/>
              </a:rPr>
              <a:t>Attributes such as but not limited to, source </a:t>
            </a:r>
            <a:r>
              <a:rPr lang="en-US" sz="2400" dirty="0" err="1">
                <a:solidFill>
                  <a:schemeClr val="tx1"/>
                </a:solidFill>
                <a:latin typeface="Garamond" panose="02020404030301010803" pitchFamily="18" charset="0"/>
              </a:rPr>
              <a:t>ip</a:t>
            </a:r>
            <a:r>
              <a:rPr lang="en-US" sz="2400" dirty="0">
                <a:solidFill>
                  <a:schemeClr val="tx1"/>
                </a:solidFill>
                <a:latin typeface="Garamond" panose="02020404030301010803" pitchFamily="18" charset="0"/>
              </a:rPr>
              <a:t>, destination </a:t>
            </a:r>
            <a:r>
              <a:rPr lang="en-US" sz="2400" dirty="0" err="1">
                <a:solidFill>
                  <a:schemeClr val="tx1"/>
                </a:solidFill>
                <a:latin typeface="Garamond" panose="02020404030301010803" pitchFamily="18" charset="0"/>
              </a:rPr>
              <a:t>ip</a:t>
            </a:r>
            <a:r>
              <a:rPr lang="en-US" sz="2400" dirty="0">
                <a:solidFill>
                  <a:schemeClr val="tx1"/>
                </a:solidFill>
                <a:latin typeface="Garamond" panose="02020404030301010803" pitchFamily="18" charset="0"/>
              </a:rPr>
              <a:t>, Event-Type, Event-Code, anomaly (y/n) will be part of the final analyzed data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Garamond" panose="02020404030301010803" pitchFamily="18" charset="0"/>
              </a:rPr>
              <a:t>CNAAP application will periodically access DB to retrieve analyzed data and correlate it with network event. It will further drill down and display traffic path to user on its dashboard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Garamond" panose="02020404030301010803" pitchFamily="18" charset="0"/>
              </a:rPr>
              <a:t>CNAAP with single Dashboard will provide Network performance &amp; UC/VC KPI monitoring parameter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Garamond" panose="02020404030301010803" pitchFamily="18" charset="0"/>
              </a:rPr>
              <a:t>Network Faults along with Topology will be depicted to understand the Network issues causing UC/VC user experience</a:t>
            </a:r>
          </a:p>
        </p:txBody>
      </p:sp>
    </p:spTree>
    <p:extLst>
      <p:ext uri="{BB962C8B-B14F-4D97-AF65-F5344CB8AC3E}">
        <p14:creationId xmlns:p14="http://schemas.microsoft.com/office/powerpoint/2010/main" val="720469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B8BB1CC-F2B0-3B49-A91C-D33B142FB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203384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Garamond" panose="02020404030301010803" pitchFamily="18" charset="0"/>
              </a:rPr>
              <a:t>Pre-requisites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B27DB6B2-5BA4-5C4A-80D2-45F5AA826F88}"/>
              </a:ext>
            </a:extLst>
          </p:cNvPr>
          <p:cNvSpPr txBox="1">
            <a:spLocks/>
          </p:cNvSpPr>
          <p:nvPr/>
        </p:nvSpPr>
        <p:spPr>
          <a:xfrm>
            <a:off x="470567" y="1437219"/>
            <a:ext cx="11350752" cy="453178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Garamond" panose="02020404030301010803" pitchFamily="18" charset="0"/>
              </a:rPr>
              <a:t>It is assumed the Customer will procure required HW, SW and Services to implement the same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Garamond" panose="02020404030301010803" pitchFamily="18" charset="0"/>
              </a:rPr>
              <a:t>Customer to provide requisite BW, Compute, Storage, VMM, OS, DB </a:t>
            </a:r>
            <a:r>
              <a:rPr lang="en-US" sz="2400" dirty="0" err="1">
                <a:solidFill>
                  <a:schemeClr val="tx1"/>
                </a:solidFill>
                <a:latin typeface="Garamond" panose="02020404030301010803" pitchFamily="18" charset="0"/>
              </a:rPr>
              <a:t>etc</a:t>
            </a:r>
            <a:r>
              <a:rPr lang="en-US" sz="2400" dirty="0">
                <a:solidFill>
                  <a:schemeClr val="tx1"/>
                </a:solidFill>
                <a:latin typeface="Garamond" panose="02020404030301010803" pitchFamily="18" charset="0"/>
              </a:rPr>
              <a:t> to be able to successfully deploy the solution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Garamond" panose="02020404030301010803" pitchFamily="18" charset="0"/>
              </a:rPr>
              <a:t>It is assumed Customer will provide development platform for build of this solution.</a:t>
            </a:r>
          </a:p>
        </p:txBody>
      </p:sp>
    </p:spTree>
    <p:extLst>
      <p:ext uri="{BB962C8B-B14F-4D97-AF65-F5344CB8AC3E}">
        <p14:creationId xmlns:p14="http://schemas.microsoft.com/office/powerpoint/2010/main" val="8368570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838ED-C326-394C-82E4-FBA94C692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191" y="-172123"/>
            <a:ext cx="9951720" cy="699247"/>
          </a:xfrm>
        </p:spPr>
        <p:txBody>
          <a:bodyPr>
            <a:normAutofit/>
          </a:bodyPr>
          <a:lstStyle/>
          <a:p>
            <a:pPr algn="ctr"/>
            <a:r>
              <a:rPr lang="en-US" sz="3200" dirty="0"/>
              <a:t>Business Cas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0562889-94F1-3A48-9099-FD1EEF3ED3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092481"/>
              </p:ext>
            </p:extLst>
          </p:nvPr>
        </p:nvGraphicFramePr>
        <p:xfrm>
          <a:off x="344245" y="430302"/>
          <a:ext cx="10725376" cy="4963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1344">
                  <a:extLst>
                    <a:ext uri="{9D8B030D-6E8A-4147-A177-3AD203B41FA5}">
                      <a16:colId xmlns:a16="http://schemas.microsoft.com/office/drawing/2014/main" val="3886344947"/>
                    </a:ext>
                  </a:extLst>
                </a:gridCol>
                <a:gridCol w="2681344">
                  <a:extLst>
                    <a:ext uri="{9D8B030D-6E8A-4147-A177-3AD203B41FA5}">
                      <a16:colId xmlns:a16="http://schemas.microsoft.com/office/drawing/2014/main" val="2831054205"/>
                    </a:ext>
                  </a:extLst>
                </a:gridCol>
                <a:gridCol w="2681344">
                  <a:extLst>
                    <a:ext uri="{9D8B030D-6E8A-4147-A177-3AD203B41FA5}">
                      <a16:colId xmlns:a16="http://schemas.microsoft.com/office/drawing/2014/main" val="2478181697"/>
                    </a:ext>
                  </a:extLst>
                </a:gridCol>
                <a:gridCol w="2681344">
                  <a:extLst>
                    <a:ext uri="{9D8B030D-6E8A-4147-A177-3AD203B41FA5}">
                      <a16:colId xmlns:a16="http://schemas.microsoft.com/office/drawing/2014/main" val="301288931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Cost of Development (One time co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ustomer Opportunities identified by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ustomer Budget for 3 Ye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xpected Closure timeli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96849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250,000 USD + Operations &amp; Maintenance cost per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HPC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00,000 USD 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3-Q4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30754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S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0,000 USD 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Q3-Q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6282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Godrej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B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3-Q4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88200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OC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B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3-Q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8198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HDF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B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3-Q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5814239"/>
                  </a:ext>
                </a:extLst>
              </a:tr>
              <a:tr h="272829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FS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B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3-Q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41062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B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3-Q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443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nfos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B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3-Q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07637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PC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B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3-Q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55701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&amp;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0,000 USD 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3-Q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281059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7064EBD-EAC4-2D4D-AE38-8AFBCD3687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1334787"/>
              </p:ext>
            </p:extLst>
          </p:nvPr>
        </p:nvGraphicFramePr>
        <p:xfrm>
          <a:off x="934720" y="5517578"/>
          <a:ext cx="9908988" cy="124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7247">
                  <a:extLst>
                    <a:ext uri="{9D8B030D-6E8A-4147-A177-3AD203B41FA5}">
                      <a16:colId xmlns:a16="http://schemas.microsoft.com/office/drawing/2014/main" val="841239363"/>
                    </a:ext>
                  </a:extLst>
                </a:gridCol>
                <a:gridCol w="2477247">
                  <a:extLst>
                    <a:ext uri="{9D8B030D-6E8A-4147-A177-3AD203B41FA5}">
                      <a16:colId xmlns:a16="http://schemas.microsoft.com/office/drawing/2014/main" val="1942977871"/>
                    </a:ext>
                  </a:extLst>
                </a:gridCol>
                <a:gridCol w="2477247">
                  <a:extLst>
                    <a:ext uri="{9D8B030D-6E8A-4147-A177-3AD203B41FA5}">
                      <a16:colId xmlns:a16="http://schemas.microsoft.com/office/drawing/2014/main" val="3038693150"/>
                    </a:ext>
                  </a:extLst>
                </a:gridCol>
                <a:gridCol w="2477247">
                  <a:extLst>
                    <a:ext uri="{9D8B030D-6E8A-4147-A177-3AD203B41FA5}">
                      <a16:colId xmlns:a16="http://schemas.microsoft.com/office/drawing/2014/main" val="30458164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Expected Bookings in Q3-Q4 + FY21 H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rket Share for Cisco V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olution Available for VC Monitoring + RCA on Net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mpet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64412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1.5 MN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pproximate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 Available/Unique solution in this sp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t Available /Cisco Services  solution can be major Player in this space if develop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99164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26035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2827623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Corprate Color Palette">
      <a:dk1>
        <a:srgbClr val="282828"/>
      </a:dk1>
      <a:lt1>
        <a:srgbClr val="FFFFFF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interim template 2017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efault Theme" id="{07F36F74-7D57-4D65-B4D9-476105E26DC2}" vid="{02E5FDDC-AECE-4D7B-9305-7237030AC939}"/>
    </a:ext>
  </a:extLst>
</a:theme>
</file>

<file path=ppt/theme/theme3.xml><?xml version="1.0" encoding="utf-8"?>
<a:theme xmlns:a="http://schemas.openxmlformats.org/drawingml/2006/main" name="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4.xml><?xml version="1.0" encoding="utf-8"?>
<a:theme xmlns:a="http://schemas.openxmlformats.org/drawingml/2006/main" name="17_NEWCiscoSans">
  <a:themeElements>
    <a:clrScheme name="Custom 13">
      <a:dk1>
        <a:srgbClr val="282828"/>
      </a:dk1>
      <a:lt1>
        <a:srgbClr val="FFFFFF"/>
      </a:lt1>
      <a:dk2>
        <a:srgbClr val="004F73"/>
      </a:dk2>
      <a:lt2>
        <a:srgbClr val="FFFFFF"/>
      </a:lt2>
      <a:accent1>
        <a:srgbClr val="00BCEB"/>
      </a:accent1>
      <a:accent2>
        <a:srgbClr val="6DBE4A"/>
      </a:accent2>
      <a:accent3>
        <a:srgbClr val="004F73"/>
      </a:accent3>
      <a:accent4>
        <a:srgbClr val="676767"/>
      </a:accent4>
      <a:accent5>
        <a:srgbClr val="FAAB17"/>
      </a:accent5>
      <a:accent6>
        <a:srgbClr val="E2241A"/>
      </a:accent6>
      <a:hlink>
        <a:srgbClr val="00BCEB"/>
      </a:hlink>
      <a:folHlink>
        <a:srgbClr val="004F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VT3.0" id="{A1D8C518-B857-4804-8825-FB89C73754D8}" vid="{E441A948-4B15-46BE-A844-BA2299C7FB55}"/>
    </a:ext>
  </a:extLst>
</a:theme>
</file>

<file path=ppt/theme/theme5.xml><?xml version="1.0" encoding="utf-8"?>
<a:theme xmlns:a="http://schemas.openxmlformats.org/drawingml/2006/main" name="3_Blue theme 2015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Cisco_CUF_CKT281">
  <a:themeElements>
    <a:clrScheme name="Blue Theme 2016 Updated">
      <a:dk1>
        <a:srgbClr val="39393B"/>
      </a:dk1>
      <a:lt1>
        <a:srgbClr val="FFFFFF"/>
      </a:lt1>
      <a:dk2>
        <a:srgbClr val="555558"/>
      </a:dk2>
      <a:lt2>
        <a:srgbClr val="049CD4"/>
      </a:lt2>
      <a:accent1>
        <a:srgbClr val="014093"/>
      </a:accent1>
      <a:accent2>
        <a:srgbClr val="0498D1"/>
      </a:accent2>
      <a:accent3>
        <a:srgbClr val="CACCD2"/>
      </a:accent3>
      <a:accent4>
        <a:srgbClr val="ABC333"/>
      </a:accent4>
      <a:accent5>
        <a:srgbClr val="64BAE2"/>
      </a:accent5>
      <a:accent6>
        <a:srgbClr val="0B6B75"/>
      </a:accent6>
      <a:hlink>
        <a:srgbClr val="049BD3"/>
      </a:hlink>
      <a:folHlink>
        <a:srgbClr val="0144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isco_CUF_CKT281.potx" id="{3B07B92C-33B4-4C13-BE5A-916A476A2129}" vid="{155F36BF-DA05-43F8-BC10-15059EB75444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80</TotalTime>
  <Words>947</Words>
  <Application>Microsoft Macintosh PowerPoint</Application>
  <PresentationFormat>Widescreen</PresentationFormat>
  <Paragraphs>173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1" baseType="lpstr">
      <vt:lpstr>Arial</vt:lpstr>
      <vt:lpstr>Calibri</vt:lpstr>
      <vt:lpstr>Calibri Light</vt:lpstr>
      <vt:lpstr>Ciscolight</vt:lpstr>
      <vt:lpstr>CiscoSans</vt:lpstr>
      <vt:lpstr>CiscoSans ExtraLight</vt:lpstr>
      <vt:lpstr>CiscoSans Thin</vt:lpstr>
      <vt:lpstr>CiscoSansTT ExtraLight</vt:lpstr>
      <vt:lpstr>Courier New</vt:lpstr>
      <vt:lpstr>Garamond</vt:lpstr>
      <vt:lpstr>Lucida Grande</vt:lpstr>
      <vt:lpstr>Wingdings</vt:lpstr>
      <vt:lpstr>Office Theme</vt:lpstr>
      <vt:lpstr>Default Theme</vt:lpstr>
      <vt:lpstr>Blue theme 2015 16x9</vt:lpstr>
      <vt:lpstr>17_NEWCiscoSans</vt:lpstr>
      <vt:lpstr>3_Blue theme 2015 16x9</vt:lpstr>
      <vt:lpstr>Cisco_CUF_CKT281</vt:lpstr>
      <vt:lpstr>think-cell Slide</vt:lpstr>
      <vt:lpstr> Custom Monitoring Application VC/UC + Network</vt:lpstr>
      <vt:lpstr>Problem Statement</vt:lpstr>
      <vt:lpstr>Ask</vt:lpstr>
      <vt:lpstr>Cisco Proposed High Level Solution</vt:lpstr>
      <vt:lpstr>UC/VC Monitoring Architecture</vt:lpstr>
      <vt:lpstr>Solution Details</vt:lpstr>
      <vt:lpstr>Pre-requisites</vt:lpstr>
      <vt:lpstr>Business Case</vt:lpstr>
      <vt:lpstr>PowerPoint Presentation</vt:lpstr>
      <vt:lpstr>Module Details: Consolidated Topology </vt:lpstr>
      <vt:lpstr>Module Details  Consolidated Faults </vt:lpstr>
      <vt:lpstr>Module Details: KPI Monitoring and Management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shikesh Sawant (rsawant)</dc:creator>
  <cp:lastModifiedBy>Muhammed Altaf (maltaf)</cp:lastModifiedBy>
  <cp:revision>45</cp:revision>
  <dcterms:created xsi:type="dcterms:W3CDTF">2019-12-16T12:22:04Z</dcterms:created>
  <dcterms:modified xsi:type="dcterms:W3CDTF">2020-01-16T15:44:09Z</dcterms:modified>
</cp:coreProperties>
</file>